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5.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6.xml" ContentType="application/vnd.openxmlformats-officedocument.theme+xml"/>
  <Override PartName="/ppt/tags/tag17.xml" ContentType="application/vnd.openxmlformats-officedocument.presentationml.tags+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7.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8.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9.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9.xml" ContentType="application/vnd.openxmlformats-officedocument.presentationml.tags+xml"/>
  <Override PartName="/ppt/notesSlides/notesSlide4.xml" ContentType="application/vnd.openxmlformats-officedocument.presentationml.notesSlide+xml"/>
  <Override PartName="/ppt/tags/tag30.xml" ContentType="application/vnd.openxmlformats-officedocument.presentationml.tags+xml"/>
  <Override PartName="/ppt/notesSlides/notesSlide5.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6.xml" ContentType="application/vnd.openxmlformats-officedocument.presentationml.notesSlide+xml"/>
  <Override PartName="/ppt/tags/tag33.xml" ContentType="application/vnd.openxmlformats-officedocument.presentationml.tags+xml"/>
  <Override PartName="/ppt/notesSlides/notesSlide7.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8.xml" ContentType="application/vnd.openxmlformats-officedocument.presentationml.notesSlide+xml"/>
  <Override PartName="/ppt/tags/tag36.xml" ContentType="application/vnd.openxmlformats-officedocument.presentationml.tags+xml"/>
  <Override PartName="/ppt/notesSlides/notesSlide9.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10.xml" ContentType="application/vnd.openxmlformats-officedocument.presentationml.notesSlide+xml"/>
  <Override PartName="/ppt/tags/tag39.xml" ContentType="application/vnd.openxmlformats-officedocument.presentationml.tags+xml"/>
  <Override PartName="/ppt/notesSlides/notesSlide11.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12.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13.xml" ContentType="application/vnd.openxmlformats-officedocument.presentationml.notesSlide+xml"/>
  <Override PartName="/ppt/tags/tag44.xml" ContentType="application/vnd.openxmlformats-officedocument.presentationml.tags+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736" r:id="rId5"/>
    <p:sldMasterId id="2147483773" r:id="rId6"/>
    <p:sldMasterId id="2147483809" r:id="rId7"/>
    <p:sldMasterId id="2147483813" r:id="rId8"/>
    <p:sldMasterId id="2147483817" r:id="rId9"/>
    <p:sldMasterId id="2147483900" r:id="rId10"/>
    <p:sldMasterId id="2147483938" r:id="rId11"/>
  </p:sldMasterIdLst>
  <p:notesMasterIdLst>
    <p:notesMasterId r:id="rId34"/>
  </p:notesMasterIdLst>
  <p:sldIdLst>
    <p:sldId id="2147480533" r:id="rId12"/>
    <p:sldId id="2147483498" r:id="rId13"/>
    <p:sldId id="2147483198" r:id="rId14"/>
    <p:sldId id="2147483377" r:id="rId15"/>
    <p:sldId id="2147483371" r:id="rId16"/>
    <p:sldId id="2147483372" r:id="rId17"/>
    <p:sldId id="2147483501" r:id="rId18"/>
    <p:sldId id="2147483521" r:id="rId19"/>
    <p:sldId id="2147483522" r:id="rId20"/>
    <p:sldId id="2147483499" r:id="rId21"/>
    <p:sldId id="2147483526" r:id="rId22"/>
    <p:sldId id="2147483523" r:id="rId23"/>
    <p:sldId id="2147483502" r:id="rId24"/>
    <p:sldId id="2147483373" r:id="rId25"/>
    <p:sldId id="2147483517" r:id="rId26"/>
    <p:sldId id="2147483518" r:id="rId27"/>
    <p:sldId id="2147483503" r:id="rId28"/>
    <p:sldId id="2147483504" r:id="rId29"/>
    <p:sldId id="2147483512" r:id="rId30"/>
    <p:sldId id="2147483505" r:id="rId31"/>
    <p:sldId id="2147483267" r:id="rId32"/>
    <p:sldId id="2147483520" r:id="rId33"/>
  </p:sldIdLst>
  <p:sldSz cx="12192000" cy="6858000"/>
  <p:notesSz cx="6858000" cy="9144000"/>
  <p:custDataLst>
    <p:tags r:id="rId35"/>
  </p:custDataLst>
  <p:defaultText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DF0C8"/>
    <a:srgbClr val="49E8F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DAFC63-E216-4969-90D6-D411C76CD48E}" v="124" dt="2026-03-10T07:06:00.385"/>
    <p1510:client id="{67D4932E-7BFB-43C3-A495-3672033A58ED}" v="582" dt="2026-03-10T10:45:40.863"/>
    <p1510:client id="{DE243628-E5DC-4CDE-8230-A6CC525DEF0D}" v="2" dt="2026-03-10T10:59:46.71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2" d="100"/>
          <a:sy n="82" d="100"/>
        </p:scale>
        <p:origin x="691" y="28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tableStyles" Target="tableStyles.xml"/><Relationship Id="rId21" Type="http://schemas.openxmlformats.org/officeDocument/2006/relationships/slide" Target="slides/slide10.xml"/><Relationship Id="rId34"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tags" Target="tags/tag1.xml"/><Relationship Id="rId8" Type="http://schemas.openxmlformats.org/officeDocument/2006/relationships/slideMaster" Target="slideMasters/slideMaster5.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B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94C37A9-4F4F-44C8-BF83-BF0328B7545B}" type="datetimeFigureOut">
              <a:rPr lang="en-BE" smtClean="0"/>
              <a:t>10/03/2026</a:t>
            </a:fld>
            <a:endParaRPr lang="en-B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B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B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B13766C-F159-4859-806E-B52CA35F14B8}" type="slidenum">
              <a:rPr lang="en-BE" smtClean="0"/>
              <a:t>‹#›</a:t>
            </a:fld>
            <a:endParaRPr lang="en-BE"/>
          </a:p>
        </p:txBody>
      </p:sp>
    </p:spTree>
    <p:extLst>
      <p:ext uri="{BB962C8B-B14F-4D97-AF65-F5344CB8AC3E}">
        <p14:creationId xmlns:p14="http://schemas.microsoft.com/office/powerpoint/2010/main" val="32342673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So basically, the brief for my keynote today was “IT as a factory line”. While I must admit that in the beginning, I was struggling a bit to find the right angle – it actually is a very timely moment to elaborate on that metaphor.</a:t>
            </a:r>
            <a:endParaRPr lang="en-BE" sz="1200" kern="1200">
              <a:solidFill>
                <a:schemeClr val="tx1"/>
              </a:solidFill>
              <a:effectLst/>
              <a:latin typeface="+mn-lt"/>
              <a:ea typeface="+mn-ea"/>
              <a:cs typeface="+mn-cs"/>
            </a:endParaRPr>
          </a:p>
          <a:p>
            <a:r>
              <a:rPr lang="en-BE" sz="1200" kern="1200">
                <a:solidFill>
                  <a:schemeClr val="tx1"/>
                </a:solidFill>
                <a:effectLst/>
                <a:latin typeface="+mn-lt"/>
                <a:ea typeface="+mn-ea"/>
                <a:cs typeface="+mn-cs"/>
              </a:rPr>
              <a:t>Because IT has long looked a lot like a factory line. We are automating the rest of the business, but in IT each station is staffed by skilled craftspeople: engineers writing code line by line, testers designing test cases by hand, operators sifting through logs to find incidents. This has given us quality and control, but it also has consequences:</a:t>
            </a:r>
          </a:p>
          <a:p>
            <a:pPr lvl="0"/>
            <a:r>
              <a:rPr lang="en-BE" sz="1200" kern="1200">
                <a:solidFill>
                  <a:schemeClr val="tx1"/>
                </a:solidFill>
                <a:effectLst/>
                <a:latin typeface="+mn-lt"/>
                <a:ea typeface="+mn-ea"/>
                <a:cs typeface="+mn-cs"/>
              </a:rPr>
              <a:t>Work piles up in front of scarce stations, like architecture or security review.</a:t>
            </a:r>
          </a:p>
          <a:p>
            <a:pPr lvl="0"/>
            <a:r>
              <a:rPr lang="en-BE" sz="1200" kern="1200">
                <a:solidFill>
                  <a:schemeClr val="tx1"/>
                </a:solidFill>
                <a:effectLst/>
                <a:latin typeface="+mn-lt"/>
                <a:ea typeface="+mn-ea"/>
                <a:cs typeface="+mn-cs"/>
              </a:rPr>
              <a:t>Quality depends heavily on individual heroics.</a:t>
            </a:r>
          </a:p>
          <a:p>
            <a:pPr lvl="0"/>
            <a:r>
              <a:rPr lang="en-BE" sz="1200" kern="1200">
                <a:solidFill>
                  <a:schemeClr val="tx1"/>
                </a:solidFill>
                <a:effectLst/>
                <a:latin typeface="+mn-lt"/>
                <a:ea typeface="+mn-ea"/>
                <a:cs typeface="+mn-cs"/>
              </a:rPr>
              <a:t>Context is lost in handovers, leading to rework and waste.</a:t>
            </a:r>
          </a:p>
          <a:p>
            <a:r>
              <a:rPr lang="en-BE" sz="1200" kern="1200">
                <a:solidFill>
                  <a:schemeClr val="tx1"/>
                </a:solidFill>
                <a:effectLst/>
                <a:latin typeface="+mn-lt"/>
                <a:ea typeface="+mn-ea"/>
                <a:cs typeface="+mn-cs"/>
              </a:rPr>
              <a:t>In factory terms, we have variability, bottlenecks, and too much manual handling. And we ship expensive products – like the Porsche on the picture.</a:t>
            </a:r>
          </a:p>
          <a:p>
            <a:r>
              <a:rPr lang="en-BE" sz="1200" kern="1200">
                <a:solidFill>
                  <a:schemeClr val="tx1"/>
                </a:solidFill>
                <a:effectLst/>
                <a:latin typeface="+mn-lt"/>
                <a:ea typeface="+mn-ea"/>
                <a:cs typeface="+mn-cs"/>
              </a:rPr>
              <a:t>And then AI happened, and especially new models launches like Sonnet &amp; Opus &amp; ChatGPT 5.4 have made certain steps of our factory line much more automated.</a:t>
            </a:r>
          </a:p>
          <a:p>
            <a:r>
              <a:rPr lang="en-BE" sz="1200" kern="1200">
                <a:solidFill>
                  <a:schemeClr val="tx1"/>
                </a:solidFill>
                <a:effectLst/>
                <a:latin typeface="+mn-lt"/>
                <a:ea typeface="+mn-ea"/>
                <a:cs typeface="+mn-cs"/>
              </a:rPr>
              <a:t>But as it happens in a factory line: if you increase productivity in one step, you typically generate bottlenecks in another one. </a:t>
            </a:r>
          </a:p>
          <a:p>
            <a:r>
              <a:rPr lang="en-BE" sz="1200" kern="1200">
                <a:solidFill>
                  <a:schemeClr val="tx1"/>
                </a:solidFill>
                <a:effectLst/>
                <a:latin typeface="+mn-lt"/>
                <a:ea typeface="+mn-ea"/>
                <a:cs typeface="+mn-cs"/>
              </a:rPr>
              <a:t>And this will be subject of my talk: how do we redesign the factory line to produce more with these new robots that just became available.</a:t>
            </a:r>
          </a:p>
          <a:p>
            <a:endParaRPr lang="en-US"/>
          </a:p>
        </p:txBody>
      </p:sp>
      <p:sp>
        <p:nvSpPr>
          <p:cNvPr id="4" name="Slide Number Placeholder 3"/>
          <p:cNvSpPr>
            <a:spLocks noGrp="1"/>
          </p:cNvSpPr>
          <p:nvPr>
            <p:ph type="sldNum" sz="quarter" idx="5"/>
          </p:nvPr>
        </p:nvSpPr>
        <p:spPr/>
        <p:txBody>
          <a:bodyPr/>
          <a:lstStyle/>
          <a:p>
            <a:fld id="{CB13766C-F159-4859-806E-B52CA35F14B8}" type="slidenum">
              <a:rPr lang="en-BE" smtClean="0"/>
              <a:t>2</a:t>
            </a:fld>
            <a:endParaRPr lang="en-BE"/>
          </a:p>
        </p:txBody>
      </p:sp>
    </p:spTree>
    <p:extLst>
      <p:ext uri="{BB962C8B-B14F-4D97-AF65-F5344CB8AC3E}">
        <p14:creationId xmlns:p14="http://schemas.microsoft.com/office/powerpoint/2010/main" val="15731860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BE" sz="1200" kern="1200">
                <a:solidFill>
                  <a:schemeClr val="tx1"/>
                </a:solidFill>
                <a:effectLst/>
                <a:latin typeface="+mn-lt"/>
                <a:ea typeface="+mn-ea"/>
                <a:cs typeface="+mn-cs"/>
              </a:rPr>
              <a:t>So far we have much focused on development. But in large organization a lot happens before and after development, before the customers actually starts using a new features. And especially a lot happens before development...</a:t>
            </a:r>
          </a:p>
          <a:p>
            <a:r>
              <a:rPr lang="en-BE" sz="1200" kern="1200">
                <a:solidFill>
                  <a:schemeClr val="tx1"/>
                </a:solidFill>
                <a:effectLst/>
                <a:latin typeface="+mn-lt"/>
                <a:ea typeface="+mn-ea"/>
                <a:cs typeface="+mn-cs"/>
              </a:rPr>
              <a:t>By integrating all forms of AI into the end-to-end software product development life cycle (PDLC), we can empower project managers, product managers (PMs), engineers, and their teams to spend more time on higher-value work and less on routine tasks. As part of this broad shift, they can incorporate more robust sources of data and feedback in a new development framework that prioritizes customer-centric solutions. </a:t>
            </a:r>
          </a:p>
          <a:p>
            <a:r>
              <a:rPr lang="en-BE" sz="1200" kern="1200">
                <a:solidFill>
                  <a:schemeClr val="tx1"/>
                </a:solidFill>
                <a:effectLst/>
                <a:latin typeface="+mn-lt"/>
                <a:ea typeface="+mn-ea"/>
                <a:cs typeface="+mn-cs"/>
              </a:rPr>
              <a:t>I will not go into detail – but we are today mainly making progress in development and testing. But we have a target picture, but today it is fair to say we mainly reached significant adoption in coding &amp; testing activities.</a:t>
            </a:r>
          </a:p>
          <a:p>
            <a:endParaRPr lang="en-US"/>
          </a:p>
        </p:txBody>
      </p:sp>
      <p:sp>
        <p:nvSpPr>
          <p:cNvPr id="4" name="Slide Number Placeholder 3"/>
          <p:cNvSpPr>
            <a:spLocks noGrp="1"/>
          </p:cNvSpPr>
          <p:nvPr>
            <p:ph type="sldNum" sz="quarter" idx="5"/>
          </p:nvPr>
        </p:nvSpPr>
        <p:spPr/>
        <p:txBody>
          <a:bodyPr/>
          <a:lstStyle/>
          <a:p>
            <a:fld id="{CB13766C-F159-4859-806E-B52CA35F14B8}" type="slidenum">
              <a:rPr lang="en-BE" smtClean="0"/>
              <a:t>15</a:t>
            </a:fld>
            <a:endParaRPr lang="en-BE"/>
          </a:p>
        </p:txBody>
      </p:sp>
    </p:spTree>
    <p:extLst>
      <p:ext uri="{BB962C8B-B14F-4D97-AF65-F5344CB8AC3E}">
        <p14:creationId xmlns:p14="http://schemas.microsoft.com/office/powerpoint/2010/main" val="15351200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BE" sz="1200" kern="1200">
                <a:solidFill>
                  <a:schemeClr val="tx1"/>
                </a:solidFill>
                <a:effectLst/>
                <a:latin typeface="+mn-lt"/>
                <a:ea typeface="+mn-ea"/>
                <a:cs typeface="+mn-cs"/>
              </a:rPr>
              <a:t>We are still very far from a fully agentic e2e </a:t>
            </a:r>
            <a:r>
              <a:rPr lang="en-BE" sz="1200" kern="1200" err="1">
                <a:solidFill>
                  <a:schemeClr val="tx1"/>
                </a:solidFill>
                <a:effectLst/>
                <a:latin typeface="+mn-lt"/>
                <a:ea typeface="+mn-ea"/>
                <a:cs typeface="+mn-cs"/>
              </a:rPr>
              <a:t>softw</a:t>
            </a:r>
            <a:r>
              <a:rPr lang="en-BE" sz="1200" kern="1200">
                <a:solidFill>
                  <a:schemeClr val="tx1"/>
                </a:solidFill>
                <a:effectLst/>
                <a:latin typeface="+mn-lt"/>
                <a:ea typeface="+mn-ea"/>
                <a:cs typeface="+mn-cs"/>
              </a:rPr>
              <a:t> development cycle. But as we adopt more and more agentic AI, the next frontier should be in my view rather what comes before development the design phase.</a:t>
            </a:r>
          </a:p>
          <a:p>
            <a:r>
              <a:rPr lang="en-BE" sz="1200" kern="1200">
                <a:solidFill>
                  <a:schemeClr val="tx1"/>
                </a:solidFill>
                <a:effectLst/>
                <a:latin typeface="+mn-lt"/>
                <a:ea typeface="+mn-ea"/>
                <a:cs typeface="+mn-cs"/>
              </a:rPr>
              <a:t>This is a highly unstructured phase today. We have some requirements written down, some mainly </a:t>
            </a:r>
            <a:r>
              <a:rPr lang="en-BE" sz="1200" kern="1200" err="1">
                <a:solidFill>
                  <a:schemeClr val="tx1"/>
                </a:solidFill>
                <a:effectLst/>
                <a:latin typeface="+mn-lt"/>
                <a:ea typeface="+mn-ea"/>
                <a:cs typeface="+mn-cs"/>
              </a:rPr>
              <a:t>exhcnaged</a:t>
            </a:r>
            <a:r>
              <a:rPr lang="en-BE" sz="1200" kern="1200">
                <a:solidFill>
                  <a:schemeClr val="tx1"/>
                </a:solidFill>
                <a:effectLst/>
                <a:latin typeface="+mn-lt"/>
                <a:ea typeface="+mn-ea"/>
                <a:cs typeface="+mn-cs"/>
              </a:rPr>
              <a:t> in meetings. We have some NFR and guidelines, but not complete. We feed developers with a dispersed set of requirements, UX flows, architecture documents, that often require a lot of voice over and meetings to get right.</a:t>
            </a:r>
          </a:p>
          <a:p>
            <a:r>
              <a:rPr lang="en-BE" sz="1200" kern="1200">
                <a:solidFill>
                  <a:schemeClr val="tx1"/>
                </a:solidFill>
                <a:effectLst/>
                <a:latin typeface="+mn-lt"/>
                <a:ea typeface="+mn-ea"/>
                <a:cs typeface="+mn-cs"/>
              </a:rPr>
              <a:t>The goal that we set ourselves now is the following: instead of writing </a:t>
            </a:r>
            <a:r>
              <a:rPr lang="en-BE" sz="1200" kern="1200" err="1">
                <a:solidFill>
                  <a:schemeClr val="tx1"/>
                </a:solidFill>
                <a:effectLst/>
                <a:latin typeface="+mn-lt"/>
                <a:ea typeface="+mn-ea"/>
                <a:cs typeface="+mn-cs"/>
              </a:rPr>
              <a:t>typicaly</a:t>
            </a:r>
            <a:r>
              <a:rPr lang="en-BE" sz="1200" kern="1200">
                <a:solidFill>
                  <a:schemeClr val="tx1"/>
                </a:solidFill>
                <a:effectLst/>
                <a:latin typeface="+mn-lt"/>
                <a:ea typeface="+mn-ea"/>
                <a:cs typeface="+mn-cs"/>
              </a:rPr>
              <a:t> requirements documents, that then go to design, UX, architecture… we try to have a transversal team actually build an mock front end applications, and actually generate its source code. And hand that over to developers to build it and integrate it. It promises to not only be more efficient. But today a lot of the “art” of our UX teams gets lost in the handover between front-end and developers. </a:t>
            </a:r>
          </a:p>
          <a:p>
            <a:r>
              <a:rPr lang="en-BE" sz="1200" kern="1200">
                <a:solidFill>
                  <a:schemeClr val="tx1"/>
                </a:solidFill>
                <a:effectLst/>
                <a:latin typeface="+mn-lt"/>
                <a:ea typeface="+mn-ea"/>
                <a:cs typeface="+mn-cs"/>
              </a:rPr>
              <a:t>Tools like an MCP server on Figma really help to do so.</a:t>
            </a:r>
          </a:p>
          <a:p>
            <a:endParaRPr lang="en-US"/>
          </a:p>
        </p:txBody>
      </p:sp>
      <p:sp>
        <p:nvSpPr>
          <p:cNvPr id="4" name="Slide Number Placeholder 3"/>
          <p:cNvSpPr>
            <a:spLocks noGrp="1"/>
          </p:cNvSpPr>
          <p:nvPr>
            <p:ph type="sldNum" sz="quarter" idx="5"/>
          </p:nvPr>
        </p:nvSpPr>
        <p:spPr/>
        <p:txBody>
          <a:bodyPr/>
          <a:lstStyle/>
          <a:p>
            <a:fld id="{CB13766C-F159-4859-806E-B52CA35F14B8}" type="slidenum">
              <a:rPr lang="en-BE" smtClean="0"/>
              <a:t>16</a:t>
            </a:fld>
            <a:endParaRPr lang="en-BE"/>
          </a:p>
        </p:txBody>
      </p:sp>
    </p:spTree>
    <p:extLst>
      <p:ext uri="{BB962C8B-B14F-4D97-AF65-F5344CB8AC3E}">
        <p14:creationId xmlns:p14="http://schemas.microsoft.com/office/powerpoint/2010/main" val="31614586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BE" sz="1200" kern="1200">
                <a:solidFill>
                  <a:schemeClr val="tx1"/>
                </a:solidFill>
                <a:effectLst/>
                <a:latin typeface="+mn-lt"/>
                <a:ea typeface="+mn-ea"/>
                <a:cs typeface="+mn-cs"/>
              </a:rPr>
              <a:t>For a long time coding seemed to be the hard part. It turns out </a:t>
            </a:r>
            <a:r>
              <a:rPr lang="en-BE" sz="1200" b="1" kern="1200">
                <a:solidFill>
                  <a:schemeClr val="tx1"/>
                </a:solidFill>
                <a:effectLst/>
                <a:latin typeface="+mn-lt"/>
                <a:ea typeface="+mn-ea"/>
                <a:cs typeface="+mn-cs"/>
              </a:rPr>
              <a:t>describing what to build is harder</a:t>
            </a:r>
            <a:r>
              <a:rPr lang="en-BE" sz="1200" kern="1200">
                <a:solidFill>
                  <a:schemeClr val="tx1"/>
                </a:solidFill>
                <a:effectLst/>
                <a:latin typeface="+mn-lt"/>
                <a:ea typeface="+mn-ea"/>
                <a:cs typeface="+mn-cs"/>
              </a:rPr>
              <a:t>. Defining the right intent, the “spec,” will be the core human task. That shift changes who adds value in the development process. It rewards clarity, systems thinking, and the ability to guide AI toward the right outcomes.</a:t>
            </a:r>
          </a:p>
          <a:p>
            <a:r>
              <a:rPr lang="en-BE" sz="1200" kern="1200">
                <a:solidFill>
                  <a:schemeClr val="tx1"/>
                </a:solidFill>
                <a:effectLst/>
                <a:latin typeface="+mn-lt"/>
                <a:ea typeface="+mn-ea"/>
                <a:cs typeface="+mn-cs"/>
              </a:rPr>
              <a:t>That also change how teams look like. The pyramid model with few senior developers and lot of juniors, typically offshore, to do the coding work will become less relevant. But of course having teams with only senior engineers also is not effective not future proof. So we will evolve to an engineering team set-up that is more diamond shape, or even just looks like the overall age-pyramid – which is a good thing in an aging world.</a:t>
            </a:r>
          </a:p>
          <a:p>
            <a:r>
              <a:rPr lang="en-BE" sz="1200" kern="1200">
                <a:solidFill>
                  <a:schemeClr val="tx1"/>
                </a:solidFill>
                <a:effectLst/>
                <a:latin typeface="+mn-lt"/>
                <a:ea typeface="+mn-ea"/>
                <a:cs typeface="+mn-cs"/>
              </a:rPr>
              <a:t>Companies should also reflect on the balance between internal vs external engineering and how it will affect their ability to capture the value from AI based coding.</a:t>
            </a:r>
          </a:p>
          <a:p>
            <a:r>
              <a:rPr lang="en-BE" sz="1200" kern="1200">
                <a:solidFill>
                  <a:schemeClr val="tx1"/>
                </a:solidFill>
                <a:effectLst/>
                <a:latin typeface="+mn-lt"/>
                <a:ea typeface="+mn-ea"/>
                <a:cs typeface="+mn-cs"/>
              </a:rPr>
              <a:t>At Proximus we have made that choice and will partially re-internalize development activities in our development </a:t>
            </a:r>
            <a:r>
              <a:rPr lang="en-BE" sz="1200" kern="1200" err="1">
                <a:solidFill>
                  <a:schemeClr val="tx1"/>
                </a:solidFill>
                <a:effectLst/>
                <a:latin typeface="+mn-lt"/>
                <a:ea typeface="+mn-ea"/>
                <a:cs typeface="+mn-cs"/>
              </a:rPr>
              <a:t>centers</a:t>
            </a:r>
            <a:r>
              <a:rPr lang="en-BE" sz="1200" kern="1200">
                <a:solidFill>
                  <a:schemeClr val="tx1"/>
                </a:solidFill>
                <a:effectLst/>
                <a:latin typeface="+mn-lt"/>
                <a:ea typeface="+mn-ea"/>
                <a:cs typeface="+mn-cs"/>
              </a:rPr>
              <a:t> in Belgium, Serbia and Bangalore.</a:t>
            </a:r>
          </a:p>
          <a:p>
            <a:endParaRPr lang="en-US"/>
          </a:p>
        </p:txBody>
      </p:sp>
      <p:sp>
        <p:nvSpPr>
          <p:cNvPr id="4" name="Slide Number Placeholder 3"/>
          <p:cNvSpPr>
            <a:spLocks noGrp="1"/>
          </p:cNvSpPr>
          <p:nvPr>
            <p:ph type="sldNum" sz="quarter" idx="5"/>
          </p:nvPr>
        </p:nvSpPr>
        <p:spPr/>
        <p:txBody>
          <a:bodyPr/>
          <a:lstStyle/>
          <a:p>
            <a:fld id="{CB13766C-F159-4859-806E-B52CA35F14B8}" type="slidenum">
              <a:rPr lang="en-BE" smtClean="0"/>
              <a:t>19</a:t>
            </a:fld>
            <a:endParaRPr lang="en-BE"/>
          </a:p>
        </p:txBody>
      </p:sp>
    </p:spTree>
    <p:extLst>
      <p:ext uri="{BB962C8B-B14F-4D97-AF65-F5344CB8AC3E}">
        <p14:creationId xmlns:p14="http://schemas.microsoft.com/office/powerpoint/2010/main" val="5376986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BE"/>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9D670D-447B-422F-ABB6-B8AD71A8E3B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80737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0793A4-4299-0028-F910-2A3E460FE8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862C735-A570-F2F8-0123-0A20C3FFEC9D}"/>
              </a:ext>
            </a:extLst>
          </p:cNvPr>
          <p:cNvSpPr>
            <a:spLocks noGrp="1" noRot="1" noChangeAspect="1"/>
          </p:cNvSpPr>
          <p:nvPr>
            <p:ph type="sldImg"/>
          </p:nvPr>
        </p:nvSpPr>
        <p:spPr/>
        <p:txBody>
          <a:bodyPr/>
          <a:lstStyle/>
          <a:p>
            <a:endParaRPr lang="en-BE"/>
          </a:p>
        </p:txBody>
      </p:sp>
      <p:sp>
        <p:nvSpPr>
          <p:cNvPr id="3" name="Notes Placeholder 2">
            <a:extLst>
              <a:ext uri="{FF2B5EF4-FFF2-40B4-BE49-F238E27FC236}">
                <a16:creationId xmlns:a16="http://schemas.microsoft.com/office/drawing/2014/main" id="{9486A1E2-5B23-1388-FEF1-1F800A689A9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E22B912-BC80-4C22-F67F-BAFE63A4AEE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9D670D-447B-422F-ABB6-B8AD71A8E3B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046196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D52F62-3D7F-9C41-A084-D026A2CD64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9EF1C7-0AF7-BFC9-B1BC-8E054EA793C9}"/>
              </a:ext>
            </a:extLst>
          </p:cNvPr>
          <p:cNvSpPr>
            <a:spLocks noGrp="1" noRot="1" noChangeAspect="1"/>
          </p:cNvSpPr>
          <p:nvPr>
            <p:ph type="sldImg"/>
          </p:nvPr>
        </p:nvSpPr>
        <p:spPr/>
        <p:txBody>
          <a:bodyPr/>
          <a:lstStyle/>
          <a:p>
            <a:endParaRPr lang="en-BE"/>
          </a:p>
        </p:txBody>
      </p:sp>
      <p:sp>
        <p:nvSpPr>
          <p:cNvPr id="3" name="Notes Placeholder 2">
            <a:extLst>
              <a:ext uri="{FF2B5EF4-FFF2-40B4-BE49-F238E27FC236}">
                <a16:creationId xmlns:a16="http://schemas.microsoft.com/office/drawing/2014/main" id="{47EDFA9F-555D-BD32-9F19-AFB07652E3C7}"/>
              </a:ext>
            </a:extLst>
          </p:cNvPr>
          <p:cNvSpPr>
            <a:spLocks noGrp="1"/>
          </p:cNvSpPr>
          <p:nvPr>
            <p:ph type="body" idx="1"/>
          </p:nvPr>
        </p:nvSpPr>
        <p:spPr/>
        <p:txBody>
          <a:bodyPr/>
          <a:lstStyle/>
          <a:p>
            <a:r>
              <a:rPr lang="en-US" sz="540" b="0" i="0" kern="1200">
                <a:solidFill>
                  <a:schemeClr val="tx1"/>
                </a:solidFill>
                <a:effectLst/>
                <a:latin typeface="Proximus" panose="00000500000000000000" pitchFamily="2" charset="0"/>
                <a:ea typeface="+mn-ea"/>
                <a:cs typeface="+mn-cs"/>
              </a:rPr>
              <a:t> </a:t>
            </a:r>
            <a:r>
              <a:rPr lang="en-BE" sz="1200" kern="1200">
                <a:solidFill>
                  <a:schemeClr val="tx1"/>
                </a:solidFill>
                <a:effectLst/>
                <a:latin typeface="+mn-lt"/>
                <a:ea typeface="+mn-ea"/>
                <a:cs typeface="+mn-cs"/>
              </a:rPr>
              <a:t>Let’s first take a step back – and look at AI adoption in recent past. Like many other companies Proximus has adopted AI across most business domains. And they contribute significantly to our bottom-line.</a:t>
            </a:r>
          </a:p>
          <a:p>
            <a:r>
              <a:rPr lang="en-BE" sz="1200" kern="1200">
                <a:solidFill>
                  <a:schemeClr val="tx1"/>
                </a:solidFill>
                <a:effectLst/>
                <a:latin typeface="+mn-lt"/>
                <a:ea typeface="+mn-ea"/>
                <a:cs typeface="+mn-cs"/>
              </a:rPr>
              <a:t>However, most of these cases are based on predictive models, classification, computer vision... and use to some extent LLMs to summarize, assist etc.</a:t>
            </a:r>
          </a:p>
          <a:p>
            <a:endParaRPr lang="en-US" sz="540" b="0" i="0" kern="1200">
              <a:solidFill>
                <a:schemeClr val="tx1"/>
              </a:solidFill>
              <a:effectLst/>
              <a:latin typeface="Proximus" panose="00000500000000000000" pitchFamily="2" charset="0"/>
              <a:ea typeface="+mn-ea"/>
              <a:cs typeface="+mn-cs"/>
            </a:endParaRPr>
          </a:p>
          <a:p>
            <a:endParaRPr lang="en-GB"/>
          </a:p>
        </p:txBody>
      </p:sp>
      <p:sp>
        <p:nvSpPr>
          <p:cNvPr id="4" name="Slide Number Placeholder 3">
            <a:extLst>
              <a:ext uri="{FF2B5EF4-FFF2-40B4-BE49-F238E27FC236}">
                <a16:creationId xmlns:a16="http://schemas.microsoft.com/office/drawing/2014/main" id="{B1FECD25-782E-E063-1CD5-30A8742A069C}"/>
              </a:ext>
            </a:extLst>
          </p:cNvPr>
          <p:cNvSpPr>
            <a:spLocks noGrp="1"/>
          </p:cNvSpPr>
          <p:nvPr>
            <p:ph type="sldNum" sz="quarter" idx="5"/>
          </p:nvPr>
        </p:nvSpPr>
        <p:spPr/>
        <p:txBody>
          <a:bodyPr/>
          <a:lstStyle/>
          <a:p>
            <a:pPr marL="0" marR="0" lvl="0" indent="0" algn="r" defTabSz="408104" rtl="0" eaLnBrk="1" fontAlgn="auto" latinLnBrk="0" hangingPunct="1">
              <a:lnSpc>
                <a:spcPct val="100000"/>
              </a:lnSpc>
              <a:spcBef>
                <a:spcPts val="0"/>
              </a:spcBef>
              <a:spcAft>
                <a:spcPts val="0"/>
              </a:spcAft>
              <a:buClrTx/>
              <a:buSzTx/>
              <a:buFontTx/>
              <a:buNone/>
              <a:tabLst/>
              <a:defRPr/>
            </a:pPr>
            <a:fld id="{FA918F22-1231-AB43-96E7-2B8B890DCD5E}" type="slidenum">
              <a:rPr kumimoji="0" lang="en-US" sz="1200" b="0" i="0" u="none" strike="noStrike" kern="1200" cap="none" spc="0" normalizeH="0" baseline="0" noProof="0" smtClean="0">
                <a:ln>
                  <a:noFill/>
                </a:ln>
                <a:solidFill>
                  <a:prstClr val="black"/>
                </a:solidFill>
                <a:effectLst/>
                <a:uLnTx/>
                <a:uFillTx/>
                <a:latin typeface="Proximus" panose="00000500000000000000" pitchFamily="2" charset="0"/>
                <a:ea typeface="+mn-ea"/>
                <a:cs typeface="+mn-cs"/>
              </a:rPr>
              <a:pPr marL="0" marR="0" lvl="0" indent="0" algn="r" defTabSz="408104"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Proximus" panose="00000500000000000000" pitchFamily="2" charset="0"/>
              <a:ea typeface="+mn-ea"/>
              <a:cs typeface="+mn-cs"/>
            </a:endParaRPr>
          </a:p>
        </p:txBody>
      </p:sp>
    </p:spTree>
    <p:extLst>
      <p:ext uri="{BB962C8B-B14F-4D97-AF65-F5344CB8AC3E}">
        <p14:creationId xmlns:p14="http://schemas.microsoft.com/office/powerpoint/2010/main" val="21939192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BE" sz="1200" kern="1200">
                <a:solidFill>
                  <a:schemeClr val="tx1"/>
                </a:solidFill>
                <a:effectLst/>
                <a:latin typeface="+mn-lt"/>
                <a:ea typeface="+mn-ea"/>
                <a:cs typeface="+mn-cs"/>
              </a:rPr>
              <a:t>These use-cases are somewhat limited as they optimize a step of a process, but don’t fundamentally change it. So the next wave of AI value will be using the advanced reasoning &amp; planning capabilities of LLM to orchestrate and act in e2e processes, aka Agentic AI.</a:t>
            </a:r>
          </a:p>
          <a:p>
            <a:endParaRPr lang="en-US"/>
          </a:p>
        </p:txBody>
      </p:sp>
      <p:sp>
        <p:nvSpPr>
          <p:cNvPr id="4" name="Slide Number Placeholder 3"/>
          <p:cNvSpPr>
            <a:spLocks noGrp="1"/>
          </p:cNvSpPr>
          <p:nvPr>
            <p:ph type="sldNum" sz="quarter" idx="5"/>
          </p:nvPr>
        </p:nvSpPr>
        <p:spPr/>
        <p:txBody>
          <a:bodyPr/>
          <a:lstStyle/>
          <a:p>
            <a:fld id="{CB13766C-F159-4859-806E-B52CA35F14B8}" type="slidenum">
              <a:rPr lang="en-BE" smtClean="0"/>
              <a:t>4</a:t>
            </a:fld>
            <a:endParaRPr lang="en-BE"/>
          </a:p>
        </p:txBody>
      </p:sp>
    </p:spTree>
    <p:extLst>
      <p:ext uri="{BB962C8B-B14F-4D97-AF65-F5344CB8AC3E}">
        <p14:creationId xmlns:p14="http://schemas.microsoft.com/office/powerpoint/2010/main" val="38741740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D28B5E-E676-9496-D0AA-C0543B6C32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27F1ED-B004-BED8-33F7-7FC1C08D00B3}"/>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2CECF18D-C3B2-A561-18C5-825B203FD4FE}"/>
              </a:ext>
            </a:extLst>
          </p:cNvPr>
          <p:cNvSpPr>
            <a:spLocks noGrp="1"/>
          </p:cNvSpPr>
          <p:nvPr>
            <p:ph type="body" idx="1"/>
          </p:nvPr>
        </p:nvSpPr>
        <p:spPr/>
        <p:txBody>
          <a:bodyPr/>
          <a:lstStyle/>
          <a:p>
            <a:r>
              <a:rPr lang="en-BE" sz="1200" kern="1200">
                <a:solidFill>
                  <a:schemeClr val="tx1"/>
                </a:solidFill>
                <a:effectLst/>
                <a:latin typeface="+mn-lt"/>
                <a:ea typeface="+mn-ea"/>
                <a:cs typeface="+mn-cs"/>
              </a:rPr>
              <a:t>Our focus Areas for agentic AI will be much the same areas: customer services, network design and operations, but this time also IT development itself.</a:t>
            </a:r>
            <a:br>
              <a:rPr lang="en-BE" sz="1200" kern="1200">
                <a:solidFill>
                  <a:schemeClr val="tx1"/>
                </a:solidFill>
                <a:effectLst/>
                <a:latin typeface="+mn-lt"/>
                <a:ea typeface="+mn-ea"/>
                <a:cs typeface="+mn-cs"/>
              </a:rPr>
            </a:br>
            <a:endParaRPr lang="en-BE" sz="1200" kern="1200">
              <a:solidFill>
                <a:schemeClr val="tx1"/>
              </a:solidFill>
              <a:effectLst/>
              <a:latin typeface="+mn-lt"/>
              <a:ea typeface="+mn-ea"/>
              <a:cs typeface="+mn-cs"/>
            </a:endParaRPr>
          </a:p>
          <a:p>
            <a:r>
              <a:rPr lang="en-BE" sz="1200" kern="1200">
                <a:solidFill>
                  <a:schemeClr val="tx1"/>
                </a:solidFill>
                <a:effectLst/>
                <a:latin typeface="+mn-lt"/>
                <a:ea typeface="+mn-ea"/>
                <a:cs typeface="+mn-cs"/>
              </a:rPr>
              <a:t>And as CIO I am getting a lot of pressure these days of colleagues that bought  a Claude subscription and build some kind of app over the weekend, to manage their groceries, kids’ hobby planning or </a:t>
            </a:r>
            <a:r>
              <a:rPr lang="en-BE" sz="1200" kern="1200" err="1">
                <a:solidFill>
                  <a:schemeClr val="tx1"/>
                </a:solidFill>
                <a:effectLst/>
                <a:latin typeface="+mn-lt"/>
                <a:ea typeface="+mn-ea"/>
                <a:cs typeface="+mn-cs"/>
              </a:rPr>
              <a:t>sth</a:t>
            </a:r>
            <a:r>
              <a:rPr lang="en-BE" sz="1200" kern="1200">
                <a:solidFill>
                  <a:schemeClr val="tx1"/>
                </a:solidFill>
                <a:effectLst/>
                <a:latin typeface="+mn-lt"/>
                <a:ea typeface="+mn-ea"/>
                <a:cs typeface="+mn-cs"/>
              </a:rPr>
              <a:t> – and then they proudly share the result with me, typically accompanied with a kind of passive aggressive question like “are we using this already in IT”?</a:t>
            </a:r>
          </a:p>
          <a:p>
            <a:endParaRPr lang="en-US"/>
          </a:p>
        </p:txBody>
      </p:sp>
      <p:sp>
        <p:nvSpPr>
          <p:cNvPr id="4" name="Slide Number Placeholder 3">
            <a:extLst>
              <a:ext uri="{FF2B5EF4-FFF2-40B4-BE49-F238E27FC236}">
                <a16:creationId xmlns:a16="http://schemas.microsoft.com/office/drawing/2014/main" id="{57CA9CD5-73AF-FE04-19EB-E1902C9B8F51}"/>
              </a:ext>
            </a:extLst>
          </p:cNvPr>
          <p:cNvSpPr>
            <a:spLocks noGrp="1"/>
          </p:cNvSpPr>
          <p:nvPr>
            <p:ph type="sldNum" sz="quarter" idx="5"/>
          </p:nvPr>
        </p:nvSpPr>
        <p:spPr/>
        <p:txBody>
          <a:bodyPr/>
          <a:lstStyle/>
          <a:p>
            <a:pPr marL="0" marR="0" lvl="0" indent="0" algn="r" defTabSz="408104" rtl="0" eaLnBrk="1" fontAlgn="auto" latinLnBrk="0" hangingPunct="1">
              <a:lnSpc>
                <a:spcPct val="100000"/>
              </a:lnSpc>
              <a:spcBef>
                <a:spcPts val="0"/>
              </a:spcBef>
              <a:spcAft>
                <a:spcPts val="0"/>
              </a:spcAft>
              <a:buClrTx/>
              <a:buSzTx/>
              <a:buFontTx/>
              <a:buNone/>
              <a:tabLst/>
              <a:defRPr/>
            </a:pPr>
            <a:fld id="{51950999-7401-4494-9A30-0A9C0CDB482F}" type="slidenum">
              <a:rPr kumimoji="0" lang="en-US" sz="1200" b="0" i="0" u="none" strike="noStrike" kern="1200" cap="none" spc="0" normalizeH="0" baseline="0" noProof="0" smtClean="0">
                <a:ln>
                  <a:noFill/>
                </a:ln>
                <a:solidFill>
                  <a:prstClr val="black"/>
                </a:solidFill>
                <a:effectLst/>
                <a:uLnTx/>
                <a:uFillTx/>
                <a:latin typeface="Proximus" panose="00000500000000000000" pitchFamily="2" charset="0"/>
                <a:ea typeface="+mn-ea"/>
                <a:cs typeface="+mn-cs"/>
              </a:rPr>
              <a:pPr marL="0" marR="0" lvl="0" indent="0" algn="r" defTabSz="408104"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Proximus" panose="00000500000000000000" pitchFamily="2" charset="0"/>
              <a:ea typeface="+mn-ea"/>
              <a:cs typeface="+mn-cs"/>
            </a:endParaRPr>
          </a:p>
        </p:txBody>
      </p:sp>
    </p:spTree>
    <p:extLst>
      <p:ext uri="{BB962C8B-B14F-4D97-AF65-F5344CB8AC3E}">
        <p14:creationId xmlns:p14="http://schemas.microsoft.com/office/powerpoint/2010/main" val="13040380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BE" sz="1200" kern="1200">
                <a:solidFill>
                  <a:schemeClr val="tx1"/>
                </a:solidFill>
                <a:effectLst/>
                <a:latin typeface="+mn-lt"/>
                <a:ea typeface="+mn-ea"/>
                <a:cs typeface="+mn-cs"/>
              </a:rPr>
              <a:t>And I have to admit, I struggle myself with the fact that on the one hand we see strong adoption of AI in IT– but we don’t see or feel a real step-change in e2e speed of delivery.</a:t>
            </a:r>
          </a:p>
          <a:p>
            <a:r>
              <a:rPr lang="en-BE" sz="1200" kern="1200">
                <a:solidFill>
                  <a:schemeClr val="tx1"/>
                </a:solidFill>
                <a:effectLst/>
                <a:latin typeface="+mn-lt"/>
                <a:ea typeface="+mn-ea"/>
                <a:cs typeface="+mn-cs"/>
              </a:rPr>
              <a:t>I don’t have the answer to that question yet. So let me share today on how we try to address it – and happy to engage tonight or later with any of you on how you address it in your organization.</a:t>
            </a:r>
          </a:p>
          <a:p>
            <a:endParaRPr lang="en-US"/>
          </a:p>
        </p:txBody>
      </p:sp>
      <p:sp>
        <p:nvSpPr>
          <p:cNvPr id="4" name="Slide Number Placeholder 3"/>
          <p:cNvSpPr>
            <a:spLocks noGrp="1"/>
          </p:cNvSpPr>
          <p:nvPr>
            <p:ph type="sldNum" sz="quarter" idx="5"/>
          </p:nvPr>
        </p:nvSpPr>
        <p:spPr/>
        <p:txBody>
          <a:bodyPr/>
          <a:lstStyle/>
          <a:p>
            <a:fld id="{CB13766C-F159-4859-806E-B52CA35F14B8}" type="slidenum">
              <a:rPr lang="en-BE" smtClean="0"/>
              <a:t>6</a:t>
            </a:fld>
            <a:endParaRPr lang="en-BE"/>
          </a:p>
        </p:txBody>
      </p:sp>
    </p:spTree>
    <p:extLst>
      <p:ext uri="{BB962C8B-B14F-4D97-AF65-F5344CB8AC3E}">
        <p14:creationId xmlns:p14="http://schemas.microsoft.com/office/powerpoint/2010/main" val="25675487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4EC6CC-BC3B-A717-B84E-37B000C19A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9996D44-D604-3183-C235-0F6E115072B4}"/>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92D08536-8A34-33B4-F29F-C36109AF43E2}"/>
              </a:ext>
            </a:extLst>
          </p:cNvPr>
          <p:cNvSpPr>
            <a:spLocks noGrp="1"/>
          </p:cNvSpPr>
          <p:nvPr>
            <p:ph type="body" idx="1"/>
          </p:nvPr>
        </p:nvSpPr>
        <p:spPr/>
        <p:txBody>
          <a:bodyPr/>
          <a:lstStyle/>
          <a:p>
            <a:r>
              <a:rPr lang="en-US" sz="1200" kern="1200">
                <a:solidFill>
                  <a:schemeClr val="tx1"/>
                </a:solidFill>
                <a:effectLst/>
                <a:latin typeface="+mn-lt"/>
                <a:ea typeface="+mn-ea"/>
                <a:cs typeface="+mn-cs"/>
              </a:rPr>
              <a:t>Many IT departments still report on </a:t>
            </a:r>
            <a:r>
              <a:rPr lang="en-US" sz="1200" kern="1200" err="1">
                <a:solidFill>
                  <a:schemeClr val="tx1"/>
                </a:solidFill>
                <a:effectLst/>
                <a:latin typeface="+mn-lt"/>
                <a:ea typeface="+mn-ea"/>
                <a:cs typeface="+mn-cs"/>
              </a:rPr>
              <a:t>on</a:t>
            </a:r>
            <a:r>
              <a:rPr lang="en-US" sz="1200" kern="1200">
                <a:solidFill>
                  <a:schemeClr val="tx1"/>
                </a:solidFill>
                <a:effectLst/>
                <a:latin typeface="+mn-lt"/>
                <a:ea typeface="+mn-ea"/>
                <a:cs typeface="+mn-cs"/>
              </a:rPr>
              <a:t> Copilot usage, average time saved per day, lines written by code. </a:t>
            </a:r>
            <a:endParaRPr lang="en-BE" sz="1200" kern="1200">
              <a:solidFill>
                <a:schemeClr val="tx1"/>
              </a:solidFill>
              <a:effectLst/>
              <a:latin typeface="+mn-lt"/>
              <a:ea typeface="+mn-ea"/>
              <a:cs typeface="+mn-cs"/>
            </a:endParaRPr>
          </a:p>
          <a:p>
            <a:r>
              <a:rPr lang="en-BE" sz="1200" kern="1200">
                <a:solidFill>
                  <a:schemeClr val="tx1"/>
                </a:solidFill>
                <a:effectLst/>
                <a:latin typeface="+mn-lt"/>
                <a:ea typeface="+mn-ea"/>
                <a:cs typeface="+mn-cs"/>
              </a:rPr>
              <a:t>But it not about the adoption, it's meaningful usage, and in our case, that means are you actually deploying code to production, and is it actually making it to customers in the form of features.</a:t>
            </a:r>
          </a:p>
          <a:p>
            <a:r>
              <a:rPr lang="en-BE" sz="1200" kern="1200">
                <a:solidFill>
                  <a:schemeClr val="tx1"/>
                </a:solidFill>
                <a:effectLst/>
                <a:latin typeface="+mn-lt"/>
                <a:ea typeface="+mn-ea"/>
                <a:cs typeface="+mn-cs"/>
              </a:rPr>
              <a:t>So we are shifting measurements along three axes in Proximus. </a:t>
            </a:r>
          </a:p>
          <a:p>
            <a:r>
              <a:rPr lang="en-BE" sz="1200" kern="1200">
                <a:solidFill>
                  <a:schemeClr val="tx1"/>
                </a:solidFill>
                <a:effectLst/>
                <a:latin typeface="+mn-lt"/>
                <a:ea typeface="+mn-ea"/>
                <a:cs typeface="+mn-cs"/>
              </a:rPr>
              <a:t>First, intensive usage. If people are not using the tools to shift to true agentic development, transformation will not happen. So we are measuring that through token usage, code generated via completion vs prompting etc... It is like that we discovered only 5-10% of our developers are real intensive users, that basically have all their coding work done by the agent.</a:t>
            </a:r>
          </a:p>
          <a:p>
            <a:r>
              <a:rPr lang="en-BE" sz="1200" kern="1200">
                <a:solidFill>
                  <a:schemeClr val="tx1"/>
                </a:solidFill>
                <a:effectLst/>
                <a:latin typeface="+mn-lt"/>
                <a:ea typeface="+mn-ea"/>
                <a:cs typeface="+mn-cs"/>
              </a:rPr>
              <a:t>Secondly, once you have done that, you can correlate that to throughput and process efficiency. Look at metrics such as pull-request rate, cycle time, and latency. These are not perfect, but they provide a systems-level view on whether development practices are actually changing on the ground. And we find these things to be correlated.</a:t>
            </a:r>
          </a:p>
          <a:p>
            <a:r>
              <a:rPr lang="en-BE" sz="1200" kern="1200">
                <a:solidFill>
                  <a:schemeClr val="tx1"/>
                </a:solidFill>
                <a:effectLst/>
                <a:latin typeface="+mn-lt"/>
                <a:ea typeface="+mn-ea"/>
                <a:cs typeface="+mn-cs"/>
              </a:rPr>
              <a:t>Third, outcomes. Ultimately, it is about whether business objectives are met, such as road map progress, defect rates, and customer impact. These metrics are not different than what we used to track in past.</a:t>
            </a:r>
          </a:p>
          <a:p>
            <a:endParaRPr lang="en-GB"/>
          </a:p>
        </p:txBody>
      </p:sp>
      <p:sp>
        <p:nvSpPr>
          <p:cNvPr id="4" name="Slide Number Placeholder 3">
            <a:extLst>
              <a:ext uri="{FF2B5EF4-FFF2-40B4-BE49-F238E27FC236}">
                <a16:creationId xmlns:a16="http://schemas.microsoft.com/office/drawing/2014/main" id="{B307C023-FE67-548D-1F02-8729F0F1CA6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708A3-2E02-4C65-A1F6-862B0442F2B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10785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BE" sz="1200" kern="1200">
                <a:solidFill>
                  <a:schemeClr val="tx1"/>
                </a:solidFill>
                <a:effectLst/>
                <a:latin typeface="+mn-lt"/>
                <a:ea typeface="+mn-ea"/>
                <a:cs typeface="+mn-cs"/>
              </a:rPr>
              <a:t>Training and </a:t>
            </a:r>
            <a:r>
              <a:rPr lang="en-BE" sz="1200" kern="1200" err="1">
                <a:solidFill>
                  <a:schemeClr val="tx1"/>
                </a:solidFill>
                <a:effectLst/>
                <a:latin typeface="+mn-lt"/>
                <a:ea typeface="+mn-ea"/>
                <a:cs typeface="+mn-cs"/>
              </a:rPr>
              <a:t>changement</a:t>
            </a:r>
            <a:r>
              <a:rPr lang="en-BE" sz="1200" kern="1200">
                <a:solidFill>
                  <a:schemeClr val="tx1"/>
                </a:solidFill>
                <a:effectLst/>
                <a:latin typeface="+mn-lt"/>
                <a:ea typeface="+mn-ea"/>
                <a:cs typeface="+mn-cs"/>
              </a:rPr>
              <a:t> is of course important as well. Upskilling engineers and product managers to use AI is not as simple as providing them with a tool. Breaking down problems to clearly communicate with a large language model (LLM)—prompt engineering—is just one example of the complexity that requires intensive training to raise the bar. </a:t>
            </a:r>
          </a:p>
          <a:p>
            <a:r>
              <a:rPr lang="en-BE" sz="1200" kern="1200">
                <a:solidFill>
                  <a:schemeClr val="tx1"/>
                </a:solidFill>
                <a:effectLst/>
                <a:latin typeface="+mn-lt"/>
                <a:ea typeface="+mn-ea"/>
                <a:cs typeface="+mn-cs"/>
              </a:rPr>
              <a:t>But at Proximus we think it is important to design training that mirrors real development work—integrating AI into code reviews, sprint planning, and testing cycles—so teams learn to apply AI in live contexts, not simulations. To help personalize learning paths we cluster adoption levels across development teams so we can finetune trainings with focus on </a:t>
            </a:r>
            <a:r>
              <a:rPr lang="en-BE" sz="1200" kern="1200" err="1">
                <a:solidFill>
                  <a:schemeClr val="tx1"/>
                </a:solidFill>
                <a:effectLst/>
                <a:latin typeface="+mn-lt"/>
                <a:ea typeface="+mn-ea"/>
                <a:cs typeface="+mn-cs"/>
              </a:rPr>
              <a:t>on</a:t>
            </a:r>
            <a:r>
              <a:rPr lang="en-BE" sz="1200" kern="1200">
                <a:solidFill>
                  <a:schemeClr val="tx1"/>
                </a:solidFill>
                <a:effectLst/>
                <a:latin typeface="+mn-lt"/>
                <a:ea typeface="+mn-ea"/>
                <a:cs typeface="+mn-cs"/>
              </a:rPr>
              <a:t> prompt design and model evaluation.</a:t>
            </a:r>
          </a:p>
          <a:p>
            <a:r>
              <a:rPr lang="en-BE" sz="1200" kern="1200">
                <a:solidFill>
                  <a:schemeClr val="tx1"/>
                </a:solidFill>
                <a:effectLst/>
                <a:latin typeface="+mn-lt"/>
                <a:ea typeface="+mn-ea"/>
                <a:cs typeface="+mn-cs"/>
              </a:rPr>
              <a:t>It also helps to identify what we call Ninja-users to help establish internal “AI guilds” or “</a:t>
            </a:r>
            <a:r>
              <a:rPr lang="en-BE" sz="1200" kern="1200" err="1">
                <a:solidFill>
                  <a:schemeClr val="tx1"/>
                </a:solidFill>
                <a:effectLst/>
                <a:latin typeface="+mn-lt"/>
                <a:ea typeface="+mn-ea"/>
                <a:cs typeface="+mn-cs"/>
              </a:rPr>
              <a:t>centers</a:t>
            </a:r>
            <a:r>
              <a:rPr lang="en-BE" sz="1200" kern="1200">
                <a:solidFill>
                  <a:schemeClr val="tx1"/>
                </a:solidFill>
                <a:effectLst/>
                <a:latin typeface="+mn-lt"/>
                <a:ea typeface="+mn-ea"/>
                <a:cs typeface="+mn-cs"/>
              </a:rPr>
              <a:t> of enablement” that curate new use cases, share best practices, and serve as on-demand mentors for project teams.</a:t>
            </a:r>
          </a:p>
          <a:p>
            <a:endParaRPr lang="en-US"/>
          </a:p>
        </p:txBody>
      </p:sp>
      <p:sp>
        <p:nvSpPr>
          <p:cNvPr id="4" name="Slide Number Placeholder 3"/>
          <p:cNvSpPr>
            <a:spLocks noGrp="1"/>
          </p:cNvSpPr>
          <p:nvPr>
            <p:ph type="sldNum" sz="quarter" idx="5"/>
          </p:nvPr>
        </p:nvSpPr>
        <p:spPr/>
        <p:txBody>
          <a:bodyPr/>
          <a:lstStyle/>
          <a:p>
            <a:fld id="{CB13766C-F159-4859-806E-B52CA35F14B8}" type="slidenum">
              <a:rPr lang="en-BE" smtClean="0"/>
              <a:t>9</a:t>
            </a:fld>
            <a:endParaRPr lang="en-BE"/>
          </a:p>
        </p:txBody>
      </p:sp>
    </p:spTree>
    <p:extLst>
      <p:ext uri="{BB962C8B-B14F-4D97-AF65-F5344CB8AC3E}">
        <p14:creationId xmlns:p14="http://schemas.microsoft.com/office/powerpoint/2010/main" val="25588400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A891C5-D7DA-BB65-C3B8-7B165831CA2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E2B3A5-DA33-951F-F410-99E889DFC0BF}"/>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4FF08D53-50A2-D6D0-8634-B68FE75F8B4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C97C45D-D585-CDE9-C523-4AB9948291C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708A3-2E02-4C65-A1F6-862B0442F2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50575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28A90A-CBC3-364F-29F6-8BD097ECF7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DCDAF3C-A5F1-6BA5-BF5D-DB9FE686ED53}"/>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F0F19BAE-9E3F-3604-B5CF-447EA286E2E3}"/>
              </a:ext>
            </a:extLst>
          </p:cNvPr>
          <p:cNvSpPr>
            <a:spLocks noGrp="1"/>
          </p:cNvSpPr>
          <p:nvPr>
            <p:ph type="body" idx="1"/>
          </p:nvPr>
        </p:nvSpPr>
        <p:spPr/>
        <p:txBody>
          <a:bodyPr/>
          <a:lstStyle/>
          <a:p>
            <a:r>
              <a:rPr lang="en-BE" sz="1200" kern="1200">
                <a:solidFill>
                  <a:schemeClr val="tx1"/>
                </a:solidFill>
                <a:effectLst/>
                <a:latin typeface="+mn-lt"/>
                <a:ea typeface="+mn-ea"/>
                <a:cs typeface="+mn-cs"/>
              </a:rPr>
              <a:t>A lot of the current fuzz focuses on “greenfield” examples—start-ups building from scratch on Java based development frameworks. The reality that most of use have to deal with is that we have millions of lines of code already, plus high internal and external compliance standards, integrations. That complexity slows adoption. That is not a failure of technology; it just takes time to integrate these tools.</a:t>
            </a:r>
          </a:p>
          <a:p>
            <a:r>
              <a:rPr lang="en-BE" sz="1200" kern="1200">
                <a:solidFill>
                  <a:schemeClr val="tx1"/>
                </a:solidFill>
                <a:effectLst/>
                <a:latin typeface="+mn-lt"/>
                <a:ea typeface="+mn-ea"/>
                <a:cs typeface="+mn-cs"/>
              </a:rPr>
              <a:t>In tackling this challenge it is interesting to draw a </a:t>
            </a:r>
            <a:r>
              <a:rPr lang="en-BE" sz="1200" kern="1200" err="1">
                <a:solidFill>
                  <a:schemeClr val="tx1"/>
                </a:solidFill>
                <a:effectLst/>
                <a:latin typeface="+mn-lt"/>
                <a:ea typeface="+mn-ea"/>
                <a:cs typeface="+mn-cs"/>
              </a:rPr>
              <a:t>parralel</a:t>
            </a:r>
            <a:r>
              <a:rPr lang="en-BE" sz="1200" kern="1200">
                <a:solidFill>
                  <a:schemeClr val="tx1"/>
                </a:solidFill>
                <a:effectLst/>
                <a:latin typeface="+mn-lt"/>
                <a:ea typeface="+mn-ea"/>
                <a:cs typeface="+mn-cs"/>
              </a:rPr>
              <a:t> to digital assistant in customer services or internal operations? There effectiveness depends on having a large knowledge base of product pages, methods &amp; procedures... that have been typically written for humans but can easily exposed by RAG.</a:t>
            </a:r>
          </a:p>
          <a:p>
            <a:r>
              <a:rPr lang="en-BE" sz="1200" kern="1200">
                <a:solidFill>
                  <a:schemeClr val="tx1"/>
                </a:solidFill>
                <a:effectLst/>
                <a:latin typeface="+mn-lt"/>
                <a:ea typeface="+mn-ea"/>
                <a:cs typeface="+mn-cs"/>
              </a:rPr>
              <a:t>But many IT  organization, us included, don’t have the same level of documentation available to instruct coding Agents. Hence as a result a lot is dependent on the prompt engineering from individual developers.</a:t>
            </a:r>
          </a:p>
          <a:p>
            <a:r>
              <a:rPr lang="en-BE" sz="1200" kern="1200">
                <a:solidFill>
                  <a:schemeClr val="tx1"/>
                </a:solidFill>
                <a:effectLst/>
                <a:latin typeface="+mn-lt"/>
                <a:ea typeface="+mn-ea"/>
                <a:cs typeface="+mn-cs"/>
              </a:rPr>
              <a:t>We tackle this problem at Proximus by creating real coding agents, that have not only access to the code repository, but which we also feed with a lot of documentation on data &amp; functional objects, integrations, functional and non-functional requirements, security guidelines etc. </a:t>
            </a:r>
          </a:p>
          <a:p>
            <a:r>
              <a:rPr lang="en-BE" sz="1200" kern="1200">
                <a:solidFill>
                  <a:schemeClr val="tx1"/>
                </a:solidFill>
                <a:effectLst/>
                <a:latin typeface="+mn-lt"/>
                <a:ea typeface="+mn-ea"/>
                <a:cs typeface="+mn-cs"/>
              </a:rPr>
              <a:t>And we find they work best when they are properly scoped, each focusing on a specific task, just like a normal team, though the function don’t fully align.</a:t>
            </a:r>
          </a:p>
          <a:p>
            <a:r>
              <a:rPr lang="en-BE" sz="1200" kern="1200">
                <a:solidFill>
                  <a:schemeClr val="tx1"/>
                </a:solidFill>
                <a:effectLst/>
                <a:latin typeface="+mn-lt"/>
                <a:ea typeface="+mn-ea"/>
                <a:cs typeface="+mn-cs"/>
              </a:rPr>
              <a:t>For examples, we are refactoring part of our mobile app – lot of the refactoring is done by the coding agent, but we have created two other agents to help developers specifically to harden the code, from a security and observability point of view, as well as unit test generation. An initial code review is also done by an Orchestration agent that review code generated, the feedback loop is not yet implemented. </a:t>
            </a:r>
          </a:p>
          <a:p>
            <a:r>
              <a:rPr lang="en-BE" sz="1200" kern="1200">
                <a:solidFill>
                  <a:schemeClr val="tx1"/>
                </a:solidFill>
                <a:effectLst/>
                <a:latin typeface="+mn-lt"/>
                <a:ea typeface="+mn-ea"/>
                <a:cs typeface="+mn-cs"/>
              </a:rPr>
              <a:t>This set-up already improves productivity by 20% on top of normal Co-pilot usage, even if it essentially uses the same underlying models and code repository.</a:t>
            </a:r>
          </a:p>
          <a:p>
            <a:endParaRPr lang="en-US"/>
          </a:p>
        </p:txBody>
      </p:sp>
      <p:sp>
        <p:nvSpPr>
          <p:cNvPr id="4" name="Slide Number Placeholder 3">
            <a:extLst>
              <a:ext uri="{FF2B5EF4-FFF2-40B4-BE49-F238E27FC236}">
                <a16:creationId xmlns:a16="http://schemas.microsoft.com/office/drawing/2014/main" id="{5F0CB995-1600-2439-8DFF-205D93C1F44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708A3-2E02-4C65-A1F6-862B0442F2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28285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4.jpeg"/><Relationship Id="rId1" Type="http://schemas.openxmlformats.org/officeDocument/2006/relationships/slideMaster" Target="../slideMasters/slideMaster3.xml"/><Relationship Id="rId4" Type="http://schemas.openxmlformats.org/officeDocument/2006/relationships/image" Target="../media/image23.sv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3.xml"/><Relationship Id="rId4" Type="http://schemas.openxmlformats.org/officeDocument/2006/relationships/image" Target="../media/image27.sv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 Id="rId5" Type="http://schemas.openxmlformats.org/officeDocument/2006/relationships/image" Target="../media/image29.svg"/><Relationship Id="rId4" Type="http://schemas.openxmlformats.org/officeDocument/2006/relationships/image" Target="../media/image28.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0.png"/><Relationship Id="rId1" Type="http://schemas.openxmlformats.org/officeDocument/2006/relationships/slideMaster" Target="../slideMasters/slideMaster3.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43.png"/><Relationship Id="rId1" Type="http://schemas.openxmlformats.org/officeDocument/2006/relationships/slideMaster" Target="../slideMasters/slideMaster3.xml"/><Relationship Id="rId4" Type="http://schemas.openxmlformats.org/officeDocument/2006/relationships/image" Target="../media/image23.sv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3.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Master" Target="../slideMasters/slideMaster3.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46.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8.xml"/></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10.xml"/><Relationship Id="rId4" Type="http://schemas.openxmlformats.org/officeDocument/2006/relationships/image" Target="../media/image17.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11.xml"/><Relationship Id="rId4" Type="http://schemas.openxmlformats.org/officeDocument/2006/relationships/image" Target="../media/image17.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4.xml"/><Relationship Id="rId1" Type="http://schemas.openxmlformats.org/officeDocument/2006/relationships/tags" Target="../tags/tag12.xml"/><Relationship Id="rId4" Type="http://schemas.openxmlformats.org/officeDocument/2006/relationships/image" Target="../media/image17.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5.xml"/><Relationship Id="rId1" Type="http://schemas.openxmlformats.org/officeDocument/2006/relationships/tags" Target="../tags/tag14.xml"/><Relationship Id="rId4" Type="http://schemas.openxmlformats.org/officeDocument/2006/relationships/image" Target="../media/image17.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15.xml"/><Relationship Id="rId4" Type="http://schemas.openxmlformats.org/officeDocument/2006/relationships/image" Target="../media/image17.emf"/></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16.xml"/><Relationship Id="rId4" Type="http://schemas.openxmlformats.org/officeDocument/2006/relationships/image" Target="../media/image47.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4.jpeg"/><Relationship Id="rId1" Type="http://schemas.openxmlformats.org/officeDocument/2006/relationships/slideMaster" Target="../slideMasters/slideMaster6.xml"/><Relationship Id="rId4" Type="http://schemas.openxmlformats.org/officeDocument/2006/relationships/image" Target="../media/image23.svg"/></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6.xml"/><Relationship Id="rId4" Type="http://schemas.openxmlformats.org/officeDocument/2006/relationships/image" Target="../media/image27.sv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6.xml"/><Relationship Id="rId5" Type="http://schemas.openxmlformats.org/officeDocument/2006/relationships/image" Target="../media/image29.svg"/><Relationship Id="rId4" Type="http://schemas.openxmlformats.org/officeDocument/2006/relationships/image" Target="../media/image28.pn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6.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2.png"/><Relationship Id="rId1" Type="http://schemas.openxmlformats.org/officeDocument/2006/relationships/slideMaster" Target="../slideMasters/slideMaster6.xml"/><Relationship Id="rId4" Type="http://schemas.openxmlformats.org/officeDocument/2006/relationships/image" Target="../media/image23.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6.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6.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6.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51.png"/><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51.png"/><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4.jpeg"/><Relationship Id="rId1" Type="http://schemas.openxmlformats.org/officeDocument/2006/relationships/slideMaster" Target="../slideMasters/slideMaster7.xml"/><Relationship Id="rId4" Type="http://schemas.openxmlformats.org/officeDocument/2006/relationships/image" Target="../media/image23.sv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7.xml"/><Relationship Id="rId4" Type="http://schemas.openxmlformats.org/officeDocument/2006/relationships/image" Target="../media/image27.sv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7.xml"/><Relationship Id="rId5" Type="http://schemas.openxmlformats.org/officeDocument/2006/relationships/image" Target="../media/image29.svg"/><Relationship Id="rId4" Type="http://schemas.openxmlformats.org/officeDocument/2006/relationships/image" Target="../media/image28.pn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7.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53.png"/><Relationship Id="rId1" Type="http://schemas.openxmlformats.org/officeDocument/2006/relationships/slideMaster" Target="../slideMasters/slideMaster7.xml"/><Relationship Id="rId4" Type="http://schemas.openxmlformats.org/officeDocument/2006/relationships/image" Target="../media/image23.svg"/></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7.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46.png"/><Relationship Id="rId1" Type="http://schemas.openxmlformats.org/officeDocument/2006/relationships/slideMaster" Target="../slideMasters/slideMaster7.xml"/><Relationship Id="rId4" Type="http://schemas.openxmlformats.org/officeDocument/2006/relationships/image" Target="../media/image23.svg"/></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7.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8" Type="http://schemas.openxmlformats.org/officeDocument/2006/relationships/image" Target="../media/image54.emf"/><Relationship Id="rId3" Type="http://schemas.openxmlformats.org/officeDocument/2006/relationships/tags" Target="../tags/tag21.xml"/><Relationship Id="rId7" Type="http://schemas.openxmlformats.org/officeDocument/2006/relationships/oleObject" Target="../embeddings/oleObject18.bin"/><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slideMaster" Target="../slideMasters/slideMaster7.xml"/><Relationship Id="rId11" Type="http://schemas.openxmlformats.org/officeDocument/2006/relationships/image" Target="../media/image56.svg"/><Relationship Id="rId5" Type="http://schemas.openxmlformats.org/officeDocument/2006/relationships/tags" Target="../tags/tag23.xml"/><Relationship Id="rId10" Type="http://schemas.openxmlformats.org/officeDocument/2006/relationships/image" Target="../media/image51.png"/><Relationship Id="rId4" Type="http://schemas.openxmlformats.org/officeDocument/2006/relationships/tags" Target="../tags/tag22.xml"/><Relationship Id="rId9" Type="http://schemas.openxmlformats.org/officeDocument/2006/relationships/image" Target="../media/image55.jpe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8.xml"/><Relationship Id="rId1" Type="http://schemas.openxmlformats.org/officeDocument/2006/relationships/tags" Target="../tags/tag25.xml"/><Relationship Id="rId4" Type="http://schemas.openxmlformats.org/officeDocument/2006/relationships/image" Target="../media/image41.emf"/></Relationships>
</file>

<file path=ppt/slideLayouts/_rels/slideLayout22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8.xml"/><Relationship Id="rId1" Type="http://schemas.openxmlformats.org/officeDocument/2006/relationships/tags" Target="../tags/tag26.xml"/><Relationship Id="rId4" Type="http://schemas.openxmlformats.org/officeDocument/2006/relationships/image" Target="../media/image17.emf"/></Relationships>
</file>

<file path=ppt/slideLayouts/_rels/slideLayout22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8.xml"/><Relationship Id="rId1" Type="http://schemas.openxmlformats.org/officeDocument/2006/relationships/tags" Target="../tags/tag27.xml"/><Relationship Id="rId4" Type="http://schemas.openxmlformats.org/officeDocument/2006/relationships/image" Target="../media/image41.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7" Type="http://schemas.openxmlformats.org/officeDocument/2006/relationships/image" Target="../media/image4.sv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9.svg"/><Relationship Id="rId4" Type="http://schemas.openxmlformats.org/officeDocument/2006/relationships/image" Target="../media/image8.png"/></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7.emf"/></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4.sv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19.jpeg"/><Relationship Id="rId4" Type="http://schemas.openxmlformats.org/officeDocument/2006/relationships/image" Target="../media/image18.emf"/></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4.jpeg"/><Relationship Id="rId1" Type="http://schemas.openxmlformats.org/officeDocument/2006/relationships/slideMaster" Target="../slideMasters/slideMaster2.xml"/><Relationship Id="rId4" Type="http://schemas.openxmlformats.org/officeDocument/2006/relationships/image" Target="../media/image23.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2.xml"/><Relationship Id="rId4" Type="http://schemas.openxmlformats.org/officeDocument/2006/relationships/image" Target="../media/image27.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 Id="rId5" Type="http://schemas.openxmlformats.org/officeDocument/2006/relationships/image" Target="../media/image29.svg"/><Relationship Id="rId4" Type="http://schemas.openxmlformats.org/officeDocument/2006/relationships/image" Target="../media/image28.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2.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2.png"/><Relationship Id="rId1" Type="http://schemas.openxmlformats.org/officeDocument/2006/relationships/slideMaster" Target="../slideMasters/slideMaster2.xml"/><Relationship Id="rId4" Type="http://schemas.openxmlformats.org/officeDocument/2006/relationships/image" Target="../media/image23.sv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2.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2.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8.emf"/></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XS ADA - Cover - Title &amp; subtitle">
    <p:bg>
      <p:bgPr>
        <a:solidFill>
          <a:srgbClr val="03001D"/>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885CF05-80ED-B58C-A3F5-702AF6197B4C}"/>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400" y="1"/>
            <a:ext cx="12192400" cy="6858225"/>
          </a:xfrm>
          <a:prstGeom prst="rect">
            <a:avLst/>
          </a:prstGeom>
        </p:spPr>
      </p:pic>
      <p:sp>
        <p:nvSpPr>
          <p:cNvPr id="2" name="Rectangle 1">
            <a:extLst>
              <a:ext uri="{FF2B5EF4-FFF2-40B4-BE49-F238E27FC236}">
                <a16:creationId xmlns:a16="http://schemas.microsoft.com/office/drawing/2014/main" id="{6F1D1DF4-7C9E-21B3-C9F2-B345A2D5E90E}"/>
              </a:ext>
            </a:extLst>
          </p:cNvPr>
          <p:cNvSpPr/>
          <p:nvPr userDrawn="1"/>
        </p:nvSpPr>
        <p:spPr>
          <a:xfrm>
            <a:off x="-1600" y="1"/>
            <a:ext cx="12193600" cy="6858225"/>
          </a:xfrm>
          <a:prstGeom prst="rect">
            <a:avLst/>
          </a:prstGeom>
          <a:gradFill>
            <a:gsLst>
              <a:gs pos="0">
                <a:srgbClr val="5C2D91"/>
              </a:gs>
              <a:gs pos="60000">
                <a:srgbClr val="5C2D91">
                  <a:alpha val="0"/>
                </a:srgb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2400">
              <a:solidFill>
                <a:schemeClr val="accent4"/>
              </a:solidFill>
            </a:endParaRPr>
          </a:p>
        </p:txBody>
      </p:sp>
      <p:sp>
        <p:nvSpPr>
          <p:cNvPr id="7" name="Title 1"/>
          <p:cNvSpPr>
            <a:spLocks noGrp="1"/>
          </p:cNvSpPr>
          <p:nvPr>
            <p:ph type="title" hasCustomPrompt="1"/>
          </p:nvPr>
        </p:nvSpPr>
        <p:spPr>
          <a:xfrm>
            <a:off x="613835" y="2110629"/>
            <a:ext cx="6648963" cy="1658907"/>
          </a:xfrm>
        </p:spPr>
        <p:txBody>
          <a:bodyPr anchor="b">
            <a:normAutofit/>
          </a:bodyPr>
          <a:lstStyle>
            <a:lvl1pPr>
              <a:lnSpc>
                <a:spcPct val="90000"/>
              </a:lnSpc>
              <a:defRPr sz="5333" b="0" i="0">
                <a:solidFill>
                  <a:srgbClr val="FFFFFF"/>
                </a:solidFill>
                <a:latin typeface="Proximus Light" pitchFamily="2" charset="77"/>
              </a:defRPr>
            </a:lvl1pPr>
          </a:lstStyle>
          <a:p>
            <a:r>
              <a:rPr lang="en-US"/>
              <a:t>Click to edit </a:t>
            </a:r>
            <a:br>
              <a:rPr lang="en-US"/>
            </a:br>
            <a:r>
              <a:rPr lang="en-US"/>
              <a:t>presentation title</a:t>
            </a:r>
            <a:endParaRPr lang="nl-BE"/>
          </a:p>
        </p:txBody>
      </p:sp>
      <p:pic>
        <p:nvPicPr>
          <p:cNvPr id="13" name="Graphic 12">
            <a:extLst>
              <a:ext uri="{FF2B5EF4-FFF2-40B4-BE49-F238E27FC236}">
                <a16:creationId xmlns:a16="http://schemas.microsoft.com/office/drawing/2014/main" id="{AB277291-E0C5-22B4-F413-8DCCE5E44F97}"/>
              </a:ext>
            </a:extLst>
          </p:cNvPr>
          <p:cNvPicPr>
            <a:picLocks noGrp="1" noRot="1" noChangeAspect="1" noMove="1" noResize="1" noEditPoints="1" noAdjustHandles="1" noChangeArrowheads="1" noChangeShapeType="1" noCrop="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4418" y="602644"/>
            <a:ext cx="1663503" cy="455445"/>
          </a:xfrm>
          <a:prstGeom prst="rect">
            <a:avLst/>
          </a:prstGeom>
        </p:spPr>
      </p:pic>
      <p:pic>
        <p:nvPicPr>
          <p:cNvPr id="10" name="Picture 9" descr="A purple and blue swirly symbol&#10;&#10;Description automatically generated with medium confidence">
            <a:extLst>
              <a:ext uri="{FF2B5EF4-FFF2-40B4-BE49-F238E27FC236}">
                <a16:creationId xmlns:a16="http://schemas.microsoft.com/office/drawing/2014/main" id="{C7AE6EF9-541F-55F4-BDAE-8F25265E0E27}"/>
              </a:ext>
            </a:extLst>
          </p:cNvPr>
          <p:cNvPicPr>
            <a:picLocks noGrp="1" noRot="1" noChangeAspect="1" noMove="1" noResize="1" noEditPoints="1" noAdjustHandles="1" noChangeArrowheads="1" noChangeShapeType="1" noCrop="1"/>
          </p:cNvPicPr>
          <p:nvPr userDrawn="1"/>
        </p:nvPicPr>
        <p:blipFill>
          <a:blip r:embed="rId5" cstate="print">
            <a:extLst>
              <a:ext uri="{28A0092B-C50C-407E-A947-70E740481C1C}">
                <a14:useLocalDpi xmlns:a14="http://schemas.microsoft.com/office/drawing/2010/main" val="0"/>
              </a:ext>
            </a:extLst>
          </a:blip>
          <a:stretch>
            <a:fillRect/>
          </a:stretch>
        </p:blipFill>
        <p:spPr>
          <a:xfrm>
            <a:off x="7262797" y="1071605"/>
            <a:ext cx="4474864" cy="4474864"/>
          </a:xfrm>
          <a:prstGeom prst="rect">
            <a:avLst/>
          </a:prstGeom>
        </p:spPr>
      </p:pic>
      <p:sp>
        <p:nvSpPr>
          <p:cNvPr id="4" name="Subtitle 6">
            <a:extLst>
              <a:ext uri="{FF2B5EF4-FFF2-40B4-BE49-F238E27FC236}">
                <a16:creationId xmlns:a16="http://schemas.microsoft.com/office/drawing/2014/main" id="{B38E9281-04A5-6080-588D-ED663B37E47E}"/>
              </a:ext>
            </a:extLst>
          </p:cNvPr>
          <p:cNvSpPr>
            <a:spLocks noGrp="1"/>
          </p:cNvSpPr>
          <p:nvPr>
            <p:ph type="subTitle" idx="1"/>
          </p:nvPr>
        </p:nvSpPr>
        <p:spPr>
          <a:xfrm>
            <a:off x="613834" y="5422901"/>
            <a:ext cx="6648964" cy="823383"/>
          </a:xfrm>
        </p:spPr>
        <p:txBody>
          <a:bodyPr anchor="b"/>
          <a:lstStyle>
            <a:lvl1pPr>
              <a:defRPr sz="1867" b="1">
                <a:solidFill>
                  <a:schemeClr val="accent4"/>
                </a:solidFill>
                <a:latin typeface="Proximus Bold" panose="020B0604020202020204" charset="0"/>
              </a:defRPr>
            </a:lvl1pPr>
          </a:lstStyle>
          <a:p>
            <a:endParaRPr lang="en-GB"/>
          </a:p>
        </p:txBody>
      </p:sp>
      <p:sp>
        <p:nvSpPr>
          <p:cNvPr id="8" name="Text Placeholder 8">
            <a:extLst>
              <a:ext uri="{FF2B5EF4-FFF2-40B4-BE49-F238E27FC236}">
                <a16:creationId xmlns:a16="http://schemas.microsoft.com/office/drawing/2014/main" id="{B2DEF1E3-051C-301D-2829-D75626B7BDE2}"/>
              </a:ext>
            </a:extLst>
          </p:cNvPr>
          <p:cNvSpPr>
            <a:spLocks noGrp="1"/>
          </p:cNvSpPr>
          <p:nvPr>
            <p:ph type="body" sz="quarter" idx="11" hasCustomPrompt="1"/>
          </p:nvPr>
        </p:nvSpPr>
        <p:spPr>
          <a:xfrm>
            <a:off x="613834" y="4021973"/>
            <a:ext cx="6648964" cy="1230825"/>
          </a:xfrm>
        </p:spPr>
        <p:txBody>
          <a:bodyPr/>
          <a:lstStyle>
            <a:lvl1pPr>
              <a:defRPr sz="2667">
                <a:solidFill>
                  <a:schemeClr val="tx1"/>
                </a:solidFill>
                <a:latin typeface="Proximus Bold" panose="020B0604020202020204" charset="0"/>
              </a:defRPr>
            </a:lvl1pPr>
          </a:lstStyle>
          <a:p>
            <a:r>
              <a:rPr lang="en-GB"/>
              <a:t>Click to edit subtitle</a:t>
            </a:r>
          </a:p>
        </p:txBody>
      </p:sp>
    </p:spTree>
    <p:extLst>
      <p:ext uri="{BB962C8B-B14F-4D97-AF65-F5344CB8AC3E}">
        <p14:creationId xmlns:p14="http://schemas.microsoft.com/office/powerpoint/2010/main" val="27563260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XS ADA - title only - bg2">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B554715B-EC8F-7AE9-683C-CA8F2794225A}"/>
              </a:ext>
            </a:extLst>
          </p:cNvPr>
          <p:cNvGrpSpPr/>
          <p:nvPr userDrawn="1"/>
        </p:nvGrpSpPr>
        <p:grpSpPr>
          <a:xfrm>
            <a:off x="-400" y="1"/>
            <a:ext cx="12193600" cy="6858225"/>
            <a:chOff x="-300" y="0"/>
            <a:chExt cx="9145200" cy="5143669"/>
          </a:xfrm>
        </p:grpSpPr>
        <p:pic>
          <p:nvPicPr>
            <p:cNvPr id="3" name="Picture 2">
              <a:extLst>
                <a:ext uri="{FF2B5EF4-FFF2-40B4-BE49-F238E27FC236}">
                  <a16:creationId xmlns:a16="http://schemas.microsoft.com/office/drawing/2014/main" id="{25AC6428-F2D1-88C1-96BD-AE37F22DE76D}"/>
                </a:ext>
                <a:ext uri="{C183D7F6-B498-43B3-948B-1728B52AA6E4}">
                  <adec:decorative xmlns:adec="http://schemas.microsoft.com/office/drawing/2017/decorative" val="1"/>
                </a:ext>
              </a:extLst>
            </p:cNvPr>
            <p:cNvPicPr>
              <a:picLocks/>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300" y="0"/>
              <a:ext cx="9144300" cy="5143669"/>
            </a:xfrm>
            <a:prstGeom prst="rect">
              <a:avLst/>
            </a:prstGeom>
          </p:spPr>
        </p:pic>
        <p:sp>
          <p:nvSpPr>
            <p:cNvPr id="4" name="Rectangle 3">
              <a:extLst>
                <a:ext uri="{FF2B5EF4-FFF2-40B4-BE49-F238E27FC236}">
                  <a16:creationId xmlns:a16="http://schemas.microsoft.com/office/drawing/2014/main" id="{4DD370B6-2704-FDA7-EDEB-D8102F0750A1}"/>
                </a:ext>
              </a:extLst>
            </p:cNvPr>
            <p:cNvSpPr/>
            <p:nvPr userDrawn="1"/>
          </p:nvSpPr>
          <p:spPr>
            <a:xfrm>
              <a:off x="-300" y="0"/>
              <a:ext cx="9145200" cy="5143669"/>
            </a:xfrm>
            <a:prstGeom prst="rect">
              <a:avLst/>
            </a:prstGeom>
            <a:gradFill>
              <a:gsLst>
                <a:gs pos="0">
                  <a:srgbClr val="5C2D91"/>
                </a:gs>
                <a:gs pos="60000">
                  <a:srgbClr val="5C2D91">
                    <a:alpha val="0"/>
                  </a:srgb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2400"/>
            </a:p>
          </p:txBody>
        </p:sp>
      </p:grpSp>
      <p:sp>
        <p:nvSpPr>
          <p:cNvPr id="2" name="Title 1"/>
          <p:cNvSpPr>
            <a:spLocks noGrp="1"/>
          </p:cNvSpPr>
          <p:nvPr>
            <p:ph type="title" hasCustomPrompt="1"/>
          </p:nvPr>
        </p:nvSpPr>
        <p:spPr/>
        <p:txBody>
          <a:bodyPr anchor="t"/>
          <a:lstStyle>
            <a:lvl1pPr>
              <a:defRPr b="0"/>
            </a:lvl1pPr>
          </a:lstStyle>
          <a:p>
            <a:r>
              <a:rPr lang="en-US"/>
              <a:t>Click to edit slide title</a:t>
            </a:r>
            <a:endParaRPr lang="nl-BE"/>
          </a:p>
        </p:txBody>
      </p:sp>
    </p:spTree>
    <p:extLst>
      <p:ext uri="{BB962C8B-B14F-4D97-AF65-F5344CB8AC3E}">
        <p14:creationId xmlns:p14="http://schemas.microsoft.com/office/powerpoint/2010/main" val="173360008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Cover - Gradient - Image">
    <p:bg>
      <p:bgPr>
        <a:gradFill>
          <a:gsLst>
            <a:gs pos="25000">
              <a:schemeClr val="bg1"/>
            </a:gs>
            <a:gs pos="100000">
              <a:srgbClr val="D12E67"/>
            </a:gs>
          </a:gsLst>
          <a:lin ang="3000000" scaled="0"/>
        </a:gradFill>
        <a:effectLst/>
      </p:bgPr>
    </p:bg>
    <p:spTree>
      <p:nvGrpSpPr>
        <p:cNvPr id="1" name=""/>
        <p:cNvGrpSpPr/>
        <p:nvPr/>
      </p:nvGrpSpPr>
      <p:grpSpPr>
        <a:xfrm>
          <a:off x="0" y="0"/>
          <a:ext cx="0" cy="0"/>
          <a:chOff x="0" y="0"/>
          <a:chExt cx="0" cy="0"/>
        </a:xfrm>
      </p:grpSpPr>
      <p:grpSp>
        <p:nvGrpSpPr>
          <p:cNvPr id="11" name="Graphic 4">
            <a:extLst>
              <a:ext uri="{FF2B5EF4-FFF2-40B4-BE49-F238E27FC236}">
                <a16:creationId xmlns:a16="http://schemas.microsoft.com/office/drawing/2014/main" id="{15EDE4F8-FC59-7BE7-1801-8537A16910DD}"/>
              </a:ext>
            </a:extLst>
          </p:cNvPr>
          <p:cNvGrpSpPr/>
          <p:nvPr userDrawn="1"/>
        </p:nvGrpSpPr>
        <p:grpSpPr>
          <a:xfrm>
            <a:off x="10706048" y="5727768"/>
            <a:ext cx="884432" cy="712555"/>
            <a:chOff x="8029536" y="4295826"/>
            <a:chExt cx="663324" cy="534416"/>
          </a:xfrm>
        </p:grpSpPr>
        <p:grpSp>
          <p:nvGrpSpPr>
            <p:cNvPr id="12" name="Graphic 4">
              <a:extLst>
                <a:ext uri="{FF2B5EF4-FFF2-40B4-BE49-F238E27FC236}">
                  <a16:creationId xmlns:a16="http://schemas.microsoft.com/office/drawing/2014/main" id="{6940611F-F0A4-39EB-FD9E-D5424E86FCE5}"/>
                </a:ext>
              </a:extLst>
            </p:cNvPr>
            <p:cNvGrpSpPr/>
            <p:nvPr userDrawn="1"/>
          </p:nvGrpSpPr>
          <p:grpSpPr>
            <a:xfrm>
              <a:off x="8029536" y="4708959"/>
              <a:ext cx="663324" cy="121283"/>
              <a:chOff x="8029536" y="4708959"/>
              <a:chExt cx="663324" cy="121283"/>
            </a:xfrm>
            <a:solidFill>
              <a:srgbClr val="FFFFFF"/>
            </a:solidFill>
          </p:grpSpPr>
          <p:sp>
            <p:nvSpPr>
              <p:cNvPr id="13" name="Freeform: Shape 12">
                <a:extLst>
                  <a:ext uri="{FF2B5EF4-FFF2-40B4-BE49-F238E27FC236}">
                    <a16:creationId xmlns:a16="http://schemas.microsoft.com/office/drawing/2014/main" id="{35DF712F-A3AE-145E-2BE5-0AC407A707EF}"/>
                  </a:ext>
                </a:extLst>
              </p:cNvPr>
              <p:cNvSpPr/>
              <p:nvPr userDrawn="1"/>
            </p:nvSpPr>
            <p:spPr>
              <a:xfrm>
                <a:off x="8029536" y="4708959"/>
                <a:ext cx="81783" cy="121283"/>
              </a:xfrm>
              <a:custGeom>
                <a:avLst/>
                <a:gdLst>
                  <a:gd name="connsiteX0" fmla="*/ 81784 w 81783"/>
                  <a:gd name="connsiteY0" fmla="*/ 44180 h 121283"/>
                  <a:gd name="connsiteX1" fmla="*/ 40740 w 81783"/>
                  <a:gd name="connsiteY1" fmla="*/ 88640 h 121283"/>
                  <a:gd name="connsiteX2" fmla="*/ 20522 w 81783"/>
                  <a:gd name="connsiteY2" fmla="*/ 82883 h 121283"/>
                  <a:gd name="connsiteX3" fmla="*/ 20522 w 81783"/>
                  <a:gd name="connsiteY3" fmla="*/ 121283 h 121283"/>
                  <a:gd name="connsiteX4" fmla="*/ 0 w 81783"/>
                  <a:gd name="connsiteY4" fmla="*/ 121283 h 121283"/>
                  <a:gd name="connsiteX5" fmla="*/ 0 w 81783"/>
                  <a:gd name="connsiteY5" fmla="*/ 43688 h 121283"/>
                  <a:gd name="connsiteX6" fmla="*/ 40740 w 81783"/>
                  <a:gd name="connsiteY6" fmla="*/ 0 h 121283"/>
                  <a:gd name="connsiteX7" fmla="*/ 81784 w 81783"/>
                  <a:gd name="connsiteY7" fmla="*/ 44180 h 121283"/>
                  <a:gd name="connsiteX8" fmla="*/ 61121 w 81783"/>
                  <a:gd name="connsiteY8" fmla="*/ 44180 h 121283"/>
                  <a:gd name="connsiteX9" fmla="*/ 40763 w 81783"/>
                  <a:gd name="connsiteY9" fmla="*/ 19469 h 121283"/>
                  <a:gd name="connsiteX10" fmla="*/ 20545 w 81783"/>
                  <a:gd name="connsiteY10" fmla="*/ 44180 h 121283"/>
                  <a:gd name="connsiteX11" fmla="*/ 40763 w 81783"/>
                  <a:gd name="connsiteY11" fmla="*/ 69218 h 121283"/>
                  <a:gd name="connsiteX12" fmla="*/ 61121 w 81783"/>
                  <a:gd name="connsiteY12" fmla="*/ 44180 h 121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1783" h="121283">
                    <a:moveTo>
                      <a:pt x="81784" y="44180"/>
                    </a:moveTo>
                    <a:cubicBezTo>
                      <a:pt x="81784" y="72798"/>
                      <a:pt x="64210" y="88640"/>
                      <a:pt x="40740" y="88640"/>
                    </a:cubicBezTo>
                    <a:cubicBezTo>
                      <a:pt x="33111" y="88640"/>
                      <a:pt x="26278" y="86768"/>
                      <a:pt x="20522" y="82883"/>
                    </a:cubicBezTo>
                    <a:lnTo>
                      <a:pt x="20522" y="121283"/>
                    </a:lnTo>
                    <a:lnTo>
                      <a:pt x="0" y="121283"/>
                    </a:lnTo>
                    <a:lnTo>
                      <a:pt x="0" y="43688"/>
                    </a:lnTo>
                    <a:cubicBezTo>
                      <a:pt x="0" y="15234"/>
                      <a:pt x="17410" y="0"/>
                      <a:pt x="40740" y="0"/>
                    </a:cubicBezTo>
                    <a:cubicBezTo>
                      <a:pt x="64210" y="23"/>
                      <a:pt x="81784" y="15725"/>
                      <a:pt x="81784" y="44180"/>
                    </a:cubicBezTo>
                    <a:close/>
                    <a:moveTo>
                      <a:pt x="61121" y="44180"/>
                    </a:moveTo>
                    <a:cubicBezTo>
                      <a:pt x="61121" y="26770"/>
                      <a:pt x="53189" y="19469"/>
                      <a:pt x="40763" y="19469"/>
                    </a:cubicBezTo>
                    <a:cubicBezTo>
                      <a:pt x="28478" y="19469"/>
                      <a:pt x="20545" y="26770"/>
                      <a:pt x="20545" y="44180"/>
                    </a:cubicBezTo>
                    <a:cubicBezTo>
                      <a:pt x="20545" y="61917"/>
                      <a:pt x="28478" y="69218"/>
                      <a:pt x="40763" y="69218"/>
                    </a:cubicBezTo>
                    <a:cubicBezTo>
                      <a:pt x="53189" y="69194"/>
                      <a:pt x="61121" y="61893"/>
                      <a:pt x="61121" y="44180"/>
                    </a:cubicBezTo>
                    <a:close/>
                  </a:path>
                </a:pathLst>
              </a:custGeom>
              <a:solidFill>
                <a:srgbClr val="FFFFFF"/>
              </a:solidFill>
              <a:ln w="2339" cap="flat">
                <a:noFill/>
                <a:prstDash val="solid"/>
                <a:miter/>
              </a:ln>
            </p:spPr>
            <p:txBody>
              <a:bodyPr rtlCol="0" anchor="ctr"/>
              <a:lstStyle/>
              <a:p>
                <a:endParaRPr lang="en-US" sz="2400"/>
              </a:p>
            </p:txBody>
          </p:sp>
          <p:sp>
            <p:nvSpPr>
              <p:cNvPr id="14" name="Freeform: Shape 13">
                <a:extLst>
                  <a:ext uri="{FF2B5EF4-FFF2-40B4-BE49-F238E27FC236}">
                    <a16:creationId xmlns:a16="http://schemas.microsoft.com/office/drawing/2014/main" id="{0FF1B7DF-7CA9-52C1-7C8E-B6FBA392CD79}"/>
                  </a:ext>
                </a:extLst>
              </p:cNvPr>
              <p:cNvSpPr/>
              <p:nvPr userDrawn="1"/>
            </p:nvSpPr>
            <p:spPr>
              <a:xfrm>
                <a:off x="8126717" y="4708983"/>
                <a:ext cx="46191" cy="87072"/>
              </a:xfrm>
              <a:custGeom>
                <a:avLst/>
                <a:gdLst>
                  <a:gd name="connsiteX0" fmla="*/ 20522 w 46191"/>
                  <a:gd name="connsiteY0" fmla="*/ 87072 h 87072"/>
                  <a:gd name="connsiteX1" fmla="*/ 0 w 46191"/>
                  <a:gd name="connsiteY1" fmla="*/ 87072 h 87072"/>
                  <a:gd name="connsiteX2" fmla="*/ 0 w 46191"/>
                  <a:gd name="connsiteY2" fmla="*/ 36855 h 87072"/>
                  <a:gd name="connsiteX3" fmla="*/ 37791 w 46191"/>
                  <a:gd name="connsiteY3" fmla="*/ 0 h 87072"/>
                  <a:gd name="connsiteX4" fmla="*/ 46192 w 46191"/>
                  <a:gd name="connsiteY4" fmla="*/ 772 h 87072"/>
                  <a:gd name="connsiteX5" fmla="*/ 42776 w 46191"/>
                  <a:gd name="connsiteY5" fmla="*/ 20358 h 87072"/>
                  <a:gd name="connsiteX6" fmla="*/ 37791 w 46191"/>
                  <a:gd name="connsiteY6" fmla="*/ 20054 h 87072"/>
                  <a:gd name="connsiteX7" fmla="*/ 20522 w 46191"/>
                  <a:gd name="connsiteY7" fmla="*/ 38400 h 87072"/>
                  <a:gd name="connsiteX8" fmla="*/ 20522 w 46191"/>
                  <a:gd name="connsiteY8" fmla="*/ 87072 h 87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91" h="87072">
                    <a:moveTo>
                      <a:pt x="20522" y="87072"/>
                    </a:moveTo>
                    <a:lnTo>
                      <a:pt x="0" y="87072"/>
                    </a:lnTo>
                    <a:lnTo>
                      <a:pt x="0" y="36855"/>
                    </a:lnTo>
                    <a:cubicBezTo>
                      <a:pt x="0" y="15865"/>
                      <a:pt x="13689" y="0"/>
                      <a:pt x="37791" y="0"/>
                    </a:cubicBezTo>
                    <a:cubicBezTo>
                      <a:pt x="41840" y="0"/>
                      <a:pt x="44952" y="468"/>
                      <a:pt x="46192" y="772"/>
                    </a:cubicBezTo>
                    <a:lnTo>
                      <a:pt x="42776" y="20358"/>
                    </a:lnTo>
                    <a:cubicBezTo>
                      <a:pt x="41535" y="20194"/>
                      <a:pt x="39195" y="20054"/>
                      <a:pt x="37791" y="20054"/>
                    </a:cubicBezTo>
                    <a:cubicBezTo>
                      <a:pt x="25974" y="20054"/>
                      <a:pt x="20522" y="27214"/>
                      <a:pt x="20522" y="38400"/>
                    </a:cubicBezTo>
                    <a:lnTo>
                      <a:pt x="20522" y="87072"/>
                    </a:lnTo>
                    <a:close/>
                  </a:path>
                </a:pathLst>
              </a:custGeom>
              <a:solidFill>
                <a:srgbClr val="FFFFFF"/>
              </a:solidFill>
              <a:ln w="2339" cap="flat">
                <a:noFill/>
                <a:prstDash val="solid"/>
                <a:miter/>
              </a:ln>
            </p:spPr>
            <p:txBody>
              <a:bodyPr rtlCol="0" anchor="ctr"/>
              <a:lstStyle/>
              <a:p>
                <a:endParaRPr lang="en-US" sz="2400"/>
              </a:p>
            </p:txBody>
          </p:sp>
          <p:sp>
            <p:nvSpPr>
              <p:cNvPr id="15" name="Freeform: Shape 14">
                <a:extLst>
                  <a:ext uri="{FF2B5EF4-FFF2-40B4-BE49-F238E27FC236}">
                    <a16:creationId xmlns:a16="http://schemas.microsoft.com/office/drawing/2014/main" id="{4D513318-B548-1E38-6DE2-BC4B8CED227D}"/>
                  </a:ext>
                </a:extLst>
              </p:cNvPr>
              <p:cNvSpPr/>
              <p:nvPr userDrawn="1"/>
            </p:nvSpPr>
            <p:spPr>
              <a:xfrm>
                <a:off x="8176629" y="4708983"/>
                <a:ext cx="83351" cy="88616"/>
              </a:xfrm>
              <a:custGeom>
                <a:avLst/>
                <a:gdLst>
                  <a:gd name="connsiteX0" fmla="*/ 41676 w 83351"/>
                  <a:gd name="connsiteY0" fmla="*/ 88616 h 88616"/>
                  <a:gd name="connsiteX1" fmla="*/ 0 w 83351"/>
                  <a:gd name="connsiteY1" fmla="*/ 44156 h 88616"/>
                  <a:gd name="connsiteX2" fmla="*/ 41676 w 83351"/>
                  <a:gd name="connsiteY2" fmla="*/ 0 h 88616"/>
                  <a:gd name="connsiteX3" fmla="*/ 83351 w 83351"/>
                  <a:gd name="connsiteY3" fmla="*/ 44156 h 88616"/>
                  <a:gd name="connsiteX4" fmla="*/ 41676 w 83351"/>
                  <a:gd name="connsiteY4" fmla="*/ 88616 h 88616"/>
                  <a:gd name="connsiteX5" fmla="*/ 41676 w 83351"/>
                  <a:gd name="connsiteY5" fmla="*/ 19422 h 88616"/>
                  <a:gd name="connsiteX6" fmla="*/ 20686 w 83351"/>
                  <a:gd name="connsiteY6" fmla="*/ 44297 h 88616"/>
                  <a:gd name="connsiteX7" fmla="*/ 41676 w 83351"/>
                  <a:gd name="connsiteY7" fmla="*/ 69171 h 88616"/>
                  <a:gd name="connsiteX8" fmla="*/ 62666 w 83351"/>
                  <a:gd name="connsiteY8" fmla="*/ 44297 h 88616"/>
                  <a:gd name="connsiteX9" fmla="*/ 41676 w 83351"/>
                  <a:gd name="connsiteY9" fmla="*/ 19422 h 88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351" h="88616">
                    <a:moveTo>
                      <a:pt x="41676" y="88616"/>
                    </a:moveTo>
                    <a:cubicBezTo>
                      <a:pt x="18205" y="88616"/>
                      <a:pt x="0" y="72915"/>
                      <a:pt x="0" y="44156"/>
                    </a:cubicBezTo>
                    <a:cubicBezTo>
                      <a:pt x="0" y="15701"/>
                      <a:pt x="18182" y="0"/>
                      <a:pt x="41676" y="0"/>
                    </a:cubicBezTo>
                    <a:cubicBezTo>
                      <a:pt x="65146" y="0"/>
                      <a:pt x="83351" y="15701"/>
                      <a:pt x="83351" y="44156"/>
                    </a:cubicBezTo>
                    <a:cubicBezTo>
                      <a:pt x="83351" y="72915"/>
                      <a:pt x="65146" y="88616"/>
                      <a:pt x="41676" y="88616"/>
                    </a:cubicBezTo>
                    <a:close/>
                    <a:moveTo>
                      <a:pt x="41676" y="19422"/>
                    </a:moveTo>
                    <a:cubicBezTo>
                      <a:pt x="29391" y="19422"/>
                      <a:pt x="20686" y="26723"/>
                      <a:pt x="20686" y="44297"/>
                    </a:cubicBezTo>
                    <a:cubicBezTo>
                      <a:pt x="20686" y="61870"/>
                      <a:pt x="29391" y="69171"/>
                      <a:pt x="41676" y="69171"/>
                    </a:cubicBezTo>
                    <a:cubicBezTo>
                      <a:pt x="53797" y="69171"/>
                      <a:pt x="62666" y="61870"/>
                      <a:pt x="62666" y="44297"/>
                    </a:cubicBezTo>
                    <a:cubicBezTo>
                      <a:pt x="62666" y="26723"/>
                      <a:pt x="53797" y="19422"/>
                      <a:pt x="41676" y="19422"/>
                    </a:cubicBezTo>
                    <a:close/>
                  </a:path>
                </a:pathLst>
              </a:custGeom>
              <a:solidFill>
                <a:srgbClr val="FFFFFF"/>
              </a:solidFill>
              <a:ln w="2339" cap="flat">
                <a:noFill/>
                <a:prstDash val="solid"/>
                <a:miter/>
              </a:ln>
            </p:spPr>
            <p:txBody>
              <a:bodyPr rtlCol="0" anchor="ctr"/>
              <a:lstStyle/>
              <a:p>
                <a:endParaRPr lang="en-US" sz="2400"/>
              </a:p>
            </p:txBody>
          </p:sp>
          <p:sp>
            <p:nvSpPr>
              <p:cNvPr id="16" name="Freeform: Shape 15">
                <a:extLst>
                  <a:ext uri="{FF2B5EF4-FFF2-40B4-BE49-F238E27FC236}">
                    <a16:creationId xmlns:a16="http://schemas.microsoft.com/office/drawing/2014/main" id="{488B492F-3B08-F01C-AC04-3066CB281937}"/>
                  </a:ext>
                </a:extLst>
              </p:cNvPr>
              <p:cNvSpPr/>
              <p:nvPr userDrawn="1"/>
            </p:nvSpPr>
            <p:spPr>
              <a:xfrm>
                <a:off x="8262157" y="4710527"/>
                <a:ext cx="82415" cy="85527"/>
              </a:xfrm>
              <a:custGeom>
                <a:avLst/>
                <a:gdLst>
                  <a:gd name="connsiteX0" fmla="*/ 52557 w 82415"/>
                  <a:gd name="connsiteY0" fmla="*/ 42448 h 85527"/>
                  <a:gd name="connsiteX1" fmla="*/ 82415 w 82415"/>
                  <a:gd name="connsiteY1" fmla="*/ 85528 h 85527"/>
                  <a:gd name="connsiteX2" fmla="*/ 59717 w 82415"/>
                  <a:gd name="connsiteY2" fmla="*/ 85528 h 85527"/>
                  <a:gd name="connsiteX3" fmla="*/ 41208 w 82415"/>
                  <a:gd name="connsiteY3" fmla="*/ 57705 h 85527"/>
                  <a:gd name="connsiteX4" fmla="*/ 22698 w 82415"/>
                  <a:gd name="connsiteY4" fmla="*/ 85528 h 85527"/>
                  <a:gd name="connsiteX5" fmla="*/ 0 w 82415"/>
                  <a:gd name="connsiteY5" fmla="*/ 85528 h 85527"/>
                  <a:gd name="connsiteX6" fmla="*/ 29999 w 82415"/>
                  <a:gd name="connsiteY6" fmla="*/ 42448 h 85527"/>
                  <a:gd name="connsiteX7" fmla="*/ 0 w 82415"/>
                  <a:gd name="connsiteY7" fmla="*/ 0 h 85527"/>
                  <a:gd name="connsiteX8" fmla="*/ 22862 w 82415"/>
                  <a:gd name="connsiteY8" fmla="*/ 0 h 85527"/>
                  <a:gd name="connsiteX9" fmla="*/ 41208 w 82415"/>
                  <a:gd name="connsiteY9" fmla="*/ 27519 h 85527"/>
                  <a:gd name="connsiteX10" fmla="*/ 59553 w 82415"/>
                  <a:gd name="connsiteY10" fmla="*/ 0 h 85527"/>
                  <a:gd name="connsiteX11" fmla="*/ 82415 w 82415"/>
                  <a:gd name="connsiteY11" fmla="*/ 0 h 85527"/>
                  <a:gd name="connsiteX12" fmla="*/ 52557 w 82415"/>
                  <a:gd name="connsiteY12" fmla="*/ 42448 h 8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415" h="85527">
                    <a:moveTo>
                      <a:pt x="52557" y="42448"/>
                    </a:moveTo>
                    <a:lnTo>
                      <a:pt x="82415" y="85528"/>
                    </a:lnTo>
                    <a:lnTo>
                      <a:pt x="59717" y="85528"/>
                    </a:lnTo>
                    <a:lnTo>
                      <a:pt x="41208" y="57705"/>
                    </a:lnTo>
                    <a:lnTo>
                      <a:pt x="22698" y="85528"/>
                    </a:lnTo>
                    <a:lnTo>
                      <a:pt x="0" y="85528"/>
                    </a:lnTo>
                    <a:lnTo>
                      <a:pt x="29999" y="42448"/>
                    </a:lnTo>
                    <a:lnTo>
                      <a:pt x="0" y="0"/>
                    </a:lnTo>
                    <a:lnTo>
                      <a:pt x="22862" y="0"/>
                    </a:lnTo>
                    <a:lnTo>
                      <a:pt x="41208" y="27519"/>
                    </a:lnTo>
                    <a:lnTo>
                      <a:pt x="59553" y="0"/>
                    </a:lnTo>
                    <a:lnTo>
                      <a:pt x="82415" y="0"/>
                    </a:lnTo>
                    <a:lnTo>
                      <a:pt x="52557" y="42448"/>
                    </a:lnTo>
                    <a:close/>
                  </a:path>
                </a:pathLst>
              </a:custGeom>
              <a:solidFill>
                <a:srgbClr val="FFFFFF"/>
              </a:solidFill>
              <a:ln w="2339" cap="flat">
                <a:noFill/>
                <a:prstDash val="solid"/>
                <a:miter/>
              </a:ln>
            </p:spPr>
            <p:txBody>
              <a:bodyPr rtlCol="0" anchor="ctr"/>
              <a:lstStyle/>
              <a:p>
                <a:endParaRPr lang="en-US" sz="2400"/>
              </a:p>
            </p:txBody>
          </p:sp>
          <p:sp>
            <p:nvSpPr>
              <p:cNvPr id="17" name="Freeform: Shape 16">
                <a:extLst>
                  <a:ext uri="{FF2B5EF4-FFF2-40B4-BE49-F238E27FC236}">
                    <a16:creationId xmlns:a16="http://schemas.microsoft.com/office/drawing/2014/main" id="{20FD94F1-C7F8-55C6-5A21-D125F19E6533}"/>
                  </a:ext>
                </a:extLst>
              </p:cNvPr>
              <p:cNvSpPr/>
              <p:nvPr userDrawn="1"/>
            </p:nvSpPr>
            <p:spPr>
              <a:xfrm>
                <a:off x="8356062" y="4710527"/>
                <a:ext cx="20521" cy="85504"/>
              </a:xfrm>
              <a:custGeom>
                <a:avLst/>
                <a:gdLst>
                  <a:gd name="connsiteX0" fmla="*/ 0 w 20521"/>
                  <a:gd name="connsiteY0" fmla="*/ 0 h 85504"/>
                  <a:gd name="connsiteX1" fmla="*/ 20522 w 20521"/>
                  <a:gd name="connsiteY1" fmla="*/ 0 h 85504"/>
                  <a:gd name="connsiteX2" fmla="*/ 20522 w 20521"/>
                  <a:gd name="connsiteY2" fmla="*/ 85504 h 85504"/>
                  <a:gd name="connsiteX3" fmla="*/ 0 w 20521"/>
                  <a:gd name="connsiteY3" fmla="*/ 85504 h 85504"/>
                  <a:gd name="connsiteX4" fmla="*/ 0 w 20521"/>
                  <a:gd name="connsiteY4" fmla="*/ 0 h 85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21" h="85504">
                    <a:moveTo>
                      <a:pt x="0" y="0"/>
                    </a:moveTo>
                    <a:lnTo>
                      <a:pt x="20522" y="0"/>
                    </a:lnTo>
                    <a:lnTo>
                      <a:pt x="20522" y="85504"/>
                    </a:lnTo>
                    <a:lnTo>
                      <a:pt x="0" y="85504"/>
                    </a:lnTo>
                    <a:lnTo>
                      <a:pt x="0" y="0"/>
                    </a:lnTo>
                    <a:close/>
                  </a:path>
                </a:pathLst>
              </a:custGeom>
              <a:solidFill>
                <a:srgbClr val="FFFFFF"/>
              </a:solidFill>
              <a:ln w="2339" cap="flat">
                <a:noFill/>
                <a:prstDash val="solid"/>
                <a:miter/>
              </a:ln>
            </p:spPr>
            <p:txBody>
              <a:bodyPr rtlCol="0" anchor="ctr"/>
              <a:lstStyle/>
              <a:p>
                <a:endParaRPr lang="en-US" sz="2400"/>
              </a:p>
            </p:txBody>
          </p:sp>
          <p:sp>
            <p:nvSpPr>
              <p:cNvPr id="18" name="Freeform: Shape 17">
                <a:extLst>
                  <a:ext uri="{FF2B5EF4-FFF2-40B4-BE49-F238E27FC236}">
                    <a16:creationId xmlns:a16="http://schemas.microsoft.com/office/drawing/2014/main" id="{75796C52-1203-22F0-77EB-899192F32D36}"/>
                  </a:ext>
                </a:extLst>
              </p:cNvPr>
              <p:cNvSpPr/>
              <p:nvPr userDrawn="1"/>
            </p:nvSpPr>
            <p:spPr>
              <a:xfrm>
                <a:off x="8394508" y="4708983"/>
                <a:ext cx="124208" cy="87072"/>
              </a:xfrm>
              <a:custGeom>
                <a:avLst/>
                <a:gdLst>
                  <a:gd name="connsiteX0" fmla="*/ 124208 w 124208"/>
                  <a:gd name="connsiteY0" fmla="*/ 32643 h 87072"/>
                  <a:gd name="connsiteX1" fmla="*/ 124208 w 124208"/>
                  <a:gd name="connsiteY1" fmla="*/ 87072 h 87072"/>
                  <a:gd name="connsiteX2" fmla="*/ 103686 w 124208"/>
                  <a:gd name="connsiteY2" fmla="*/ 87072 h 87072"/>
                  <a:gd name="connsiteX3" fmla="*/ 103686 w 124208"/>
                  <a:gd name="connsiteY3" fmla="*/ 34047 h 87072"/>
                  <a:gd name="connsiteX4" fmla="*/ 88148 w 124208"/>
                  <a:gd name="connsiteY4" fmla="*/ 19422 h 87072"/>
                  <a:gd name="connsiteX5" fmla="*/ 72283 w 124208"/>
                  <a:gd name="connsiteY5" fmla="*/ 34047 h 87072"/>
                  <a:gd name="connsiteX6" fmla="*/ 72283 w 124208"/>
                  <a:gd name="connsiteY6" fmla="*/ 87072 h 87072"/>
                  <a:gd name="connsiteX7" fmla="*/ 51925 w 124208"/>
                  <a:gd name="connsiteY7" fmla="*/ 87072 h 87072"/>
                  <a:gd name="connsiteX8" fmla="*/ 51925 w 124208"/>
                  <a:gd name="connsiteY8" fmla="*/ 34047 h 87072"/>
                  <a:gd name="connsiteX9" fmla="*/ 36060 w 124208"/>
                  <a:gd name="connsiteY9" fmla="*/ 19422 h 87072"/>
                  <a:gd name="connsiteX10" fmla="*/ 20522 w 124208"/>
                  <a:gd name="connsiteY10" fmla="*/ 34047 h 87072"/>
                  <a:gd name="connsiteX11" fmla="*/ 20522 w 124208"/>
                  <a:gd name="connsiteY11" fmla="*/ 87072 h 87072"/>
                  <a:gd name="connsiteX12" fmla="*/ 0 w 124208"/>
                  <a:gd name="connsiteY12" fmla="*/ 87072 h 87072"/>
                  <a:gd name="connsiteX13" fmla="*/ 0 w 124208"/>
                  <a:gd name="connsiteY13" fmla="*/ 32643 h 87072"/>
                  <a:gd name="connsiteX14" fmla="*/ 36223 w 124208"/>
                  <a:gd name="connsiteY14" fmla="*/ 0 h 87072"/>
                  <a:gd name="connsiteX15" fmla="*/ 62338 w 124208"/>
                  <a:gd name="connsiteY15" fmla="*/ 10577 h 87072"/>
                  <a:gd name="connsiteX16" fmla="*/ 88148 w 124208"/>
                  <a:gd name="connsiteY16" fmla="*/ 0 h 87072"/>
                  <a:gd name="connsiteX17" fmla="*/ 124208 w 124208"/>
                  <a:gd name="connsiteY17" fmla="*/ 32643 h 87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4208" h="87072">
                    <a:moveTo>
                      <a:pt x="124208" y="32643"/>
                    </a:moveTo>
                    <a:lnTo>
                      <a:pt x="124208" y="87072"/>
                    </a:lnTo>
                    <a:lnTo>
                      <a:pt x="103686" y="87072"/>
                    </a:lnTo>
                    <a:lnTo>
                      <a:pt x="103686" y="34047"/>
                    </a:lnTo>
                    <a:cubicBezTo>
                      <a:pt x="103686" y="24243"/>
                      <a:pt x="98866" y="19422"/>
                      <a:pt x="88148" y="19422"/>
                    </a:cubicBezTo>
                    <a:cubicBezTo>
                      <a:pt x="75863" y="19422"/>
                      <a:pt x="72283" y="25319"/>
                      <a:pt x="72283" y="34047"/>
                    </a:cubicBezTo>
                    <a:lnTo>
                      <a:pt x="72283" y="87072"/>
                    </a:lnTo>
                    <a:lnTo>
                      <a:pt x="51925" y="87072"/>
                    </a:lnTo>
                    <a:lnTo>
                      <a:pt x="51925" y="34047"/>
                    </a:lnTo>
                    <a:cubicBezTo>
                      <a:pt x="51925" y="24243"/>
                      <a:pt x="47105" y="19422"/>
                      <a:pt x="36060" y="19422"/>
                    </a:cubicBezTo>
                    <a:cubicBezTo>
                      <a:pt x="23938" y="19422"/>
                      <a:pt x="20522" y="25319"/>
                      <a:pt x="20522" y="34047"/>
                    </a:cubicBezTo>
                    <a:lnTo>
                      <a:pt x="20522" y="87072"/>
                    </a:lnTo>
                    <a:lnTo>
                      <a:pt x="0" y="87072"/>
                    </a:lnTo>
                    <a:lnTo>
                      <a:pt x="0" y="32643"/>
                    </a:lnTo>
                    <a:cubicBezTo>
                      <a:pt x="0" y="10881"/>
                      <a:pt x="16170" y="0"/>
                      <a:pt x="36223" y="0"/>
                    </a:cubicBezTo>
                    <a:cubicBezTo>
                      <a:pt x="45560" y="0"/>
                      <a:pt x="55809" y="3884"/>
                      <a:pt x="62338" y="10577"/>
                    </a:cubicBezTo>
                    <a:cubicBezTo>
                      <a:pt x="68399" y="3884"/>
                      <a:pt x="78976" y="0"/>
                      <a:pt x="88148" y="0"/>
                    </a:cubicBezTo>
                    <a:cubicBezTo>
                      <a:pt x="107103" y="0"/>
                      <a:pt x="124208" y="9313"/>
                      <a:pt x="124208" y="32643"/>
                    </a:cubicBezTo>
                    <a:close/>
                  </a:path>
                </a:pathLst>
              </a:custGeom>
              <a:solidFill>
                <a:srgbClr val="FFFFFF"/>
              </a:solidFill>
              <a:ln w="2339" cap="flat">
                <a:noFill/>
                <a:prstDash val="solid"/>
                <a:miter/>
              </a:ln>
            </p:spPr>
            <p:txBody>
              <a:bodyPr rtlCol="0" anchor="ctr"/>
              <a:lstStyle/>
              <a:p>
                <a:endParaRPr lang="en-US" sz="2400"/>
              </a:p>
            </p:txBody>
          </p:sp>
          <p:sp>
            <p:nvSpPr>
              <p:cNvPr id="19" name="Freeform: Shape 18">
                <a:extLst>
                  <a:ext uri="{FF2B5EF4-FFF2-40B4-BE49-F238E27FC236}">
                    <a16:creationId xmlns:a16="http://schemas.microsoft.com/office/drawing/2014/main" id="{8AE7ECFA-2993-7B80-C96F-67E5DBE065F1}"/>
                  </a:ext>
                </a:extLst>
              </p:cNvPr>
              <p:cNvSpPr/>
              <p:nvPr userDrawn="1"/>
            </p:nvSpPr>
            <p:spPr>
              <a:xfrm>
                <a:off x="8535027" y="4710527"/>
                <a:ext cx="76518" cy="87072"/>
              </a:xfrm>
              <a:custGeom>
                <a:avLst/>
                <a:gdLst>
                  <a:gd name="connsiteX0" fmla="*/ 76519 w 76518"/>
                  <a:gd name="connsiteY0" fmla="*/ 0 h 87072"/>
                  <a:gd name="connsiteX1" fmla="*/ 76519 w 76518"/>
                  <a:gd name="connsiteY1" fmla="*/ 48977 h 87072"/>
                  <a:gd name="connsiteX2" fmla="*/ 38259 w 76518"/>
                  <a:gd name="connsiteY2" fmla="*/ 87072 h 87072"/>
                  <a:gd name="connsiteX3" fmla="*/ 0 w 76518"/>
                  <a:gd name="connsiteY3" fmla="*/ 48977 h 87072"/>
                  <a:gd name="connsiteX4" fmla="*/ 0 w 76518"/>
                  <a:gd name="connsiteY4" fmla="*/ 0 h 87072"/>
                  <a:gd name="connsiteX5" fmla="*/ 20522 w 76518"/>
                  <a:gd name="connsiteY5" fmla="*/ 0 h 87072"/>
                  <a:gd name="connsiteX6" fmla="*/ 20522 w 76518"/>
                  <a:gd name="connsiteY6" fmla="*/ 48977 h 87072"/>
                  <a:gd name="connsiteX7" fmla="*/ 38236 w 76518"/>
                  <a:gd name="connsiteY7" fmla="*/ 67627 h 87072"/>
                  <a:gd name="connsiteX8" fmla="*/ 55950 w 76518"/>
                  <a:gd name="connsiteY8" fmla="*/ 48977 h 87072"/>
                  <a:gd name="connsiteX9" fmla="*/ 55950 w 76518"/>
                  <a:gd name="connsiteY9" fmla="*/ 0 h 87072"/>
                  <a:gd name="connsiteX10" fmla="*/ 76519 w 76518"/>
                  <a:gd name="connsiteY10" fmla="*/ 0 h 87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8" h="87072">
                    <a:moveTo>
                      <a:pt x="76519" y="0"/>
                    </a:moveTo>
                    <a:lnTo>
                      <a:pt x="76519" y="48977"/>
                    </a:lnTo>
                    <a:cubicBezTo>
                      <a:pt x="76519" y="74483"/>
                      <a:pt x="63461" y="87072"/>
                      <a:pt x="38259" y="87072"/>
                    </a:cubicBezTo>
                    <a:cubicBezTo>
                      <a:pt x="13221" y="87072"/>
                      <a:pt x="0" y="74483"/>
                      <a:pt x="0" y="48977"/>
                    </a:cubicBezTo>
                    <a:lnTo>
                      <a:pt x="0" y="0"/>
                    </a:lnTo>
                    <a:lnTo>
                      <a:pt x="20522" y="0"/>
                    </a:lnTo>
                    <a:lnTo>
                      <a:pt x="20522" y="48977"/>
                    </a:lnTo>
                    <a:cubicBezTo>
                      <a:pt x="20522" y="63134"/>
                      <a:pt x="28455" y="67627"/>
                      <a:pt x="38236" y="67627"/>
                    </a:cubicBezTo>
                    <a:cubicBezTo>
                      <a:pt x="48041" y="67627"/>
                      <a:pt x="55950" y="63110"/>
                      <a:pt x="55950" y="48977"/>
                    </a:cubicBezTo>
                    <a:lnTo>
                      <a:pt x="55950" y="0"/>
                    </a:lnTo>
                    <a:lnTo>
                      <a:pt x="76519" y="0"/>
                    </a:lnTo>
                    <a:close/>
                  </a:path>
                </a:pathLst>
              </a:custGeom>
              <a:solidFill>
                <a:srgbClr val="FFFFFF"/>
              </a:solidFill>
              <a:ln w="2339" cap="flat">
                <a:noFill/>
                <a:prstDash val="solid"/>
                <a:miter/>
              </a:ln>
            </p:spPr>
            <p:txBody>
              <a:bodyPr rtlCol="0" anchor="ctr"/>
              <a:lstStyle/>
              <a:p>
                <a:endParaRPr lang="en-US" sz="2400"/>
              </a:p>
            </p:txBody>
          </p:sp>
          <p:sp>
            <p:nvSpPr>
              <p:cNvPr id="20" name="Freeform: Shape 19">
                <a:extLst>
                  <a:ext uri="{FF2B5EF4-FFF2-40B4-BE49-F238E27FC236}">
                    <a16:creationId xmlns:a16="http://schemas.microsoft.com/office/drawing/2014/main" id="{DD2F73A2-4A2C-ADD7-F1BF-8211B2562C2F}"/>
                  </a:ext>
                </a:extLst>
              </p:cNvPr>
              <p:cNvSpPr/>
              <p:nvPr userDrawn="1"/>
            </p:nvSpPr>
            <p:spPr>
              <a:xfrm>
                <a:off x="8624626" y="4708983"/>
                <a:ext cx="68234" cy="88616"/>
              </a:xfrm>
              <a:custGeom>
                <a:avLst/>
                <a:gdLst>
                  <a:gd name="connsiteX0" fmla="*/ 68235 w 68234"/>
                  <a:gd name="connsiteY0" fmla="*/ 61870 h 88616"/>
                  <a:gd name="connsiteX1" fmla="*/ 34351 w 68234"/>
                  <a:gd name="connsiteY1" fmla="*/ 88616 h 88616"/>
                  <a:gd name="connsiteX2" fmla="*/ 0 w 68234"/>
                  <a:gd name="connsiteY2" fmla="*/ 81152 h 88616"/>
                  <a:gd name="connsiteX3" fmla="*/ 4820 w 68234"/>
                  <a:gd name="connsiteY3" fmla="*/ 63274 h 88616"/>
                  <a:gd name="connsiteX4" fmla="*/ 33439 w 68234"/>
                  <a:gd name="connsiteY4" fmla="*/ 70271 h 88616"/>
                  <a:gd name="connsiteX5" fmla="*/ 47736 w 68234"/>
                  <a:gd name="connsiteY5" fmla="*/ 62502 h 88616"/>
                  <a:gd name="connsiteX6" fmla="*/ 32339 w 68234"/>
                  <a:gd name="connsiteY6" fmla="*/ 51785 h 88616"/>
                  <a:gd name="connsiteX7" fmla="*/ 26419 w 68234"/>
                  <a:gd name="connsiteY7" fmla="*/ 49608 h 88616"/>
                  <a:gd name="connsiteX8" fmla="*/ 1240 w 68234"/>
                  <a:gd name="connsiteY8" fmla="*/ 25038 h 88616"/>
                  <a:gd name="connsiteX9" fmla="*/ 32503 w 68234"/>
                  <a:gd name="connsiteY9" fmla="*/ 0 h 88616"/>
                  <a:gd name="connsiteX10" fmla="*/ 63602 w 68234"/>
                  <a:gd name="connsiteY10" fmla="*/ 4657 h 88616"/>
                  <a:gd name="connsiteX11" fmla="*/ 59717 w 68234"/>
                  <a:gd name="connsiteY11" fmla="*/ 22230 h 88616"/>
                  <a:gd name="connsiteX12" fmla="*/ 32362 w 68234"/>
                  <a:gd name="connsiteY12" fmla="*/ 18182 h 88616"/>
                  <a:gd name="connsiteX13" fmla="*/ 21786 w 68234"/>
                  <a:gd name="connsiteY13" fmla="*/ 24102 h 88616"/>
                  <a:gd name="connsiteX14" fmla="*/ 35615 w 68234"/>
                  <a:gd name="connsiteY14" fmla="*/ 33275 h 88616"/>
                  <a:gd name="connsiteX15" fmla="*/ 41840 w 68234"/>
                  <a:gd name="connsiteY15" fmla="*/ 35615 h 88616"/>
                  <a:gd name="connsiteX16" fmla="*/ 68235 w 68234"/>
                  <a:gd name="connsiteY16" fmla="*/ 61870 h 88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8234" h="88616">
                    <a:moveTo>
                      <a:pt x="68235" y="61870"/>
                    </a:moveTo>
                    <a:cubicBezTo>
                      <a:pt x="68235" y="76636"/>
                      <a:pt x="59834" y="88616"/>
                      <a:pt x="34351" y="88616"/>
                    </a:cubicBezTo>
                    <a:cubicBezTo>
                      <a:pt x="21598" y="88616"/>
                      <a:pt x="9313" y="85668"/>
                      <a:pt x="0" y="81152"/>
                    </a:cubicBezTo>
                    <a:lnTo>
                      <a:pt x="4820" y="63274"/>
                    </a:lnTo>
                    <a:cubicBezTo>
                      <a:pt x="14625" y="67322"/>
                      <a:pt x="23798" y="70271"/>
                      <a:pt x="33439" y="70271"/>
                    </a:cubicBezTo>
                    <a:cubicBezTo>
                      <a:pt x="43548" y="70271"/>
                      <a:pt x="47736" y="66995"/>
                      <a:pt x="47736" y="62502"/>
                    </a:cubicBezTo>
                    <a:cubicBezTo>
                      <a:pt x="47736" y="57377"/>
                      <a:pt x="42612" y="55505"/>
                      <a:pt x="32339" y="51785"/>
                    </a:cubicBezTo>
                    <a:lnTo>
                      <a:pt x="26419" y="49608"/>
                    </a:lnTo>
                    <a:cubicBezTo>
                      <a:pt x="8541" y="43244"/>
                      <a:pt x="1240" y="38891"/>
                      <a:pt x="1240" y="25038"/>
                    </a:cubicBezTo>
                    <a:cubicBezTo>
                      <a:pt x="1240" y="12285"/>
                      <a:pt x="7137" y="0"/>
                      <a:pt x="32503" y="0"/>
                    </a:cubicBezTo>
                    <a:cubicBezTo>
                      <a:pt x="43852" y="0"/>
                      <a:pt x="57541" y="2644"/>
                      <a:pt x="63602" y="4657"/>
                    </a:cubicBezTo>
                    <a:lnTo>
                      <a:pt x="59717" y="22230"/>
                    </a:lnTo>
                    <a:cubicBezTo>
                      <a:pt x="53189" y="20522"/>
                      <a:pt x="40436" y="18182"/>
                      <a:pt x="32362" y="18182"/>
                    </a:cubicBezTo>
                    <a:cubicBezTo>
                      <a:pt x="25202" y="18182"/>
                      <a:pt x="21786" y="19726"/>
                      <a:pt x="21786" y="24102"/>
                    </a:cubicBezTo>
                    <a:cubicBezTo>
                      <a:pt x="21786" y="28150"/>
                      <a:pt x="24594" y="29227"/>
                      <a:pt x="35615" y="33275"/>
                    </a:cubicBezTo>
                    <a:lnTo>
                      <a:pt x="41840" y="35615"/>
                    </a:lnTo>
                    <a:cubicBezTo>
                      <a:pt x="60606" y="42448"/>
                      <a:pt x="68235" y="48181"/>
                      <a:pt x="68235" y="61870"/>
                    </a:cubicBezTo>
                    <a:close/>
                  </a:path>
                </a:pathLst>
              </a:custGeom>
              <a:solidFill>
                <a:srgbClr val="FFFFFF"/>
              </a:solidFill>
              <a:ln w="2339" cap="flat">
                <a:noFill/>
                <a:prstDash val="solid"/>
                <a:miter/>
              </a:ln>
            </p:spPr>
            <p:txBody>
              <a:bodyPr rtlCol="0" anchor="ctr"/>
              <a:lstStyle/>
              <a:p>
                <a:endParaRPr lang="en-US" sz="2400"/>
              </a:p>
            </p:txBody>
          </p:sp>
        </p:grpSp>
        <p:grpSp>
          <p:nvGrpSpPr>
            <p:cNvPr id="21" name="Graphic 4">
              <a:extLst>
                <a:ext uri="{FF2B5EF4-FFF2-40B4-BE49-F238E27FC236}">
                  <a16:creationId xmlns:a16="http://schemas.microsoft.com/office/drawing/2014/main" id="{A3FBB68A-DC56-B89A-3EC9-6AE0F6299B82}"/>
                </a:ext>
              </a:extLst>
            </p:cNvPr>
            <p:cNvGrpSpPr/>
            <p:nvPr userDrawn="1"/>
          </p:nvGrpSpPr>
          <p:grpSpPr>
            <a:xfrm>
              <a:off x="8195045" y="4295826"/>
              <a:ext cx="332188" cy="331794"/>
              <a:chOff x="8195045" y="4295826"/>
              <a:chExt cx="332188" cy="331794"/>
            </a:xfrm>
          </p:grpSpPr>
          <p:grpSp>
            <p:nvGrpSpPr>
              <p:cNvPr id="22" name="Graphic 4">
                <a:extLst>
                  <a:ext uri="{FF2B5EF4-FFF2-40B4-BE49-F238E27FC236}">
                    <a16:creationId xmlns:a16="http://schemas.microsoft.com/office/drawing/2014/main" id="{8187DE17-F357-2A22-F20C-458844AE72D2}"/>
                  </a:ext>
                </a:extLst>
              </p:cNvPr>
              <p:cNvGrpSpPr/>
              <p:nvPr userDrawn="1"/>
            </p:nvGrpSpPr>
            <p:grpSpPr>
              <a:xfrm>
                <a:off x="8315884" y="4398907"/>
                <a:ext cx="90535" cy="125635"/>
                <a:chOff x="8315884" y="4398907"/>
                <a:chExt cx="90534" cy="125635"/>
              </a:xfrm>
              <a:solidFill>
                <a:srgbClr val="B1B8CC"/>
              </a:solidFill>
            </p:grpSpPr>
            <p:sp>
              <p:nvSpPr>
                <p:cNvPr id="23" name="Freeform: Shape 22">
                  <a:extLst>
                    <a:ext uri="{FF2B5EF4-FFF2-40B4-BE49-F238E27FC236}">
                      <a16:creationId xmlns:a16="http://schemas.microsoft.com/office/drawing/2014/main" id="{F0CE3E14-D941-AE41-0093-3CAEE8F4C2CB}"/>
                    </a:ext>
                  </a:extLst>
                </p:cNvPr>
                <p:cNvSpPr/>
                <p:nvPr userDrawn="1"/>
              </p:nvSpPr>
              <p:spPr>
                <a:xfrm>
                  <a:off x="8315907" y="4480082"/>
                  <a:ext cx="90511" cy="44460"/>
                </a:xfrm>
                <a:custGeom>
                  <a:avLst/>
                  <a:gdLst>
                    <a:gd name="connsiteX0" fmla="*/ 84428 w 90511"/>
                    <a:gd name="connsiteY0" fmla="*/ 44460 h 44460"/>
                    <a:gd name="connsiteX1" fmla="*/ 45209 w 90511"/>
                    <a:gd name="connsiteY1" fmla="*/ 41582 h 44460"/>
                    <a:gd name="connsiteX2" fmla="*/ 6061 w 90511"/>
                    <a:gd name="connsiteY2" fmla="*/ 44460 h 44460"/>
                    <a:gd name="connsiteX3" fmla="*/ 0 w 90511"/>
                    <a:gd name="connsiteY3" fmla="*/ 3253 h 44460"/>
                    <a:gd name="connsiteX4" fmla="*/ 45233 w 90511"/>
                    <a:gd name="connsiteY4" fmla="*/ 0 h 44460"/>
                    <a:gd name="connsiteX5" fmla="*/ 90512 w 90511"/>
                    <a:gd name="connsiteY5" fmla="*/ 3253 h 44460"/>
                    <a:gd name="connsiteX6" fmla="*/ 84428 w 90511"/>
                    <a:gd name="connsiteY6" fmla="*/ 44460 h 44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511" h="44460">
                      <a:moveTo>
                        <a:pt x="84428" y="44460"/>
                      </a:moveTo>
                      <a:cubicBezTo>
                        <a:pt x="71768" y="42588"/>
                        <a:pt x="58571" y="41606"/>
                        <a:pt x="45209" y="41582"/>
                      </a:cubicBezTo>
                      <a:cubicBezTo>
                        <a:pt x="31894" y="41606"/>
                        <a:pt x="18720" y="42588"/>
                        <a:pt x="6061" y="44460"/>
                      </a:cubicBezTo>
                      <a:lnTo>
                        <a:pt x="0" y="3253"/>
                      </a:lnTo>
                      <a:cubicBezTo>
                        <a:pt x="14625" y="1100"/>
                        <a:pt x="29859" y="23"/>
                        <a:pt x="45233" y="0"/>
                      </a:cubicBezTo>
                      <a:cubicBezTo>
                        <a:pt x="60677" y="23"/>
                        <a:pt x="75887" y="1076"/>
                        <a:pt x="90512" y="3253"/>
                      </a:cubicBezTo>
                      <a:lnTo>
                        <a:pt x="84428" y="44460"/>
                      </a:lnTo>
                      <a:close/>
                    </a:path>
                  </a:pathLst>
                </a:custGeom>
                <a:solidFill>
                  <a:srgbClr val="B1B8CC"/>
                </a:solidFill>
                <a:ln w="2339" cap="flat">
                  <a:noFill/>
                  <a:prstDash val="solid"/>
                  <a:miter/>
                </a:ln>
              </p:spPr>
              <p:txBody>
                <a:bodyPr rtlCol="0" anchor="ctr"/>
                <a:lstStyle/>
                <a:p>
                  <a:endParaRPr lang="en-US" sz="2400"/>
                </a:p>
              </p:txBody>
            </p:sp>
            <p:sp>
              <p:nvSpPr>
                <p:cNvPr id="24" name="Freeform: Shape 23">
                  <a:extLst>
                    <a:ext uri="{FF2B5EF4-FFF2-40B4-BE49-F238E27FC236}">
                      <a16:creationId xmlns:a16="http://schemas.microsoft.com/office/drawing/2014/main" id="{FC5B55BA-6298-5E03-56E1-BC001D8A8023}"/>
                    </a:ext>
                  </a:extLst>
                </p:cNvPr>
                <p:cNvSpPr/>
                <p:nvPr userDrawn="1"/>
              </p:nvSpPr>
              <p:spPr>
                <a:xfrm>
                  <a:off x="8315884" y="4398907"/>
                  <a:ext cx="90488" cy="44436"/>
                </a:xfrm>
                <a:custGeom>
                  <a:avLst/>
                  <a:gdLst>
                    <a:gd name="connsiteX0" fmla="*/ 45279 w 90488"/>
                    <a:gd name="connsiteY0" fmla="*/ 44437 h 44436"/>
                    <a:gd name="connsiteX1" fmla="*/ 0 w 90488"/>
                    <a:gd name="connsiteY1" fmla="*/ 41208 h 44436"/>
                    <a:gd name="connsiteX2" fmla="*/ 6061 w 90488"/>
                    <a:gd name="connsiteY2" fmla="*/ 0 h 44436"/>
                    <a:gd name="connsiteX3" fmla="*/ 45279 w 90488"/>
                    <a:gd name="connsiteY3" fmla="*/ 2878 h 44436"/>
                    <a:gd name="connsiteX4" fmla="*/ 84428 w 90488"/>
                    <a:gd name="connsiteY4" fmla="*/ 0 h 44436"/>
                    <a:gd name="connsiteX5" fmla="*/ 90488 w 90488"/>
                    <a:gd name="connsiteY5" fmla="*/ 41208 h 44436"/>
                    <a:gd name="connsiteX6" fmla="*/ 45279 w 90488"/>
                    <a:gd name="connsiteY6" fmla="*/ 44437 h 44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488" h="44436">
                      <a:moveTo>
                        <a:pt x="45279" y="44437"/>
                      </a:moveTo>
                      <a:cubicBezTo>
                        <a:pt x="29835" y="44414"/>
                        <a:pt x="14625" y="43361"/>
                        <a:pt x="0" y="41208"/>
                      </a:cubicBezTo>
                      <a:lnTo>
                        <a:pt x="6061" y="0"/>
                      </a:lnTo>
                      <a:cubicBezTo>
                        <a:pt x="18720" y="1872"/>
                        <a:pt x="31918" y="2855"/>
                        <a:pt x="45279" y="2878"/>
                      </a:cubicBezTo>
                      <a:cubicBezTo>
                        <a:pt x="58594" y="2855"/>
                        <a:pt x="71768" y="1872"/>
                        <a:pt x="84428" y="0"/>
                      </a:cubicBezTo>
                      <a:lnTo>
                        <a:pt x="90488" y="41208"/>
                      </a:lnTo>
                      <a:cubicBezTo>
                        <a:pt x="75863" y="43361"/>
                        <a:pt x="60653" y="44414"/>
                        <a:pt x="45279" y="44437"/>
                      </a:cubicBezTo>
                      <a:close/>
                    </a:path>
                  </a:pathLst>
                </a:custGeom>
                <a:solidFill>
                  <a:srgbClr val="B1B8CC"/>
                </a:solidFill>
                <a:ln w="2339" cap="flat">
                  <a:noFill/>
                  <a:prstDash val="solid"/>
                  <a:miter/>
                </a:ln>
              </p:spPr>
              <p:txBody>
                <a:bodyPr rtlCol="0" anchor="ctr"/>
                <a:lstStyle/>
                <a:p>
                  <a:endParaRPr lang="en-US" sz="2400"/>
                </a:p>
              </p:txBody>
            </p:sp>
          </p:grpSp>
          <p:grpSp>
            <p:nvGrpSpPr>
              <p:cNvPr id="25" name="Graphic 4">
                <a:extLst>
                  <a:ext uri="{FF2B5EF4-FFF2-40B4-BE49-F238E27FC236}">
                    <a16:creationId xmlns:a16="http://schemas.microsoft.com/office/drawing/2014/main" id="{F51543B4-B646-2EB5-79C2-129CEBBE59B6}"/>
                  </a:ext>
                </a:extLst>
              </p:cNvPr>
              <p:cNvGrpSpPr/>
              <p:nvPr userDrawn="1"/>
            </p:nvGrpSpPr>
            <p:grpSpPr>
              <a:xfrm>
                <a:off x="8195045" y="4333223"/>
                <a:ext cx="332188" cy="107360"/>
                <a:chOff x="8195045" y="4333223"/>
                <a:chExt cx="332189" cy="107360"/>
              </a:xfrm>
            </p:grpSpPr>
            <p:grpSp>
              <p:nvGrpSpPr>
                <p:cNvPr id="26" name="Graphic 4">
                  <a:extLst>
                    <a:ext uri="{FF2B5EF4-FFF2-40B4-BE49-F238E27FC236}">
                      <a16:creationId xmlns:a16="http://schemas.microsoft.com/office/drawing/2014/main" id="{D81D0BA9-7100-FAB3-491E-2527FC434561}"/>
                    </a:ext>
                  </a:extLst>
                </p:cNvPr>
                <p:cNvGrpSpPr/>
                <p:nvPr userDrawn="1"/>
              </p:nvGrpSpPr>
              <p:grpSpPr>
                <a:xfrm>
                  <a:off x="8195045" y="4333223"/>
                  <a:ext cx="144893" cy="107360"/>
                  <a:chOff x="8195045" y="4333223"/>
                  <a:chExt cx="144893" cy="107359"/>
                </a:xfrm>
              </p:grpSpPr>
              <p:sp>
                <p:nvSpPr>
                  <p:cNvPr id="27" name="Freeform: Shape 26">
                    <a:extLst>
                      <a:ext uri="{FF2B5EF4-FFF2-40B4-BE49-F238E27FC236}">
                        <a16:creationId xmlns:a16="http://schemas.microsoft.com/office/drawing/2014/main" id="{0948CA29-F1EA-5323-4AC3-93C95AE6867A}"/>
                      </a:ext>
                    </a:extLst>
                  </p:cNvPr>
                  <p:cNvSpPr/>
                  <p:nvPr userDrawn="1"/>
                </p:nvSpPr>
                <p:spPr>
                  <a:xfrm>
                    <a:off x="8297842" y="439850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1B8CC"/>
                  </a:solidFill>
                  <a:ln w="2339" cap="flat">
                    <a:noFill/>
                    <a:prstDash val="solid"/>
                    <a:miter/>
                  </a:ln>
                </p:spPr>
                <p:txBody>
                  <a:bodyPr rtlCol="0" anchor="ctr"/>
                  <a:lstStyle/>
                  <a:p>
                    <a:endParaRPr lang="en-US" sz="2400"/>
                  </a:p>
                </p:txBody>
              </p:sp>
              <p:sp>
                <p:nvSpPr>
                  <p:cNvPr id="28" name="Freeform: Shape 27">
                    <a:extLst>
                      <a:ext uri="{FF2B5EF4-FFF2-40B4-BE49-F238E27FC236}">
                        <a16:creationId xmlns:a16="http://schemas.microsoft.com/office/drawing/2014/main" id="{6F42DCFC-1BC2-A01A-B27A-ACE57A5113D3}"/>
                      </a:ext>
                    </a:extLst>
                  </p:cNvPr>
                  <p:cNvSpPr/>
                  <p:nvPr userDrawn="1"/>
                </p:nvSpPr>
                <p:spPr>
                  <a:xfrm>
                    <a:off x="8297281" y="439843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43"/>
                          <a:pt x="42097" y="21037"/>
                        </a:cubicBezTo>
                        <a:close/>
                      </a:path>
                    </a:pathLst>
                  </a:custGeom>
                  <a:solidFill>
                    <a:srgbClr val="B1B8CC"/>
                  </a:solidFill>
                  <a:ln w="2339" cap="flat">
                    <a:noFill/>
                    <a:prstDash val="solid"/>
                    <a:miter/>
                  </a:ln>
                </p:spPr>
                <p:txBody>
                  <a:bodyPr rtlCol="0" anchor="ctr"/>
                  <a:lstStyle/>
                  <a:p>
                    <a:endParaRPr lang="en-US" sz="2400"/>
                  </a:p>
                </p:txBody>
              </p:sp>
              <p:sp>
                <p:nvSpPr>
                  <p:cNvPr id="29" name="Freeform: Shape 28">
                    <a:extLst>
                      <a:ext uri="{FF2B5EF4-FFF2-40B4-BE49-F238E27FC236}">
                        <a16:creationId xmlns:a16="http://schemas.microsoft.com/office/drawing/2014/main" id="{A63513B6-C4C7-5EBE-C4BF-DD48FBB60CBA}"/>
                      </a:ext>
                    </a:extLst>
                  </p:cNvPr>
                  <p:cNvSpPr/>
                  <p:nvPr userDrawn="1"/>
                </p:nvSpPr>
                <p:spPr>
                  <a:xfrm>
                    <a:off x="8296719" y="4398345"/>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B2B9CC"/>
                  </a:solidFill>
                  <a:ln w="2339" cap="flat">
                    <a:noFill/>
                    <a:prstDash val="solid"/>
                    <a:miter/>
                  </a:ln>
                </p:spPr>
                <p:txBody>
                  <a:bodyPr rtlCol="0" anchor="ctr"/>
                  <a:lstStyle/>
                  <a:p>
                    <a:endParaRPr lang="en-US" sz="2400"/>
                  </a:p>
                </p:txBody>
              </p:sp>
              <p:sp>
                <p:nvSpPr>
                  <p:cNvPr id="30" name="Freeform: Shape 29">
                    <a:extLst>
                      <a:ext uri="{FF2B5EF4-FFF2-40B4-BE49-F238E27FC236}">
                        <a16:creationId xmlns:a16="http://schemas.microsoft.com/office/drawing/2014/main" id="{4CF84CFB-1D22-CFE4-7D7A-48AB9F7B3C68}"/>
                      </a:ext>
                    </a:extLst>
                  </p:cNvPr>
                  <p:cNvSpPr/>
                  <p:nvPr userDrawn="1"/>
                </p:nvSpPr>
                <p:spPr>
                  <a:xfrm>
                    <a:off x="8296158" y="4398252"/>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2B9CD"/>
                  </a:solidFill>
                  <a:ln w="2339" cap="flat">
                    <a:noFill/>
                    <a:prstDash val="solid"/>
                    <a:miter/>
                  </a:ln>
                </p:spPr>
                <p:txBody>
                  <a:bodyPr rtlCol="0" anchor="ctr"/>
                  <a:lstStyle/>
                  <a:p>
                    <a:endParaRPr lang="en-US" sz="2400"/>
                  </a:p>
                </p:txBody>
              </p:sp>
              <p:sp>
                <p:nvSpPr>
                  <p:cNvPr id="31" name="Freeform: Shape 30">
                    <a:extLst>
                      <a:ext uri="{FF2B5EF4-FFF2-40B4-BE49-F238E27FC236}">
                        <a16:creationId xmlns:a16="http://schemas.microsoft.com/office/drawing/2014/main" id="{45B4B2F5-FCAE-3043-50EC-C8474809FDF3}"/>
                      </a:ext>
                    </a:extLst>
                  </p:cNvPr>
                  <p:cNvSpPr/>
                  <p:nvPr userDrawn="1"/>
                </p:nvSpPr>
                <p:spPr>
                  <a:xfrm>
                    <a:off x="8295596" y="439818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43"/>
                          <a:pt x="42097" y="21037"/>
                        </a:cubicBezTo>
                        <a:close/>
                      </a:path>
                    </a:pathLst>
                  </a:custGeom>
                  <a:solidFill>
                    <a:srgbClr val="B2B9CD"/>
                  </a:solidFill>
                  <a:ln w="2339" cap="flat">
                    <a:noFill/>
                    <a:prstDash val="solid"/>
                    <a:miter/>
                  </a:ln>
                </p:spPr>
                <p:txBody>
                  <a:bodyPr rtlCol="0" anchor="ctr"/>
                  <a:lstStyle/>
                  <a:p>
                    <a:endParaRPr lang="en-US" sz="2400"/>
                  </a:p>
                </p:txBody>
              </p:sp>
              <p:sp>
                <p:nvSpPr>
                  <p:cNvPr id="32" name="Freeform: Shape 31">
                    <a:extLst>
                      <a:ext uri="{FF2B5EF4-FFF2-40B4-BE49-F238E27FC236}">
                        <a16:creationId xmlns:a16="http://schemas.microsoft.com/office/drawing/2014/main" id="{80A44563-27AF-2AC1-56B2-91251AA0EBC0}"/>
                      </a:ext>
                    </a:extLst>
                  </p:cNvPr>
                  <p:cNvSpPr/>
                  <p:nvPr userDrawn="1"/>
                </p:nvSpPr>
                <p:spPr>
                  <a:xfrm>
                    <a:off x="8295034" y="4398088"/>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43"/>
                          <a:pt x="42097" y="21037"/>
                        </a:cubicBezTo>
                        <a:close/>
                      </a:path>
                    </a:pathLst>
                  </a:custGeom>
                  <a:solidFill>
                    <a:srgbClr val="B3B9CD"/>
                  </a:solidFill>
                  <a:ln w="2339" cap="flat">
                    <a:noFill/>
                    <a:prstDash val="solid"/>
                    <a:miter/>
                  </a:ln>
                </p:spPr>
                <p:txBody>
                  <a:bodyPr rtlCol="0" anchor="ctr"/>
                  <a:lstStyle/>
                  <a:p>
                    <a:endParaRPr lang="en-US" sz="2400"/>
                  </a:p>
                </p:txBody>
              </p:sp>
              <p:sp>
                <p:nvSpPr>
                  <p:cNvPr id="33" name="Freeform: Shape 32">
                    <a:extLst>
                      <a:ext uri="{FF2B5EF4-FFF2-40B4-BE49-F238E27FC236}">
                        <a16:creationId xmlns:a16="http://schemas.microsoft.com/office/drawing/2014/main" id="{9C655716-1BBC-7C8A-66B6-9F4CAE778342}"/>
                      </a:ext>
                    </a:extLst>
                  </p:cNvPr>
                  <p:cNvSpPr/>
                  <p:nvPr userDrawn="1"/>
                </p:nvSpPr>
                <p:spPr>
                  <a:xfrm>
                    <a:off x="8294449" y="4397994"/>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3BACD"/>
                  </a:solidFill>
                  <a:ln w="2339" cap="flat">
                    <a:noFill/>
                    <a:prstDash val="solid"/>
                    <a:miter/>
                  </a:ln>
                </p:spPr>
                <p:txBody>
                  <a:bodyPr rtlCol="0" anchor="ctr"/>
                  <a:lstStyle/>
                  <a:p>
                    <a:endParaRPr lang="en-US" sz="2400"/>
                  </a:p>
                </p:txBody>
              </p:sp>
              <p:sp>
                <p:nvSpPr>
                  <p:cNvPr id="34" name="Freeform: Shape 33">
                    <a:extLst>
                      <a:ext uri="{FF2B5EF4-FFF2-40B4-BE49-F238E27FC236}">
                        <a16:creationId xmlns:a16="http://schemas.microsoft.com/office/drawing/2014/main" id="{47A8CC21-2223-A1B9-4DC5-FC3B50B21D43}"/>
                      </a:ext>
                    </a:extLst>
                  </p:cNvPr>
                  <p:cNvSpPr/>
                  <p:nvPr userDrawn="1"/>
                </p:nvSpPr>
                <p:spPr>
                  <a:xfrm>
                    <a:off x="8293888" y="439790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3BACD"/>
                  </a:solidFill>
                  <a:ln w="2339" cap="flat">
                    <a:noFill/>
                    <a:prstDash val="solid"/>
                    <a:miter/>
                  </a:ln>
                </p:spPr>
                <p:txBody>
                  <a:bodyPr rtlCol="0" anchor="ctr"/>
                  <a:lstStyle/>
                  <a:p>
                    <a:endParaRPr lang="en-US" sz="2400"/>
                  </a:p>
                </p:txBody>
              </p:sp>
              <p:sp>
                <p:nvSpPr>
                  <p:cNvPr id="35" name="Freeform: Shape 34">
                    <a:extLst>
                      <a:ext uri="{FF2B5EF4-FFF2-40B4-BE49-F238E27FC236}">
                        <a16:creationId xmlns:a16="http://schemas.microsoft.com/office/drawing/2014/main" id="{042C32FA-1CA1-8506-E5E5-B486A7F5F6AE}"/>
                      </a:ext>
                    </a:extLst>
                  </p:cNvPr>
                  <p:cNvSpPr/>
                  <p:nvPr userDrawn="1"/>
                </p:nvSpPr>
                <p:spPr>
                  <a:xfrm>
                    <a:off x="8293326" y="4397807"/>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3BACE"/>
                  </a:solidFill>
                  <a:ln w="2339" cap="flat">
                    <a:noFill/>
                    <a:prstDash val="solid"/>
                    <a:miter/>
                  </a:ln>
                </p:spPr>
                <p:txBody>
                  <a:bodyPr rtlCol="0" anchor="ctr"/>
                  <a:lstStyle/>
                  <a:p>
                    <a:endParaRPr lang="en-US" sz="2400"/>
                  </a:p>
                </p:txBody>
              </p:sp>
              <p:sp>
                <p:nvSpPr>
                  <p:cNvPr id="36" name="Freeform: Shape 35">
                    <a:extLst>
                      <a:ext uri="{FF2B5EF4-FFF2-40B4-BE49-F238E27FC236}">
                        <a16:creationId xmlns:a16="http://schemas.microsoft.com/office/drawing/2014/main" id="{8F1B69FC-497F-C27D-8E64-B16EAA9C642C}"/>
                      </a:ext>
                    </a:extLst>
                  </p:cNvPr>
                  <p:cNvSpPr/>
                  <p:nvPr userDrawn="1"/>
                </p:nvSpPr>
                <p:spPr>
                  <a:xfrm>
                    <a:off x="8292764" y="4397713"/>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4BBCE"/>
                  </a:solidFill>
                  <a:ln w="2339" cap="flat">
                    <a:noFill/>
                    <a:prstDash val="solid"/>
                    <a:miter/>
                  </a:ln>
                </p:spPr>
                <p:txBody>
                  <a:bodyPr rtlCol="0" anchor="ctr"/>
                  <a:lstStyle/>
                  <a:p>
                    <a:endParaRPr lang="en-US" sz="2400"/>
                  </a:p>
                </p:txBody>
              </p:sp>
              <p:sp>
                <p:nvSpPr>
                  <p:cNvPr id="37" name="Freeform: Shape 36">
                    <a:extLst>
                      <a:ext uri="{FF2B5EF4-FFF2-40B4-BE49-F238E27FC236}">
                        <a16:creationId xmlns:a16="http://schemas.microsoft.com/office/drawing/2014/main" id="{B201881B-EE47-C37C-990E-183C3FB41AA8}"/>
                      </a:ext>
                    </a:extLst>
                  </p:cNvPr>
                  <p:cNvSpPr/>
                  <p:nvPr userDrawn="1"/>
                </p:nvSpPr>
                <p:spPr>
                  <a:xfrm>
                    <a:off x="8292203" y="439762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4BBCE"/>
                  </a:solidFill>
                  <a:ln w="2339" cap="flat">
                    <a:noFill/>
                    <a:prstDash val="solid"/>
                    <a:miter/>
                  </a:ln>
                </p:spPr>
                <p:txBody>
                  <a:bodyPr rtlCol="0" anchor="ctr"/>
                  <a:lstStyle/>
                  <a:p>
                    <a:endParaRPr lang="en-US" sz="2400"/>
                  </a:p>
                </p:txBody>
              </p:sp>
              <p:sp>
                <p:nvSpPr>
                  <p:cNvPr id="38" name="Freeform: Shape 37">
                    <a:extLst>
                      <a:ext uri="{FF2B5EF4-FFF2-40B4-BE49-F238E27FC236}">
                        <a16:creationId xmlns:a16="http://schemas.microsoft.com/office/drawing/2014/main" id="{7555418D-BCF3-113B-6424-F63F942B29A3}"/>
                      </a:ext>
                    </a:extLst>
                  </p:cNvPr>
                  <p:cNvSpPr/>
                  <p:nvPr userDrawn="1"/>
                </p:nvSpPr>
                <p:spPr>
                  <a:xfrm>
                    <a:off x="8291641" y="4397526"/>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43"/>
                          <a:pt x="42097" y="21037"/>
                        </a:cubicBezTo>
                        <a:close/>
                      </a:path>
                    </a:pathLst>
                  </a:custGeom>
                  <a:solidFill>
                    <a:srgbClr val="B4BBCE"/>
                  </a:solidFill>
                  <a:ln w="2339" cap="flat">
                    <a:noFill/>
                    <a:prstDash val="solid"/>
                    <a:miter/>
                  </a:ln>
                </p:spPr>
                <p:txBody>
                  <a:bodyPr rtlCol="0" anchor="ctr"/>
                  <a:lstStyle/>
                  <a:p>
                    <a:endParaRPr lang="en-US" sz="2400"/>
                  </a:p>
                </p:txBody>
              </p:sp>
              <p:sp>
                <p:nvSpPr>
                  <p:cNvPr id="39" name="Freeform: Shape 38">
                    <a:extLst>
                      <a:ext uri="{FF2B5EF4-FFF2-40B4-BE49-F238E27FC236}">
                        <a16:creationId xmlns:a16="http://schemas.microsoft.com/office/drawing/2014/main" id="{FEEA0CC4-E6DE-3107-36F8-F3943C4DCD4D}"/>
                      </a:ext>
                    </a:extLst>
                  </p:cNvPr>
                  <p:cNvSpPr/>
                  <p:nvPr userDrawn="1"/>
                </p:nvSpPr>
                <p:spPr>
                  <a:xfrm>
                    <a:off x="8291080" y="4397433"/>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43"/>
                          <a:pt x="42097" y="21037"/>
                        </a:cubicBezTo>
                        <a:close/>
                      </a:path>
                    </a:pathLst>
                  </a:custGeom>
                  <a:solidFill>
                    <a:srgbClr val="B5BBCE"/>
                  </a:solidFill>
                  <a:ln w="2339" cap="flat">
                    <a:noFill/>
                    <a:prstDash val="solid"/>
                    <a:miter/>
                  </a:ln>
                </p:spPr>
                <p:txBody>
                  <a:bodyPr rtlCol="0" anchor="ctr"/>
                  <a:lstStyle/>
                  <a:p>
                    <a:endParaRPr lang="en-US" sz="2400"/>
                  </a:p>
                </p:txBody>
              </p:sp>
              <p:sp>
                <p:nvSpPr>
                  <p:cNvPr id="40" name="Freeform: Shape 39">
                    <a:extLst>
                      <a:ext uri="{FF2B5EF4-FFF2-40B4-BE49-F238E27FC236}">
                        <a16:creationId xmlns:a16="http://schemas.microsoft.com/office/drawing/2014/main" id="{377C7ADB-EC11-0C0B-65CB-63BFB1118E50}"/>
                      </a:ext>
                    </a:extLst>
                  </p:cNvPr>
                  <p:cNvSpPr/>
                  <p:nvPr userDrawn="1"/>
                </p:nvSpPr>
                <p:spPr>
                  <a:xfrm>
                    <a:off x="8290518" y="4397316"/>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5BCCF"/>
                  </a:solidFill>
                  <a:ln w="2339" cap="flat">
                    <a:noFill/>
                    <a:prstDash val="solid"/>
                    <a:miter/>
                  </a:ln>
                </p:spPr>
                <p:txBody>
                  <a:bodyPr rtlCol="0" anchor="ctr"/>
                  <a:lstStyle/>
                  <a:p>
                    <a:endParaRPr lang="en-US" sz="2400"/>
                  </a:p>
                </p:txBody>
              </p:sp>
              <p:sp>
                <p:nvSpPr>
                  <p:cNvPr id="41" name="Freeform: Shape 40">
                    <a:extLst>
                      <a:ext uri="{FF2B5EF4-FFF2-40B4-BE49-F238E27FC236}">
                        <a16:creationId xmlns:a16="http://schemas.microsoft.com/office/drawing/2014/main" id="{B9D84B9A-DAB9-69A7-C045-994A3F9747C7}"/>
                      </a:ext>
                    </a:extLst>
                  </p:cNvPr>
                  <p:cNvSpPr/>
                  <p:nvPr userDrawn="1"/>
                </p:nvSpPr>
                <p:spPr>
                  <a:xfrm>
                    <a:off x="8289956" y="4397222"/>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5BCCF"/>
                  </a:solidFill>
                  <a:ln w="2339" cap="flat">
                    <a:noFill/>
                    <a:prstDash val="solid"/>
                    <a:miter/>
                  </a:ln>
                </p:spPr>
                <p:txBody>
                  <a:bodyPr rtlCol="0" anchor="ctr"/>
                  <a:lstStyle/>
                  <a:p>
                    <a:endParaRPr lang="en-US" sz="2400"/>
                  </a:p>
                </p:txBody>
              </p:sp>
              <p:sp>
                <p:nvSpPr>
                  <p:cNvPr id="42" name="Freeform: Shape 41">
                    <a:extLst>
                      <a:ext uri="{FF2B5EF4-FFF2-40B4-BE49-F238E27FC236}">
                        <a16:creationId xmlns:a16="http://schemas.microsoft.com/office/drawing/2014/main" id="{CCE84C10-F79F-860B-5BB8-25FBC4DF75F1}"/>
                      </a:ext>
                    </a:extLst>
                  </p:cNvPr>
                  <p:cNvSpPr/>
                  <p:nvPr userDrawn="1"/>
                </p:nvSpPr>
                <p:spPr>
                  <a:xfrm>
                    <a:off x="8289418" y="4397128"/>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43"/>
                          <a:pt x="42097" y="21037"/>
                        </a:cubicBezTo>
                        <a:close/>
                      </a:path>
                    </a:pathLst>
                  </a:custGeom>
                  <a:solidFill>
                    <a:srgbClr val="B6BCCF"/>
                  </a:solidFill>
                  <a:ln w="2339" cap="flat">
                    <a:noFill/>
                    <a:prstDash val="solid"/>
                    <a:miter/>
                  </a:ln>
                </p:spPr>
                <p:txBody>
                  <a:bodyPr rtlCol="0" anchor="ctr"/>
                  <a:lstStyle/>
                  <a:p>
                    <a:endParaRPr lang="en-US" sz="2400"/>
                  </a:p>
                </p:txBody>
              </p:sp>
              <p:sp>
                <p:nvSpPr>
                  <p:cNvPr id="43" name="Freeform: Shape 42">
                    <a:extLst>
                      <a:ext uri="{FF2B5EF4-FFF2-40B4-BE49-F238E27FC236}">
                        <a16:creationId xmlns:a16="http://schemas.microsoft.com/office/drawing/2014/main" id="{14903043-909C-E7C9-21D6-7C1165A3F017}"/>
                      </a:ext>
                    </a:extLst>
                  </p:cNvPr>
                  <p:cNvSpPr/>
                  <p:nvPr userDrawn="1"/>
                </p:nvSpPr>
                <p:spPr>
                  <a:xfrm>
                    <a:off x="8288857" y="439701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6BCCF"/>
                  </a:solidFill>
                  <a:ln w="2339" cap="flat">
                    <a:noFill/>
                    <a:prstDash val="solid"/>
                    <a:miter/>
                  </a:ln>
                </p:spPr>
                <p:txBody>
                  <a:bodyPr rtlCol="0" anchor="ctr"/>
                  <a:lstStyle/>
                  <a:p>
                    <a:endParaRPr lang="en-US" sz="2400"/>
                  </a:p>
                </p:txBody>
              </p:sp>
              <p:sp>
                <p:nvSpPr>
                  <p:cNvPr id="44" name="Freeform: Shape 43">
                    <a:extLst>
                      <a:ext uri="{FF2B5EF4-FFF2-40B4-BE49-F238E27FC236}">
                        <a16:creationId xmlns:a16="http://schemas.microsoft.com/office/drawing/2014/main" id="{DA651C90-9546-9D98-A594-E21D97C37190}"/>
                      </a:ext>
                    </a:extLst>
                  </p:cNvPr>
                  <p:cNvSpPr/>
                  <p:nvPr userDrawn="1"/>
                </p:nvSpPr>
                <p:spPr>
                  <a:xfrm>
                    <a:off x="8288295" y="4396918"/>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B6BDCF"/>
                  </a:solidFill>
                  <a:ln w="2339" cap="flat">
                    <a:noFill/>
                    <a:prstDash val="solid"/>
                    <a:miter/>
                  </a:ln>
                </p:spPr>
                <p:txBody>
                  <a:bodyPr rtlCol="0" anchor="ctr"/>
                  <a:lstStyle/>
                  <a:p>
                    <a:endParaRPr lang="en-US" sz="2400"/>
                  </a:p>
                </p:txBody>
              </p:sp>
              <p:sp>
                <p:nvSpPr>
                  <p:cNvPr id="45" name="Freeform: Shape 44">
                    <a:extLst>
                      <a:ext uri="{FF2B5EF4-FFF2-40B4-BE49-F238E27FC236}">
                        <a16:creationId xmlns:a16="http://schemas.microsoft.com/office/drawing/2014/main" id="{E8304E13-6A30-7F03-595C-F7502DEA472E}"/>
                      </a:ext>
                    </a:extLst>
                  </p:cNvPr>
                  <p:cNvSpPr/>
                  <p:nvPr userDrawn="1"/>
                </p:nvSpPr>
                <p:spPr>
                  <a:xfrm>
                    <a:off x="8287733" y="439680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7BDD0"/>
                  </a:solidFill>
                  <a:ln w="2339" cap="flat">
                    <a:noFill/>
                    <a:prstDash val="solid"/>
                    <a:miter/>
                  </a:ln>
                </p:spPr>
                <p:txBody>
                  <a:bodyPr rtlCol="0" anchor="ctr"/>
                  <a:lstStyle/>
                  <a:p>
                    <a:endParaRPr lang="en-US" sz="2400"/>
                  </a:p>
                </p:txBody>
              </p:sp>
              <p:sp>
                <p:nvSpPr>
                  <p:cNvPr id="46" name="Freeform: Shape 45">
                    <a:extLst>
                      <a:ext uri="{FF2B5EF4-FFF2-40B4-BE49-F238E27FC236}">
                        <a16:creationId xmlns:a16="http://schemas.microsoft.com/office/drawing/2014/main" id="{44B7C382-3543-A689-2AAA-128718743CAD}"/>
                      </a:ext>
                    </a:extLst>
                  </p:cNvPr>
                  <p:cNvSpPr/>
                  <p:nvPr userDrawn="1"/>
                </p:nvSpPr>
                <p:spPr>
                  <a:xfrm>
                    <a:off x="8287172" y="4396707"/>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43"/>
                          <a:pt x="42097" y="21037"/>
                        </a:cubicBezTo>
                        <a:close/>
                      </a:path>
                    </a:pathLst>
                  </a:custGeom>
                  <a:solidFill>
                    <a:srgbClr val="B7BDD0"/>
                  </a:solidFill>
                  <a:ln w="2339" cap="flat">
                    <a:noFill/>
                    <a:prstDash val="solid"/>
                    <a:miter/>
                  </a:ln>
                </p:spPr>
                <p:txBody>
                  <a:bodyPr rtlCol="0" anchor="ctr"/>
                  <a:lstStyle/>
                  <a:p>
                    <a:endParaRPr lang="en-US" sz="2400"/>
                  </a:p>
                </p:txBody>
              </p:sp>
              <p:sp>
                <p:nvSpPr>
                  <p:cNvPr id="47" name="Freeform: Shape 46">
                    <a:extLst>
                      <a:ext uri="{FF2B5EF4-FFF2-40B4-BE49-F238E27FC236}">
                        <a16:creationId xmlns:a16="http://schemas.microsoft.com/office/drawing/2014/main" id="{0635088B-1798-BD17-98EF-41FF8BB59472}"/>
                      </a:ext>
                    </a:extLst>
                  </p:cNvPr>
                  <p:cNvSpPr/>
                  <p:nvPr userDrawn="1"/>
                </p:nvSpPr>
                <p:spPr>
                  <a:xfrm>
                    <a:off x="8286634" y="439659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7BED0"/>
                  </a:solidFill>
                  <a:ln w="2339" cap="flat">
                    <a:noFill/>
                    <a:prstDash val="solid"/>
                    <a:miter/>
                  </a:ln>
                </p:spPr>
                <p:txBody>
                  <a:bodyPr rtlCol="0" anchor="ctr"/>
                  <a:lstStyle/>
                  <a:p>
                    <a:endParaRPr lang="en-US" sz="2400"/>
                  </a:p>
                </p:txBody>
              </p:sp>
              <p:sp>
                <p:nvSpPr>
                  <p:cNvPr id="48" name="Freeform: Shape 47">
                    <a:extLst>
                      <a:ext uri="{FF2B5EF4-FFF2-40B4-BE49-F238E27FC236}">
                        <a16:creationId xmlns:a16="http://schemas.microsoft.com/office/drawing/2014/main" id="{240147AE-E4A5-4A94-272E-F01E251CF294}"/>
                      </a:ext>
                    </a:extLst>
                  </p:cNvPr>
                  <p:cNvSpPr/>
                  <p:nvPr userDrawn="1"/>
                </p:nvSpPr>
                <p:spPr>
                  <a:xfrm>
                    <a:off x="8286072" y="4396473"/>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7BED0"/>
                  </a:solidFill>
                  <a:ln w="2339" cap="flat">
                    <a:noFill/>
                    <a:prstDash val="solid"/>
                    <a:miter/>
                  </a:ln>
                </p:spPr>
                <p:txBody>
                  <a:bodyPr rtlCol="0" anchor="ctr"/>
                  <a:lstStyle/>
                  <a:p>
                    <a:endParaRPr lang="en-US" sz="2400"/>
                  </a:p>
                </p:txBody>
              </p:sp>
              <p:sp>
                <p:nvSpPr>
                  <p:cNvPr id="49" name="Freeform: Shape 48">
                    <a:extLst>
                      <a:ext uri="{FF2B5EF4-FFF2-40B4-BE49-F238E27FC236}">
                        <a16:creationId xmlns:a16="http://schemas.microsoft.com/office/drawing/2014/main" id="{6853573F-7F95-7E98-D535-6A7BB652403C}"/>
                      </a:ext>
                    </a:extLst>
                  </p:cNvPr>
                  <p:cNvSpPr/>
                  <p:nvPr userDrawn="1"/>
                </p:nvSpPr>
                <p:spPr>
                  <a:xfrm>
                    <a:off x="8285510" y="439638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43"/>
                          <a:pt x="42097" y="21037"/>
                        </a:cubicBezTo>
                        <a:close/>
                      </a:path>
                    </a:pathLst>
                  </a:custGeom>
                  <a:solidFill>
                    <a:srgbClr val="B8BED0"/>
                  </a:solidFill>
                  <a:ln w="2339" cap="flat">
                    <a:noFill/>
                    <a:prstDash val="solid"/>
                    <a:miter/>
                  </a:ln>
                </p:spPr>
                <p:txBody>
                  <a:bodyPr rtlCol="0" anchor="ctr"/>
                  <a:lstStyle/>
                  <a:p>
                    <a:endParaRPr lang="en-US" sz="2400"/>
                  </a:p>
                </p:txBody>
              </p:sp>
              <p:sp>
                <p:nvSpPr>
                  <p:cNvPr id="50" name="Freeform: Shape 49">
                    <a:extLst>
                      <a:ext uri="{FF2B5EF4-FFF2-40B4-BE49-F238E27FC236}">
                        <a16:creationId xmlns:a16="http://schemas.microsoft.com/office/drawing/2014/main" id="{3C13D6E3-DF26-AC8D-34F6-0B21EDDD5A3B}"/>
                      </a:ext>
                    </a:extLst>
                  </p:cNvPr>
                  <p:cNvSpPr/>
                  <p:nvPr userDrawn="1"/>
                </p:nvSpPr>
                <p:spPr>
                  <a:xfrm>
                    <a:off x="8284972" y="4396263"/>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B8BED1"/>
                  </a:solidFill>
                  <a:ln w="2339" cap="flat">
                    <a:noFill/>
                    <a:prstDash val="solid"/>
                    <a:miter/>
                  </a:ln>
                </p:spPr>
                <p:txBody>
                  <a:bodyPr rtlCol="0" anchor="ctr"/>
                  <a:lstStyle/>
                  <a:p>
                    <a:endParaRPr lang="en-US" sz="2400"/>
                  </a:p>
                </p:txBody>
              </p:sp>
              <p:sp>
                <p:nvSpPr>
                  <p:cNvPr id="51" name="Freeform: Shape 50">
                    <a:extLst>
                      <a:ext uri="{FF2B5EF4-FFF2-40B4-BE49-F238E27FC236}">
                        <a16:creationId xmlns:a16="http://schemas.microsoft.com/office/drawing/2014/main" id="{75F1BAB0-AC7B-394A-2568-87A765642479}"/>
                      </a:ext>
                    </a:extLst>
                  </p:cNvPr>
                  <p:cNvSpPr/>
                  <p:nvPr userDrawn="1"/>
                </p:nvSpPr>
                <p:spPr>
                  <a:xfrm>
                    <a:off x="8284411" y="4396146"/>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8BFD1"/>
                  </a:solidFill>
                  <a:ln w="2339" cap="flat">
                    <a:noFill/>
                    <a:prstDash val="solid"/>
                    <a:miter/>
                  </a:ln>
                </p:spPr>
                <p:txBody>
                  <a:bodyPr rtlCol="0" anchor="ctr"/>
                  <a:lstStyle/>
                  <a:p>
                    <a:endParaRPr lang="en-US" sz="2400"/>
                  </a:p>
                </p:txBody>
              </p:sp>
              <p:sp>
                <p:nvSpPr>
                  <p:cNvPr id="52" name="Freeform: Shape 51">
                    <a:extLst>
                      <a:ext uri="{FF2B5EF4-FFF2-40B4-BE49-F238E27FC236}">
                        <a16:creationId xmlns:a16="http://schemas.microsoft.com/office/drawing/2014/main" id="{EA7FED37-08C5-27E2-D426-097F1FC55A57}"/>
                      </a:ext>
                    </a:extLst>
                  </p:cNvPr>
                  <p:cNvSpPr/>
                  <p:nvPr userDrawn="1"/>
                </p:nvSpPr>
                <p:spPr>
                  <a:xfrm>
                    <a:off x="8283849" y="439602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9BFD1"/>
                  </a:solidFill>
                  <a:ln w="2339" cap="flat">
                    <a:noFill/>
                    <a:prstDash val="solid"/>
                    <a:miter/>
                  </a:ln>
                </p:spPr>
                <p:txBody>
                  <a:bodyPr rtlCol="0" anchor="ctr"/>
                  <a:lstStyle/>
                  <a:p>
                    <a:endParaRPr lang="en-US" sz="2400"/>
                  </a:p>
                </p:txBody>
              </p:sp>
              <p:sp>
                <p:nvSpPr>
                  <p:cNvPr id="53" name="Freeform: Shape 52">
                    <a:extLst>
                      <a:ext uri="{FF2B5EF4-FFF2-40B4-BE49-F238E27FC236}">
                        <a16:creationId xmlns:a16="http://schemas.microsoft.com/office/drawing/2014/main" id="{C6FEAD57-EB2A-D7C4-39C4-ADCF9738C510}"/>
                      </a:ext>
                    </a:extLst>
                  </p:cNvPr>
                  <p:cNvSpPr/>
                  <p:nvPr userDrawn="1"/>
                </p:nvSpPr>
                <p:spPr>
                  <a:xfrm>
                    <a:off x="8283311" y="4395912"/>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9BFD1"/>
                  </a:solidFill>
                  <a:ln w="2339" cap="flat">
                    <a:noFill/>
                    <a:prstDash val="solid"/>
                    <a:miter/>
                  </a:ln>
                </p:spPr>
                <p:txBody>
                  <a:bodyPr rtlCol="0" anchor="ctr"/>
                  <a:lstStyle/>
                  <a:p>
                    <a:endParaRPr lang="en-US" sz="2400"/>
                  </a:p>
                </p:txBody>
              </p:sp>
              <p:sp>
                <p:nvSpPr>
                  <p:cNvPr id="54" name="Freeform: Shape 53">
                    <a:extLst>
                      <a:ext uri="{FF2B5EF4-FFF2-40B4-BE49-F238E27FC236}">
                        <a16:creationId xmlns:a16="http://schemas.microsoft.com/office/drawing/2014/main" id="{110F19B0-8E2E-790C-652B-49640C80EFC9}"/>
                      </a:ext>
                    </a:extLst>
                  </p:cNvPr>
                  <p:cNvSpPr/>
                  <p:nvPr userDrawn="1"/>
                </p:nvSpPr>
                <p:spPr>
                  <a:xfrm>
                    <a:off x="8282749" y="4395795"/>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9C0D1"/>
                  </a:solidFill>
                  <a:ln w="2339" cap="flat">
                    <a:noFill/>
                    <a:prstDash val="solid"/>
                    <a:miter/>
                  </a:ln>
                </p:spPr>
                <p:txBody>
                  <a:bodyPr rtlCol="0" anchor="ctr"/>
                  <a:lstStyle/>
                  <a:p>
                    <a:endParaRPr lang="en-US" sz="2400"/>
                  </a:p>
                </p:txBody>
              </p:sp>
              <p:sp>
                <p:nvSpPr>
                  <p:cNvPr id="55" name="Freeform: Shape 54">
                    <a:extLst>
                      <a:ext uri="{FF2B5EF4-FFF2-40B4-BE49-F238E27FC236}">
                        <a16:creationId xmlns:a16="http://schemas.microsoft.com/office/drawing/2014/main" id="{79CCB09A-9AF1-C4B6-4353-705004E92391}"/>
                      </a:ext>
                    </a:extLst>
                  </p:cNvPr>
                  <p:cNvSpPr/>
                  <p:nvPr userDrawn="1"/>
                </p:nvSpPr>
                <p:spPr>
                  <a:xfrm>
                    <a:off x="8282211" y="4395678"/>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AC0D2"/>
                  </a:solidFill>
                  <a:ln w="2339" cap="flat">
                    <a:noFill/>
                    <a:prstDash val="solid"/>
                    <a:miter/>
                  </a:ln>
                </p:spPr>
                <p:txBody>
                  <a:bodyPr rtlCol="0" anchor="ctr"/>
                  <a:lstStyle/>
                  <a:p>
                    <a:endParaRPr lang="en-US" sz="2400"/>
                  </a:p>
                </p:txBody>
              </p:sp>
              <p:sp>
                <p:nvSpPr>
                  <p:cNvPr id="56" name="Freeform: Shape 55">
                    <a:extLst>
                      <a:ext uri="{FF2B5EF4-FFF2-40B4-BE49-F238E27FC236}">
                        <a16:creationId xmlns:a16="http://schemas.microsoft.com/office/drawing/2014/main" id="{5B0DD83D-3F6D-33FA-9F6B-C77F13F2B825}"/>
                      </a:ext>
                    </a:extLst>
                  </p:cNvPr>
                  <p:cNvSpPr/>
                  <p:nvPr userDrawn="1"/>
                </p:nvSpPr>
                <p:spPr>
                  <a:xfrm>
                    <a:off x="8281649" y="439556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AC0D2"/>
                  </a:solidFill>
                  <a:ln w="2339" cap="flat">
                    <a:noFill/>
                    <a:prstDash val="solid"/>
                    <a:miter/>
                  </a:ln>
                </p:spPr>
                <p:txBody>
                  <a:bodyPr rtlCol="0" anchor="ctr"/>
                  <a:lstStyle/>
                  <a:p>
                    <a:endParaRPr lang="en-US" sz="2400"/>
                  </a:p>
                </p:txBody>
              </p:sp>
              <p:sp>
                <p:nvSpPr>
                  <p:cNvPr id="57" name="Freeform: Shape 56">
                    <a:extLst>
                      <a:ext uri="{FF2B5EF4-FFF2-40B4-BE49-F238E27FC236}">
                        <a16:creationId xmlns:a16="http://schemas.microsoft.com/office/drawing/2014/main" id="{73B83A36-011C-0F83-E5C8-D7A8D9D97550}"/>
                      </a:ext>
                    </a:extLst>
                  </p:cNvPr>
                  <p:cNvSpPr/>
                  <p:nvPr userDrawn="1"/>
                </p:nvSpPr>
                <p:spPr>
                  <a:xfrm>
                    <a:off x="8281111" y="4395444"/>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AC0D2"/>
                  </a:solidFill>
                  <a:ln w="2339" cap="flat">
                    <a:noFill/>
                    <a:prstDash val="solid"/>
                    <a:miter/>
                  </a:ln>
                </p:spPr>
                <p:txBody>
                  <a:bodyPr rtlCol="0" anchor="ctr"/>
                  <a:lstStyle/>
                  <a:p>
                    <a:endParaRPr lang="en-US" sz="2400"/>
                  </a:p>
                </p:txBody>
              </p:sp>
              <p:sp>
                <p:nvSpPr>
                  <p:cNvPr id="58" name="Freeform: Shape 57">
                    <a:extLst>
                      <a:ext uri="{FF2B5EF4-FFF2-40B4-BE49-F238E27FC236}">
                        <a16:creationId xmlns:a16="http://schemas.microsoft.com/office/drawing/2014/main" id="{E2BAB487-8EAF-2BFE-0EF2-27B540B1654F}"/>
                      </a:ext>
                    </a:extLst>
                  </p:cNvPr>
                  <p:cNvSpPr/>
                  <p:nvPr userDrawn="1"/>
                </p:nvSpPr>
                <p:spPr>
                  <a:xfrm>
                    <a:off x="8280550" y="4395327"/>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AC1D2"/>
                  </a:solidFill>
                  <a:ln w="2339" cap="flat">
                    <a:noFill/>
                    <a:prstDash val="solid"/>
                    <a:miter/>
                  </a:ln>
                </p:spPr>
                <p:txBody>
                  <a:bodyPr rtlCol="0" anchor="ctr"/>
                  <a:lstStyle/>
                  <a:p>
                    <a:endParaRPr lang="en-US" sz="2400"/>
                  </a:p>
                </p:txBody>
              </p:sp>
              <p:sp>
                <p:nvSpPr>
                  <p:cNvPr id="59" name="Freeform: Shape 58">
                    <a:extLst>
                      <a:ext uri="{FF2B5EF4-FFF2-40B4-BE49-F238E27FC236}">
                        <a16:creationId xmlns:a16="http://schemas.microsoft.com/office/drawing/2014/main" id="{33493F8B-E14E-BAE2-063E-2A633972C0F9}"/>
                      </a:ext>
                    </a:extLst>
                  </p:cNvPr>
                  <p:cNvSpPr/>
                  <p:nvPr userDrawn="1"/>
                </p:nvSpPr>
                <p:spPr>
                  <a:xfrm>
                    <a:off x="8280011" y="439521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43"/>
                          <a:pt x="42097" y="21037"/>
                        </a:cubicBezTo>
                        <a:close/>
                      </a:path>
                    </a:pathLst>
                  </a:custGeom>
                  <a:solidFill>
                    <a:srgbClr val="BBC1D2"/>
                  </a:solidFill>
                  <a:ln w="2339" cap="flat">
                    <a:noFill/>
                    <a:prstDash val="solid"/>
                    <a:miter/>
                  </a:ln>
                </p:spPr>
                <p:txBody>
                  <a:bodyPr rtlCol="0" anchor="ctr"/>
                  <a:lstStyle/>
                  <a:p>
                    <a:endParaRPr lang="en-US" sz="2400"/>
                  </a:p>
                </p:txBody>
              </p:sp>
              <p:sp>
                <p:nvSpPr>
                  <p:cNvPr id="60" name="Freeform: Shape 59">
                    <a:extLst>
                      <a:ext uri="{FF2B5EF4-FFF2-40B4-BE49-F238E27FC236}">
                        <a16:creationId xmlns:a16="http://schemas.microsoft.com/office/drawing/2014/main" id="{6A43FAD8-3BE2-526F-7F08-29B0CED643D1}"/>
                      </a:ext>
                    </a:extLst>
                  </p:cNvPr>
                  <p:cNvSpPr/>
                  <p:nvPr userDrawn="1"/>
                </p:nvSpPr>
                <p:spPr>
                  <a:xfrm>
                    <a:off x="8279473" y="439506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BC1D3"/>
                  </a:solidFill>
                  <a:ln w="2339" cap="flat">
                    <a:noFill/>
                    <a:prstDash val="solid"/>
                    <a:miter/>
                  </a:ln>
                </p:spPr>
                <p:txBody>
                  <a:bodyPr rtlCol="0" anchor="ctr"/>
                  <a:lstStyle/>
                  <a:p>
                    <a:endParaRPr lang="en-US" sz="2400"/>
                  </a:p>
                </p:txBody>
              </p:sp>
              <p:sp>
                <p:nvSpPr>
                  <p:cNvPr id="61" name="Freeform: Shape 60">
                    <a:extLst>
                      <a:ext uri="{FF2B5EF4-FFF2-40B4-BE49-F238E27FC236}">
                        <a16:creationId xmlns:a16="http://schemas.microsoft.com/office/drawing/2014/main" id="{6FF792E6-76F5-65D2-17D8-C77DCD9EEEAC}"/>
                      </a:ext>
                    </a:extLst>
                  </p:cNvPr>
                  <p:cNvSpPr/>
                  <p:nvPr userDrawn="1"/>
                </p:nvSpPr>
                <p:spPr>
                  <a:xfrm>
                    <a:off x="8278912" y="4394952"/>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BC1D3"/>
                  </a:solidFill>
                  <a:ln w="2339" cap="flat">
                    <a:noFill/>
                    <a:prstDash val="solid"/>
                    <a:miter/>
                  </a:ln>
                </p:spPr>
                <p:txBody>
                  <a:bodyPr rtlCol="0" anchor="ctr"/>
                  <a:lstStyle/>
                  <a:p>
                    <a:endParaRPr lang="en-US" sz="2400"/>
                  </a:p>
                </p:txBody>
              </p:sp>
              <p:sp>
                <p:nvSpPr>
                  <p:cNvPr id="62" name="Freeform: Shape 61">
                    <a:extLst>
                      <a:ext uri="{FF2B5EF4-FFF2-40B4-BE49-F238E27FC236}">
                        <a16:creationId xmlns:a16="http://schemas.microsoft.com/office/drawing/2014/main" id="{423FE69C-13D2-4228-0681-EF2E4554CD85}"/>
                      </a:ext>
                    </a:extLst>
                  </p:cNvPr>
                  <p:cNvSpPr/>
                  <p:nvPr userDrawn="1"/>
                </p:nvSpPr>
                <p:spPr>
                  <a:xfrm>
                    <a:off x="8278373" y="4394835"/>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BCC2D3"/>
                  </a:solidFill>
                  <a:ln w="2339" cap="flat">
                    <a:noFill/>
                    <a:prstDash val="solid"/>
                    <a:miter/>
                  </a:ln>
                </p:spPr>
                <p:txBody>
                  <a:bodyPr rtlCol="0" anchor="ctr"/>
                  <a:lstStyle/>
                  <a:p>
                    <a:endParaRPr lang="en-US" sz="2400"/>
                  </a:p>
                </p:txBody>
              </p:sp>
              <p:sp>
                <p:nvSpPr>
                  <p:cNvPr id="63" name="Freeform: Shape 62">
                    <a:extLst>
                      <a:ext uri="{FF2B5EF4-FFF2-40B4-BE49-F238E27FC236}">
                        <a16:creationId xmlns:a16="http://schemas.microsoft.com/office/drawing/2014/main" id="{5E5982F0-67C7-986F-7CEB-D702236A1E9A}"/>
                      </a:ext>
                    </a:extLst>
                  </p:cNvPr>
                  <p:cNvSpPr/>
                  <p:nvPr userDrawn="1"/>
                </p:nvSpPr>
                <p:spPr>
                  <a:xfrm>
                    <a:off x="8277835" y="4394695"/>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CC2D3"/>
                  </a:solidFill>
                  <a:ln w="2339" cap="flat">
                    <a:noFill/>
                    <a:prstDash val="solid"/>
                    <a:miter/>
                  </a:ln>
                </p:spPr>
                <p:txBody>
                  <a:bodyPr rtlCol="0" anchor="ctr"/>
                  <a:lstStyle/>
                  <a:p>
                    <a:endParaRPr lang="en-US" sz="2400"/>
                  </a:p>
                </p:txBody>
              </p:sp>
              <p:sp>
                <p:nvSpPr>
                  <p:cNvPr id="64" name="Freeform: Shape 63">
                    <a:extLst>
                      <a:ext uri="{FF2B5EF4-FFF2-40B4-BE49-F238E27FC236}">
                        <a16:creationId xmlns:a16="http://schemas.microsoft.com/office/drawing/2014/main" id="{FD859D96-7AFE-D9B0-3F4B-191023BF2A09}"/>
                      </a:ext>
                    </a:extLst>
                  </p:cNvPr>
                  <p:cNvSpPr/>
                  <p:nvPr userDrawn="1"/>
                </p:nvSpPr>
                <p:spPr>
                  <a:xfrm>
                    <a:off x="8277297" y="4394578"/>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BCC2D3"/>
                  </a:solidFill>
                  <a:ln w="2339" cap="flat">
                    <a:noFill/>
                    <a:prstDash val="solid"/>
                    <a:miter/>
                  </a:ln>
                </p:spPr>
                <p:txBody>
                  <a:bodyPr rtlCol="0" anchor="ctr"/>
                  <a:lstStyle/>
                  <a:p>
                    <a:endParaRPr lang="en-US" sz="2400"/>
                  </a:p>
                </p:txBody>
              </p:sp>
              <p:sp>
                <p:nvSpPr>
                  <p:cNvPr id="65" name="Freeform: Shape 64">
                    <a:extLst>
                      <a:ext uri="{FF2B5EF4-FFF2-40B4-BE49-F238E27FC236}">
                        <a16:creationId xmlns:a16="http://schemas.microsoft.com/office/drawing/2014/main" id="{1B070C48-0FAF-B794-610A-E4EE5388919A}"/>
                      </a:ext>
                    </a:extLst>
                  </p:cNvPr>
                  <p:cNvSpPr/>
                  <p:nvPr userDrawn="1"/>
                </p:nvSpPr>
                <p:spPr>
                  <a:xfrm>
                    <a:off x="8276759" y="4394437"/>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DC3D4"/>
                  </a:solidFill>
                  <a:ln w="2339" cap="flat">
                    <a:noFill/>
                    <a:prstDash val="solid"/>
                    <a:miter/>
                  </a:ln>
                </p:spPr>
                <p:txBody>
                  <a:bodyPr rtlCol="0" anchor="ctr"/>
                  <a:lstStyle/>
                  <a:p>
                    <a:endParaRPr lang="en-US" sz="2400"/>
                  </a:p>
                </p:txBody>
              </p:sp>
              <p:sp>
                <p:nvSpPr>
                  <p:cNvPr id="66" name="Freeform: Shape 65">
                    <a:extLst>
                      <a:ext uri="{FF2B5EF4-FFF2-40B4-BE49-F238E27FC236}">
                        <a16:creationId xmlns:a16="http://schemas.microsoft.com/office/drawing/2014/main" id="{D30B3E50-F0B6-67B0-D133-2397C9C40CFC}"/>
                      </a:ext>
                    </a:extLst>
                  </p:cNvPr>
                  <p:cNvSpPr/>
                  <p:nvPr userDrawn="1"/>
                </p:nvSpPr>
                <p:spPr>
                  <a:xfrm>
                    <a:off x="8276197" y="439432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43"/>
                          <a:pt x="42097" y="21037"/>
                        </a:cubicBezTo>
                        <a:close/>
                      </a:path>
                    </a:pathLst>
                  </a:custGeom>
                  <a:solidFill>
                    <a:srgbClr val="BDC3D4"/>
                  </a:solidFill>
                  <a:ln w="2339" cap="flat">
                    <a:noFill/>
                    <a:prstDash val="solid"/>
                    <a:miter/>
                  </a:ln>
                </p:spPr>
                <p:txBody>
                  <a:bodyPr rtlCol="0" anchor="ctr"/>
                  <a:lstStyle/>
                  <a:p>
                    <a:endParaRPr lang="en-US" sz="2400"/>
                  </a:p>
                </p:txBody>
              </p:sp>
              <p:sp>
                <p:nvSpPr>
                  <p:cNvPr id="67" name="Freeform: Shape 66">
                    <a:extLst>
                      <a:ext uri="{FF2B5EF4-FFF2-40B4-BE49-F238E27FC236}">
                        <a16:creationId xmlns:a16="http://schemas.microsoft.com/office/drawing/2014/main" id="{51D518F5-FB44-66CE-246B-C435BA075BF0}"/>
                      </a:ext>
                    </a:extLst>
                  </p:cNvPr>
                  <p:cNvSpPr/>
                  <p:nvPr userDrawn="1"/>
                </p:nvSpPr>
                <p:spPr>
                  <a:xfrm>
                    <a:off x="8275659" y="439418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DC3D4"/>
                  </a:solidFill>
                  <a:ln w="2339" cap="flat">
                    <a:noFill/>
                    <a:prstDash val="solid"/>
                    <a:miter/>
                  </a:ln>
                </p:spPr>
                <p:txBody>
                  <a:bodyPr rtlCol="0" anchor="ctr"/>
                  <a:lstStyle/>
                  <a:p>
                    <a:endParaRPr lang="en-US" sz="2400"/>
                  </a:p>
                </p:txBody>
              </p:sp>
              <p:sp>
                <p:nvSpPr>
                  <p:cNvPr id="68" name="Freeform: Shape 67">
                    <a:extLst>
                      <a:ext uri="{FF2B5EF4-FFF2-40B4-BE49-F238E27FC236}">
                        <a16:creationId xmlns:a16="http://schemas.microsoft.com/office/drawing/2014/main" id="{9F301C91-75BE-40E6-8559-9A6D5754169C}"/>
                      </a:ext>
                    </a:extLst>
                  </p:cNvPr>
                  <p:cNvSpPr/>
                  <p:nvPr userDrawn="1"/>
                </p:nvSpPr>
                <p:spPr>
                  <a:xfrm>
                    <a:off x="8275121" y="439404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EC3D4"/>
                  </a:solidFill>
                  <a:ln w="2339" cap="flat">
                    <a:noFill/>
                    <a:prstDash val="solid"/>
                    <a:miter/>
                  </a:ln>
                </p:spPr>
                <p:txBody>
                  <a:bodyPr rtlCol="0" anchor="ctr"/>
                  <a:lstStyle/>
                  <a:p>
                    <a:endParaRPr lang="en-US" sz="2400"/>
                  </a:p>
                </p:txBody>
              </p:sp>
              <p:sp>
                <p:nvSpPr>
                  <p:cNvPr id="69" name="Freeform: Shape 68">
                    <a:extLst>
                      <a:ext uri="{FF2B5EF4-FFF2-40B4-BE49-F238E27FC236}">
                        <a16:creationId xmlns:a16="http://schemas.microsoft.com/office/drawing/2014/main" id="{DF95538C-DE1B-0243-362B-215068410555}"/>
                      </a:ext>
                    </a:extLst>
                  </p:cNvPr>
                  <p:cNvSpPr/>
                  <p:nvPr userDrawn="1"/>
                </p:nvSpPr>
                <p:spPr>
                  <a:xfrm>
                    <a:off x="8274583" y="4393923"/>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43"/>
                          <a:pt x="42097" y="21037"/>
                        </a:cubicBezTo>
                        <a:close/>
                      </a:path>
                    </a:pathLst>
                  </a:custGeom>
                  <a:solidFill>
                    <a:srgbClr val="BEC4D4"/>
                  </a:solidFill>
                  <a:ln w="2339" cap="flat">
                    <a:noFill/>
                    <a:prstDash val="solid"/>
                    <a:miter/>
                  </a:ln>
                </p:spPr>
                <p:txBody>
                  <a:bodyPr rtlCol="0" anchor="ctr"/>
                  <a:lstStyle/>
                  <a:p>
                    <a:endParaRPr lang="en-US" sz="2400"/>
                  </a:p>
                </p:txBody>
              </p:sp>
              <p:sp>
                <p:nvSpPr>
                  <p:cNvPr id="70" name="Freeform: Shape 69">
                    <a:extLst>
                      <a:ext uri="{FF2B5EF4-FFF2-40B4-BE49-F238E27FC236}">
                        <a16:creationId xmlns:a16="http://schemas.microsoft.com/office/drawing/2014/main" id="{B1189488-3C3C-68EE-A863-EF7C47CFEADC}"/>
                      </a:ext>
                    </a:extLst>
                  </p:cNvPr>
                  <p:cNvSpPr/>
                  <p:nvPr userDrawn="1"/>
                </p:nvSpPr>
                <p:spPr>
                  <a:xfrm>
                    <a:off x="8274044" y="4393782"/>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EC4D5"/>
                  </a:solidFill>
                  <a:ln w="2339" cap="flat">
                    <a:noFill/>
                    <a:prstDash val="solid"/>
                    <a:miter/>
                  </a:ln>
                </p:spPr>
                <p:txBody>
                  <a:bodyPr rtlCol="0" anchor="ctr"/>
                  <a:lstStyle/>
                  <a:p>
                    <a:endParaRPr lang="en-US" sz="2400"/>
                  </a:p>
                </p:txBody>
              </p:sp>
              <p:sp>
                <p:nvSpPr>
                  <p:cNvPr id="71" name="Freeform: Shape 70">
                    <a:extLst>
                      <a:ext uri="{FF2B5EF4-FFF2-40B4-BE49-F238E27FC236}">
                        <a16:creationId xmlns:a16="http://schemas.microsoft.com/office/drawing/2014/main" id="{0C95FD9C-5BDB-801A-51BF-ADF7D808BF91}"/>
                      </a:ext>
                    </a:extLst>
                  </p:cNvPr>
                  <p:cNvSpPr/>
                  <p:nvPr userDrawn="1"/>
                </p:nvSpPr>
                <p:spPr>
                  <a:xfrm>
                    <a:off x="8273506" y="4393642"/>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EC4D5"/>
                  </a:solidFill>
                  <a:ln w="2339" cap="flat">
                    <a:noFill/>
                    <a:prstDash val="solid"/>
                    <a:miter/>
                  </a:ln>
                </p:spPr>
                <p:txBody>
                  <a:bodyPr rtlCol="0" anchor="ctr"/>
                  <a:lstStyle/>
                  <a:p>
                    <a:endParaRPr lang="en-US" sz="2400"/>
                  </a:p>
                </p:txBody>
              </p:sp>
              <p:sp>
                <p:nvSpPr>
                  <p:cNvPr id="72" name="Freeform: Shape 71">
                    <a:extLst>
                      <a:ext uri="{FF2B5EF4-FFF2-40B4-BE49-F238E27FC236}">
                        <a16:creationId xmlns:a16="http://schemas.microsoft.com/office/drawing/2014/main" id="{6DA12769-5C14-5315-F99A-CFE2375E3938}"/>
                      </a:ext>
                    </a:extLst>
                  </p:cNvPr>
                  <p:cNvSpPr/>
                  <p:nvPr userDrawn="1"/>
                </p:nvSpPr>
                <p:spPr>
                  <a:xfrm>
                    <a:off x="8272991" y="439350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FC5D5"/>
                  </a:solidFill>
                  <a:ln w="2339" cap="flat">
                    <a:noFill/>
                    <a:prstDash val="solid"/>
                    <a:miter/>
                  </a:ln>
                </p:spPr>
                <p:txBody>
                  <a:bodyPr rtlCol="0" anchor="ctr"/>
                  <a:lstStyle/>
                  <a:p>
                    <a:endParaRPr lang="en-US" sz="2400"/>
                  </a:p>
                </p:txBody>
              </p:sp>
              <p:sp>
                <p:nvSpPr>
                  <p:cNvPr id="73" name="Freeform: Shape 72">
                    <a:extLst>
                      <a:ext uri="{FF2B5EF4-FFF2-40B4-BE49-F238E27FC236}">
                        <a16:creationId xmlns:a16="http://schemas.microsoft.com/office/drawing/2014/main" id="{F79F2643-7724-7B3F-189D-0A89084A5480}"/>
                      </a:ext>
                    </a:extLst>
                  </p:cNvPr>
                  <p:cNvSpPr/>
                  <p:nvPr userDrawn="1"/>
                </p:nvSpPr>
                <p:spPr>
                  <a:xfrm>
                    <a:off x="8272453" y="439336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FC5D5"/>
                  </a:solidFill>
                  <a:ln w="2339" cap="flat">
                    <a:noFill/>
                    <a:prstDash val="solid"/>
                    <a:miter/>
                  </a:ln>
                </p:spPr>
                <p:txBody>
                  <a:bodyPr rtlCol="0" anchor="ctr"/>
                  <a:lstStyle/>
                  <a:p>
                    <a:endParaRPr lang="en-US" sz="2400"/>
                  </a:p>
                </p:txBody>
              </p:sp>
              <p:sp>
                <p:nvSpPr>
                  <p:cNvPr id="74" name="Freeform: Shape 73">
                    <a:extLst>
                      <a:ext uri="{FF2B5EF4-FFF2-40B4-BE49-F238E27FC236}">
                        <a16:creationId xmlns:a16="http://schemas.microsoft.com/office/drawing/2014/main" id="{10B4A79F-157F-D5BF-E856-5D3945A69380}"/>
                      </a:ext>
                    </a:extLst>
                  </p:cNvPr>
                  <p:cNvSpPr/>
                  <p:nvPr userDrawn="1"/>
                </p:nvSpPr>
                <p:spPr>
                  <a:xfrm>
                    <a:off x="8271915" y="439322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FC5D5"/>
                  </a:solidFill>
                  <a:ln w="2339" cap="flat">
                    <a:noFill/>
                    <a:prstDash val="solid"/>
                    <a:miter/>
                  </a:ln>
                </p:spPr>
                <p:txBody>
                  <a:bodyPr rtlCol="0" anchor="ctr"/>
                  <a:lstStyle/>
                  <a:p>
                    <a:endParaRPr lang="en-US" sz="2400"/>
                  </a:p>
                </p:txBody>
              </p:sp>
              <p:sp>
                <p:nvSpPr>
                  <p:cNvPr id="75" name="Freeform: Shape 74">
                    <a:extLst>
                      <a:ext uri="{FF2B5EF4-FFF2-40B4-BE49-F238E27FC236}">
                        <a16:creationId xmlns:a16="http://schemas.microsoft.com/office/drawing/2014/main" id="{369F2842-08D8-7323-0660-D046BA7329AF}"/>
                      </a:ext>
                    </a:extLst>
                  </p:cNvPr>
                  <p:cNvSpPr/>
                  <p:nvPr userDrawn="1"/>
                </p:nvSpPr>
                <p:spPr>
                  <a:xfrm>
                    <a:off x="8271377" y="439308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C0C5D6"/>
                  </a:solidFill>
                  <a:ln w="2339" cap="flat">
                    <a:noFill/>
                    <a:prstDash val="solid"/>
                    <a:miter/>
                  </a:ln>
                </p:spPr>
                <p:txBody>
                  <a:bodyPr rtlCol="0" anchor="ctr"/>
                  <a:lstStyle/>
                  <a:p>
                    <a:endParaRPr lang="en-US" sz="2400"/>
                  </a:p>
                </p:txBody>
              </p:sp>
              <p:sp>
                <p:nvSpPr>
                  <p:cNvPr id="76" name="Freeform: Shape 75">
                    <a:extLst>
                      <a:ext uri="{FF2B5EF4-FFF2-40B4-BE49-F238E27FC236}">
                        <a16:creationId xmlns:a16="http://schemas.microsoft.com/office/drawing/2014/main" id="{6EF84239-22A1-1C91-B6EE-C2C45BEA916C}"/>
                      </a:ext>
                    </a:extLst>
                  </p:cNvPr>
                  <p:cNvSpPr/>
                  <p:nvPr userDrawn="1"/>
                </p:nvSpPr>
                <p:spPr>
                  <a:xfrm>
                    <a:off x="8270862" y="439294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C0C6D6"/>
                  </a:solidFill>
                  <a:ln w="2339" cap="flat">
                    <a:noFill/>
                    <a:prstDash val="solid"/>
                    <a:miter/>
                  </a:ln>
                </p:spPr>
                <p:txBody>
                  <a:bodyPr rtlCol="0" anchor="ctr"/>
                  <a:lstStyle/>
                  <a:p>
                    <a:endParaRPr lang="en-US" sz="2400"/>
                  </a:p>
                </p:txBody>
              </p:sp>
              <p:sp>
                <p:nvSpPr>
                  <p:cNvPr id="77" name="Freeform: Shape 76">
                    <a:extLst>
                      <a:ext uri="{FF2B5EF4-FFF2-40B4-BE49-F238E27FC236}">
                        <a16:creationId xmlns:a16="http://schemas.microsoft.com/office/drawing/2014/main" id="{41059B14-5D18-A81C-AA2A-B759D4BDA850}"/>
                      </a:ext>
                    </a:extLst>
                  </p:cNvPr>
                  <p:cNvSpPr/>
                  <p:nvPr userDrawn="1"/>
                </p:nvSpPr>
                <p:spPr>
                  <a:xfrm>
                    <a:off x="8270324" y="439279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C0C6D6"/>
                  </a:solidFill>
                  <a:ln w="2339" cap="flat">
                    <a:noFill/>
                    <a:prstDash val="solid"/>
                    <a:miter/>
                  </a:ln>
                </p:spPr>
                <p:txBody>
                  <a:bodyPr rtlCol="0" anchor="ctr"/>
                  <a:lstStyle/>
                  <a:p>
                    <a:endParaRPr lang="en-US" sz="2400"/>
                  </a:p>
                </p:txBody>
              </p:sp>
              <p:sp>
                <p:nvSpPr>
                  <p:cNvPr id="78" name="Freeform: Shape 77">
                    <a:extLst>
                      <a:ext uri="{FF2B5EF4-FFF2-40B4-BE49-F238E27FC236}">
                        <a16:creationId xmlns:a16="http://schemas.microsoft.com/office/drawing/2014/main" id="{D15EDBEA-A775-2F54-AEE7-E32AD11474C6}"/>
                      </a:ext>
                    </a:extLst>
                  </p:cNvPr>
                  <p:cNvSpPr/>
                  <p:nvPr userDrawn="1"/>
                </p:nvSpPr>
                <p:spPr>
                  <a:xfrm>
                    <a:off x="8269786" y="439265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C1C6D6"/>
                  </a:solidFill>
                  <a:ln w="2339" cap="flat">
                    <a:noFill/>
                    <a:prstDash val="solid"/>
                    <a:miter/>
                  </a:ln>
                </p:spPr>
                <p:txBody>
                  <a:bodyPr rtlCol="0" anchor="ctr"/>
                  <a:lstStyle/>
                  <a:p>
                    <a:endParaRPr lang="en-US" sz="2400"/>
                  </a:p>
                </p:txBody>
              </p:sp>
              <p:sp>
                <p:nvSpPr>
                  <p:cNvPr id="79" name="Freeform: Shape 78">
                    <a:extLst>
                      <a:ext uri="{FF2B5EF4-FFF2-40B4-BE49-F238E27FC236}">
                        <a16:creationId xmlns:a16="http://schemas.microsoft.com/office/drawing/2014/main" id="{F829B9D4-B293-DFE3-0172-17D88A206225}"/>
                      </a:ext>
                    </a:extLst>
                  </p:cNvPr>
                  <p:cNvSpPr/>
                  <p:nvPr userDrawn="1"/>
                </p:nvSpPr>
                <p:spPr>
                  <a:xfrm>
                    <a:off x="8269271" y="439251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C1C6D6"/>
                  </a:solidFill>
                  <a:ln w="2339" cap="flat">
                    <a:noFill/>
                    <a:prstDash val="solid"/>
                    <a:miter/>
                  </a:ln>
                </p:spPr>
                <p:txBody>
                  <a:bodyPr rtlCol="0" anchor="ctr"/>
                  <a:lstStyle/>
                  <a:p>
                    <a:endParaRPr lang="en-US" sz="2400"/>
                  </a:p>
                </p:txBody>
              </p:sp>
              <p:sp>
                <p:nvSpPr>
                  <p:cNvPr id="80" name="Freeform: Shape 79">
                    <a:extLst>
                      <a:ext uri="{FF2B5EF4-FFF2-40B4-BE49-F238E27FC236}">
                        <a16:creationId xmlns:a16="http://schemas.microsoft.com/office/drawing/2014/main" id="{6849034D-102C-BBFF-3889-EA6DF18ED95B}"/>
                      </a:ext>
                    </a:extLst>
                  </p:cNvPr>
                  <p:cNvSpPr/>
                  <p:nvPr userDrawn="1"/>
                </p:nvSpPr>
                <p:spPr>
                  <a:xfrm>
                    <a:off x="8268733" y="4392378"/>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43"/>
                          <a:pt x="42097" y="21037"/>
                        </a:cubicBezTo>
                        <a:close/>
                      </a:path>
                    </a:pathLst>
                  </a:custGeom>
                  <a:solidFill>
                    <a:srgbClr val="C1C7D7"/>
                  </a:solidFill>
                  <a:ln w="2339" cap="flat">
                    <a:noFill/>
                    <a:prstDash val="solid"/>
                    <a:miter/>
                  </a:ln>
                </p:spPr>
                <p:txBody>
                  <a:bodyPr rtlCol="0" anchor="ctr"/>
                  <a:lstStyle/>
                  <a:p>
                    <a:endParaRPr lang="en-US" sz="2400"/>
                  </a:p>
                </p:txBody>
              </p:sp>
              <p:sp>
                <p:nvSpPr>
                  <p:cNvPr id="81" name="Freeform: Shape 80">
                    <a:extLst>
                      <a:ext uri="{FF2B5EF4-FFF2-40B4-BE49-F238E27FC236}">
                        <a16:creationId xmlns:a16="http://schemas.microsoft.com/office/drawing/2014/main" id="{402FF4B4-C6DE-55A2-90B3-E17057BDE2E5}"/>
                      </a:ext>
                    </a:extLst>
                  </p:cNvPr>
                  <p:cNvSpPr/>
                  <p:nvPr userDrawn="1"/>
                </p:nvSpPr>
                <p:spPr>
                  <a:xfrm>
                    <a:off x="8268218" y="4392214"/>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C2C7D7"/>
                  </a:solidFill>
                  <a:ln w="2339" cap="flat">
                    <a:noFill/>
                    <a:prstDash val="solid"/>
                    <a:miter/>
                  </a:ln>
                </p:spPr>
                <p:txBody>
                  <a:bodyPr rtlCol="0" anchor="ctr"/>
                  <a:lstStyle/>
                  <a:p>
                    <a:endParaRPr lang="en-US" sz="2400"/>
                  </a:p>
                </p:txBody>
              </p:sp>
              <p:sp>
                <p:nvSpPr>
                  <p:cNvPr id="82" name="Freeform: Shape 81">
                    <a:extLst>
                      <a:ext uri="{FF2B5EF4-FFF2-40B4-BE49-F238E27FC236}">
                        <a16:creationId xmlns:a16="http://schemas.microsoft.com/office/drawing/2014/main" id="{3B50DCAD-063F-24C7-8566-5F9FE4C5DFDF}"/>
                      </a:ext>
                    </a:extLst>
                  </p:cNvPr>
                  <p:cNvSpPr/>
                  <p:nvPr userDrawn="1"/>
                </p:nvSpPr>
                <p:spPr>
                  <a:xfrm>
                    <a:off x="8267680" y="4392074"/>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C2C7D7"/>
                  </a:solidFill>
                  <a:ln w="2339" cap="flat">
                    <a:noFill/>
                    <a:prstDash val="solid"/>
                    <a:miter/>
                  </a:ln>
                </p:spPr>
                <p:txBody>
                  <a:bodyPr rtlCol="0" anchor="ctr"/>
                  <a:lstStyle/>
                  <a:p>
                    <a:endParaRPr lang="en-US" sz="2400"/>
                  </a:p>
                </p:txBody>
              </p:sp>
              <p:sp>
                <p:nvSpPr>
                  <p:cNvPr id="83" name="Freeform: Shape 82">
                    <a:extLst>
                      <a:ext uri="{FF2B5EF4-FFF2-40B4-BE49-F238E27FC236}">
                        <a16:creationId xmlns:a16="http://schemas.microsoft.com/office/drawing/2014/main" id="{455D7766-8F28-03FF-2A5A-7FEDE7918F43}"/>
                      </a:ext>
                    </a:extLst>
                  </p:cNvPr>
                  <p:cNvSpPr/>
                  <p:nvPr userDrawn="1"/>
                </p:nvSpPr>
                <p:spPr>
                  <a:xfrm>
                    <a:off x="8267165" y="439191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C2C8D7"/>
                  </a:solidFill>
                  <a:ln w="2339" cap="flat">
                    <a:noFill/>
                    <a:prstDash val="solid"/>
                    <a:miter/>
                  </a:ln>
                </p:spPr>
                <p:txBody>
                  <a:bodyPr rtlCol="0" anchor="ctr"/>
                  <a:lstStyle/>
                  <a:p>
                    <a:endParaRPr lang="en-US" sz="2400"/>
                  </a:p>
                </p:txBody>
              </p:sp>
              <p:sp>
                <p:nvSpPr>
                  <p:cNvPr id="84" name="Freeform: Shape 83">
                    <a:extLst>
                      <a:ext uri="{FF2B5EF4-FFF2-40B4-BE49-F238E27FC236}">
                        <a16:creationId xmlns:a16="http://schemas.microsoft.com/office/drawing/2014/main" id="{7D1E659B-C3FC-FEA4-C003-FF201157437E}"/>
                      </a:ext>
                    </a:extLst>
                  </p:cNvPr>
                  <p:cNvSpPr/>
                  <p:nvPr userDrawn="1"/>
                </p:nvSpPr>
                <p:spPr>
                  <a:xfrm>
                    <a:off x="8266650" y="439177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C2C8D7"/>
                  </a:solidFill>
                  <a:ln w="2339" cap="flat">
                    <a:noFill/>
                    <a:prstDash val="solid"/>
                    <a:miter/>
                  </a:ln>
                </p:spPr>
                <p:txBody>
                  <a:bodyPr rtlCol="0" anchor="ctr"/>
                  <a:lstStyle/>
                  <a:p>
                    <a:endParaRPr lang="en-US" sz="2400"/>
                  </a:p>
                </p:txBody>
              </p:sp>
              <p:sp>
                <p:nvSpPr>
                  <p:cNvPr id="85" name="Freeform: Shape 84">
                    <a:extLst>
                      <a:ext uri="{FF2B5EF4-FFF2-40B4-BE49-F238E27FC236}">
                        <a16:creationId xmlns:a16="http://schemas.microsoft.com/office/drawing/2014/main" id="{81B30F5E-0A9D-E430-34D7-9E8119F931B5}"/>
                      </a:ext>
                    </a:extLst>
                  </p:cNvPr>
                  <p:cNvSpPr/>
                  <p:nvPr userDrawn="1"/>
                </p:nvSpPr>
                <p:spPr>
                  <a:xfrm>
                    <a:off x="8266112" y="439162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43"/>
                          <a:pt x="42097" y="21037"/>
                        </a:cubicBezTo>
                        <a:close/>
                      </a:path>
                    </a:pathLst>
                  </a:custGeom>
                  <a:solidFill>
                    <a:srgbClr val="C3C8D8"/>
                  </a:solidFill>
                  <a:ln w="2339" cap="flat">
                    <a:noFill/>
                    <a:prstDash val="solid"/>
                    <a:miter/>
                  </a:ln>
                </p:spPr>
                <p:txBody>
                  <a:bodyPr rtlCol="0" anchor="ctr"/>
                  <a:lstStyle/>
                  <a:p>
                    <a:endParaRPr lang="en-US" sz="2400"/>
                  </a:p>
                </p:txBody>
              </p:sp>
              <p:sp>
                <p:nvSpPr>
                  <p:cNvPr id="86" name="Freeform: Shape 85">
                    <a:extLst>
                      <a:ext uri="{FF2B5EF4-FFF2-40B4-BE49-F238E27FC236}">
                        <a16:creationId xmlns:a16="http://schemas.microsoft.com/office/drawing/2014/main" id="{2B2B6BA5-6C57-DBCA-34A6-2153CE2C659A}"/>
                      </a:ext>
                    </a:extLst>
                  </p:cNvPr>
                  <p:cNvSpPr/>
                  <p:nvPr userDrawn="1"/>
                </p:nvSpPr>
                <p:spPr>
                  <a:xfrm>
                    <a:off x="8265597" y="4391466"/>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C3C8D8"/>
                  </a:solidFill>
                  <a:ln w="2339" cap="flat">
                    <a:noFill/>
                    <a:prstDash val="solid"/>
                    <a:miter/>
                  </a:ln>
                </p:spPr>
                <p:txBody>
                  <a:bodyPr rtlCol="0" anchor="ctr"/>
                  <a:lstStyle/>
                  <a:p>
                    <a:endParaRPr lang="en-US" sz="2400"/>
                  </a:p>
                </p:txBody>
              </p:sp>
              <p:sp>
                <p:nvSpPr>
                  <p:cNvPr id="87" name="Freeform: Shape 86">
                    <a:extLst>
                      <a:ext uri="{FF2B5EF4-FFF2-40B4-BE49-F238E27FC236}">
                        <a16:creationId xmlns:a16="http://schemas.microsoft.com/office/drawing/2014/main" id="{EE056D1E-BBC7-CE0A-FBDD-D1F8E34BD9F2}"/>
                      </a:ext>
                    </a:extLst>
                  </p:cNvPr>
                  <p:cNvSpPr/>
                  <p:nvPr userDrawn="1"/>
                </p:nvSpPr>
                <p:spPr>
                  <a:xfrm>
                    <a:off x="8265082" y="4391302"/>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C3C9D8"/>
                  </a:solidFill>
                  <a:ln w="2339" cap="flat">
                    <a:noFill/>
                    <a:prstDash val="solid"/>
                    <a:miter/>
                  </a:ln>
                </p:spPr>
                <p:txBody>
                  <a:bodyPr rtlCol="0" anchor="ctr"/>
                  <a:lstStyle/>
                  <a:p>
                    <a:endParaRPr lang="en-US" sz="2400"/>
                  </a:p>
                </p:txBody>
              </p:sp>
              <p:sp>
                <p:nvSpPr>
                  <p:cNvPr id="88" name="Freeform: Shape 87">
                    <a:extLst>
                      <a:ext uri="{FF2B5EF4-FFF2-40B4-BE49-F238E27FC236}">
                        <a16:creationId xmlns:a16="http://schemas.microsoft.com/office/drawing/2014/main" id="{188700DB-EDC7-B2BB-EA0B-6AC2790ECA25}"/>
                      </a:ext>
                    </a:extLst>
                  </p:cNvPr>
                  <p:cNvSpPr/>
                  <p:nvPr userDrawn="1"/>
                </p:nvSpPr>
                <p:spPr>
                  <a:xfrm>
                    <a:off x="8264567" y="439116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C4C9D8"/>
                  </a:solidFill>
                  <a:ln w="2339" cap="flat">
                    <a:noFill/>
                    <a:prstDash val="solid"/>
                    <a:miter/>
                  </a:ln>
                </p:spPr>
                <p:txBody>
                  <a:bodyPr rtlCol="0" anchor="ctr"/>
                  <a:lstStyle/>
                  <a:p>
                    <a:endParaRPr lang="en-US" sz="2400"/>
                  </a:p>
                </p:txBody>
              </p:sp>
              <p:sp>
                <p:nvSpPr>
                  <p:cNvPr id="89" name="Freeform: Shape 88">
                    <a:extLst>
                      <a:ext uri="{FF2B5EF4-FFF2-40B4-BE49-F238E27FC236}">
                        <a16:creationId xmlns:a16="http://schemas.microsoft.com/office/drawing/2014/main" id="{9F1F3101-56C6-C2B3-D599-1608AE5BC983}"/>
                      </a:ext>
                    </a:extLst>
                  </p:cNvPr>
                  <p:cNvSpPr/>
                  <p:nvPr userDrawn="1"/>
                </p:nvSpPr>
                <p:spPr>
                  <a:xfrm>
                    <a:off x="8264052" y="4390998"/>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C4C9D8"/>
                  </a:solidFill>
                  <a:ln w="2339" cap="flat">
                    <a:noFill/>
                    <a:prstDash val="solid"/>
                    <a:miter/>
                  </a:ln>
                </p:spPr>
                <p:txBody>
                  <a:bodyPr rtlCol="0" anchor="ctr"/>
                  <a:lstStyle/>
                  <a:p>
                    <a:endParaRPr lang="en-US" sz="2400"/>
                  </a:p>
                </p:txBody>
              </p:sp>
              <p:sp>
                <p:nvSpPr>
                  <p:cNvPr id="90" name="Freeform: Shape 89">
                    <a:extLst>
                      <a:ext uri="{FF2B5EF4-FFF2-40B4-BE49-F238E27FC236}">
                        <a16:creationId xmlns:a16="http://schemas.microsoft.com/office/drawing/2014/main" id="{9636668D-E9CF-9742-27C3-501716595CB2}"/>
                      </a:ext>
                    </a:extLst>
                  </p:cNvPr>
                  <p:cNvSpPr/>
                  <p:nvPr userDrawn="1"/>
                </p:nvSpPr>
                <p:spPr>
                  <a:xfrm>
                    <a:off x="8263538" y="4390834"/>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C4CAD9"/>
                  </a:solidFill>
                  <a:ln w="2339" cap="flat">
                    <a:noFill/>
                    <a:prstDash val="solid"/>
                    <a:miter/>
                  </a:ln>
                </p:spPr>
                <p:txBody>
                  <a:bodyPr rtlCol="0" anchor="ctr"/>
                  <a:lstStyle/>
                  <a:p>
                    <a:endParaRPr lang="en-US" sz="2400"/>
                  </a:p>
                </p:txBody>
              </p:sp>
              <p:sp>
                <p:nvSpPr>
                  <p:cNvPr id="91" name="Freeform: Shape 90">
                    <a:extLst>
                      <a:ext uri="{FF2B5EF4-FFF2-40B4-BE49-F238E27FC236}">
                        <a16:creationId xmlns:a16="http://schemas.microsoft.com/office/drawing/2014/main" id="{8C45112E-9A19-5812-1D44-AF758C5C8791}"/>
                      </a:ext>
                    </a:extLst>
                  </p:cNvPr>
                  <p:cNvSpPr/>
                  <p:nvPr userDrawn="1"/>
                </p:nvSpPr>
                <p:spPr>
                  <a:xfrm>
                    <a:off x="8263023" y="4390693"/>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43"/>
                          <a:pt x="42097" y="21037"/>
                        </a:cubicBezTo>
                        <a:close/>
                      </a:path>
                    </a:pathLst>
                  </a:custGeom>
                  <a:solidFill>
                    <a:srgbClr val="C5CAD9"/>
                  </a:solidFill>
                  <a:ln w="2339" cap="flat">
                    <a:noFill/>
                    <a:prstDash val="solid"/>
                    <a:miter/>
                  </a:ln>
                </p:spPr>
                <p:txBody>
                  <a:bodyPr rtlCol="0" anchor="ctr"/>
                  <a:lstStyle/>
                  <a:p>
                    <a:endParaRPr lang="en-US" sz="2400"/>
                  </a:p>
                </p:txBody>
              </p:sp>
              <p:sp>
                <p:nvSpPr>
                  <p:cNvPr id="92" name="Freeform: Shape 91">
                    <a:extLst>
                      <a:ext uri="{FF2B5EF4-FFF2-40B4-BE49-F238E27FC236}">
                        <a16:creationId xmlns:a16="http://schemas.microsoft.com/office/drawing/2014/main" id="{553BAB46-1C04-5E6E-0858-55EC07464F02}"/>
                      </a:ext>
                    </a:extLst>
                  </p:cNvPr>
                  <p:cNvSpPr/>
                  <p:nvPr userDrawn="1"/>
                </p:nvSpPr>
                <p:spPr>
                  <a:xfrm>
                    <a:off x="8262508" y="439053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C5CAD9"/>
                  </a:solidFill>
                  <a:ln w="2339" cap="flat">
                    <a:noFill/>
                    <a:prstDash val="solid"/>
                    <a:miter/>
                  </a:ln>
                </p:spPr>
                <p:txBody>
                  <a:bodyPr rtlCol="0" anchor="ctr"/>
                  <a:lstStyle/>
                  <a:p>
                    <a:endParaRPr lang="en-US" sz="2400"/>
                  </a:p>
                </p:txBody>
              </p:sp>
              <p:sp>
                <p:nvSpPr>
                  <p:cNvPr id="93" name="Freeform: Shape 92">
                    <a:extLst>
                      <a:ext uri="{FF2B5EF4-FFF2-40B4-BE49-F238E27FC236}">
                        <a16:creationId xmlns:a16="http://schemas.microsoft.com/office/drawing/2014/main" id="{66B1D75C-BEFC-F70C-7378-D8850C92DC5D}"/>
                      </a:ext>
                    </a:extLst>
                  </p:cNvPr>
                  <p:cNvSpPr/>
                  <p:nvPr userDrawn="1"/>
                </p:nvSpPr>
                <p:spPr>
                  <a:xfrm>
                    <a:off x="8261993" y="439036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5CAD9"/>
                  </a:solidFill>
                  <a:ln w="2339" cap="flat">
                    <a:noFill/>
                    <a:prstDash val="solid"/>
                    <a:miter/>
                  </a:ln>
                </p:spPr>
                <p:txBody>
                  <a:bodyPr rtlCol="0" anchor="ctr"/>
                  <a:lstStyle/>
                  <a:p>
                    <a:endParaRPr lang="en-US" sz="2400"/>
                  </a:p>
                </p:txBody>
              </p:sp>
              <p:sp>
                <p:nvSpPr>
                  <p:cNvPr id="94" name="Freeform: Shape 93">
                    <a:extLst>
                      <a:ext uri="{FF2B5EF4-FFF2-40B4-BE49-F238E27FC236}">
                        <a16:creationId xmlns:a16="http://schemas.microsoft.com/office/drawing/2014/main" id="{3172E871-A650-A111-0D7A-F9E5B51317FD}"/>
                      </a:ext>
                    </a:extLst>
                  </p:cNvPr>
                  <p:cNvSpPr/>
                  <p:nvPr userDrawn="1"/>
                </p:nvSpPr>
                <p:spPr>
                  <a:xfrm>
                    <a:off x="8261478" y="439020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5CBD9"/>
                  </a:solidFill>
                  <a:ln w="2339" cap="flat">
                    <a:noFill/>
                    <a:prstDash val="solid"/>
                    <a:miter/>
                  </a:ln>
                </p:spPr>
                <p:txBody>
                  <a:bodyPr rtlCol="0" anchor="ctr"/>
                  <a:lstStyle/>
                  <a:p>
                    <a:endParaRPr lang="en-US" sz="2400"/>
                  </a:p>
                </p:txBody>
              </p:sp>
              <p:sp>
                <p:nvSpPr>
                  <p:cNvPr id="95" name="Freeform: Shape 94">
                    <a:extLst>
                      <a:ext uri="{FF2B5EF4-FFF2-40B4-BE49-F238E27FC236}">
                        <a16:creationId xmlns:a16="http://schemas.microsoft.com/office/drawing/2014/main" id="{5C7AF20C-E447-F17C-C73F-85B65C31A13F}"/>
                      </a:ext>
                    </a:extLst>
                  </p:cNvPr>
                  <p:cNvSpPr/>
                  <p:nvPr userDrawn="1"/>
                </p:nvSpPr>
                <p:spPr>
                  <a:xfrm>
                    <a:off x="8260964" y="439003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C6CBDA"/>
                  </a:solidFill>
                  <a:ln w="2339" cap="flat">
                    <a:noFill/>
                    <a:prstDash val="solid"/>
                    <a:miter/>
                  </a:ln>
                </p:spPr>
                <p:txBody>
                  <a:bodyPr rtlCol="0" anchor="ctr"/>
                  <a:lstStyle/>
                  <a:p>
                    <a:endParaRPr lang="en-US" sz="2400"/>
                  </a:p>
                </p:txBody>
              </p:sp>
              <p:sp>
                <p:nvSpPr>
                  <p:cNvPr id="96" name="Freeform: Shape 95">
                    <a:extLst>
                      <a:ext uri="{FF2B5EF4-FFF2-40B4-BE49-F238E27FC236}">
                        <a16:creationId xmlns:a16="http://schemas.microsoft.com/office/drawing/2014/main" id="{7E1495C9-DB5B-061E-868E-0FE1CEC3C89E}"/>
                      </a:ext>
                    </a:extLst>
                  </p:cNvPr>
                  <p:cNvSpPr/>
                  <p:nvPr userDrawn="1"/>
                </p:nvSpPr>
                <p:spPr>
                  <a:xfrm>
                    <a:off x="8260472" y="438987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6CBDA"/>
                  </a:solidFill>
                  <a:ln w="2339" cap="flat">
                    <a:noFill/>
                    <a:prstDash val="solid"/>
                    <a:miter/>
                  </a:ln>
                </p:spPr>
                <p:txBody>
                  <a:bodyPr rtlCol="0" anchor="ctr"/>
                  <a:lstStyle/>
                  <a:p>
                    <a:endParaRPr lang="en-US" sz="2400"/>
                  </a:p>
                </p:txBody>
              </p:sp>
              <p:sp>
                <p:nvSpPr>
                  <p:cNvPr id="97" name="Freeform: Shape 96">
                    <a:extLst>
                      <a:ext uri="{FF2B5EF4-FFF2-40B4-BE49-F238E27FC236}">
                        <a16:creationId xmlns:a16="http://schemas.microsoft.com/office/drawing/2014/main" id="{9DBB5C34-6BDF-EDB5-703F-5EA3B3529C09}"/>
                      </a:ext>
                    </a:extLst>
                  </p:cNvPr>
                  <p:cNvSpPr/>
                  <p:nvPr userDrawn="1"/>
                </p:nvSpPr>
                <p:spPr>
                  <a:xfrm>
                    <a:off x="8259957" y="438971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6CBDA"/>
                  </a:solidFill>
                  <a:ln w="2339" cap="flat">
                    <a:noFill/>
                    <a:prstDash val="solid"/>
                    <a:miter/>
                  </a:ln>
                </p:spPr>
                <p:txBody>
                  <a:bodyPr rtlCol="0" anchor="ctr"/>
                  <a:lstStyle/>
                  <a:p>
                    <a:endParaRPr lang="en-US" sz="2400"/>
                  </a:p>
                </p:txBody>
              </p:sp>
              <p:sp>
                <p:nvSpPr>
                  <p:cNvPr id="98" name="Freeform: Shape 97">
                    <a:extLst>
                      <a:ext uri="{FF2B5EF4-FFF2-40B4-BE49-F238E27FC236}">
                        <a16:creationId xmlns:a16="http://schemas.microsoft.com/office/drawing/2014/main" id="{E06ED34C-9879-A40F-EF6A-577C9281E385}"/>
                      </a:ext>
                    </a:extLst>
                  </p:cNvPr>
                  <p:cNvSpPr/>
                  <p:nvPr userDrawn="1"/>
                </p:nvSpPr>
                <p:spPr>
                  <a:xfrm>
                    <a:off x="8259443" y="438954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C7CCDA"/>
                  </a:solidFill>
                  <a:ln w="2339" cap="flat">
                    <a:noFill/>
                    <a:prstDash val="solid"/>
                    <a:miter/>
                  </a:ln>
                </p:spPr>
                <p:txBody>
                  <a:bodyPr rtlCol="0" anchor="ctr"/>
                  <a:lstStyle/>
                  <a:p>
                    <a:endParaRPr lang="en-US" sz="2400"/>
                  </a:p>
                </p:txBody>
              </p:sp>
              <p:sp>
                <p:nvSpPr>
                  <p:cNvPr id="99" name="Freeform: Shape 98">
                    <a:extLst>
                      <a:ext uri="{FF2B5EF4-FFF2-40B4-BE49-F238E27FC236}">
                        <a16:creationId xmlns:a16="http://schemas.microsoft.com/office/drawing/2014/main" id="{E3D1304D-726C-F70F-7EA2-6EBF7429C477}"/>
                      </a:ext>
                    </a:extLst>
                  </p:cNvPr>
                  <p:cNvSpPr/>
                  <p:nvPr userDrawn="1"/>
                </p:nvSpPr>
                <p:spPr>
                  <a:xfrm>
                    <a:off x="8258951" y="438938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7CCDA"/>
                  </a:solidFill>
                  <a:ln w="2339" cap="flat">
                    <a:noFill/>
                    <a:prstDash val="solid"/>
                    <a:miter/>
                  </a:ln>
                </p:spPr>
                <p:txBody>
                  <a:bodyPr rtlCol="0" anchor="ctr"/>
                  <a:lstStyle/>
                  <a:p>
                    <a:endParaRPr lang="en-US" sz="2400"/>
                  </a:p>
                </p:txBody>
              </p:sp>
              <p:sp>
                <p:nvSpPr>
                  <p:cNvPr id="100" name="Freeform: Shape 99">
                    <a:extLst>
                      <a:ext uri="{FF2B5EF4-FFF2-40B4-BE49-F238E27FC236}">
                        <a16:creationId xmlns:a16="http://schemas.microsoft.com/office/drawing/2014/main" id="{FF54C1F2-633F-9569-BDFE-3F9BF1F95A6A}"/>
                      </a:ext>
                    </a:extLst>
                  </p:cNvPr>
                  <p:cNvSpPr/>
                  <p:nvPr userDrawn="1"/>
                </p:nvSpPr>
                <p:spPr>
                  <a:xfrm>
                    <a:off x="8258436" y="438921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C7CCDB"/>
                  </a:solidFill>
                  <a:ln w="2339" cap="flat">
                    <a:noFill/>
                    <a:prstDash val="solid"/>
                    <a:miter/>
                  </a:ln>
                </p:spPr>
                <p:txBody>
                  <a:bodyPr rtlCol="0" anchor="ctr"/>
                  <a:lstStyle/>
                  <a:p>
                    <a:endParaRPr lang="en-US" sz="2400"/>
                  </a:p>
                </p:txBody>
              </p:sp>
              <p:sp>
                <p:nvSpPr>
                  <p:cNvPr id="101" name="Freeform: Shape 100">
                    <a:extLst>
                      <a:ext uri="{FF2B5EF4-FFF2-40B4-BE49-F238E27FC236}">
                        <a16:creationId xmlns:a16="http://schemas.microsoft.com/office/drawing/2014/main" id="{89FF5A25-9475-E936-0401-4598B6F2ED60}"/>
                      </a:ext>
                    </a:extLst>
                  </p:cNvPr>
                  <p:cNvSpPr/>
                  <p:nvPr userDrawn="1"/>
                </p:nvSpPr>
                <p:spPr>
                  <a:xfrm>
                    <a:off x="8257945" y="438903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8CDDB"/>
                  </a:solidFill>
                  <a:ln w="2339" cap="flat">
                    <a:noFill/>
                    <a:prstDash val="solid"/>
                    <a:miter/>
                  </a:ln>
                </p:spPr>
                <p:txBody>
                  <a:bodyPr rtlCol="0" anchor="ctr"/>
                  <a:lstStyle/>
                  <a:p>
                    <a:endParaRPr lang="en-US" sz="2400"/>
                  </a:p>
                </p:txBody>
              </p:sp>
              <p:sp>
                <p:nvSpPr>
                  <p:cNvPr id="102" name="Freeform: Shape 101">
                    <a:extLst>
                      <a:ext uri="{FF2B5EF4-FFF2-40B4-BE49-F238E27FC236}">
                        <a16:creationId xmlns:a16="http://schemas.microsoft.com/office/drawing/2014/main" id="{534156AE-9CC4-A0BB-29E6-FF8F7EF8438B}"/>
                      </a:ext>
                    </a:extLst>
                  </p:cNvPr>
                  <p:cNvSpPr/>
                  <p:nvPr userDrawn="1"/>
                </p:nvSpPr>
                <p:spPr>
                  <a:xfrm>
                    <a:off x="8257430" y="438886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C8CDDB"/>
                  </a:solidFill>
                  <a:ln w="2339" cap="flat">
                    <a:noFill/>
                    <a:prstDash val="solid"/>
                    <a:miter/>
                  </a:ln>
                </p:spPr>
                <p:txBody>
                  <a:bodyPr rtlCol="0" anchor="ctr"/>
                  <a:lstStyle/>
                  <a:p>
                    <a:endParaRPr lang="en-US" sz="2400"/>
                  </a:p>
                </p:txBody>
              </p:sp>
              <p:sp>
                <p:nvSpPr>
                  <p:cNvPr id="103" name="Freeform: Shape 102">
                    <a:extLst>
                      <a:ext uri="{FF2B5EF4-FFF2-40B4-BE49-F238E27FC236}">
                        <a16:creationId xmlns:a16="http://schemas.microsoft.com/office/drawing/2014/main" id="{B591BB52-0EB7-AEA1-3CB2-CA6EF608CF63}"/>
                      </a:ext>
                    </a:extLst>
                  </p:cNvPr>
                  <p:cNvSpPr/>
                  <p:nvPr userDrawn="1"/>
                </p:nvSpPr>
                <p:spPr>
                  <a:xfrm>
                    <a:off x="8256939" y="438870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8CDDB"/>
                  </a:solidFill>
                  <a:ln w="2339" cap="flat">
                    <a:noFill/>
                    <a:prstDash val="solid"/>
                    <a:miter/>
                  </a:ln>
                </p:spPr>
                <p:txBody>
                  <a:bodyPr rtlCol="0" anchor="ctr"/>
                  <a:lstStyle/>
                  <a:p>
                    <a:endParaRPr lang="en-US" sz="2400"/>
                  </a:p>
                </p:txBody>
              </p:sp>
              <p:sp>
                <p:nvSpPr>
                  <p:cNvPr id="104" name="Freeform: Shape 103">
                    <a:extLst>
                      <a:ext uri="{FF2B5EF4-FFF2-40B4-BE49-F238E27FC236}">
                        <a16:creationId xmlns:a16="http://schemas.microsoft.com/office/drawing/2014/main" id="{8F15B7D0-4202-E5A9-D6D1-84C26373E4C3}"/>
                      </a:ext>
                    </a:extLst>
                  </p:cNvPr>
                  <p:cNvSpPr/>
                  <p:nvPr userDrawn="1"/>
                </p:nvSpPr>
                <p:spPr>
                  <a:xfrm>
                    <a:off x="8256447" y="438851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9CDDB"/>
                  </a:solidFill>
                  <a:ln w="2339" cap="flat">
                    <a:noFill/>
                    <a:prstDash val="solid"/>
                    <a:miter/>
                  </a:ln>
                </p:spPr>
                <p:txBody>
                  <a:bodyPr rtlCol="0" anchor="ctr"/>
                  <a:lstStyle/>
                  <a:p>
                    <a:endParaRPr lang="en-US" sz="2400"/>
                  </a:p>
                </p:txBody>
              </p:sp>
              <p:sp>
                <p:nvSpPr>
                  <p:cNvPr id="105" name="Freeform: Shape 104">
                    <a:extLst>
                      <a:ext uri="{FF2B5EF4-FFF2-40B4-BE49-F238E27FC236}">
                        <a16:creationId xmlns:a16="http://schemas.microsoft.com/office/drawing/2014/main" id="{B1C4A633-80F2-AD5D-E202-EE36B7FB4E3E}"/>
                      </a:ext>
                    </a:extLst>
                  </p:cNvPr>
                  <p:cNvSpPr/>
                  <p:nvPr userDrawn="1"/>
                </p:nvSpPr>
                <p:spPr>
                  <a:xfrm>
                    <a:off x="8255956" y="438835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9CEDC"/>
                  </a:solidFill>
                  <a:ln w="2339" cap="flat">
                    <a:noFill/>
                    <a:prstDash val="solid"/>
                    <a:miter/>
                  </a:ln>
                </p:spPr>
                <p:txBody>
                  <a:bodyPr rtlCol="0" anchor="ctr"/>
                  <a:lstStyle/>
                  <a:p>
                    <a:endParaRPr lang="en-US" sz="2400"/>
                  </a:p>
                </p:txBody>
              </p:sp>
              <p:sp>
                <p:nvSpPr>
                  <p:cNvPr id="106" name="Freeform: Shape 105">
                    <a:extLst>
                      <a:ext uri="{FF2B5EF4-FFF2-40B4-BE49-F238E27FC236}">
                        <a16:creationId xmlns:a16="http://schemas.microsoft.com/office/drawing/2014/main" id="{4DC88251-B9B4-EFFD-0EBB-CB09296CECBC}"/>
                      </a:ext>
                    </a:extLst>
                  </p:cNvPr>
                  <p:cNvSpPr/>
                  <p:nvPr userDrawn="1"/>
                </p:nvSpPr>
                <p:spPr>
                  <a:xfrm>
                    <a:off x="8255465" y="438816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9CEDC"/>
                  </a:solidFill>
                  <a:ln w="2339" cap="flat">
                    <a:noFill/>
                    <a:prstDash val="solid"/>
                    <a:miter/>
                  </a:ln>
                </p:spPr>
                <p:txBody>
                  <a:bodyPr rtlCol="0" anchor="ctr"/>
                  <a:lstStyle/>
                  <a:p>
                    <a:endParaRPr lang="en-US" sz="2400"/>
                  </a:p>
                </p:txBody>
              </p:sp>
              <p:sp>
                <p:nvSpPr>
                  <p:cNvPr id="107" name="Freeform: Shape 106">
                    <a:extLst>
                      <a:ext uri="{FF2B5EF4-FFF2-40B4-BE49-F238E27FC236}">
                        <a16:creationId xmlns:a16="http://schemas.microsoft.com/office/drawing/2014/main" id="{7DD8E78E-526B-E91C-6381-24D579B3807F}"/>
                      </a:ext>
                    </a:extLst>
                  </p:cNvPr>
                  <p:cNvSpPr/>
                  <p:nvPr userDrawn="1"/>
                </p:nvSpPr>
                <p:spPr>
                  <a:xfrm>
                    <a:off x="8254950" y="438800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C9CEDC"/>
                  </a:solidFill>
                  <a:ln w="2339" cap="flat">
                    <a:noFill/>
                    <a:prstDash val="solid"/>
                    <a:miter/>
                  </a:ln>
                </p:spPr>
                <p:txBody>
                  <a:bodyPr rtlCol="0" anchor="ctr"/>
                  <a:lstStyle/>
                  <a:p>
                    <a:endParaRPr lang="en-US" sz="2400"/>
                  </a:p>
                </p:txBody>
              </p:sp>
              <p:sp>
                <p:nvSpPr>
                  <p:cNvPr id="108" name="Freeform: Shape 107">
                    <a:extLst>
                      <a:ext uri="{FF2B5EF4-FFF2-40B4-BE49-F238E27FC236}">
                        <a16:creationId xmlns:a16="http://schemas.microsoft.com/office/drawing/2014/main" id="{ADA26229-E89E-6513-A8E8-0726D80E8FB3}"/>
                      </a:ext>
                    </a:extLst>
                  </p:cNvPr>
                  <p:cNvSpPr/>
                  <p:nvPr userDrawn="1"/>
                </p:nvSpPr>
                <p:spPr>
                  <a:xfrm>
                    <a:off x="8254458" y="438781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CACFDC"/>
                  </a:solidFill>
                  <a:ln w="2339" cap="flat">
                    <a:noFill/>
                    <a:prstDash val="solid"/>
                    <a:miter/>
                  </a:ln>
                </p:spPr>
                <p:txBody>
                  <a:bodyPr rtlCol="0" anchor="ctr"/>
                  <a:lstStyle/>
                  <a:p>
                    <a:endParaRPr lang="en-US" sz="2400"/>
                  </a:p>
                </p:txBody>
              </p:sp>
              <p:sp>
                <p:nvSpPr>
                  <p:cNvPr id="109" name="Freeform: Shape 108">
                    <a:extLst>
                      <a:ext uri="{FF2B5EF4-FFF2-40B4-BE49-F238E27FC236}">
                        <a16:creationId xmlns:a16="http://schemas.microsoft.com/office/drawing/2014/main" id="{E19F32E2-F0A4-CF5B-A6AD-6AFC967A98E7}"/>
                      </a:ext>
                    </a:extLst>
                  </p:cNvPr>
                  <p:cNvSpPr/>
                  <p:nvPr userDrawn="1"/>
                </p:nvSpPr>
                <p:spPr>
                  <a:xfrm>
                    <a:off x="8253967" y="438765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CACFDC"/>
                  </a:solidFill>
                  <a:ln w="2339" cap="flat">
                    <a:noFill/>
                    <a:prstDash val="solid"/>
                    <a:miter/>
                  </a:ln>
                </p:spPr>
                <p:txBody>
                  <a:bodyPr rtlCol="0" anchor="ctr"/>
                  <a:lstStyle/>
                  <a:p>
                    <a:endParaRPr lang="en-US" sz="2400"/>
                  </a:p>
                </p:txBody>
              </p:sp>
              <p:sp>
                <p:nvSpPr>
                  <p:cNvPr id="110" name="Freeform: Shape 109">
                    <a:extLst>
                      <a:ext uri="{FF2B5EF4-FFF2-40B4-BE49-F238E27FC236}">
                        <a16:creationId xmlns:a16="http://schemas.microsoft.com/office/drawing/2014/main" id="{52FE1E2C-68AC-657F-5E67-326E4C9C064E}"/>
                      </a:ext>
                    </a:extLst>
                  </p:cNvPr>
                  <p:cNvSpPr/>
                  <p:nvPr userDrawn="1"/>
                </p:nvSpPr>
                <p:spPr>
                  <a:xfrm>
                    <a:off x="8253499" y="438746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ACFDD"/>
                  </a:solidFill>
                  <a:ln w="2339" cap="flat">
                    <a:noFill/>
                    <a:prstDash val="solid"/>
                    <a:miter/>
                  </a:ln>
                </p:spPr>
                <p:txBody>
                  <a:bodyPr rtlCol="0" anchor="ctr"/>
                  <a:lstStyle/>
                  <a:p>
                    <a:endParaRPr lang="en-US" sz="2400"/>
                  </a:p>
                </p:txBody>
              </p:sp>
              <p:sp>
                <p:nvSpPr>
                  <p:cNvPr id="111" name="Freeform: Shape 110">
                    <a:extLst>
                      <a:ext uri="{FF2B5EF4-FFF2-40B4-BE49-F238E27FC236}">
                        <a16:creationId xmlns:a16="http://schemas.microsoft.com/office/drawing/2014/main" id="{C9C3E0E9-1AA4-5F17-75AE-D7864AFC73F2}"/>
                      </a:ext>
                    </a:extLst>
                  </p:cNvPr>
                  <p:cNvSpPr/>
                  <p:nvPr userDrawn="1"/>
                </p:nvSpPr>
                <p:spPr>
                  <a:xfrm>
                    <a:off x="8253008" y="438730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CBCFDD"/>
                  </a:solidFill>
                  <a:ln w="2339" cap="flat">
                    <a:noFill/>
                    <a:prstDash val="solid"/>
                    <a:miter/>
                  </a:ln>
                </p:spPr>
                <p:txBody>
                  <a:bodyPr rtlCol="0" anchor="ctr"/>
                  <a:lstStyle/>
                  <a:p>
                    <a:endParaRPr lang="en-US" sz="2400"/>
                  </a:p>
                </p:txBody>
              </p:sp>
              <p:sp>
                <p:nvSpPr>
                  <p:cNvPr id="112" name="Freeform: Shape 111">
                    <a:extLst>
                      <a:ext uri="{FF2B5EF4-FFF2-40B4-BE49-F238E27FC236}">
                        <a16:creationId xmlns:a16="http://schemas.microsoft.com/office/drawing/2014/main" id="{DA3DA573-A534-EFF2-D1B3-FBBEFEA9118E}"/>
                      </a:ext>
                    </a:extLst>
                  </p:cNvPr>
                  <p:cNvSpPr/>
                  <p:nvPr userDrawn="1"/>
                </p:nvSpPr>
                <p:spPr>
                  <a:xfrm>
                    <a:off x="8252516" y="438711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BD0DD"/>
                  </a:solidFill>
                  <a:ln w="2339" cap="flat">
                    <a:noFill/>
                    <a:prstDash val="solid"/>
                    <a:miter/>
                  </a:ln>
                </p:spPr>
                <p:txBody>
                  <a:bodyPr rtlCol="0" anchor="ctr"/>
                  <a:lstStyle/>
                  <a:p>
                    <a:endParaRPr lang="en-US" sz="2400"/>
                  </a:p>
                </p:txBody>
              </p:sp>
              <p:sp>
                <p:nvSpPr>
                  <p:cNvPr id="113" name="Freeform: Shape 112">
                    <a:extLst>
                      <a:ext uri="{FF2B5EF4-FFF2-40B4-BE49-F238E27FC236}">
                        <a16:creationId xmlns:a16="http://schemas.microsoft.com/office/drawing/2014/main" id="{D3620381-EC2E-F258-AE41-1258CBDEA4E8}"/>
                      </a:ext>
                    </a:extLst>
                  </p:cNvPr>
                  <p:cNvSpPr/>
                  <p:nvPr userDrawn="1"/>
                </p:nvSpPr>
                <p:spPr>
                  <a:xfrm>
                    <a:off x="8252025" y="438692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CBD0DD"/>
                  </a:solidFill>
                  <a:ln w="2339" cap="flat">
                    <a:noFill/>
                    <a:prstDash val="solid"/>
                    <a:miter/>
                  </a:ln>
                </p:spPr>
                <p:txBody>
                  <a:bodyPr rtlCol="0" anchor="ctr"/>
                  <a:lstStyle/>
                  <a:p>
                    <a:endParaRPr lang="en-US" sz="2400"/>
                  </a:p>
                </p:txBody>
              </p:sp>
              <p:sp>
                <p:nvSpPr>
                  <p:cNvPr id="114" name="Freeform: Shape 113">
                    <a:extLst>
                      <a:ext uri="{FF2B5EF4-FFF2-40B4-BE49-F238E27FC236}">
                        <a16:creationId xmlns:a16="http://schemas.microsoft.com/office/drawing/2014/main" id="{2B8E2D03-A592-4BF0-1E38-A90A93AEFEC1}"/>
                      </a:ext>
                    </a:extLst>
                  </p:cNvPr>
                  <p:cNvSpPr/>
                  <p:nvPr userDrawn="1"/>
                </p:nvSpPr>
                <p:spPr>
                  <a:xfrm>
                    <a:off x="8251557" y="438673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CD0DD"/>
                  </a:solidFill>
                  <a:ln w="2339" cap="flat">
                    <a:noFill/>
                    <a:prstDash val="solid"/>
                    <a:miter/>
                  </a:ln>
                </p:spPr>
                <p:txBody>
                  <a:bodyPr rtlCol="0" anchor="ctr"/>
                  <a:lstStyle/>
                  <a:p>
                    <a:endParaRPr lang="en-US" sz="2400"/>
                  </a:p>
                </p:txBody>
              </p:sp>
              <p:sp>
                <p:nvSpPr>
                  <p:cNvPr id="115" name="Freeform: Shape 114">
                    <a:extLst>
                      <a:ext uri="{FF2B5EF4-FFF2-40B4-BE49-F238E27FC236}">
                        <a16:creationId xmlns:a16="http://schemas.microsoft.com/office/drawing/2014/main" id="{B395B38F-36B3-621A-128F-72C1AF190DFD}"/>
                      </a:ext>
                    </a:extLst>
                  </p:cNvPr>
                  <p:cNvSpPr/>
                  <p:nvPr userDrawn="1"/>
                </p:nvSpPr>
                <p:spPr>
                  <a:xfrm>
                    <a:off x="8251065" y="438655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CD0DE"/>
                  </a:solidFill>
                  <a:ln w="2339" cap="flat">
                    <a:noFill/>
                    <a:prstDash val="solid"/>
                    <a:miter/>
                  </a:ln>
                </p:spPr>
                <p:txBody>
                  <a:bodyPr rtlCol="0" anchor="ctr"/>
                  <a:lstStyle/>
                  <a:p>
                    <a:endParaRPr lang="en-US" sz="2400"/>
                  </a:p>
                </p:txBody>
              </p:sp>
              <p:sp>
                <p:nvSpPr>
                  <p:cNvPr id="116" name="Freeform: Shape 115">
                    <a:extLst>
                      <a:ext uri="{FF2B5EF4-FFF2-40B4-BE49-F238E27FC236}">
                        <a16:creationId xmlns:a16="http://schemas.microsoft.com/office/drawing/2014/main" id="{6D5F45F9-4B00-6D8D-5E86-C16921CDD972}"/>
                      </a:ext>
                    </a:extLst>
                  </p:cNvPr>
                  <p:cNvSpPr/>
                  <p:nvPr userDrawn="1"/>
                </p:nvSpPr>
                <p:spPr>
                  <a:xfrm>
                    <a:off x="8250574" y="438638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CCD1DE"/>
                  </a:solidFill>
                  <a:ln w="2339" cap="flat">
                    <a:noFill/>
                    <a:prstDash val="solid"/>
                    <a:miter/>
                  </a:ln>
                </p:spPr>
                <p:txBody>
                  <a:bodyPr rtlCol="0" anchor="ctr"/>
                  <a:lstStyle/>
                  <a:p>
                    <a:endParaRPr lang="en-US" sz="2400"/>
                  </a:p>
                </p:txBody>
              </p:sp>
              <p:sp>
                <p:nvSpPr>
                  <p:cNvPr id="117" name="Freeform: Shape 116">
                    <a:extLst>
                      <a:ext uri="{FF2B5EF4-FFF2-40B4-BE49-F238E27FC236}">
                        <a16:creationId xmlns:a16="http://schemas.microsoft.com/office/drawing/2014/main" id="{7D43D512-3EE2-ADB5-F34C-23E811FFC186}"/>
                      </a:ext>
                    </a:extLst>
                  </p:cNvPr>
                  <p:cNvSpPr/>
                  <p:nvPr userDrawn="1"/>
                </p:nvSpPr>
                <p:spPr>
                  <a:xfrm>
                    <a:off x="8250106" y="438620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CDD1DE"/>
                  </a:solidFill>
                  <a:ln w="2339" cap="flat">
                    <a:noFill/>
                    <a:prstDash val="solid"/>
                    <a:miter/>
                  </a:ln>
                </p:spPr>
                <p:txBody>
                  <a:bodyPr rtlCol="0" anchor="ctr"/>
                  <a:lstStyle/>
                  <a:p>
                    <a:endParaRPr lang="en-US" sz="2400"/>
                  </a:p>
                </p:txBody>
              </p:sp>
              <p:sp>
                <p:nvSpPr>
                  <p:cNvPr id="118" name="Freeform: Shape 117">
                    <a:extLst>
                      <a:ext uri="{FF2B5EF4-FFF2-40B4-BE49-F238E27FC236}">
                        <a16:creationId xmlns:a16="http://schemas.microsoft.com/office/drawing/2014/main" id="{88B83B20-7320-3890-BB35-C0208A563498}"/>
                      </a:ext>
                    </a:extLst>
                  </p:cNvPr>
                  <p:cNvSpPr/>
                  <p:nvPr userDrawn="1"/>
                </p:nvSpPr>
                <p:spPr>
                  <a:xfrm>
                    <a:off x="8249638" y="438601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CDD1DE"/>
                  </a:solidFill>
                  <a:ln w="2339" cap="flat">
                    <a:noFill/>
                    <a:prstDash val="solid"/>
                    <a:miter/>
                  </a:ln>
                </p:spPr>
                <p:txBody>
                  <a:bodyPr rtlCol="0" anchor="ctr"/>
                  <a:lstStyle/>
                  <a:p>
                    <a:endParaRPr lang="en-US" sz="2400"/>
                  </a:p>
                </p:txBody>
              </p:sp>
              <p:sp>
                <p:nvSpPr>
                  <p:cNvPr id="119" name="Freeform: Shape 118">
                    <a:extLst>
                      <a:ext uri="{FF2B5EF4-FFF2-40B4-BE49-F238E27FC236}">
                        <a16:creationId xmlns:a16="http://schemas.microsoft.com/office/drawing/2014/main" id="{4C34CC4E-DFE6-EE8A-F33F-D209F8EA17AB}"/>
                      </a:ext>
                    </a:extLst>
                  </p:cNvPr>
                  <p:cNvSpPr/>
                  <p:nvPr userDrawn="1"/>
                </p:nvSpPr>
                <p:spPr>
                  <a:xfrm>
                    <a:off x="8249147" y="438582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CDD2DE"/>
                  </a:solidFill>
                  <a:ln w="2339" cap="flat">
                    <a:noFill/>
                    <a:prstDash val="solid"/>
                    <a:miter/>
                  </a:ln>
                </p:spPr>
                <p:txBody>
                  <a:bodyPr rtlCol="0" anchor="ctr"/>
                  <a:lstStyle/>
                  <a:p>
                    <a:endParaRPr lang="en-US" sz="2400"/>
                  </a:p>
                </p:txBody>
              </p:sp>
              <p:sp>
                <p:nvSpPr>
                  <p:cNvPr id="120" name="Freeform: Shape 119">
                    <a:extLst>
                      <a:ext uri="{FF2B5EF4-FFF2-40B4-BE49-F238E27FC236}">
                        <a16:creationId xmlns:a16="http://schemas.microsoft.com/office/drawing/2014/main" id="{2BEBE90C-35D5-FCC7-A352-C82A8DFC9790}"/>
                      </a:ext>
                    </a:extLst>
                  </p:cNvPr>
                  <p:cNvSpPr/>
                  <p:nvPr userDrawn="1"/>
                </p:nvSpPr>
                <p:spPr>
                  <a:xfrm>
                    <a:off x="8248679" y="438563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CDD2DF"/>
                  </a:solidFill>
                  <a:ln w="2339" cap="flat">
                    <a:noFill/>
                    <a:prstDash val="solid"/>
                    <a:miter/>
                  </a:ln>
                </p:spPr>
                <p:txBody>
                  <a:bodyPr rtlCol="0" anchor="ctr"/>
                  <a:lstStyle/>
                  <a:p>
                    <a:endParaRPr lang="en-US" sz="2400"/>
                  </a:p>
                </p:txBody>
              </p:sp>
              <p:sp>
                <p:nvSpPr>
                  <p:cNvPr id="121" name="Freeform: Shape 120">
                    <a:extLst>
                      <a:ext uri="{FF2B5EF4-FFF2-40B4-BE49-F238E27FC236}">
                        <a16:creationId xmlns:a16="http://schemas.microsoft.com/office/drawing/2014/main" id="{439E64F6-E32E-4F1B-38FA-7C610158E70E}"/>
                      </a:ext>
                    </a:extLst>
                  </p:cNvPr>
                  <p:cNvSpPr/>
                  <p:nvPr userDrawn="1"/>
                </p:nvSpPr>
                <p:spPr>
                  <a:xfrm>
                    <a:off x="8248211" y="438542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ED2DF"/>
                  </a:solidFill>
                  <a:ln w="2339" cap="flat">
                    <a:noFill/>
                    <a:prstDash val="solid"/>
                    <a:miter/>
                  </a:ln>
                </p:spPr>
                <p:txBody>
                  <a:bodyPr rtlCol="0" anchor="ctr"/>
                  <a:lstStyle/>
                  <a:p>
                    <a:endParaRPr lang="en-US" sz="2400"/>
                  </a:p>
                </p:txBody>
              </p:sp>
              <p:sp>
                <p:nvSpPr>
                  <p:cNvPr id="122" name="Freeform: Shape 121">
                    <a:extLst>
                      <a:ext uri="{FF2B5EF4-FFF2-40B4-BE49-F238E27FC236}">
                        <a16:creationId xmlns:a16="http://schemas.microsoft.com/office/drawing/2014/main" id="{8CE1AF12-98B4-E5E6-20F2-0C2F40E9A42B}"/>
                      </a:ext>
                    </a:extLst>
                  </p:cNvPr>
                  <p:cNvSpPr/>
                  <p:nvPr userDrawn="1"/>
                </p:nvSpPr>
                <p:spPr>
                  <a:xfrm>
                    <a:off x="8247743" y="438524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ED2DF"/>
                  </a:solidFill>
                  <a:ln w="2339" cap="flat">
                    <a:noFill/>
                    <a:prstDash val="solid"/>
                    <a:miter/>
                  </a:ln>
                </p:spPr>
                <p:txBody>
                  <a:bodyPr rtlCol="0" anchor="ctr"/>
                  <a:lstStyle/>
                  <a:p>
                    <a:endParaRPr lang="en-US" sz="2400"/>
                  </a:p>
                </p:txBody>
              </p:sp>
              <p:sp>
                <p:nvSpPr>
                  <p:cNvPr id="123" name="Freeform: Shape 122">
                    <a:extLst>
                      <a:ext uri="{FF2B5EF4-FFF2-40B4-BE49-F238E27FC236}">
                        <a16:creationId xmlns:a16="http://schemas.microsoft.com/office/drawing/2014/main" id="{A752A530-54F0-DB07-6FF6-5D7BF59D4D7F}"/>
                      </a:ext>
                    </a:extLst>
                  </p:cNvPr>
                  <p:cNvSpPr/>
                  <p:nvPr userDrawn="1"/>
                </p:nvSpPr>
                <p:spPr>
                  <a:xfrm>
                    <a:off x="8247275" y="438505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ED3DF"/>
                  </a:solidFill>
                  <a:ln w="2339" cap="flat">
                    <a:noFill/>
                    <a:prstDash val="solid"/>
                    <a:miter/>
                  </a:ln>
                </p:spPr>
                <p:txBody>
                  <a:bodyPr rtlCol="0" anchor="ctr"/>
                  <a:lstStyle/>
                  <a:p>
                    <a:endParaRPr lang="en-US" sz="2400"/>
                  </a:p>
                </p:txBody>
              </p:sp>
              <p:sp>
                <p:nvSpPr>
                  <p:cNvPr id="124" name="Freeform: Shape 123">
                    <a:extLst>
                      <a:ext uri="{FF2B5EF4-FFF2-40B4-BE49-F238E27FC236}">
                        <a16:creationId xmlns:a16="http://schemas.microsoft.com/office/drawing/2014/main" id="{B996F33B-2B09-EA54-3885-AC4187A682AD}"/>
                      </a:ext>
                    </a:extLst>
                  </p:cNvPr>
                  <p:cNvSpPr/>
                  <p:nvPr userDrawn="1"/>
                </p:nvSpPr>
                <p:spPr>
                  <a:xfrm>
                    <a:off x="8246807" y="438486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FD3DF"/>
                  </a:solidFill>
                  <a:ln w="2339" cap="flat">
                    <a:noFill/>
                    <a:prstDash val="solid"/>
                    <a:miter/>
                  </a:ln>
                </p:spPr>
                <p:txBody>
                  <a:bodyPr rtlCol="0" anchor="ctr"/>
                  <a:lstStyle/>
                  <a:p>
                    <a:endParaRPr lang="en-US" sz="2400"/>
                  </a:p>
                </p:txBody>
              </p:sp>
              <p:sp>
                <p:nvSpPr>
                  <p:cNvPr id="125" name="Freeform: Shape 124">
                    <a:extLst>
                      <a:ext uri="{FF2B5EF4-FFF2-40B4-BE49-F238E27FC236}">
                        <a16:creationId xmlns:a16="http://schemas.microsoft.com/office/drawing/2014/main" id="{1B202053-9904-90D5-E4AE-F77B50D647E3}"/>
                      </a:ext>
                    </a:extLst>
                  </p:cNvPr>
                  <p:cNvSpPr/>
                  <p:nvPr userDrawn="1"/>
                </p:nvSpPr>
                <p:spPr>
                  <a:xfrm>
                    <a:off x="8246339" y="438468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CFD3E0"/>
                  </a:solidFill>
                  <a:ln w="2339" cap="flat">
                    <a:noFill/>
                    <a:prstDash val="solid"/>
                    <a:miter/>
                  </a:ln>
                </p:spPr>
                <p:txBody>
                  <a:bodyPr rtlCol="0" anchor="ctr"/>
                  <a:lstStyle/>
                  <a:p>
                    <a:endParaRPr lang="en-US" sz="2400"/>
                  </a:p>
                </p:txBody>
              </p:sp>
              <p:sp>
                <p:nvSpPr>
                  <p:cNvPr id="126" name="Freeform: Shape 125">
                    <a:extLst>
                      <a:ext uri="{FF2B5EF4-FFF2-40B4-BE49-F238E27FC236}">
                        <a16:creationId xmlns:a16="http://schemas.microsoft.com/office/drawing/2014/main" id="{2FC585E9-4BCC-9EAB-444A-3256CF155865}"/>
                      </a:ext>
                    </a:extLst>
                  </p:cNvPr>
                  <p:cNvSpPr/>
                  <p:nvPr userDrawn="1"/>
                </p:nvSpPr>
                <p:spPr>
                  <a:xfrm>
                    <a:off x="8245871" y="438446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FD4E0"/>
                  </a:solidFill>
                  <a:ln w="2339" cap="flat">
                    <a:noFill/>
                    <a:prstDash val="solid"/>
                    <a:miter/>
                  </a:ln>
                </p:spPr>
                <p:txBody>
                  <a:bodyPr rtlCol="0" anchor="ctr"/>
                  <a:lstStyle/>
                  <a:p>
                    <a:endParaRPr lang="en-US" sz="2400"/>
                  </a:p>
                </p:txBody>
              </p:sp>
              <p:sp>
                <p:nvSpPr>
                  <p:cNvPr id="127" name="Freeform: Shape 126">
                    <a:extLst>
                      <a:ext uri="{FF2B5EF4-FFF2-40B4-BE49-F238E27FC236}">
                        <a16:creationId xmlns:a16="http://schemas.microsoft.com/office/drawing/2014/main" id="{D4D95733-D1CC-8A60-2AAD-AED90FF1DAB0}"/>
                      </a:ext>
                    </a:extLst>
                  </p:cNvPr>
                  <p:cNvSpPr/>
                  <p:nvPr userDrawn="1"/>
                </p:nvSpPr>
                <p:spPr>
                  <a:xfrm>
                    <a:off x="8245403" y="438428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0D4E0"/>
                  </a:solidFill>
                  <a:ln w="2339" cap="flat">
                    <a:noFill/>
                    <a:prstDash val="solid"/>
                    <a:miter/>
                  </a:ln>
                </p:spPr>
                <p:txBody>
                  <a:bodyPr rtlCol="0" anchor="ctr"/>
                  <a:lstStyle/>
                  <a:p>
                    <a:endParaRPr lang="en-US" sz="2400"/>
                  </a:p>
                </p:txBody>
              </p:sp>
              <p:sp>
                <p:nvSpPr>
                  <p:cNvPr id="128" name="Freeform: Shape 127">
                    <a:extLst>
                      <a:ext uri="{FF2B5EF4-FFF2-40B4-BE49-F238E27FC236}">
                        <a16:creationId xmlns:a16="http://schemas.microsoft.com/office/drawing/2014/main" id="{777683B3-DC6D-61C2-7B8B-6179356A7383}"/>
                      </a:ext>
                    </a:extLst>
                  </p:cNvPr>
                  <p:cNvSpPr/>
                  <p:nvPr userDrawn="1"/>
                </p:nvSpPr>
                <p:spPr>
                  <a:xfrm>
                    <a:off x="8244935" y="438409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D0D4E0"/>
                  </a:solidFill>
                  <a:ln w="2339" cap="flat">
                    <a:noFill/>
                    <a:prstDash val="solid"/>
                    <a:miter/>
                  </a:ln>
                </p:spPr>
                <p:txBody>
                  <a:bodyPr rtlCol="0" anchor="ctr"/>
                  <a:lstStyle/>
                  <a:p>
                    <a:endParaRPr lang="en-US" sz="2400"/>
                  </a:p>
                </p:txBody>
              </p:sp>
              <p:sp>
                <p:nvSpPr>
                  <p:cNvPr id="129" name="Freeform: Shape 128">
                    <a:extLst>
                      <a:ext uri="{FF2B5EF4-FFF2-40B4-BE49-F238E27FC236}">
                        <a16:creationId xmlns:a16="http://schemas.microsoft.com/office/drawing/2014/main" id="{6EE9522D-1FA3-D256-0297-A4B2DEBCCF9E}"/>
                      </a:ext>
                    </a:extLst>
                  </p:cNvPr>
                  <p:cNvSpPr/>
                  <p:nvPr userDrawn="1"/>
                </p:nvSpPr>
                <p:spPr>
                  <a:xfrm>
                    <a:off x="8244490" y="438388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0D4E0"/>
                  </a:solidFill>
                  <a:ln w="2339" cap="flat">
                    <a:noFill/>
                    <a:prstDash val="solid"/>
                    <a:miter/>
                  </a:ln>
                </p:spPr>
                <p:txBody>
                  <a:bodyPr rtlCol="0" anchor="ctr"/>
                  <a:lstStyle/>
                  <a:p>
                    <a:endParaRPr lang="en-US" sz="2400"/>
                  </a:p>
                </p:txBody>
              </p:sp>
              <p:sp>
                <p:nvSpPr>
                  <p:cNvPr id="130" name="Freeform: Shape 129">
                    <a:extLst>
                      <a:ext uri="{FF2B5EF4-FFF2-40B4-BE49-F238E27FC236}">
                        <a16:creationId xmlns:a16="http://schemas.microsoft.com/office/drawing/2014/main" id="{4E8E1E33-6B67-5482-3108-8945AD1D0D9D}"/>
                      </a:ext>
                    </a:extLst>
                  </p:cNvPr>
                  <p:cNvSpPr/>
                  <p:nvPr userDrawn="1"/>
                </p:nvSpPr>
                <p:spPr>
                  <a:xfrm>
                    <a:off x="8244022" y="438369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D1D5E1"/>
                  </a:solidFill>
                  <a:ln w="2339" cap="flat">
                    <a:noFill/>
                    <a:prstDash val="solid"/>
                    <a:miter/>
                  </a:ln>
                </p:spPr>
                <p:txBody>
                  <a:bodyPr rtlCol="0" anchor="ctr"/>
                  <a:lstStyle/>
                  <a:p>
                    <a:endParaRPr lang="en-US" sz="2400"/>
                  </a:p>
                </p:txBody>
              </p:sp>
              <p:sp>
                <p:nvSpPr>
                  <p:cNvPr id="131" name="Freeform: Shape 130">
                    <a:extLst>
                      <a:ext uri="{FF2B5EF4-FFF2-40B4-BE49-F238E27FC236}">
                        <a16:creationId xmlns:a16="http://schemas.microsoft.com/office/drawing/2014/main" id="{F2CA6D24-78AF-C896-741F-94D568F4FDD6}"/>
                      </a:ext>
                    </a:extLst>
                  </p:cNvPr>
                  <p:cNvSpPr/>
                  <p:nvPr userDrawn="1"/>
                </p:nvSpPr>
                <p:spPr>
                  <a:xfrm>
                    <a:off x="8243577" y="438348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1D5E1"/>
                  </a:solidFill>
                  <a:ln w="2339" cap="flat">
                    <a:noFill/>
                    <a:prstDash val="solid"/>
                    <a:miter/>
                  </a:ln>
                </p:spPr>
                <p:txBody>
                  <a:bodyPr rtlCol="0" anchor="ctr"/>
                  <a:lstStyle/>
                  <a:p>
                    <a:endParaRPr lang="en-US" sz="2400"/>
                  </a:p>
                </p:txBody>
              </p:sp>
              <p:sp>
                <p:nvSpPr>
                  <p:cNvPr id="132" name="Freeform: Shape 131">
                    <a:extLst>
                      <a:ext uri="{FF2B5EF4-FFF2-40B4-BE49-F238E27FC236}">
                        <a16:creationId xmlns:a16="http://schemas.microsoft.com/office/drawing/2014/main" id="{620A47D3-00B8-8945-4DBA-472F87631E2B}"/>
                      </a:ext>
                    </a:extLst>
                  </p:cNvPr>
                  <p:cNvSpPr/>
                  <p:nvPr userDrawn="1"/>
                </p:nvSpPr>
                <p:spPr>
                  <a:xfrm>
                    <a:off x="8243109" y="438329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D1D5E1"/>
                  </a:solidFill>
                  <a:ln w="2339" cap="flat">
                    <a:noFill/>
                    <a:prstDash val="solid"/>
                    <a:miter/>
                  </a:ln>
                </p:spPr>
                <p:txBody>
                  <a:bodyPr rtlCol="0" anchor="ctr"/>
                  <a:lstStyle/>
                  <a:p>
                    <a:endParaRPr lang="en-US" sz="2400"/>
                  </a:p>
                </p:txBody>
              </p:sp>
              <p:sp>
                <p:nvSpPr>
                  <p:cNvPr id="133" name="Freeform: Shape 132">
                    <a:extLst>
                      <a:ext uri="{FF2B5EF4-FFF2-40B4-BE49-F238E27FC236}">
                        <a16:creationId xmlns:a16="http://schemas.microsoft.com/office/drawing/2014/main" id="{0E1AAE15-2A0F-EACE-A547-D30DED052214}"/>
                      </a:ext>
                    </a:extLst>
                  </p:cNvPr>
                  <p:cNvSpPr/>
                  <p:nvPr userDrawn="1"/>
                </p:nvSpPr>
                <p:spPr>
                  <a:xfrm>
                    <a:off x="8242665" y="438308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1D6E1"/>
                  </a:solidFill>
                  <a:ln w="2339" cap="flat">
                    <a:noFill/>
                    <a:prstDash val="solid"/>
                    <a:miter/>
                  </a:ln>
                </p:spPr>
                <p:txBody>
                  <a:bodyPr rtlCol="0" anchor="ctr"/>
                  <a:lstStyle/>
                  <a:p>
                    <a:endParaRPr lang="en-US" sz="2400"/>
                  </a:p>
                </p:txBody>
              </p:sp>
              <p:sp>
                <p:nvSpPr>
                  <p:cNvPr id="134" name="Freeform: Shape 133">
                    <a:extLst>
                      <a:ext uri="{FF2B5EF4-FFF2-40B4-BE49-F238E27FC236}">
                        <a16:creationId xmlns:a16="http://schemas.microsoft.com/office/drawing/2014/main" id="{A5001617-2A5F-68ED-80E3-FF38020640A8}"/>
                      </a:ext>
                    </a:extLst>
                  </p:cNvPr>
                  <p:cNvSpPr/>
                  <p:nvPr userDrawn="1"/>
                </p:nvSpPr>
                <p:spPr>
                  <a:xfrm>
                    <a:off x="8242220" y="438287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2D6E1"/>
                  </a:solidFill>
                  <a:ln w="2339" cap="flat">
                    <a:noFill/>
                    <a:prstDash val="solid"/>
                    <a:miter/>
                  </a:ln>
                </p:spPr>
                <p:txBody>
                  <a:bodyPr rtlCol="0" anchor="ctr"/>
                  <a:lstStyle/>
                  <a:p>
                    <a:endParaRPr lang="en-US" sz="2400"/>
                  </a:p>
                </p:txBody>
              </p:sp>
              <p:sp>
                <p:nvSpPr>
                  <p:cNvPr id="135" name="Freeform: Shape 134">
                    <a:extLst>
                      <a:ext uri="{FF2B5EF4-FFF2-40B4-BE49-F238E27FC236}">
                        <a16:creationId xmlns:a16="http://schemas.microsoft.com/office/drawing/2014/main" id="{AE5E9859-CCE2-D799-7EA6-D9D7BBFFEEAD}"/>
                      </a:ext>
                    </a:extLst>
                  </p:cNvPr>
                  <p:cNvSpPr/>
                  <p:nvPr userDrawn="1"/>
                </p:nvSpPr>
                <p:spPr>
                  <a:xfrm>
                    <a:off x="8241776" y="438269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D2D6E2"/>
                  </a:solidFill>
                  <a:ln w="2339" cap="flat">
                    <a:noFill/>
                    <a:prstDash val="solid"/>
                    <a:miter/>
                  </a:ln>
                </p:spPr>
                <p:txBody>
                  <a:bodyPr rtlCol="0" anchor="ctr"/>
                  <a:lstStyle/>
                  <a:p>
                    <a:endParaRPr lang="en-US" sz="2400"/>
                  </a:p>
                </p:txBody>
              </p:sp>
              <p:sp>
                <p:nvSpPr>
                  <p:cNvPr id="136" name="Freeform: Shape 135">
                    <a:extLst>
                      <a:ext uri="{FF2B5EF4-FFF2-40B4-BE49-F238E27FC236}">
                        <a16:creationId xmlns:a16="http://schemas.microsoft.com/office/drawing/2014/main" id="{23D8204E-C59A-18F4-C702-D7BB5D929FC4}"/>
                      </a:ext>
                    </a:extLst>
                  </p:cNvPr>
                  <p:cNvSpPr/>
                  <p:nvPr userDrawn="1"/>
                </p:nvSpPr>
                <p:spPr>
                  <a:xfrm>
                    <a:off x="8241308" y="438248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D2D6E2"/>
                  </a:solidFill>
                  <a:ln w="2339" cap="flat">
                    <a:noFill/>
                    <a:prstDash val="solid"/>
                    <a:miter/>
                  </a:ln>
                </p:spPr>
                <p:txBody>
                  <a:bodyPr rtlCol="0" anchor="ctr"/>
                  <a:lstStyle/>
                  <a:p>
                    <a:endParaRPr lang="en-US" sz="2400"/>
                  </a:p>
                </p:txBody>
              </p:sp>
              <p:sp>
                <p:nvSpPr>
                  <p:cNvPr id="137" name="Freeform: Shape 136">
                    <a:extLst>
                      <a:ext uri="{FF2B5EF4-FFF2-40B4-BE49-F238E27FC236}">
                        <a16:creationId xmlns:a16="http://schemas.microsoft.com/office/drawing/2014/main" id="{82F76516-44F3-249D-D8B4-DD56DC93B769}"/>
                      </a:ext>
                    </a:extLst>
                  </p:cNvPr>
                  <p:cNvSpPr/>
                  <p:nvPr userDrawn="1"/>
                </p:nvSpPr>
                <p:spPr>
                  <a:xfrm>
                    <a:off x="8240863" y="438226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3D7E2"/>
                  </a:solidFill>
                  <a:ln w="2339" cap="flat">
                    <a:noFill/>
                    <a:prstDash val="solid"/>
                    <a:miter/>
                  </a:ln>
                </p:spPr>
                <p:txBody>
                  <a:bodyPr rtlCol="0" anchor="ctr"/>
                  <a:lstStyle/>
                  <a:p>
                    <a:endParaRPr lang="en-US" sz="2400"/>
                  </a:p>
                </p:txBody>
              </p:sp>
              <p:sp>
                <p:nvSpPr>
                  <p:cNvPr id="138" name="Freeform: Shape 137">
                    <a:extLst>
                      <a:ext uri="{FF2B5EF4-FFF2-40B4-BE49-F238E27FC236}">
                        <a16:creationId xmlns:a16="http://schemas.microsoft.com/office/drawing/2014/main" id="{6CA2FA66-4AE0-9F5E-1EB6-ED1B1915F11F}"/>
                      </a:ext>
                    </a:extLst>
                  </p:cNvPr>
                  <p:cNvSpPr/>
                  <p:nvPr userDrawn="1"/>
                </p:nvSpPr>
                <p:spPr>
                  <a:xfrm>
                    <a:off x="8240418" y="438205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3D7E2"/>
                  </a:solidFill>
                  <a:ln w="2339" cap="flat">
                    <a:noFill/>
                    <a:prstDash val="solid"/>
                    <a:miter/>
                  </a:ln>
                </p:spPr>
                <p:txBody>
                  <a:bodyPr rtlCol="0" anchor="ctr"/>
                  <a:lstStyle/>
                  <a:p>
                    <a:endParaRPr lang="en-US" sz="2400"/>
                  </a:p>
                </p:txBody>
              </p:sp>
              <p:sp>
                <p:nvSpPr>
                  <p:cNvPr id="139" name="Freeform: Shape 138">
                    <a:extLst>
                      <a:ext uri="{FF2B5EF4-FFF2-40B4-BE49-F238E27FC236}">
                        <a16:creationId xmlns:a16="http://schemas.microsoft.com/office/drawing/2014/main" id="{5877F0AF-54E4-70C2-AC61-A29DAF051328}"/>
                      </a:ext>
                    </a:extLst>
                  </p:cNvPr>
                  <p:cNvSpPr/>
                  <p:nvPr userDrawn="1"/>
                </p:nvSpPr>
                <p:spPr>
                  <a:xfrm>
                    <a:off x="8239997" y="438184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3D7E2"/>
                  </a:solidFill>
                  <a:ln w="2339" cap="flat">
                    <a:noFill/>
                    <a:prstDash val="solid"/>
                    <a:miter/>
                  </a:ln>
                </p:spPr>
                <p:txBody>
                  <a:bodyPr rtlCol="0" anchor="ctr"/>
                  <a:lstStyle/>
                  <a:p>
                    <a:endParaRPr lang="en-US" sz="2400"/>
                  </a:p>
                </p:txBody>
              </p:sp>
              <p:sp>
                <p:nvSpPr>
                  <p:cNvPr id="140" name="Freeform: Shape 139">
                    <a:extLst>
                      <a:ext uri="{FF2B5EF4-FFF2-40B4-BE49-F238E27FC236}">
                        <a16:creationId xmlns:a16="http://schemas.microsoft.com/office/drawing/2014/main" id="{06F0436B-A1AC-8BB0-B44D-4625D97487F9}"/>
                      </a:ext>
                    </a:extLst>
                  </p:cNvPr>
                  <p:cNvSpPr/>
                  <p:nvPr userDrawn="1"/>
                </p:nvSpPr>
                <p:spPr>
                  <a:xfrm>
                    <a:off x="8239552" y="438166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D4D7E3"/>
                  </a:solidFill>
                  <a:ln w="2339" cap="flat">
                    <a:noFill/>
                    <a:prstDash val="solid"/>
                    <a:miter/>
                  </a:ln>
                </p:spPr>
                <p:txBody>
                  <a:bodyPr rtlCol="0" anchor="ctr"/>
                  <a:lstStyle/>
                  <a:p>
                    <a:endParaRPr lang="en-US" sz="2400"/>
                  </a:p>
                </p:txBody>
              </p:sp>
              <p:sp>
                <p:nvSpPr>
                  <p:cNvPr id="141" name="Freeform: Shape 140">
                    <a:extLst>
                      <a:ext uri="{FF2B5EF4-FFF2-40B4-BE49-F238E27FC236}">
                        <a16:creationId xmlns:a16="http://schemas.microsoft.com/office/drawing/2014/main" id="{0D150B3B-78E2-B2FE-FDB0-4E6D2C8ADA4F}"/>
                      </a:ext>
                    </a:extLst>
                  </p:cNvPr>
                  <p:cNvSpPr/>
                  <p:nvPr userDrawn="1"/>
                </p:nvSpPr>
                <p:spPr>
                  <a:xfrm>
                    <a:off x="8239108" y="438145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4D8E3"/>
                  </a:solidFill>
                  <a:ln w="2339" cap="flat">
                    <a:noFill/>
                    <a:prstDash val="solid"/>
                    <a:miter/>
                  </a:ln>
                </p:spPr>
                <p:txBody>
                  <a:bodyPr rtlCol="0" anchor="ctr"/>
                  <a:lstStyle/>
                  <a:p>
                    <a:endParaRPr lang="en-US" sz="2400"/>
                  </a:p>
                </p:txBody>
              </p:sp>
              <p:sp>
                <p:nvSpPr>
                  <p:cNvPr id="142" name="Freeform: Shape 141">
                    <a:extLst>
                      <a:ext uri="{FF2B5EF4-FFF2-40B4-BE49-F238E27FC236}">
                        <a16:creationId xmlns:a16="http://schemas.microsoft.com/office/drawing/2014/main" id="{419BEA29-D264-B79B-B5E6-956EA7DC5538}"/>
                      </a:ext>
                    </a:extLst>
                  </p:cNvPr>
                  <p:cNvSpPr/>
                  <p:nvPr userDrawn="1"/>
                </p:nvSpPr>
                <p:spPr>
                  <a:xfrm>
                    <a:off x="8238663" y="438124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D4D8E3"/>
                  </a:solidFill>
                  <a:ln w="2339" cap="flat">
                    <a:noFill/>
                    <a:prstDash val="solid"/>
                    <a:miter/>
                  </a:ln>
                </p:spPr>
                <p:txBody>
                  <a:bodyPr rtlCol="0" anchor="ctr"/>
                  <a:lstStyle/>
                  <a:p>
                    <a:endParaRPr lang="en-US" sz="2400"/>
                  </a:p>
                </p:txBody>
              </p:sp>
              <p:sp>
                <p:nvSpPr>
                  <p:cNvPr id="143" name="Freeform: Shape 142">
                    <a:extLst>
                      <a:ext uri="{FF2B5EF4-FFF2-40B4-BE49-F238E27FC236}">
                        <a16:creationId xmlns:a16="http://schemas.microsoft.com/office/drawing/2014/main" id="{A44BAA69-4A7A-45E9-7C1E-5B97C6CCC6B5}"/>
                      </a:ext>
                    </a:extLst>
                  </p:cNvPr>
                  <p:cNvSpPr/>
                  <p:nvPr userDrawn="1"/>
                </p:nvSpPr>
                <p:spPr>
                  <a:xfrm>
                    <a:off x="8238242" y="438102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4D8E3"/>
                  </a:solidFill>
                  <a:ln w="2339" cap="flat">
                    <a:noFill/>
                    <a:prstDash val="solid"/>
                    <a:miter/>
                  </a:ln>
                </p:spPr>
                <p:txBody>
                  <a:bodyPr rtlCol="0" anchor="ctr"/>
                  <a:lstStyle/>
                  <a:p>
                    <a:endParaRPr lang="en-US" sz="2400"/>
                  </a:p>
                </p:txBody>
              </p:sp>
              <p:sp>
                <p:nvSpPr>
                  <p:cNvPr id="144" name="Freeform: Shape 143">
                    <a:extLst>
                      <a:ext uri="{FF2B5EF4-FFF2-40B4-BE49-F238E27FC236}">
                        <a16:creationId xmlns:a16="http://schemas.microsoft.com/office/drawing/2014/main" id="{B0D670CD-BCDA-62AB-81ED-8F91C179F774}"/>
                      </a:ext>
                    </a:extLst>
                  </p:cNvPr>
                  <p:cNvSpPr/>
                  <p:nvPr userDrawn="1"/>
                </p:nvSpPr>
                <p:spPr>
                  <a:xfrm>
                    <a:off x="8237797" y="438081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D5D9E3"/>
                  </a:solidFill>
                  <a:ln w="2339" cap="flat">
                    <a:noFill/>
                    <a:prstDash val="solid"/>
                    <a:miter/>
                  </a:ln>
                </p:spPr>
                <p:txBody>
                  <a:bodyPr rtlCol="0" anchor="ctr"/>
                  <a:lstStyle/>
                  <a:p>
                    <a:endParaRPr lang="en-US" sz="2400"/>
                  </a:p>
                </p:txBody>
              </p:sp>
              <p:sp>
                <p:nvSpPr>
                  <p:cNvPr id="145" name="Freeform: Shape 144">
                    <a:extLst>
                      <a:ext uri="{FF2B5EF4-FFF2-40B4-BE49-F238E27FC236}">
                        <a16:creationId xmlns:a16="http://schemas.microsoft.com/office/drawing/2014/main" id="{C77FA1BB-2879-858A-A156-216DD2544C97}"/>
                      </a:ext>
                    </a:extLst>
                  </p:cNvPr>
                  <p:cNvSpPr/>
                  <p:nvPr userDrawn="1"/>
                </p:nvSpPr>
                <p:spPr>
                  <a:xfrm>
                    <a:off x="8237376" y="438060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D5D9E4"/>
                  </a:solidFill>
                  <a:ln w="2339" cap="flat">
                    <a:noFill/>
                    <a:prstDash val="solid"/>
                    <a:miter/>
                  </a:ln>
                </p:spPr>
                <p:txBody>
                  <a:bodyPr rtlCol="0" anchor="ctr"/>
                  <a:lstStyle/>
                  <a:p>
                    <a:endParaRPr lang="en-US" sz="2400"/>
                  </a:p>
                </p:txBody>
              </p:sp>
              <p:sp>
                <p:nvSpPr>
                  <p:cNvPr id="146" name="Freeform: Shape 145">
                    <a:extLst>
                      <a:ext uri="{FF2B5EF4-FFF2-40B4-BE49-F238E27FC236}">
                        <a16:creationId xmlns:a16="http://schemas.microsoft.com/office/drawing/2014/main" id="{BD769A55-FC8A-F50F-29E0-7635893564A5}"/>
                      </a:ext>
                    </a:extLst>
                  </p:cNvPr>
                  <p:cNvSpPr/>
                  <p:nvPr userDrawn="1"/>
                </p:nvSpPr>
                <p:spPr>
                  <a:xfrm>
                    <a:off x="8236932" y="438037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5D9E4"/>
                  </a:solidFill>
                  <a:ln w="2339" cap="flat">
                    <a:noFill/>
                    <a:prstDash val="solid"/>
                    <a:miter/>
                  </a:ln>
                </p:spPr>
                <p:txBody>
                  <a:bodyPr rtlCol="0" anchor="ctr"/>
                  <a:lstStyle/>
                  <a:p>
                    <a:endParaRPr lang="en-US" sz="2400"/>
                  </a:p>
                </p:txBody>
              </p:sp>
              <p:sp>
                <p:nvSpPr>
                  <p:cNvPr id="147" name="Freeform: Shape 146">
                    <a:extLst>
                      <a:ext uri="{FF2B5EF4-FFF2-40B4-BE49-F238E27FC236}">
                        <a16:creationId xmlns:a16="http://schemas.microsoft.com/office/drawing/2014/main" id="{7515514C-C7E4-8829-416A-0848F599CF3E}"/>
                      </a:ext>
                    </a:extLst>
                  </p:cNvPr>
                  <p:cNvSpPr/>
                  <p:nvPr userDrawn="1"/>
                </p:nvSpPr>
                <p:spPr>
                  <a:xfrm>
                    <a:off x="8236510" y="438016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6D9E4"/>
                  </a:solidFill>
                  <a:ln w="2339" cap="flat">
                    <a:noFill/>
                    <a:prstDash val="solid"/>
                    <a:miter/>
                  </a:ln>
                </p:spPr>
                <p:txBody>
                  <a:bodyPr rtlCol="0" anchor="ctr"/>
                  <a:lstStyle/>
                  <a:p>
                    <a:endParaRPr lang="en-US" sz="2400"/>
                  </a:p>
                </p:txBody>
              </p:sp>
              <p:sp>
                <p:nvSpPr>
                  <p:cNvPr id="148" name="Freeform: Shape 147">
                    <a:extLst>
                      <a:ext uri="{FF2B5EF4-FFF2-40B4-BE49-F238E27FC236}">
                        <a16:creationId xmlns:a16="http://schemas.microsoft.com/office/drawing/2014/main" id="{495819BC-B58B-0677-CEA2-4DD85CB0C24C}"/>
                      </a:ext>
                    </a:extLst>
                  </p:cNvPr>
                  <p:cNvSpPr/>
                  <p:nvPr userDrawn="1"/>
                </p:nvSpPr>
                <p:spPr>
                  <a:xfrm>
                    <a:off x="8236089" y="437995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6DAE4"/>
                  </a:solidFill>
                  <a:ln w="2339" cap="flat">
                    <a:noFill/>
                    <a:prstDash val="solid"/>
                    <a:miter/>
                  </a:ln>
                </p:spPr>
                <p:txBody>
                  <a:bodyPr rtlCol="0" anchor="ctr"/>
                  <a:lstStyle/>
                  <a:p>
                    <a:endParaRPr lang="en-US" sz="2400"/>
                  </a:p>
                </p:txBody>
              </p:sp>
              <p:sp>
                <p:nvSpPr>
                  <p:cNvPr id="149" name="Freeform: Shape 148">
                    <a:extLst>
                      <a:ext uri="{FF2B5EF4-FFF2-40B4-BE49-F238E27FC236}">
                        <a16:creationId xmlns:a16="http://schemas.microsoft.com/office/drawing/2014/main" id="{87784435-C46D-7227-C85A-ECC41D0C582C}"/>
                      </a:ext>
                    </a:extLst>
                  </p:cNvPr>
                  <p:cNvSpPr/>
                  <p:nvPr userDrawn="1"/>
                </p:nvSpPr>
                <p:spPr>
                  <a:xfrm>
                    <a:off x="8235668" y="437974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6DAE4"/>
                  </a:solidFill>
                  <a:ln w="2339" cap="flat">
                    <a:noFill/>
                    <a:prstDash val="solid"/>
                    <a:miter/>
                  </a:ln>
                </p:spPr>
                <p:txBody>
                  <a:bodyPr rtlCol="0" anchor="ctr"/>
                  <a:lstStyle/>
                  <a:p>
                    <a:endParaRPr lang="en-US" sz="2400"/>
                  </a:p>
                </p:txBody>
              </p:sp>
              <p:sp>
                <p:nvSpPr>
                  <p:cNvPr id="150" name="Freeform: Shape 149">
                    <a:extLst>
                      <a:ext uri="{FF2B5EF4-FFF2-40B4-BE49-F238E27FC236}">
                        <a16:creationId xmlns:a16="http://schemas.microsoft.com/office/drawing/2014/main" id="{67F594C7-6829-1693-5E71-866989326841}"/>
                      </a:ext>
                    </a:extLst>
                  </p:cNvPr>
                  <p:cNvSpPr/>
                  <p:nvPr userDrawn="1"/>
                </p:nvSpPr>
                <p:spPr>
                  <a:xfrm>
                    <a:off x="8235247" y="437953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D7DAE5"/>
                  </a:solidFill>
                  <a:ln w="2339" cap="flat">
                    <a:noFill/>
                    <a:prstDash val="solid"/>
                    <a:miter/>
                  </a:ln>
                </p:spPr>
                <p:txBody>
                  <a:bodyPr rtlCol="0" anchor="ctr"/>
                  <a:lstStyle/>
                  <a:p>
                    <a:endParaRPr lang="en-US" sz="2400"/>
                  </a:p>
                </p:txBody>
              </p:sp>
              <p:sp>
                <p:nvSpPr>
                  <p:cNvPr id="151" name="Freeform: Shape 150">
                    <a:extLst>
                      <a:ext uri="{FF2B5EF4-FFF2-40B4-BE49-F238E27FC236}">
                        <a16:creationId xmlns:a16="http://schemas.microsoft.com/office/drawing/2014/main" id="{D17BA0A2-9006-F78B-F5C2-0319B68183A9}"/>
                      </a:ext>
                    </a:extLst>
                  </p:cNvPr>
                  <p:cNvSpPr/>
                  <p:nvPr userDrawn="1"/>
                </p:nvSpPr>
                <p:spPr>
                  <a:xfrm>
                    <a:off x="8234826" y="437929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7DBE5"/>
                  </a:solidFill>
                  <a:ln w="2339" cap="flat">
                    <a:noFill/>
                    <a:prstDash val="solid"/>
                    <a:miter/>
                  </a:ln>
                </p:spPr>
                <p:txBody>
                  <a:bodyPr rtlCol="0" anchor="ctr"/>
                  <a:lstStyle/>
                  <a:p>
                    <a:endParaRPr lang="en-US" sz="2400"/>
                  </a:p>
                </p:txBody>
              </p:sp>
              <p:sp>
                <p:nvSpPr>
                  <p:cNvPr id="152" name="Freeform: Shape 151">
                    <a:extLst>
                      <a:ext uri="{FF2B5EF4-FFF2-40B4-BE49-F238E27FC236}">
                        <a16:creationId xmlns:a16="http://schemas.microsoft.com/office/drawing/2014/main" id="{500C0FE3-DD2E-EA35-80AB-EF60480DBB15}"/>
                      </a:ext>
                    </a:extLst>
                  </p:cNvPr>
                  <p:cNvSpPr/>
                  <p:nvPr userDrawn="1"/>
                </p:nvSpPr>
                <p:spPr>
                  <a:xfrm>
                    <a:off x="8234404" y="437908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7DBE5"/>
                  </a:solidFill>
                  <a:ln w="2339" cap="flat">
                    <a:noFill/>
                    <a:prstDash val="solid"/>
                    <a:miter/>
                  </a:ln>
                </p:spPr>
                <p:txBody>
                  <a:bodyPr rtlCol="0" anchor="ctr"/>
                  <a:lstStyle/>
                  <a:p>
                    <a:endParaRPr lang="en-US" sz="2400"/>
                  </a:p>
                </p:txBody>
              </p:sp>
              <p:sp>
                <p:nvSpPr>
                  <p:cNvPr id="153" name="Freeform: Shape 152">
                    <a:extLst>
                      <a:ext uri="{FF2B5EF4-FFF2-40B4-BE49-F238E27FC236}">
                        <a16:creationId xmlns:a16="http://schemas.microsoft.com/office/drawing/2014/main" id="{808D7DB1-F591-3542-7C46-05CA0C769351}"/>
                      </a:ext>
                    </a:extLst>
                  </p:cNvPr>
                  <p:cNvSpPr/>
                  <p:nvPr userDrawn="1"/>
                </p:nvSpPr>
                <p:spPr>
                  <a:xfrm>
                    <a:off x="8233983" y="437887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D8DBE5"/>
                  </a:solidFill>
                  <a:ln w="2339" cap="flat">
                    <a:noFill/>
                    <a:prstDash val="solid"/>
                    <a:miter/>
                  </a:ln>
                </p:spPr>
                <p:txBody>
                  <a:bodyPr rtlCol="0" anchor="ctr"/>
                  <a:lstStyle/>
                  <a:p>
                    <a:endParaRPr lang="en-US" sz="2400"/>
                  </a:p>
                </p:txBody>
              </p:sp>
              <p:sp>
                <p:nvSpPr>
                  <p:cNvPr id="154" name="Freeform: Shape 153">
                    <a:extLst>
                      <a:ext uri="{FF2B5EF4-FFF2-40B4-BE49-F238E27FC236}">
                        <a16:creationId xmlns:a16="http://schemas.microsoft.com/office/drawing/2014/main" id="{3CB1170E-E1B6-3760-2873-648163861A50}"/>
                      </a:ext>
                    </a:extLst>
                  </p:cNvPr>
                  <p:cNvSpPr/>
                  <p:nvPr userDrawn="1"/>
                </p:nvSpPr>
                <p:spPr>
                  <a:xfrm>
                    <a:off x="8233585" y="437864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8DBE5"/>
                  </a:solidFill>
                  <a:ln w="2339" cap="flat">
                    <a:noFill/>
                    <a:prstDash val="solid"/>
                    <a:miter/>
                  </a:ln>
                </p:spPr>
                <p:txBody>
                  <a:bodyPr rtlCol="0" anchor="ctr"/>
                  <a:lstStyle/>
                  <a:p>
                    <a:endParaRPr lang="en-US" sz="2400"/>
                  </a:p>
                </p:txBody>
              </p:sp>
              <p:sp>
                <p:nvSpPr>
                  <p:cNvPr id="155" name="Freeform: Shape 154">
                    <a:extLst>
                      <a:ext uri="{FF2B5EF4-FFF2-40B4-BE49-F238E27FC236}">
                        <a16:creationId xmlns:a16="http://schemas.microsoft.com/office/drawing/2014/main" id="{8480305D-FE5F-12F0-A5BC-1F44071DB6E3}"/>
                      </a:ext>
                    </a:extLst>
                  </p:cNvPr>
                  <p:cNvSpPr/>
                  <p:nvPr userDrawn="1"/>
                </p:nvSpPr>
                <p:spPr>
                  <a:xfrm>
                    <a:off x="8233164" y="437843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D8DCE6"/>
                  </a:solidFill>
                  <a:ln w="2339" cap="flat">
                    <a:noFill/>
                    <a:prstDash val="solid"/>
                    <a:miter/>
                  </a:ln>
                </p:spPr>
                <p:txBody>
                  <a:bodyPr rtlCol="0" anchor="ctr"/>
                  <a:lstStyle/>
                  <a:p>
                    <a:endParaRPr lang="en-US" sz="2400"/>
                  </a:p>
                </p:txBody>
              </p:sp>
              <p:sp>
                <p:nvSpPr>
                  <p:cNvPr id="156" name="Freeform: Shape 155">
                    <a:extLst>
                      <a:ext uri="{FF2B5EF4-FFF2-40B4-BE49-F238E27FC236}">
                        <a16:creationId xmlns:a16="http://schemas.microsoft.com/office/drawing/2014/main" id="{BDEF1486-2565-0B8F-E281-784B980A14F0}"/>
                      </a:ext>
                    </a:extLst>
                  </p:cNvPr>
                  <p:cNvSpPr/>
                  <p:nvPr userDrawn="1"/>
                </p:nvSpPr>
                <p:spPr>
                  <a:xfrm>
                    <a:off x="8232766" y="437819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8DCE6"/>
                  </a:solidFill>
                  <a:ln w="2339" cap="flat">
                    <a:noFill/>
                    <a:prstDash val="solid"/>
                    <a:miter/>
                  </a:ln>
                </p:spPr>
                <p:txBody>
                  <a:bodyPr rtlCol="0" anchor="ctr"/>
                  <a:lstStyle/>
                  <a:p>
                    <a:endParaRPr lang="en-US" sz="2400"/>
                  </a:p>
                </p:txBody>
              </p:sp>
              <p:sp>
                <p:nvSpPr>
                  <p:cNvPr id="157" name="Freeform: Shape 156">
                    <a:extLst>
                      <a:ext uri="{FF2B5EF4-FFF2-40B4-BE49-F238E27FC236}">
                        <a16:creationId xmlns:a16="http://schemas.microsoft.com/office/drawing/2014/main" id="{CE207E22-82EA-ED77-04B8-C4885FC677A1}"/>
                      </a:ext>
                    </a:extLst>
                  </p:cNvPr>
                  <p:cNvSpPr/>
                  <p:nvPr userDrawn="1"/>
                </p:nvSpPr>
                <p:spPr>
                  <a:xfrm>
                    <a:off x="8232345" y="437798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D9DCE6"/>
                  </a:solidFill>
                  <a:ln w="2339" cap="flat">
                    <a:noFill/>
                    <a:prstDash val="solid"/>
                    <a:miter/>
                  </a:ln>
                </p:spPr>
                <p:txBody>
                  <a:bodyPr rtlCol="0" anchor="ctr"/>
                  <a:lstStyle/>
                  <a:p>
                    <a:endParaRPr lang="en-US" sz="2400"/>
                  </a:p>
                </p:txBody>
              </p:sp>
              <p:sp>
                <p:nvSpPr>
                  <p:cNvPr id="158" name="Freeform: Shape 157">
                    <a:extLst>
                      <a:ext uri="{FF2B5EF4-FFF2-40B4-BE49-F238E27FC236}">
                        <a16:creationId xmlns:a16="http://schemas.microsoft.com/office/drawing/2014/main" id="{C41EA700-35E1-0D7D-86DD-A48E27EBDDE4}"/>
                      </a:ext>
                    </a:extLst>
                  </p:cNvPr>
                  <p:cNvSpPr/>
                  <p:nvPr userDrawn="1"/>
                </p:nvSpPr>
                <p:spPr>
                  <a:xfrm>
                    <a:off x="8231947" y="437775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9DCE6"/>
                  </a:solidFill>
                  <a:ln w="2339" cap="flat">
                    <a:noFill/>
                    <a:prstDash val="solid"/>
                    <a:miter/>
                  </a:ln>
                </p:spPr>
                <p:txBody>
                  <a:bodyPr rtlCol="0" anchor="ctr"/>
                  <a:lstStyle/>
                  <a:p>
                    <a:endParaRPr lang="en-US" sz="2400"/>
                  </a:p>
                </p:txBody>
              </p:sp>
              <p:sp>
                <p:nvSpPr>
                  <p:cNvPr id="159" name="Freeform: Shape 158">
                    <a:extLst>
                      <a:ext uri="{FF2B5EF4-FFF2-40B4-BE49-F238E27FC236}">
                        <a16:creationId xmlns:a16="http://schemas.microsoft.com/office/drawing/2014/main" id="{FEA4C86F-776E-F10B-830A-84F68885E1A0}"/>
                      </a:ext>
                    </a:extLst>
                  </p:cNvPr>
                  <p:cNvSpPr/>
                  <p:nvPr userDrawn="1"/>
                </p:nvSpPr>
                <p:spPr>
                  <a:xfrm>
                    <a:off x="8231550" y="437751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9DDE6"/>
                  </a:solidFill>
                  <a:ln w="2339" cap="flat">
                    <a:noFill/>
                    <a:prstDash val="solid"/>
                    <a:miter/>
                  </a:ln>
                </p:spPr>
                <p:txBody>
                  <a:bodyPr rtlCol="0" anchor="ctr"/>
                  <a:lstStyle/>
                  <a:p>
                    <a:endParaRPr lang="en-US" sz="2400"/>
                  </a:p>
                </p:txBody>
              </p:sp>
              <p:sp>
                <p:nvSpPr>
                  <p:cNvPr id="160" name="Freeform: Shape 159">
                    <a:extLst>
                      <a:ext uri="{FF2B5EF4-FFF2-40B4-BE49-F238E27FC236}">
                        <a16:creationId xmlns:a16="http://schemas.microsoft.com/office/drawing/2014/main" id="{98151E9C-021E-FA4E-0EC1-B9233B7763B2}"/>
                      </a:ext>
                    </a:extLst>
                  </p:cNvPr>
                  <p:cNvSpPr/>
                  <p:nvPr userDrawn="1"/>
                </p:nvSpPr>
                <p:spPr>
                  <a:xfrm>
                    <a:off x="8231152" y="437730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ADDE7"/>
                  </a:solidFill>
                  <a:ln w="2339" cap="flat">
                    <a:noFill/>
                    <a:prstDash val="solid"/>
                    <a:miter/>
                  </a:ln>
                </p:spPr>
                <p:txBody>
                  <a:bodyPr rtlCol="0" anchor="ctr"/>
                  <a:lstStyle/>
                  <a:p>
                    <a:endParaRPr lang="en-US" sz="2400"/>
                  </a:p>
                </p:txBody>
              </p:sp>
              <p:sp>
                <p:nvSpPr>
                  <p:cNvPr id="161" name="Freeform: Shape 160">
                    <a:extLst>
                      <a:ext uri="{FF2B5EF4-FFF2-40B4-BE49-F238E27FC236}">
                        <a16:creationId xmlns:a16="http://schemas.microsoft.com/office/drawing/2014/main" id="{6CA67D08-5F86-D5A9-6B78-BC2A5D3B8036}"/>
                      </a:ext>
                    </a:extLst>
                  </p:cNvPr>
                  <p:cNvSpPr/>
                  <p:nvPr userDrawn="1"/>
                </p:nvSpPr>
                <p:spPr>
                  <a:xfrm>
                    <a:off x="8230731" y="437707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ADDE7"/>
                  </a:solidFill>
                  <a:ln w="2339" cap="flat">
                    <a:noFill/>
                    <a:prstDash val="solid"/>
                    <a:miter/>
                  </a:ln>
                </p:spPr>
                <p:txBody>
                  <a:bodyPr rtlCol="0" anchor="ctr"/>
                  <a:lstStyle/>
                  <a:p>
                    <a:endParaRPr lang="en-US" sz="2400"/>
                  </a:p>
                </p:txBody>
              </p:sp>
              <p:sp>
                <p:nvSpPr>
                  <p:cNvPr id="162" name="Freeform: Shape 161">
                    <a:extLst>
                      <a:ext uri="{FF2B5EF4-FFF2-40B4-BE49-F238E27FC236}">
                        <a16:creationId xmlns:a16="http://schemas.microsoft.com/office/drawing/2014/main" id="{81063E14-E4F3-D809-0231-DE75BCE6D21A}"/>
                      </a:ext>
                    </a:extLst>
                  </p:cNvPr>
                  <p:cNvSpPr/>
                  <p:nvPr userDrawn="1"/>
                </p:nvSpPr>
                <p:spPr>
                  <a:xfrm>
                    <a:off x="8230333" y="437684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ADEE7"/>
                  </a:solidFill>
                  <a:ln w="2339" cap="flat">
                    <a:noFill/>
                    <a:prstDash val="solid"/>
                    <a:miter/>
                  </a:ln>
                </p:spPr>
                <p:txBody>
                  <a:bodyPr rtlCol="0" anchor="ctr"/>
                  <a:lstStyle/>
                  <a:p>
                    <a:endParaRPr lang="en-US" sz="2400"/>
                  </a:p>
                </p:txBody>
              </p:sp>
              <p:sp>
                <p:nvSpPr>
                  <p:cNvPr id="163" name="Freeform: Shape 162">
                    <a:extLst>
                      <a:ext uri="{FF2B5EF4-FFF2-40B4-BE49-F238E27FC236}">
                        <a16:creationId xmlns:a16="http://schemas.microsoft.com/office/drawing/2014/main" id="{0F507248-E028-64F6-13A3-BA06DD8D3E4F}"/>
                      </a:ext>
                    </a:extLst>
                  </p:cNvPr>
                  <p:cNvSpPr/>
                  <p:nvPr userDrawn="1"/>
                </p:nvSpPr>
                <p:spPr>
                  <a:xfrm>
                    <a:off x="8229958" y="437663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DBDEE7"/>
                  </a:solidFill>
                  <a:ln w="2339" cap="flat">
                    <a:noFill/>
                    <a:prstDash val="solid"/>
                    <a:miter/>
                  </a:ln>
                </p:spPr>
                <p:txBody>
                  <a:bodyPr rtlCol="0" anchor="ctr"/>
                  <a:lstStyle/>
                  <a:p>
                    <a:endParaRPr lang="en-US" sz="2400"/>
                  </a:p>
                </p:txBody>
              </p:sp>
              <p:sp>
                <p:nvSpPr>
                  <p:cNvPr id="164" name="Freeform: Shape 163">
                    <a:extLst>
                      <a:ext uri="{FF2B5EF4-FFF2-40B4-BE49-F238E27FC236}">
                        <a16:creationId xmlns:a16="http://schemas.microsoft.com/office/drawing/2014/main" id="{D19C53DF-0AC2-C406-B017-C0FF7352C6A4}"/>
                      </a:ext>
                    </a:extLst>
                  </p:cNvPr>
                  <p:cNvSpPr/>
                  <p:nvPr userDrawn="1"/>
                </p:nvSpPr>
                <p:spPr>
                  <a:xfrm>
                    <a:off x="8229561" y="437639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BDEE7"/>
                  </a:solidFill>
                  <a:ln w="2339" cap="flat">
                    <a:noFill/>
                    <a:prstDash val="solid"/>
                    <a:miter/>
                  </a:ln>
                </p:spPr>
                <p:txBody>
                  <a:bodyPr rtlCol="0" anchor="ctr"/>
                  <a:lstStyle/>
                  <a:p>
                    <a:endParaRPr lang="en-US" sz="2400"/>
                  </a:p>
                </p:txBody>
              </p:sp>
              <p:sp>
                <p:nvSpPr>
                  <p:cNvPr id="165" name="Freeform: Shape 164">
                    <a:extLst>
                      <a:ext uri="{FF2B5EF4-FFF2-40B4-BE49-F238E27FC236}">
                        <a16:creationId xmlns:a16="http://schemas.microsoft.com/office/drawing/2014/main" id="{3BA99382-6C7E-0B4E-EDA8-F0DBEF3232E8}"/>
                      </a:ext>
                    </a:extLst>
                  </p:cNvPr>
                  <p:cNvSpPr/>
                  <p:nvPr userDrawn="1"/>
                </p:nvSpPr>
                <p:spPr>
                  <a:xfrm>
                    <a:off x="8229163" y="437616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BDEE8"/>
                  </a:solidFill>
                  <a:ln w="2339" cap="flat">
                    <a:noFill/>
                    <a:prstDash val="solid"/>
                    <a:miter/>
                  </a:ln>
                </p:spPr>
                <p:txBody>
                  <a:bodyPr rtlCol="0" anchor="ctr"/>
                  <a:lstStyle/>
                  <a:p>
                    <a:endParaRPr lang="en-US" sz="2400"/>
                  </a:p>
                </p:txBody>
              </p:sp>
              <p:sp>
                <p:nvSpPr>
                  <p:cNvPr id="166" name="Freeform: Shape 165">
                    <a:extLst>
                      <a:ext uri="{FF2B5EF4-FFF2-40B4-BE49-F238E27FC236}">
                        <a16:creationId xmlns:a16="http://schemas.microsoft.com/office/drawing/2014/main" id="{7A5EEC98-A485-9DB4-0CCE-E7B4A1247DFA}"/>
                      </a:ext>
                    </a:extLst>
                  </p:cNvPr>
                  <p:cNvSpPr/>
                  <p:nvPr userDrawn="1"/>
                </p:nvSpPr>
                <p:spPr>
                  <a:xfrm>
                    <a:off x="8228765" y="437592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CDFE8"/>
                  </a:solidFill>
                  <a:ln w="2339" cap="flat">
                    <a:noFill/>
                    <a:prstDash val="solid"/>
                    <a:miter/>
                  </a:ln>
                </p:spPr>
                <p:txBody>
                  <a:bodyPr rtlCol="0" anchor="ctr"/>
                  <a:lstStyle/>
                  <a:p>
                    <a:endParaRPr lang="en-US" sz="2400"/>
                  </a:p>
                </p:txBody>
              </p:sp>
              <p:sp>
                <p:nvSpPr>
                  <p:cNvPr id="167" name="Freeform: Shape 166">
                    <a:extLst>
                      <a:ext uri="{FF2B5EF4-FFF2-40B4-BE49-F238E27FC236}">
                        <a16:creationId xmlns:a16="http://schemas.microsoft.com/office/drawing/2014/main" id="{40F31ED3-CFBE-2814-633B-1C9C21D7F067}"/>
                      </a:ext>
                    </a:extLst>
                  </p:cNvPr>
                  <p:cNvSpPr/>
                  <p:nvPr userDrawn="1"/>
                </p:nvSpPr>
                <p:spPr>
                  <a:xfrm>
                    <a:off x="8228391" y="437569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CDFE8"/>
                  </a:solidFill>
                  <a:ln w="2339" cap="flat">
                    <a:noFill/>
                    <a:prstDash val="solid"/>
                    <a:miter/>
                  </a:ln>
                </p:spPr>
                <p:txBody>
                  <a:bodyPr rtlCol="0" anchor="ctr"/>
                  <a:lstStyle/>
                  <a:p>
                    <a:endParaRPr lang="en-US" sz="2400"/>
                  </a:p>
                </p:txBody>
              </p:sp>
              <p:sp>
                <p:nvSpPr>
                  <p:cNvPr id="168" name="Freeform: Shape 167">
                    <a:extLst>
                      <a:ext uri="{FF2B5EF4-FFF2-40B4-BE49-F238E27FC236}">
                        <a16:creationId xmlns:a16="http://schemas.microsoft.com/office/drawing/2014/main" id="{844BC83D-5F4B-CF30-DDB3-2D83B30C4423}"/>
                      </a:ext>
                    </a:extLst>
                  </p:cNvPr>
                  <p:cNvSpPr/>
                  <p:nvPr userDrawn="1"/>
                </p:nvSpPr>
                <p:spPr>
                  <a:xfrm>
                    <a:off x="8227993" y="437546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CDFE8"/>
                  </a:solidFill>
                  <a:ln w="2339" cap="flat">
                    <a:noFill/>
                    <a:prstDash val="solid"/>
                    <a:miter/>
                  </a:ln>
                </p:spPr>
                <p:txBody>
                  <a:bodyPr rtlCol="0" anchor="ctr"/>
                  <a:lstStyle/>
                  <a:p>
                    <a:endParaRPr lang="en-US" sz="2400"/>
                  </a:p>
                </p:txBody>
              </p:sp>
              <p:sp>
                <p:nvSpPr>
                  <p:cNvPr id="169" name="Freeform: Shape 168">
                    <a:extLst>
                      <a:ext uri="{FF2B5EF4-FFF2-40B4-BE49-F238E27FC236}">
                        <a16:creationId xmlns:a16="http://schemas.microsoft.com/office/drawing/2014/main" id="{C4003866-A337-63A8-65EB-FBD807EC2472}"/>
                      </a:ext>
                    </a:extLst>
                  </p:cNvPr>
                  <p:cNvSpPr/>
                  <p:nvPr userDrawn="1"/>
                </p:nvSpPr>
                <p:spPr>
                  <a:xfrm>
                    <a:off x="8227618" y="437522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CE0E8"/>
                  </a:solidFill>
                  <a:ln w="2339" cap="flat">
                    <a:noFill/>
                    <a:prstDash val="solid"/>
                    <a:miter/>
                  </a:ln>
                </p:spPr>
                <p:txBody>
                  <a:bodyPr rtlCol="0" anchor="ctr"/>
                  <a:lstStyle/>
                  <a:p>
                    <a:endParaRPr lang="en-US" sz="2400"/>
                  </a:p>
                </p:txBody>
              </p:sp>
              <p:sp>
                <p:nvSpPr>
                  <p:cNvPr id="170" name="Freeform: Shape 169">
                    <a:extLst>
                      <a:ext uri="{FF2B5EF4-FFF2-40B4-BE49-F238E27FC236}">
                        <a16:creationId xmlns:a16="http://schemas.microsoft.com/office/drawing/2014/main" id="{1F41DB75-7D85-2863-8B24-0D00C15DAA68}"/>
                      </a:ext>
                    </a:extLst>
                  </p:cNvPr>
                  <p:cNvSpPr/>
                  <p:nvPr userDrawn="1"/>
                </p:nvSpPr>
                <p:spPr>
                  <a:xfrm>
                    <a:off x="8227244" y="437499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DE0E9"/>
                  </a:solidFill>
                  <a:ln w="2339" cap="flat">
                    <a:noFill/>
                    <a:prstDash val="solid"/>
                    <a:miter/>
                  </a:ln>
                </p:spPr>
                <p:txBody>
                  <a:bodyPr rtlCol="0" anchor="ctr"/>
                  <a:lstStyle/>
                  <a:p>
                    <a:endParaRPr lang="en-US" sz="2400"/>
                  </a:p>
                </p:txBody>
              </p:sp>
              <p:sp>
                <p:nvSpPr>
                  <p:cNvPr id="171" name="Freeform: Shape 170">
                    <a:extLst>
                      <a:ext uri="{FF2B5EF4-FFF2-40B4-BE49-F238E27FC236}">
                        <a16:creationId xmlns:a16="http://schemas.microsoft.com/office/drawing/2014/main" id="{A20D138F-CB75-673E-C0C1-AC4D78C17C14}"/>
                      </a:ext>
                    </a:extLst>
                  </p:cNvPr>
                  <p:cNvSpPr/>
                  <p:nvPr userDrawn="1"/>
                </p:nvSpPr>
                <p:spPr>
                  <a:xfrm>
                    <a:off x="8226870" y="437475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DE0E9"/>
                  </a:solidFill>
                  <a:ln w="2339" cap="flat">
                    <a:noFill/>
                    <a:prstDash val="solid"/>
                    <a:miter/>
                  </a:ln>
                </p:spPr>
                <p:txBody>
                  <a:bodyPr rtlCol="0" anchor="ctr"/>
                  <a:lstStyle/>
                  <a:p>
                    <a:endParaRPr lang="en-US" sz="2400"/>
                  </a:p>
                </p:txBody>
              </p:sp>
              <p:sp>
                <p:nvSpPr>
                  <p:cNvPr id="172" name="Freeform: Shape 171">
                    <a:extLst>
                      <a:ext uri="{FF2B5EF4-FFF2-40B4-BE49-F238E27FC236}">
                        <a16:creationId xmlns:a16="http://schemas.microsoft.com/office/drawing/2014/main" id="{9670DE8B-A8F9-ED5F-2B7B-BC430AD1DA9C}"/>
                      </a:ext>
                    </a:extLst>
                  </p:cNvPr>
                  <p:cNvSpPr/>
                  <p:nvPr userDrawn="1"/>
                </p:nvSpPr>
                <p:spPr>
                  <a:xfrm>
                    <a:off x="8226495" y="437452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DE0E9"/>
                  </a:solidFill>
                  <a:ln w="2339" cap="flat">
                    <a:noFill/>
                    <a:prstDash val="solid"/>
                    <a:miter/>
                  </a:ln>
                </p:spPr>
                <p:txBody>
                  <a:bodyPr rtlCol="0" anchor="ctr"/>
                  <a:lstStyle/>
                  <a:p>
                    <a:endParaRPr lang="en-US" sz="2400"/>
                  </a:p>
                </p:txBody>
              </p:sp>
              <p:sp>
                <p:nvSpPr>
                  <p:cNvPr id="173" name="Freeform: Shape 172">
                    <a:extLst>
                      <a:ext uri="{FF2B5EF4-FFF2-40B4-BE49-F238E27FC236}">
                        <a16:creationId xmlns:a16="http://schemas.microsoft.com/office/drawing/2014/main" id="{3ABF72E1-B8BC-572A-E5CE-CBDC6B3D1A0C}"/>
                      </a:ext>
                    </a:extLst>
                  </p:cNvPr>
                  <p:cNvSpPr/>
                  <p:nvPr userDrawn="1"/>
                </p:nvSpPr>
                <p:spPr>
                  <a:xfrm>
                    <a:off x="8226121" y="437429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EE1E9"/>
                  </a:solidFill>
                  <a:ln w="2339" cap="flat">
                    <a:noFill/>
                    <a:prstDash val="solid"/>
                    <a:miter/>
                  </a:ln>
                </p:spPr>
                <p:txBody>
                  <a:bodyPr rtlCol="0" anchor="ctr"/>
                  <a:lstStyle/>
                  <a:p>
                    <a:endParaRPr lang="en-US" sz="2400"/>
                  </a:p>
                </p:txBody>
              </p:sp>
              <p:sp>
                <p:nvSpPr>
                  <p:cNvPr id="174" name="Freeform: Shape 173">
                    <a:extLst>
                      <a:ext uri="{FF2B5EF4-FFF2-40B4-BE49-F238E27FC236}">
                        <a16:creationId xmlns:a16="http://schemas.microsoft.com/office/drawing/2014/main" id="{987319E8-0B85-479A-AFA0-4DC818AEE7EF}"/>
                      </a:ext>
                    </a:extLst>
                  </p:cNvPr>
                  <p:cNvSpPr/>
                  <p:nvPr userDrawn="1"/>
                </p:nvSpPr>
                <p:spPr>
                  <a:xfrm>
                    <a:off x="8225746" y="437405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EE1E9"/>
                  </a:solidFill>
                  <a:ln w="2339" cap="flat">
                    <a:noFill/>
                    <a:prstDash val="solid"/>
                    <a:miter/>
                  </a:ln>
                </p:spPr>
                <p:txBody>
                  <a:bodyPr rtlCol="0" anchor="ctr"/>
                  <a:lstStyle/>
                  <a:p>
                    <a:endParaRPr lang="en-US" sz="2400"/>
                  </a:p>
                </p:txBody>
              </p:sp>
              <p:sp>
                <p:nvSpPr>
                  <p:cNvPr id="175" name="Freeform: Shape 174">
                    <a:extLst>
                      <a:ext uri="{FF2B5EF4-FFF2-40B4-BE49-F238E27FC236}">
                        <a16:creationId xmlns:a16="http://schemas.microsoft.com/office/drawing/2014/main" id="{83AB330C-F48F-82A7-473B-A84887B6C780}"/>
                      </a:ext>
                    </a:extLst>
                  </p:cNvPr>
                  <p:cNvSpPr/>
                  <p:nvPr userDrawn="1"/>
                </p:nvSpPr>
                <p:spPr>
                  <a:xfrm>
                    <a:off x="8225372" y="437382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DEE1EA"/>
                  </a:solidFill>
                  <a:ln w="2339" cap="flat">
                    <a:noFill/>
                    <a:prstDash val="solid"/>
                    <a:miter/>
                  </a:ln>
                </p:spPr>
                <p:txBody>
                  <a:bodyPr rtlCol="0" anchor="ctr"/>
                  <a:lstStyle/>
                  <a:p>
                    <a:endParaRPr lang="en-US" sz="2400"/>
                  </a:p>
                </p:txBody>
              </p:sp>
              <p:sp>
                <p:nvSpPr>
                  <p:cNvPr id="176" name="Freeform: Shape 175">
                    <a:extLst>
                      <a:ext uri="{FF2B5EF4-FFF2-40B4-BE49-F238E27FC236}">
                        <a16:creationId xmlns:a16="http://schemas.microsoft.com/office/drawing/2014/main" id="{84D913E4-D106-D7B9-FD5A-446AA3E9582C}"/>
                      </a:ext>
                    </a:extLst>
                  </p:cNvPr>
                  <p:cNvSpPr/>
                  <p:nvPr userDrawn="1"/>
                </p:nvSpPr>
                <p:spPr>
                  <a:xfrm>
                    <a:off x="8224998" y="437356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FE1EA"/>
                  </a:solidFill>
                  <a:ln w="2339" cap="flat">
                    <a:noFill/>
                    <a:prstDash val="solid"/>
                    <a:miter/>
                  </a:ln>
                </p:spPr>
                <p:txBody>
                  <a:bodyPr rtlCol="0" anchor="ctr"/>
                  <a:lstStyle/>
                  <a:p>
                    <a:endParaRPr lang="en-US" sz="2400"/>
                  </a:p>
                </p:txBody>
              </p:sp>
              <p:sp>
                <p:nvSpPr>
                  <p:cNvPr id="177" name="Freeform: Shape 176">
                    <a:extLst>
                      <a:ext uri="{FF2B5EF4-FFF2-40B4-BE49-F238E27FC236}">
                        <a16:creationId xmlns:a16="http://schemas.microsoft.com/office/drawing/2014/main" id="{1C3436EB-F631-080D-AE60-97C34CF1D292}"/>
                      </a:ext>
                    </a:extLst>
                  </p:cNvPr>
                  <p:cNvSpPr/>
                  <p:nvPr userDrawn="1"/>
                </p:nvSpPr>
                <p:spPr>
                  <a:xfrm>
                    <a:off x="8224647" y="437333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FE2EA"/>
                  </a:solidFill>
                  <a:ln w="2339" cap="flat">
                    <a:noFill/>
                    <a:prstDash val="solid"/>
                    <a:miter/>
                  </a:ln>
                </p:spPr>
                <p:txBody>
                  <a:bodyPr rtlCol="0" anchor="ctr"/>
                  <a:lstStyle/>
                  <a:p>
                    <a:endParaRPr lang="en-US" sz="2400"/>
                  </a:p>
                </p:txBody>
              </p:sp>
              <p:sp>
                <p:nvSpPr>
                  <p:cNvPr id="178" name="Freeform: Shape 177">
                    <a:extLst>
                      <a:ext uri="{FF2B5EF4-FFF2-40B4-BE49-F238E27FC236}">
                        <a16:creationId xmlns:a16="http://schemas.microsoft.com/office/drawing/2014/main" id="{9035355C-2440-3976-9064-54B88D4AFA4A}"/>
                      </a:ext>
                    </a:extLst>
                  </p:cNvPr>
                  <p:cNvSpPr/>
                  <p:nvPr userDrawn="1"/>
                </p:nvSpPr>
                <p:spPr>
                  <a:xfrm>
                    <a:off x="8224272" y="437309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DFE2EA"/>
                  </a:solidFill>
                  <a:ln w="2339" cap="flat">
                    <a:noFill/>
                    <a:prstDash val="solid"/>
                    <a:miter/>
                  </a:ln>
                </p:spPr>
                <p:txBody>
                  <a:bodyPr rtlCol="0" anchor="ctr"/>
                  <a:lstStyle/>
                  <a:p>
                    <a:endParaRPr lang="en-US" sz="2400"/>
                  </a:p>
                </p:txBody>
              </p:sp>
              <p:sp>
                <p:nvSpPr>
                  <p:cNvPr id="179" name="Freeform: Shape 178">
                    <a:extLst>
                      <a:ext uri="{FF2B5EF4-FFF2-40B4-BE49-F238E27FC236}">
                        <a16:creationId xmlns:a16="http://schemas.microsoft.com/office/drawing/2014/main" id="{5C1BFD18-292B-9ADA-8F5E-CAA8EF07B031}"/>
                      </a:ext>
                    </a:extLst>
                  </p:cNvPr>
                  <p:cNvSpPr/>
                  <p:nvPr userDrawn="1"/>
                </p:nvSpPr>
                <p:spPr>
                  <a:xfrm>
                    <a:off x="8223921" y="437283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FE2EA"/>
                  </a:solidFill>
                  <a:ln w="2339" cap="flat">
                    <a:noFill/>
                    <a:prstDash val="solid"/>
                    <a:miter/>
                  </a:ln>
                </p:spPr>
                <p:txBody>
                  <a:bodyPr rtlCol="0" anchor="ctr"/>
                  <a:lstStyle/>
                  <a:p>
                    <a:endParaRPr lang="en-US" sz="2400"/>
                  </a:p>
                </p:txBody>
              </p:sp>
              <p:sp>
                <p:nvSpPr>
                  <p:cNvPr id="180" name="Freeform: Shape 179">
                    <a:extLst>
                      <a:ext uri="{FF2B5EF4-FFF2-40B4-BE49-F238E27FC236}">
                        <a16:creationId xmlns:a16="http://schemas.microsoft.com/office/drawing/2014/main" id="{FE87D75E-9617-9D98-91C0-D86317E5A35A}"/>
                      </a:ext>
                    </a:extLst>
                  </p:cNvPr>
                  <p:cNvSpPr/>
                  <p:nvPr userDrawn="1"/>
                </p:nvSpPr>
                <p:spPr>
                  <a:xfrm>
                    <a:off x="8223570" y="437260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0E3EB"/>
                  </a:solidFill>
                  <a:ln w="2339" cap="flat">
                    <a:noFill/>
                    <a:prstDash val="solid"/>
                    <a:miter/>
                  </a:ln>
                </p:spPr>
                <p:txBody>
                  <a:bodyPr rtlCol="0" anchor="ctr"/>
                  <a:lstStyle/>
                  <a:p>
                    <a:endParaRPr lang="en-US" sz="2400"/>
                  </a:p>
                </p:txBody>
              </p:sp>
              <p:sp>
                <p:nvSpPr>
                  <p:cNvPr id="181" name="Freeform: Shape 180">
                    <a:extLst>
                      <a:ext uri="{FF2B5EF4-FFF2-40B4-BE49-F238E27FC236}">
                        <a16:creationId xmlns:a16="http://schemas.microsoft.com/office/drawing/2014/main" id="{3F7ABC2D-5EF3-443A-0BD1-70659F64919A}"/>
                      </a:ext>
                    </a:extLst>
                  </p:cNvPr>
                  <p:cNvSpPr/>
                  <p:nvPr userDrawn="1"/>
                </p:nvSpPr>
                <p:spPr>
                  <a:xfrm>
                    <a:off x="8223196" y="437237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0E3EB"/>
                  </a:solidFill>
                  <a:ln w="2339" cap="flat">
                    <a:noFill/>
                    <a:prstDash val="solid"/>
                    <a:miter/>
                  </a:ln>
                </p:spPr>
                <p:txBody>
                  <a:bodyPr rtlCol="0" anchor="ctr"/>
                  <a:lstStyle/>
                  <a:p>
                    <a:endParaRPr lang="en-US" sz="2400"/>
                  </a:p>
                </p:txBody>
              </p:sp>
              <p:sp>
                <p:nvSpPr>
                  <p:cNvPr id="182" name="Freeform: Shape 181">
                    <a:extLst>
                      <a:ext uri="{FF2B5EF4-FFF2-40B4-BE49-F238E27FC236}">
                        <a16:creationId xmlns:a16="http://schemas.microsoft.com/office/drawing/2014/main" id="{96E23D1C-29E4-CE9E-DE65-3DAB5D9616EC}"/>
                      </a:ext>
                    </a:extLst>
                  </p:cNvPr>
                  <p:cNvSpPr/>
                  <p:nvPr userDrawn="1"/>
                </p:nvSpPr>
                <p:spPr>
                  <a:xfrm>
                    <a:off x="8222845" y="437211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0E3EB"/>
                  </a:solidFill>
                  <a:ln w="2339" cap="flat">
                    <a:noFill/>
                    <a:prstDash val="solid"/>
                    <a:miter/>
                  </a:ln>
                </p:spPr>
                <p:txBody>
                  <a:bodyPr rtlCol="0" anchor="ctr"/>
                  <a:lstStyle/>
                  <a:p>
                    <a:endParaRPr lang="en-US" sz="2400"/>
                  </a:p>
                </p:txBody>
              </p:sp>
              <p:sp>
                <p:nvSpPr>
                  <p:cNvPr id="183" name="Freeform: Shape 182">
                    <a:extLst>
                      <a:ext uri="{FF2B5EF4-FFF2-40B4-BE49-F238E27FC236}">
                        <a16:creationId xmlns:a16="http://schemas.microsoft.com/office/drawing/2014/main" id="{F0AA9324-1A9E-1338-739C-BE4D78515728}"/>
                      </a:ext>
                    </a:extLst>
                  </p:cNvPr>
                  <p:cNvSpPr/>
                  <p:nvPr userDrawn="1"/>
                </p:nvSpPr>
                <p:spPr>
                  <a:xfrm>
                    <a:off x="8222494" y="437188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1E3EB"/>
                  </a:solidFill>
                  <a:ln w="2339" cap="flat">
                    <a:noFill/>
                    <a:prstDash val="solid"/>
                    <a:miter/>
                  </a:ln>
                </p:spPr>
                <p:txBody>
                  <a:bodyPr rtlCol="0" anchor="ctr"/>
                  <a:lstStyle/>
                  <a:p>
                    <a:endParaRPr lang="en-US" sz="2400"/>
                  </a:p>
                </p:txBody>
              </p:sp>
              <p:sp>
                <p:nvSpPr>
                  <p:cNvPr id="184" name="Freeform: Shape 183">
                    <a:extLst>
                      <a:ext uri="{FF2B5EF4-FFF2-40B4-BE49-F238E27FC236}">
                        <a16:creationId xmlns:a16="http://schemas.microsoft.com/office/drawing/2014/main" id="{B863D5E8-335B-BD6E-8204-311169B21058}"/>
                      </a:ext>
                    </a:extLst>
                  </p:cNvPr>
                  <p:cNvSpPr/>
                  <p:nvPr userDrawn="1"/>
                </p:nvSpPr>
                <p:spPr>
                  <a:xfrm>
                    <a:off x="8222166" y="437162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1E4EB"/>
                  </a:solidFill>
                  <a:ln w="2339" cap="flat">
                    <a:noFill/>
                    <a:prstDash val="solid"/>
                    <a:miter/>
                  </a:ln>
                </p:spPr>
                <p:txBody>
                  <a:bodyPr rtlCol="0" anchor="ctr"/>
                  <a:lstStyle/>
                  <a:p>
                    <a:endParaRPr lang="en-US" sz="2400"/>
                  </a:p>
                </p:txBody>
              </p:sp>
              <p:sp>
                <p:nvSpPr>
                  <p:cNvPr id="185" name="Freeform: Shape 184">
                    <a:extLst>
                      <a:ext uri="{FF2B5EF4-FFF2-40B4-BE49-F238E27FC236}">
                        <a16:creationId xmlns:a16="http://schemas.microsoft.com/office/drawing/2014/main" id="{71D338DC-9071-0D71-3F25-A5B7AB1DDB30}"/>
                      </a:ext>
                    </a:extLst>
                  </p:cNvPr>
                  <p:cNvSpPr/>
                  <p:nvPr userDrawn="1"/>
                </p:nvSpPr>
                <p:spPr>
                  <a:xfrm>
                    <a:off x="8221815" y="437138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E1E4EC"/>
                  </a:solidFill>
                  <a:ln w="2339" cap="flat">
                    <a:noFill/>
                    <a:prstDash val="solid"/>
                    <a:miter/>
                  </a:ln>
                </p:spPr>
                <p:txBody>
                  <a:bodyPr rtlCol="0" anchor="ctr"/>
                  <a:lstStyle/>
                  <a:p>
                    <a:endParaRPr lang="en-US" sz="2400"/>
                  </a:p>
                </p:txBody>
              </p:sp>
              <p:sp>
                <p:nvSpPr>
                  <p:cNvPr id="186" name="Freeform: Shape 185">
                    <a:extLst>
                      <a:ext uri="{FF2B5EF4-FFF2-40B4-BE49-F238E27FC236}">
                        <a16:creationId xmlns:a16="http://schemas.microsoft.com/office/drawing/2014/main" id="{92707191-62AE-AD21-971C-DC8CA385992D}"/>
                      </a:ext>
                    </a:extLst>
                  </p:cNvPr>
                  <p:cNvSpPr/>
                  <p:nvPr userDrawn="1"/>
                </p:nvSpPr>
                <p:spPr>
                  <a:xfrm>
                    <a:off x="8221464" y="437113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2E4EC"/>
                  </a:solidFill>
                  <a:ln w="2339" cap="flat">
                    <a:noFill/>
                    <a:prstDash val="solid"/>
                    <a:miter/>
                  </a:ln>
                </p:spPr>
                <p:txBody>
                  <a:bodyPr rtlCol="0" anchor="ctr"/>
                  <a:lstStyle/>
                  <a:p>
                    <a:endParaRPr lang="en-US" sz="2400"/>
                  </a:p>
                </p:txBody>
              </p:sp>
              <p:sp>
                <p:nvSpPr>
                  <p:cNvPr id="187" name="Freeform: Shape 186">
                    <a:extLst>
                      <a:ext uri="{FF2B5EF4-FFF2-40B4-BE49-F238E27FC236}">
                        <a16:creationId xmlns:a16="http://schemas.microsoft.com/office/drawing/2014/main" id="{1B617B35-FF8C-E300-0116-356310A7E4EA}"/>
                      </a:ext>
                    </a:extLst>
                  </p:cNvPr>
                  <p:cNvSpPr/>
                  <p:nvPr userDrawn="1"/>
                </p:nvSpPr>
                <p:spPr>
                  <a:xfrm>
                    <a:off x="8221113" y="437087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2E5EC"/>
                  </a:solidFill>
                  <a:ln w="2339" cap="flat">
                    <a:noFill/>
                    <a:prstDash val="solid"/>
                    <a:miter/>
                  </a:ln>
                </p:spPr>
                <p:txBody>
                  <a:bodyPr rtlCol="0" anchor="ctr"/>
                  <a:lstStyle/>
                  <a:p>
                    <a:endParaRPr lang="en-US" sz="2400"/>
                  </a:p>
                </p:txBody>
              </p:sp>
              <p:sp>
                <p:nvSpPr>
                  <p:cNvPr id="188" name="Freeform: Shape 187">
                    <a:extLst>
                      <a:ext uri="{FF2B5EF4-FFF2-40B4-BE49-F238E27FC236}">
                        <a16:creationId xmlns:a16="http://schemas.microsoft.com/office/drawing/2014/main" id="{9BFE5C7C-AC67-92BB-EEAD-640798643463}"/>
                      </a:ext>
                    </a:extLst>
                  </p:cNvPr>
                  <p:cNvSpPr/>
                  <p:nvPr userDrawn="1"/>
                </p:nvSpPr>
                <p:spPr>
                  <a:xfrm>
                    <a:off x="8220786" y="437063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E2E5EC"/>
                  </a:solidFill>
                  <a:ln w="2339" cap="flat">
                    <a:noFill/>
                    <a:prstDash val="solid"/>
                    <a:miter/>
                  </a:ln>
                </p:spPr>
                <p:txBody>
                  <a:bodyPr rtlCol="0" anchor="ctr"/>
                  <a:lstStyle/>
                  <a:p>
                    <a:endParaRPr lang="en-US" sz="2400"/>
                  </a:p>
                </p:txBody>
              </p:sp>
              <p:sp>
                <p:nvSpPr>
                  <p:cNvPr id="189" name="Freeform: Shape 188">
                    <a:extLst>
                      <a:ext uri="{FF2B5EF4-FFF2-40B4-BE49-F238E27FC236}">
                        <a16:creationId xmlns:a16="http://schemas.microsoft.com/office/drawing/2014/main" id="{9783952E-BEEF-34D0-924D-A711F48C425B}"/>
                      </a:ext>
                    </a:extLst>
                  </p:cNvPr>
                  <p:cNvSpPr/>
                  <p:nvPr userDrawn="1"/>
                </p:nvSpPr>
                <p:spPr>
                  <a:xfrm>
                    <a:off x="8220458" y="437038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3E5EC"/>
                  </a:solidFill>
                  <a:ln w="2339" cap="flat">
                    <a:noFill/>
                    <a:prstDash val="solid"/>
                    <a:miter/>
                  </a:ln>
                </p:spPr>
                <p:txBody>
                  <a:bodyPr rtlCol="0" anchor="ctr"/>
                  <a:lstStyle/>
                  <a:p>
                    <a:endParaRPr lang="en-US" sz="2400"/>
                  </a:p>
                </p:txBody>
              </p:sp>
              <p:sp>
                <p:nvSpPr>
                  <p:cNvPr id="190" name="Freeform: Shape 189">
                    <a:extLst>
                      <a:ext uri="{FF2B5EF4-FFF2-40B4-BE49-F238E27FC236}">
                        <a16:creationId xmlns:a16="http://schemas.microsoft.com/office/drawing/2014/main" id="{B5145C2A-3054-EB61-55D6-DD6C794CDB5E}"/>
                      </a:ext>
                    </a:extLst>
                  </p:cNvPr>
                  <p:cNvSpPr/>
                  <p:nvPr userDrawn="1"/>
                </p:nvSpPr>
                <p:spPr>
                  <a:xfrm>
                    <a:off x="8220107" y="437012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3E5ED"/>
                  </a:solidFill>
                  <a:ln w="2339" cap="flat">
                    <a:noFill/>
                    <a:prstDash val="solid"/>
                    <a:miter/>
                  </a:ln>
                </p:spPr>
                <p:txBody>
                  <a:bodyPr rtlCol="0" anchor="ctr"/>
                  <a:lstStyle/>
                  <a:p>
                    <a:endParaRPr lang="en-US" sz="2400"/>
                  </a:p>
                </p:txBody>
              </p:sp>
              <p:sp>
                <p:nvSpPr>
                  <p:cNvPr id="191" name="Freeform: Shape 190">
                    <a:extLst>
                      <a:ext uri="{FF2B5EF4-FFF2-40B4-BE49-F238E27FC236}">
                        <a16:creationId xmlns:a16="http://schemas.microsoft.com/office/drawing/2014/main" id="{311582B4-5621-E96E-E2DE-B0F8F6B75660}"/>
                      </a:ext>
                    </a:extLst>
                  </p:cNvPr>
                  <p:cNvSpPr/>
                  <p:nvPr userDrawn="1"/>
                </p:nvSpPr>
                <p:spPr>
                  <a:xfrm>
                    <a:off x="8219779" y="436989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3E6ED"/>
                  </a:solidFill>
                  <a:ln w="2339" cap="flat">
                    <a:noFill/>
                    <a:prstDash val="solid"/>
                    <a:miter/>
                  </a:ln>
                </p:spPr>
                <p:txBody>
                  <a:bodyPr rtlCol="0" anchor="ctr"/>
                  <a:lstStyle/>
                  <a:p>
                    <a:endParaRPr lang="en-US" sz="2400"/>
                  </a:p>
                </p:txBody>
              </p:sp>
              <p:sp>
                <p:nvSpPr>
                  <p:cNvPr id="192" name="Freeform: Shape 191">
                    <a:extLst>
                      <a:ext uri="{FF2B5EF4-FFF2-40B4-BE49-F238E27FC236}">
                        <a16:creationId xmlns:a16="http://schemas.microsoft.com/office/drawing/2014/main" id="{907EEBB1-0D59-5398-9AB0-BD7DFE3D83B8}"/>
                      </a:ext>
                    </a:extLst>
                  </p:cNvPr>
                  <p:cNvSpPr/>
                  <p:nvPr userDrawn="1"/>
                </p:nvSpPr>
                <p:spPr>
                  <a:xfrm>
                    <a:off x="8219452" y="436963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3E6ED"/>
                  </a:solidFill>
                  <a:ln w="2339" cap="flat">
                    <a:noFill/>
                    <a:prstDash val="solid"/>
                    <a:miter/>
                  </a:ln>
                </p:spPr>
                <p:txBody>
                  <a:bodyPr rtlCol="0" anchor="ctr"/>
                  <a:lstStyle/>
                  <a:p>
                    <a:endParaRPr lang="en-US" sz="2400"/>
                  </a:p>
                </p:txBody>
              </p:sp>
              <p:sp>
                <p:nvSpPr>
                  <p:cNvPr id="193" name="Freeform: Shape 192">
                    <a:extLst>
                      <a:ext uri="{FF2B5EF4-FFF2-40B4-BE49-F238E27FC236}">
                        <a16:creationId xmlns:a16="http://schemas.microsoft.com/office/drawing/2014/main" id="{2D7898C0-09D8-CB01-B5EE-85CA003A096C}"/>
                      </a:ext>
                    </a:extLst>
                  </p:cNvPr>
                  <p:cNvSpPr/>
                  <p:nvPr userDrawn="1"/>
                </p:nvSpPr>
                <p:spPr>
                  <a:xfrm>
                    <a:off x="8219124" y="436937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4E6ED"/>
                  </a:solidFill>
                  <a:ln w="2339" cap="flat">
                    <a:noFill/>
                    <a:prstDash val="solid"/>
                    <a:miter/>
                  </a:ln>
                </p:spPr>
                <p:txBody>
                  <a:bodyPr rtlCol="0" anchor="ctr"/>
                  <a:lstStyle/>
                  <a:p>
                    <a:endParaRPr lang="en-US" sz="2400"/>
                  </a:p>
                </p:txBody>
              </p:sp>
              <p:sp>
                <p:nvSpPr>
                  <p:cNvPr id="194" name="Freeform: Shape 193">
                    <a:extLst>
                      <a:ext uri="{FF2B5EF4-FFF2-40B4-BE49-F238E27FC236}">
                        <a16:creationId xmlns:a16="http://schemas.microsoft.com/office/drawing/2014/main" id="{97C8B81D-CD63-28E2-F270-1500C80B9E12}"/>
                      </a:ext>
                    </a:extLst>
                  </p:cNvPr>
                  <p:cNvSpPr/>
                  <p:nvPr userDrawn="1"/>
                </p:nvSpPr>
                <p:spPr>
                  <a:xfrm>
                    <a:off x="8218797" y="436911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4E6ED"/>
                  </a:solidFill>
                  <a:ln w="2339" cap="flat">
                    <a:noFill/>
                    <a:prstDash val="solid"/>
                    <a:miter/>
                  </a:ln>
                </p:spPr>
                <p:txBody>
                  <a:bodyPr rtlCol="0" anchor="ctr"/>
                  <a:lstStyle/>
                  <a:p>
                    <a:endParaRPr lang="en-US" sz="2400"/>
                  </a:p>
                </p:txBody>
              </p:sp>
              <p:sp>
                <p:nvSpPr>
                  <p:cNvPr id="195" name="Freeform: Shape 194">
                    <a:extLst>
                      <a:ext uri="{FF2B5EF4-FFF2-40B4-BE49-F238E27FC236}">
                        <a16:creationId xmlns:a16="http://schemas.microsoft.com/office/drawing/2014/main" id="{30F52B53-F890-D934-237C-6D95E719F5BB}"/>
                      </a:ext>
                    </a:extLst>
                  </p:cNvPr>
                  <p:cNvSpPr/>
                  <p:nvPr userDrawn="1"/>
                </p:nvSpPr>
                <p:spPr>
                  <a:xfrm>
                    <a:off x="8218492" y="436886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4E7EE"/>
                  </a:solidFill>
                  <a:ln w="2339" cap="flat">
                    <a:noFill/>
                    <a:prstDash val="solid"/>
                    <a:miter/>
                  </a:ln>
                </p:spPr>
                <p:txBody>
                  <a:bodyPr rtlCol="0" anchor="ctr"/>
                  <a:lstStyle/>
                  <a:p>
                    <a:endParaRPr lang="en-US" sz="2400"/>
                  </a:p>
                </p:txBody>
              </p:sp>
              <p:sp>
                <p:nvSpPr>
                  <p:cNvPr id="196" name="Freeform: Shape 195">
                    <a:extLst>
                      <a:ext uri="{FF2B5EF4-FFF2-40B4-BE49-F238E27FC236}">
                        <a16:creationId xmlns:a16="http://schemas.microsoft.com/office/drawing/2014/main" id="{CC37D068-731E-9857-D164-3799FD2B3DCD}"/>
                      </a:ext>
                    </a:extLst>
                  </p:cNvPr>
                  <p:cNvSpPr/>
                  <p:nvPr userDrawn="1"/>
                </p:nvSpPr>
                <p:spPr>
                  <a:xfrm>
                    <a:off x="8218165" y="436860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5E7EE"/>
                  </a:solidFill>
                  <a:ln w="2339" cap="flat">
                    <a:noFill/>
                    <a:prstDash val="solid"/>
                    <a:miter/>
                  </a:ln>
                </p:spPr>
                <p:txBody>
                  <a:bodyPr rtlCol="0" anchor="ctr"/>
                  <a:lstStyle/>
                  <a:p>
                    <a:endParaRPr lang="en-US" sz="2400"/>
                  </a:p>
                </p:txBody>
              </p:sp>
              <p:sp>
                <p:nvSpPr>
                  <p:cNvPr id="197" name="Freeform: Shape 196">
                    <a:extLst>
                      <a:ext uri="{FF2B5EF4-FFF2-40B4-BE49-F238E27FC236}">
                        <a16:creationId xmlns:a16="http://schemas.microsoft.com/office/drawing/2014/main" id="{0E76261B-9291-19B5-7514-B566106761EE}"/>
                      </a:ext>
                    </a:extLst>
                  </p:cNvPr>
                  <p:cNvSpPr/>
                  <p:nvPr userDrawn="1"/>
                </p:nvSpPr>
                <p:spPr>
                  <a:xfrm>
                    <a:off x="8217837" y="436837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E5E7EE"/>
                  </a:solidFill>
                  <a:ln w="2339" cap="flat">
                    <a:noFill/>
                    <a:prstDash val="solid"/>
                    <a:miter/>
                  </a:ln>
                </p:spPr>
                <p:txBody>
                  <a:bodyPr rtlCol="0" anchor="ctr"/>
                  <a:lstStyle/>
                  <a:p>
                    <a:endParaRPr lang="en-US" sz="2400"/>
                  </a:p>
                </p:txBody>
              </p:sp>
              <p:sp>
                <p:nvSpPr>
                  <p:cNvPr id="198" name="Freeform: Shape 197">
                    <a:extLst>
                      <a:ext uri="{FF2B5EF4-FFF2-40B4-BE49-F238E27FC236}">
                        <a16:creationId xmlns:a16="http://schemas.microsoft.com/office/drawing/2014/main" id="{8A2E7B2E-F920-ED98-481A-5783630473E3}"/>
                      </a:ext>
                    </a:extLst>
                  </p:cNvPr>
                  <p:cNvSpPr/>
                  <p:nvPr userDrawn="1"/>
                </p:nvSpPr>
                <p:spPr>
                  <a:xfrm>
                    <a:off x="8217533" y="436811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E5E8EE"/>
                  </a:solidFill>
                  <a:ln w="2339" cap="flat">
                    <a:noFill/>
                    <a:prstDash val="solid"/>
                    <a:miter/>
                  </a:ln>
                </p:spPr>
                <p:txBody>
                  <a:bodyPr rtlCol="0" anchor="ctr"/>
                  <a:lstStyle/>
                  <a:p>
                    <a:endParaRPr lang="en-US" sz="2400"/>
                  </a:p>
                </p:txBody>
              </p:sp>
              <p:sp>
                <p:nvSpPr>
                  <p:cNvPr id="199" name="Freeform: Shape 198">
                    <a:extLst>
                      <a:ext uri="{FF2B5EF4-FFF2-40B4-BE49-F238E27FC236}">
                        <a16:creationId xmlns:a16="http://schemas.microsoft.com/office/drawing/2014/main" id="{A8FC33E9-2605-F156-4141-EFF7F3FF7095}"/>
                      </a:ext>
                    </a:extLst>
                  </p:cNvPr>
                  <p:cNvSpPr/>
                  <p:nvPr userDrawn="1"/>
                </p:nvSpPr>
                <p:spPr>
                  <a:xfrm>
                    <a:off x="8217112" y="436776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6E8EE"/>
                  </a:solidFill>
                  <a:ln w="2339" cap="flat">
                    <a:noFill/>
                    <a:prstDash val="solid"/>
                    <a:miter/>
                  </a:ln>
                </p:spPr>
                <p:txBody>
                  <a:bodyPr rtlCol="0" anchor="ctr"/>
                  <a:lstStyle/>
                  <a:p>
                    <a:endParaRPr lang="en-US" sz="2400"/>
                  </a:p>
                </p:txBody>
              </p:sp>
              <p:sp>
                <p:nvSpPr>
                  <p:cNvPr id="200" name="Freeform: Shape 199">
                    <a:extLst>
                      <a:ext uri="{FF2B5EF4-FFF2-40B4-BE49-F238E27FC236}">
                        <a16:creationId xmlns:a16="http://schemas.microsoft.com/office/drawing/2014/main" id="{C90425BA-76EE-7357-6C76-8175D43282A2}"/>
                      </a:ext>
                    </a:extLst>
                  </p:cNvPr>
                  <p:cNvSpPr/>
                  <p:nvPr userDrawn="1"/>
                </p:nvSpPr>
                <p:spPr>
                  <a:xfrm>
                    <a:off x="8216620" y="436736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6E8EF"/>
                  </a:solidFill>
                  <a:ln w="2339" cap="flat">
                    <a:noFill/>
                    <a:prstDash val="solid"/>
                    <a:miter/>
                  </a:ln>
                </p:spPr>
                <p:txBody>
                  <a:bodyPr rtlCol="0" anchor="ctr"/>
                  <a:lstStyle/>
                  <a:p>
                    <a:endParaRPr lang="en-US" sz="2400"/>
                  </a:p>
                </p:txBody>
              </p:sp>
              <p:sp>
                <p:nvSpPr>
                  <p:cNvPr id="201" name="Freeform: Shape 200">
                    <a:extLst>
                      <a:ext uri="{FF2B5EF4-FFF2-40B4-BE49-F238E27FC236}">
                        <a16:creationId xmlns:a16="http://schemas.microsoft.com/office/drawing/2014/main" id="{297D6FC5-F4A7-539B-3EDB-48260EE2C718}"/>
                      </a:ext>
                    </a:extLst>
                  </p:cNvPr>
                  <p:cNvSpPr/>
                  <p:nvPr userDrawn="1"/>
                </p:nvSpPr>
                <p:spPr>
                  <a:xfrm>
                    <a:off x="8216152" y="436694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6E8EF"/>
                  </a:solidFill>
                  <a:ln w="2339" cap="flat">
                    <a:noFill/>
                    <a:prstDash val="solid"/>
                    <a:miter/>
                  </a:ln>
                </p:spPr>
                <p:txBody>
                  <a:bodyPr rtlCol="0" anchor="ctr"/>
                  <a:lstStyle/>
                  <a:p>
                    <a:endParaRPr lang="en-US" sz="2400"/>
                  </a:p>
                </p:txBody>
              </p:sp>
              <p:sp>
                <p:nvSpPr>
                  <p:cNvPr id="202" name="Freeform: Shape 201">
                    <a:extLst>
                      <a:ext uri="{FF2B5EF4-FFF2-40B4-BE49-F238E27FC236}">
                        <a16:creationId xmlns:a16="http://schemas.microsoft.com/office/drawing/2014/main" id="{584BECDA-2CC1-91F0-9B86-2C201C247E0E}"/>
                      </a:ext>
                    </a:extLst>
                  </p:cNvPr>
                  <p:cNvSpPr/>
                  <p:nvPr userDrawn="1"/>
                </p:nvSpPr>
                <p:spPr>
                  <a:xfrm>
                    <a:off x="8215684" y="436654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E7E9EF"/>
                  </a:solidFill>
                  <a:ln w="2339" cap="flat">
                    <a:noFill/>
                    <a:prstDash val="solid"/>
                    <a:miter/>
                  </a:ln>
                </p:spPr>
                <p:txBody>
                  <a:bodyPr rtlCol="0" anchor="ctr"/>
                  <a:lstStyle/>
                  <a:p>
                    <a:endParaRPr lang="en-US" sz="2400"/>
                  </a:p>
                </p:txBody>
              </p:sp>
              <p:sp>
                <p:nvSpPr>
                  <p:cNvPr id="203" name="Freeform: Shape 202">
                    <a:extLst>
                      <a:ext uri="{FF2B5EF4-FFF2-40B4-BE49-F238E27FC236}">
                        <a16:creationId xmlns:a16="http://schemas.microsoft.com/office/drawing/2014/main" id="{A03BC760-34FF-049E-E103-EA744CCC3F0D}"/>
                      </a:ext>
                    </a:extLst>
                  </p:cNvPr>
                  <p:cNvSpPr/>
                  <p:nvPr userDrawn="1"/>
                </p:nvSpPr>
                <p:spPr>
                  <a:xfrm>
                    <a:off x="8215193" y="436612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7E9EF"/>
                  </a:solidFill>
                  <a:ln w="2339" cap="flat">
                    <a:noFill/>
                    <a:prstDash val="solid"/>
                    <a:miter/>
                  </a:ln>
                </p:spPr>
                <p:txBody>
                  <a:bodyPr rtlCol="0" anchor="ctr"/>
                  <a:lstStyle/>
                  <a:p>
                    <a:endParaRPr lang="en-US" sz="2400"/>
                  </a:p>
                </p:txBody>
              </p:sp>
              <p:sp>
                <p:nvSpPr>
                  <p:cNvPr id="204" name="Freeform: Shape 203">
                    <a:extLst>
                      <a:ext uri="{FF2B5EF4-FFF2-40B4-BE49-F238E27FC236}">
                        <a16:creationId xmlns:a16="http://schemas.microsoft.com/office/drawing/2014/main" id="{9A773DAB-E4C4-25F6-7C2A-DE7F8D72F018}"/>
                      </a:ext>
                    </a:extLst>
                  </p:cNvPr>
                  <p:cNvSpPr/>
                  <p:nvPr userDrawn="1"/>
                </p:nvSpPr>
                <p:spPr>
                  <a:xfrm>
                    <a:off x="8214725" y="436572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7E9EF"/>
                  </a:solidFill>
                  <a:ln w="2339" cap="flat">
                    <a:noFill/>
                    <a:prstDash val="solid"/>
                    <a:miter/>
                  </a:ln>
                </p:spPr>
                <p:txBody>
                  <a:bodyPr rtlCol="0" anchor="ctr"/>
                  <a:lstStyle/>
                  <a:p>
                    <a:endParaRPr lang="en-US" sz="2400"/>
                  </a:p>
                </p:txBody>
              </p:sp>
              <p:sp>
                <p:nvSpPr>
                  <p:cNvPr id="205" name="Freeform: Shape 204">
                    <a:extLst>
                      <a:ext uri="{FF2B5EF4-FFF2-40B4-BE49-F238E27FC236}">
                        <a16:creationId xmlns:a16="http://schemas.microsoft.com/office/drawing/2014/main" id="{0F8EEB04-AAC2-8EC8-940F-B9975ED1E89A}"/>
                      </a:ext>
                    </a:extLst>
                  </p:cNvPr>
                  <p:cNvSpPr/>
                  <p:nvPr userDrawn="1"/>
                </p:nvSpPr>
                <p:spPr>
                  <a:xfrm>
                    <a:off x="8214280" y="436530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7EAF0"/>
                  </a:solidFill>
                  <a:ln w="2339" cap="flat">
                    <a:noFill/>
                    <a:prstDash val="solid"/>
                    <a:miter/>
                  </a:ln>
                </p:spPr>
                <p:txBody>
                  <a:bodyPr rtlCol="0" anchor="ctr"/>
                  <a:lstStyle/>
                  <a:p>
                    <a:endParaRPr lang="en-US" sz="2400"/>
                  </a:p>
                </p:txBody>
              </p:sp>
              <p:sp>
                <p:nvSpPr>
                  <p:cNvPr id="206" name="Freeform: Shape 205">
                    <a:extLst>
                      <a:ext uri="{FF2B5EF4-FFF2-40B4-BE49-F238E27FC236}">
                        <a16:creationId xmlns:a16="http://schemas.microsoft.com/office/drawing/2014/main" id="{5DB8C716-8C4B-1781-E6EB-47D3BAE63BF2}"/>
                      </a:ext>
                    </a:extLst>
                  </p:cNvPr>
                  <p:cNvSpPr/>
                  <p:nvPr userDrawn="1"/>
                </p:nvSpPr>
                <p:spPr>
                  <a:xfrm>
                    <a:off x="8213812" y="436490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8EAF0"/>
                  </a:solidFill>
                  <a:ln w="2339" cap="flat">
                    <a:noFill/>
                    <a:prstDash val="solid"/>
                    <a:miter/>
                  </a:ln>
                </p:spPr>
                <p:txBody>
                  <a:bodyPr rtlCol="0" anchor="ctr"/>
                  <a:lstStyle/>
                  <a:p>
                    <a:endParaRPr lang="en-US" sz="2400"/>
                  </a:p>
                </p:txBody>
              </p:sp>
              <p:sp>
                <p:nvSpPr>
                  <p:cNvPr id="207" name="Freeform: Shape 206">
                    <a:extLst>
                      <a:ext uri="{FF2B5EF4-FFF2-40B4-BE49-F238E27FC236}">
                        <a16:creationId xmlns:a16="http://schemas.microsoft.com/office/drawing/2014/main" id="{FA496C79-8547-3397-0EF3-4A4C2DB044B9}"/>
                      </a:ext>
                    </a:extLst>
                  </p:cNvPr>
                  <p:cNvSpPr/>
                  <p:nvPr userDrawn="1"/>
                </p:nvSpPr>
                <p:spPr>
                  <a:xfrm>
                    <a:off x="8213368" y="436448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8EAF0"/>
                  </a:solidFill>
                  <a:ln w="2339" cap="flat">
                    <a:noFill/>
                    <a:prstDash val="solid"/>
                    <a:miter/>
                  </a:ln>
                </p:spPr>
                <p:txBody>
                  <a:bodyPr rtlCol="0" anchor="ctr"/>
                  <a:lstStyle/>
                  <a:p>
                    <a:endParaRPr lang="en-US" sz="2400"/>
                  </a:p>
                </p:txBody>
              </p:sp>
              <p:sp>
                <p:nvSpPr>
                  <p:cNvPr id="208" name="Freeform: Shape 207">
                    <a:extLst>
                      <a:ext uri="{FF2B5EF4-FFF2-40B4-BE49-F238E27FC236}">
                        <a16:creationId xmlns:a16="http://schemas.microsoft.com/office/drawing/2014/main" id="{4027AAA9-BDBA-27C1-6096-785756C7C144}"/>
                      </a:ext>
                    </a:extLst>
                  </p:cNvPr>
                  <p:cNvSpPr/>
                  <p:nvPr userDrawn="1"/>
                </p:nvSpPr>
                <p:spPr>
                  <a:xfrm>
                    <a:off x="8212923" y="436406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8EAF0"/>
                  </a:solidFill>
                  <a:ln w="2339" cap="flat">
                    <a:noFill/>
                    <a:prstDash val="solid"/>
                    <a:miter/>
                  </a:ln>
                </p:spPr>
                <p:txBody>
                  <a:bodyPr rtlCol="0" anchor="ctr"/>
                  <a:lstStyle/>
                  <a:p>
                    <a:endParaRPr lang="en-US" sz="2400"/>
                  </a:p>
                </p:txBody>
              </p:sp>
              <p:sp>
                <p:nvSpPr>
                  <p:cNvPr id="209" name="Freeform: Shape 208">
                    <a:extLst>
                      <a:ext uri="{FF2B5EF4-FFF2-40B4-BE49-F238E27FC236}">
                        <a16:creationId xmlns:a16="http://schemas.microsoft.com/office/drawing/2014/main" id="{512E5A57-4A86-D215-76BE-10D131F50540}"/>
                      </a:ext>
                    </a:extLst>
                  </p:cNvPr>
                  <p:cNvSpPr/>
                  <p:nvPr userDrawn="1"/>
                </p:nvSpPr>
                <p:spPr>
                  <a:xfrm>
                    <a:off x="8212478" y="436366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9EBF0"/>
                  </a:solidFill>
                  <a:ln w="2339" cap="flat">
                    <a:noFill/>
                    <a:prstDash val="solid"/>
                    <a:miter/>
                  </a:ln>
                </p:spPr>
                <p:txBody>
                  <a:bodyPr rtlCol="0" anchor="ctr"/>
                  <a:lstStyle/>
                  <a:p>
                    <a:endParaRPr lang="en-US" sz="2400"/>
                  </a:p>
                </p:txBody>
              </p:sp>
              <p:sp>
                <p:nvSpPr>
                  <p:cNvPr id="210" name="Freeform: Shape 209">
                    <a:extLst>
                      <a:ext uri="{FF2B5EF4-FFF2-40B4-BE49-F238E27FC236}">
                        <a16:creationId xmlns:a16="http://schemas.microsoft.com/office/drawing/2014/main" id="{2F392DD5-17CA-4438-8C44-30B9B6E0FDE2}"/>
                      </a:ext>
                    </a:extLst>
                  </p:cNvPr>
                  <p:cNvSpPr/>
                  <p:nvPr userDrawn="1"/>
                </p:nvSpPr>
                <p:spPr>
                  <a:xfrm>
                    <a:off x="8212057" y="436324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9EBF1"/>
                  </a:solidFill>
                  <a:ln w="2339" cap="flat">
                    <a:noFill/>
                    <a:prstDash val="solid"/>
                    <a:miter/>
                  </a:ln>
                </p:spPr>
                <p:txBody>
                  <a:bodyPr rtlCol="0" anchor="ctr"/>
                  <a:lstStyle/>
                  <a:p>
                    <a:endParaRPr lang="en-US" sz="2400"/>
                  </a:p>
                </p:txBody>
              </p:sp>
              <p:sp>
                <p:nvSpPr>
                  <p:cNvPr id="211" name="Freeform: Shape 210">
                    <a:extLst>
                      <a:ext uri="{FF2B5EF4-FFF2-40B4-BE49-F238E27FC236}">
                        <a16:creationId xmlns:a16="http://schemas.microsoft.com/office/drawing/2014/main" id="{40B3C471-F804-75D2-5298-0D54AA29D113}"/>
                      </a:ext>
                    </a:extLst>
                  </p:cNvPr>
                  <p:cNvSpPr/>
                  <p:nvPr userDrawn="1"/>
                </p:nvSpPr>
                <p:spPr>
                  <a:xfrm>
                    <a:off x="8211613" y="436282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9EBF1"/>
                  </a:solidFill>
                  <a:ln w="2339" cap="flat">
                    <a:noFill/>
                    <a:prstDash val="solid"/>
                    <a:miter/>
                  </a:ln>
                </p:spPr>
                <p:txBody>
                  <a:bodyPr rtlCol="0" anchor="ctr"/>
                  <a:lstStyle/>
                  <a:p>
                    <a:endParaRPr lang="en-US" sz="2400"/>
                  </a:p>
                </p:txBody>
              </p:sp>
              <p:sp>
                <p:nvSpPr>
                  <p:cNvPr id="212" name="Freeform: Shape 211">
                    <a:extLst>
                      <a:ext uri="{FF2B5EF4-FFF2-40B4-BE49-F238E27FC236}">
                        <a16:creationId xmlns:a16="http://schemas.microsoft.com/office/drawing/2014/main" id="{C47EC5E4-7842-ED96-627B-6206BB0E0631}"/>
                      </a:ext>
                    </a:extLst>
                  </p:cNvPr>
                  <p:cNvSpPr/>
                  <p:nvPr userDrawn="1"/>
                </p:nvSpPr>
                <p:spPr>
                  <a:xfrm>
                    <a:off x="8211191" y="436242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AECF1"/>
                  </a:solidFill>
                  <a:ln w="2339" cap="flat">
                    <a:noFill/>
                    <a:prstDash val="solid"/>
                    <a:miter/>
                  </a:ln>
                </p:spPr>
                <p:txBody>
                  <a:bodyPr rtlCol="0" anchor="ctr"/>
                  <a:lstStyle/>
                  <a:p>
                    <a:endParaRPr lang="en-US" sz="2400"/>
                  </a:p>
                </p:txBody>
              </p:sp>
              <p:sp>
                <p:nvSpPr>
                  <p:cNvPr id="213" name="Freeform: Shape 212">
                    <a:extLst>
                      <a:ext uri="{FF2B5EF4-FFF2-40B4-BE49-F238E27FC236}">
                        <a16:creationId xmlns:a16="http://schemas.microsoft.com/office/drawing/2014/main" id="{79000186-2802-51FF-516F-3B5BFC3A9396}"/>
                      </a:ext>
                    </a:extLst>
                  </p:cNvPr>
                  <p:cNvSpPr/>
                  <p:nvPr userDrawn="1"/>
                </p:nvSpPr>
                <p:spPr>
                  <a:xfrm>
                    <a:off x="8210770" y="436200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AECF1"/>
                  </a:solidFill>
                  <a:ln w="2339" cap="flat">
                    <a:noFill/>
                    <a:prstDash val="solid"/>
                    <a:miter/>
                  </a:ln>
                </p:spPr>
                <p:txBody>
                  <a:bodyPr rtlCol="0" anchor="ctr"/>
                  <a:lstStyle/>
                  <a:p>
                    <a:endParaRPr lang="en-US" sz="2400"/>
                  </a:p>
                </p:txBody>
              </p:sp>
              <p:sp>
                <p:nvSpPr>
                  <p:cNvPr id="214" name="Freeform: Shape 213">
                    <a:extLst>
                      <a:ext uri="{FF2B5EF4-FFF2-40B4-BE49-F238E27FC236}">
                        <a16:creationId xmlns:a16="http://schemas.microsoft.com/office/drawing/2014/main" id="{89630B95-28DF-129F-07A2-E2CACDA26C9F}"/>
                      </a:ext>
                    </a:extLst>
                  </p:cNvPr>
                  <p:cNvSpPr/>
                  <p:nvPr userDrawn="1"/>
                </p:nvSpPr>
                <p:spPr>
                  <a:xfrm>
                    <a:off x="8210372" y="436158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AECF1"/>
                  </a:solidFill>
                  <a:ln w="2339" cap="flat">
                    <a:noFill/>
                    <a:prstDash val="solid"/>
                    <a:miter/>
                  </a:ln>
                </p:spPr>
                <p:txBody>
                  <a:bodyPr rtlCol="0" anchor="ctr"/>
                  <a:lstStyle/>
                  <a:p>
                    <a:endParaRPr lang="en-US" sz="2400"/>
                  </a:p>
                </p:txBody>
              </p:sp>
              <p:sp>
                <p:nvSpPr>
                  <p:cNvPr id="215" name="Freeform: Shape 214">
                    <a:extLst>
                      <a:ext uri="{FF2B5EF4-FFF2-40B4-BE49-F238E27FC236}">
                        <a16:creationId xmlns:a16="http://schemas.microsoft.com/office/drawing/2014/main" id="{53D4FBAE-846A-C453-41B0-A5E21033C9AC}"/>
                      </a:ext>
                    </a:extLst>
                  </p:cNvPr>
                  <p:cNvSpPr/>
                  <p:nvPr userDrawn="1"/>
                </p:nvSpPr>
                <p:spPr>
                  <a:xfrm>
                    <a:off x="8209951" y="436118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BECF2"/>
                  </a:solidFill>
                  <a:ln w="2339" cap="flat">
                    <a:noFill/>
                    <a:prstDash val="solid"/>
                    <a:miter/>
                  </a:ln>
                </p:spPr>
                <p:txBody>
                  <a:bodyPr rtlCol="0" anchor="ctr"/>
                  <a:lstStyle/>
                  <a:p>
                    <a:endParaRPr lang="en-US" sz="2400"/>
                  </a:p>
                </p:txBody>
              </p:sp>
              <p:sp>
                <p:nvSpPr>
                  <p:cNvPr id="216" name="Freeform: Shape 215">
                    <a:extLst>
                      <a:ext uri="{FF2B5EF4-FFF2-40B4-BE49-F238E27FC236}">
                        <a16:creationId xmlns:a16="http://schemas.microsoft.com/office/drawing/2014/main" id="{632DE907-3EC4-6A47-E6E6-370AF0FFDF30}"/>
                      </a:ext>
                    </a:extLst>
                  </p:cNvPr>
                  <p:cNvSpPr/>
                  <p:nvPr userDrawn="1"/>
                </p:nvSpPr>
                <p:spPr>
                  <a:xfrm>
                    <a:off x="8209553" y="436076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BEDF2"/>
                  </a:solidFill>
                  <a:ln w="2339" cap="flat">
                    <a:noFill/>
                    <a:prstDash val="solid"/>
                    <a:miter/>
                  </a:ln>
                </p:spPr>
                <p:txBody>
                  <a:bodyPr rtlCol="0" anchor="ctr"/>
                  <a:lstStyle/>
                  <a:p>
                    <a:endParaRPr lang="en-US" sz="2400"/>
                  </a:p>
                </p:txBody>
              </p:sp>
              <p:sp>
                <p:nvSpPr>
                  <p:cNvPr id="217" name="Freeform: Shape 216">
                    <a:extLst>
                      <a:ext uri="{FF2B5EF4-FFF2-40B4-BE49-F238E27FC236}">
                        <a16:creationId xmlns:a16="http://schemas.microsoft.com/office/drawing/2014/main" id="{6F757FDE-78D8-8973-99A9-85801E8DB22B}"/>
                      </a:ext>
                    </a:extLst>
                  </p:cNvPr>
                  <p:cNvSpPr/>
                  <p:nvPr userDrawn="1"/>
                </p:nvSpPr>
                <p:spPr>
                  <a:xfrm>
                    <a:off x="8209156" y="436034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BEDF2"/>
                  </a:solidFill>
                  <a:ln w="2339" cap="flat">
                    <a:noFill/>
                    <a:prstDash val="solid"/>
                    <a:miter/>
                  </a:ln>
                </p:spPr>
                <p:txBody>
                  <a:bodyPr rtlCol="0" anchor="ctr"/>
                  <a:lstStyle/>
                  <a:p>
                    <a:endParaRPr lang="en-US" sz="2400"/>
                  </a:p>
                </p:txBody>
              </p:sp>
              <p:sp>
                <p:nvSpPr>
                  <p:cNvPr id="218" name="Freeform: Shape 217">
                    <a:extLst>
                      <a:ext uri="{FF2B5EF4-FFF2-40B4-BE49-F238E27FC236}">
                        <a16:creationId xmlns:a16="http://schemas.microsoft.com/office/drawing/2014/main" id="{FA7941B0-917A-02E3-243B-F2049D2920EF}"/>
                      </a:ext>
                    </a:extLst>
                  </p:cNvPr>
                  <p:cNvSpPr/>
                  <p:nvPr userDrawn="1"/>
                </p:nvSpPr>
                <p:spPr>
                  <a:xfrm>
                    <a:off x="8208758" y="435992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BEDF2"/>
                  </a:solidFill>
                  <a:ln w="2339" cap="flat">
                    <a:noFill/>
                    <a:prstDash val="solid"/>
                    <a:miter/>
                  </a:ln>
                </p:spPr>
                <p:txBody>
                  <a:bodyPr rtlCol="0" anchor="ctr"/>
                  <a:lstStyle/>
                  <a:p>
                    <a:endParaRPr lang="en-US" sz="2400"/>
                  </a:p>
                </p:txBody>
              </p:sp>
              <p:sp>
                <p:nvSpPr>
                  <p:cNvPr id="219" name="Freeform: Shape 218">
                    <a:extLst>
                      <a:ext uri="{FF2B5EF4-FFF2-40B4-BE49-F238E27FC236}">
                        <a16:creationId xmlns:a16="http://schemas.microsoft.com/office/drawing/2014/main" id="{39E03FA3-FFF5-F8F0-8084-AD4A7DAB8661}"/>
                      </a:ext>
                    </a:extLst>
                  </p:cNvPr>
                  <p:cNvSpPr/>
                  <p:nvPr userDrawn="1"/>
                </p:nvSpPr>
                <p:spPr>
                  <a:xfrm>
                    <a:off x="8208383" y="435950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CEDF2"/>
                  </a:solidFill>
                  <a:ln w="2339" cap="flat">
                    <a:noFill/>
                    <a:prstDash val="solid"/>
                    <a:miter/>
                  </a:ln>
                </p:spPr>
                <p:txBody>
                  <a:bodyPr rtlCol="0" anchor="ctr"/>
                  <a:lstStyle/>
                  <a:p>
                    <a:endParaRPr lang="en-US" sz="2400"/>
                  </a:p>
                </p:txBody>
              </p:sp>
              <p:sp>
                <p:nvSpPr>
                  <p:cNvPr id="220" name="Freeform: Shape 219">
                    <a:extLst>
                      <a:ext uri="{FF2B5EF4-FFF2-40B4-BE49-F238E27FC236}">
                        <a16:creationId xmlns:a16="http://schemas.microsoft.com/office/drawing/2014/main" id="{3D6FD4D8-9016-2E9C-EB72-B0C35B9B074C}"/>
                      </a:ext>
                    </a:extLst>
                  </p:cNvPr>
                  <p:cNvSpPr/>
                  <p:nvPr userDrawn="1"/>
                </p:nvSpPr>
                <p:spPr>
                  <a:xfrm>
                    <a:off x="8207986" y="435910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CEEF3"/>
                  </a:solidFill>
                  <a:ln w="2339" cap="flat">
                    <a:noFill/>
                    <a:prstDash val="solid"/>
                    <a:miter/>
                  </a:ln>
                </p:spPr>
                <p:txBody>
                  <a:bodyPr rtlCol="0" anchor="ctr"/>
                  <a:lstStyle/>
                  <a:p>
                    <a:endParaRPr lang="en-US" sz="2400"/>
                  </a:p>
                </p:txBody>
              </p:sp>
              <p:sp>
                <p:nvSpPr>
                  <p:cNvPr id="221" name="Freeform: Shape 220">
                    <a:extLst>
                      <a:ext uri="{FF2B5EF4-FFF2-40B4-BE49-F238E27FC236}">
                        <a16:creationId xmlns:a16="http://schemas.microsoft.com/office/drawing/2014/main" id="{C4B3CB2E-6447-ACA4-2E16-246A0D7DF0CF}"/>
                      </a:ext>
                    </a:extLst>
                  </p:cNvPr>
                  <p:cNvSpPr/>
                  <p:nvPr userDrawn="1"/>
                </p:nvSpPr>
                <p:spPr>
                  <a:xfrm>
                    <a:off x="8207611" y="435868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CEEF3"/>
                  </a:solidFill>
                  <a:ln w="2339" cap="flat">
                    <a:noFill/>
                    <a:prstDash val="solid"/>
                    <a:miter/>
                  </a:ln>
                </p:spPr>
                <p:txBody>
                  <a:bodyPr rtlCol="0" anchor="ctr"/>
                  <a:lstStyle/>
                  <a:p>
                    <a:endParaRPr lang="en-US" sz="2400"/>
                  </a:p>
                </p:txBody>
              </p:sp>
              <p:sp>
                <p:nvSpPr>
                  <p:cNvPr id="222" name="Freeform: Shape 221">
                    <a:extLst>
                      <a:ext uri="{FF2B5EF4-FFF2-40B4-BE49-F238E27FC236}">
                        <a16:creationId xmlns:a16="http://schemas.microsoft.com/office/drawing/2014/main" id="{C6632025-BD52-FD35-8077-C3EE8951FC60}"/>
                      </a:ext>
                    </a:extLst>
                  </p:cNvPr>
                  <p:cNvSpPr/>
                  <p:nvPr userDrawn="1"/>
                </p:nvSpPr>
                <p:spPr>
                  <a:xfrm>
                    <a:off x="8207237" y="435826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DEEF3"/>
                  </a:solidFill>
                  <a:ln w="2339" cap="flat">
                    <a:noFill/>
                    <a:prstDash val="solid"/>
                    <a:miter/>
                  </a:ln>
                </p:spPr>
                <p:txBody>
                  <a:bodyPr rtlCol="0" anchor="ctr"/>
                  <a:lstStyle/>
                  <a:p>
                    <a:endParaRPr lang="en-US" sz="2400"/>
                  </a:p>
                </p:txBody>
              </p:sp>
              <p:sp>
                <p:nvSpPr>
                  <p:cNvPr id="223" name="Freeform: Shape 222">
                    <a:extLst>
                      <a:ext uri="{FF2B5EF4-FFF2-40B4-BE49-F238E27FC236}">
                        <a16:creationId xmlns:a16="http://schemas.microsoft.com/office/drawing/2014/main" id="{41EDDA1B-D83D-C5BD-12C9-CE720754D3CA}"/>
                      </a:ext>
                    </a:extLst>
                  </p:cNvPr>
                  <p:cNvSpPr/>
                  <p:nvPr userDrawn="1"/>
                </p:nvSpPr>
                <p:spPr>
                  <a:xfrm>
                    <a:off x="8206886" y="435784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DEFF3"/>
                  </a:solidFill>
                  <a:ln w="2339" cap="flat">
                    <a:noFill/>
                    <a:prstDash val="solid"/>
                    <a:miter/>
                  </a:ln>
                </p:spPr>
                <p:txBody>
                  <a:bodyPr rtlCol="0" anchor="ctr"/>
                  <a:lstStyle/>
                  <a:p>
                    <a:endParaRPr lang="en-US" sz="2400"/>
                  </a:p>
                </p:txBody>
              </p:sp>
              <p:sp>
                <p:nvSpPr>
                  <p:cNvPr id="224" name="Freeform: Shape 223">
                    <a:extLst>
                      <a:ext uri="{FF2B5EF4-FFF2-40B4-BE49-F238E27FC236}">
                        <a16:creationId xmlns:a16="http://schemas.microsoft.com/office/drawing/2014/main" id="{28AA38E2-87DD-66CB-ED8F-2E462E1050C6}"/>
                      </a:ext>
                    </a:extLst>
                  </p:cNvPr>
                  <p:cNvSpPr/>
                  <p:nvPr userDrawn="1"/>
                </p:nvSpPr>
                <p:spPr>
                  <a:xfrm>
                    <a:off x="8206511" y="435741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DEFF3"/>
                  </a:solidFill>
                  <a:ln w="2339" cap="flat">
                    <a:noFill/>
                    <a:prstDash val="solid"/>
                    <a:miter/>
                  </a:ln>
                </p:spPr>
                <p:txBody>
                  <a:bodyPr rtlCol="0" anchor="ctr"/>
                  <a:lstStyle/>
                  <a:p>
                    <a:endParaRPr lang="en-US" sz="2400"/>
                  </a:p>
                </p:txBody>
              </p:sp>
              <p:sp>
                <p:nvSpPr>
                  <p:cNvPr id="225" name="Freeform: Shape 224">
                    <a:extLst>
                      <a:ext uri="{FF2B5EF4-FFF2-40B4-BE49-F238E27FC236}">
                        <a16:creationId xmlns:a16="http://schemas.microsoft.com/office/drawing/2014/main" id="{9A83A45A-2B1C-9250-7E46-47F5233691EB}"/>
                      </a:ext>
                    </a:extLst>
                  </p:cNvPr>
                  <p:cNvSpPr/>
                  <p:nvPr userDrawn="1"/>
                </p:nvSpPr>
                <p:spPr>
                  <a:xfrm>
                    <a:off x="8206160" y="435699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EEFF4"/>
                  </a:solidFill>
                  <a:ln w="2339" cap="flat">
                    <a:noFill/>
                    <a:prstDash val="solid"/>
                    <a:miter/>
                  </a:ln>
                </p:spPr>
                <p:txBody>
                  <a:bodyPr rtlCol="0" anchor="ctr"/>
                  <a:lstStyle/>
                  <a:p>
                    <a:endParaRPr lang="en-US" sz="2400"/>
                  </a:p>
                </p:txBody>
              </p:sp>
              <p:sp>
                <p:nvSpPr>
                  <p:cNvPr id="226" name="Freeform: Shape 225">
                    <a:extLst>
                      <a:ext uri="{FF2B5EF4-FFF2-40B4-BE49-F238E27FC236}">
                        <a16:creationId xmlns:a16="http://schemas.microsoft.com/office/drawing/2014/main" id="{14FB0618-7593-9A71-0A49-4F211D42A201}"/>
                      </a:ext>
                    </a:extLst>
                  </p:cNvPr>
                  <p:cNvSpPr/>
                  <p:nvPr userDrawn="1"/>
                </p:nvSpPr>
                <p:spPr>
                  <a:xfrm>
                    <a:off x="8205809" y="435657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EEFF4"/>
                  </a:solidFill>
                  <a:ln w="2339" cap="flat">
                    <a:noFill/>
                    <a:prstDash val="solid"/>
                    <a:miter/>
                  </a:ln>
                </p:spPr>
                <p:txBody>
                  <a:bodyPr rtlCol="0" anchor="ctr"/>
                  <a:lstStyle/>
                  <a:p>
                    <a:endParaRPr lang="en-US" sz="2400"/>
                  </a:p>
                </p:txBody>
              </p:sp>
              <p:sp>
                <p:nvSpPr>
                  <p:cNvPr id="227" name="Freeform: Shape 226">
                    <a:extLst>
                      <a:ext uri="{FF2B5EF4-FFF2-40B4-BE49-F238E27FC236}">
                        <a16:creationId xmlns:a16="http://schemas.microsoft.com/office/drawing/2014/main" id="{807BDEA3-19FD-2D27-F0E0-3C4586788802}"/>
                      </a:ext>
                    </a:extLst>
                  </p:cNvPr>
                  <p:cNvSpPr/>
                  <p:nvPr userDrawn="1"/>
                </p:nvSpPr>
                <p:spPr>
                  <a:xfrm>
                    <a:off x="8205458" y="435617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EF0F4"/>
                  </a:solidFill>
                  <a:ln w="2339" cap="flat">
                    <a:noFill/>
                    <a:prstDash val="solid"/>
                    <a:miter/>
                  </a:ln>
                </p:spPr>
                <p:txBody>
                  <a:bodyPr rtlCol="0" anchor="ctr"/>
                  <a:lstStyle/>
                  <a:p>
                    <a:endParaRPr lang="en-US" sz="2400"/>
                  </a:p>
                </p:txBody>
              </p:sp>
              <p:sp>
                <p:nvSpPr>
                  <p:cNvPr id="228" name="Freeform: Shape 227">
                    <a:extLst>
                      <a:ext uri="{FF2B5EF4-FFF2-40B4-BE49-F238E27FC236}">
                        <a16:creationId xmlns:a16="http://schemas.microsoft.com/office/drawing/2014/main" id="{C85191A9-829C-4957-0426-7615ADD28D1E}"/>
                      </a:ext>
                    </a:extLst>
                  </p:cNvPr>
                  <p:cNvSpPr/>
                  <p:nvPr userDrawn="1"/>
                </p:nvSpPr>
                <p:spPr>
                  <a:xfrm>
                    <a:off x="8205131" y="435575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EEF0F4"/>
                  </a:solidFill>
                  <a:ln w="2339" cap="flat">
                    <a:noFill/>
                    <a:prstDash val="solid"/>
                    <a:miter/>
                  </a:ln>
                </p:spPr>
                <p:txBody>
                  <a:bodyPr rtlCol="0" anchor="ctr"/>
                  <a:lstStyle/>
                  <a:p>
                    <a:endParaRPr lang="en-US" sz="2400"/>
                  </a:p>
                </p:txBody>
              </p:sp>
              <p:sp>
                <p:nvSpPr>
                  <p:cNvPr id="229" name="Freeform: Shape 228">
                    <a:extLst>
                      <a:ext uri="{FF2B5EF4-FFF2-40B4-BE49-F238E27FC236}">
                        <a16:creationId xmlns:a16="http://schemas.microsoft.com/office/drawing/2014/main" id="{11D8A396-7953-702A-C43F-3A90C8185F61}"/>
                      </a:ext>
                    </a:extLst>
                  </p:cNvPr>
                  <p:cNvSpPr/>
                  <p:nvPr userDrawn="1"/>
                </p:nvSpPr>
                <p:spPr>
                  <a:xfrm>
                    <a:off x="8204803" y="435533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EFF0F4"/>
                  </a:solidFill>
                  <a:ln w="2339" cap="flat">
                    <a:noFill/>
                    <a:prstDash val="solid"/>
                    <a:miter/>
                  </a:ln>
                </p:spPr>
                <p:txBody>
                  <a:bodyPr rtlCol="0" anchor="ctr"/>
                  <a:lstStyle/>
                  <a:p>
                    <a:endParaRPr lang="en-US" sz="2400"/>
                  </a:p>
                </p:txBody>
              </p:sp>
              <p:sp>
                <p:nvSpPr>
                  <p:cNvPr id="230" name="Freeform: Shape 229">
                    <a:extLst>
                      <a:ext uri="{FF2B5EF4-FFF2-40B4-BE49-F238E27FC236}">
                        <a16:creationId xmlns:a16="http://schemas.microsoft.com/office/drawing/2014/main" id="{B4740FEA-873F-1EB3-BA15-5A09995D7192}"/>
                      </a:ext>
                    </a:extLst>
                  </p:cNvPr>
                  <p:cNvSpPr/>
                  <p:nvPr userDrawn="1"/>
                </p:nvSpPr>
                <p:spPr>
                  <a:xfrm>
                    <a:off x="8204476" y="435491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EFF1F5"/>
                  </a:solidFill>
                  <a:ln w="2339" cap="flat">
                    <a:noFill/>
                    <a:prstDash val="solid"/>
                    <a:miter/>
                  </a:ln>
                </p:spPr>
                <p:txBody>
                  <a:bodyPr rtlCol="0" anchor="ctr"/>
                  <a:lstStyle/>
                  <a:p>
                    <a:endParaRPr lang="en-US" sz="2400"/>
                  </a:p>
                </p:txBody>
              </p:sp>
              <p:sp>
                <p:nvSpPr>
                  <p:cNvPr id="231" name="Freeform: Shape 230">
                    <a:extLst>
                      <a:ext uri="{FF2B5EF4-FFF2-40B4-BE49-F238E27FC236}">
                        <a16:creationId xmlns:a16="http://schemas.microsoft.com/office/drawing/2014/main" id="{E952A3B0-207D-DDA7-CC7F-44387D54912D}"/>
                      </a:ext>
                    </a:extLst>
                  </p:cNvPr>
                  <p:cNvSpPr/>
                  <p:nvPr userDrawn="1"/>
                </p:nvSpPr>
                <p:spPr>
                  <a:xfrm>
                    <a:off x="8204148" y="435449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FF1F5"/>
                  </a:solidFill>
                  <a:ln w="2339" cap="flat">
                    <a:noFill/>
                    <a:prstDash val="solid"/>
                    <a:miter/>
                  </a:ln>
                </p:spPr>
                <p:txBody>
                  <a:bodyPr rtlCol="0" anchor="ctr"/>
                  <a:lstStyle/>
                  <a:p>
                    <a:endParaRPr lang="en-US" sz="2400"/>
                  </a:p>
                </p:txBody>
              </p:sp>
              <p:sp>
                <p:nvSpPr>
                  <p:cNvPr id="232" name="Freeform: Shape 231">
                    <a:extLst>
                      <a:ext uri="{FF2B5EF4-FFF2-40B4-BE49-F238E27FC236}">
                        <a16:creationId xmlns:a16="http://schemas.microsoft.com/office/drawing/2014/main" id="{9642865E-2FB1-DBF8-1A13-A8D344B94458}"/>
                      </a:ext>
                    </a:extLst>
                  </p:cNvPr>
                  <p:cNvSpPr/>
                  <p:nvPr userDrawn="1"/>
                </p:nvSpPr>
                <p:spPr>
                  <a:xfrm>
                    <a:off x="8203820" y="435407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F0F1F5"/>
                  </a:solidFill>
                  <a:ln w="2339" cap="flat">
                    <a:noFill/>
                    <a:prstDash val="solid"/>
                    <a:miter/>
                  </a:ln>
                </p:spPr>
                <p:txBody>
                  <a:bodyPr rtlCol="0" anchor="ctr"/>
                  <a:lstStyle/>
                  <a:p>
                    <a:endParaRPr lang="en-US" sz="2400"/>
                  </a:p>
                </p:txBody>
              </p:sp>
              <p:sp>
                <p:nvSpPr>
                  <p:cNvPr id="233" name="Freeform: Shape 232">
                    <a:extLst>
                      <a:ext uri="{FF2B5EF4-FFF2-40B4-BE49-F238E27FC236}">
                        <a16:creationId xmlns:a16="http://schemas.microsoft.com/office/drawing/2014/main" id="{54F61961-47E0-908B-A234-E4872D5E3DA7}"/>
                      </a:ext>
                    </a:extLst>
                  </p:cNvPr>
                  <p:cNvSpPr/>
                  <p:nvPr userDrawn="1"/>
                </p:nvSpPr>
                <p:spPr>
                  <a:xfrm>
                    <a:off x="8203516" y="435365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F0F1F5"/>
                  </a:solidFill>
                  <a:ln w="2339" cap="flat">
                    <a:noFill/>
                    <a:prstDash val="solid"/>
                    <a:miter/>
                  </a:ln>
                </p:spPr>
                <p:txBody>
                  <a:bodyPr rtlCol="0" anchor="ctr"/>
                  <a:lstStyle/>
                  <a:p>
                    <a:endParaRPr lang="en-US" sz="2400"/>
                  </a:p>
                </p:txBody>
              </p:sp>
              <p:sp>
                <p:nvSpPr>
                  <p:cNvPr id="234" name="Freeform: Shape 233">
                    <a:extLst>
                      <a:ext uri="{FF2B5EF4-FFF2-40B4-BE49-F238E27FC236}">
                        <a16:creationId xmlns:a16="http://schemas.microsoft.com/office/drawing/2014/main" id="{AAA1C27A-859E-792F-D2FD-29D3DA0BCFDE}"/>
                      </a:ext>
                    </a:extLst>
                  </p:cNvPr>
                  <p:cNvSpPr/>
                  <p:nvPr userDrawn="1"/>
                </p:nvSpPr>
                <p:spPr>
                  <a:xfrm>
                    <a:off x="8203212" y="435323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F0F2F5"/>
                  </a:solidFill>
                  <a:ln w="2339" cap="flat">
                    <a:noFill/>
                    <a:prstDash val="solid"/>
                    <a:miter/>
                  </a:ln>
                </p:spPr>
                <p:txBody>
                  <a:bodyPr rtlCol="0" anchor="ctr"/>
                  <a:lstStyle/>
                  <a:p>
                    <a:endParaRPr lang="en-US" sz="2400"/>
                  </a:p>
                </p:txBody>
              </p:sp>
              <p:sp>
                <p:nvSpPr>
                  <p:cNvPr id="235" name="Freeform: Shape 234">
                    <a:extLst>
                      <a:ext uri="{FF2B5EF4-FFF2-40B4-BE49-F238E27FC236}">
                        <a16:creationId xmlns:a16="http://schemas.microsoft.com/office/drawing/2014/main" id="{3A86E0FA-7EF6-1454-9478-7622E69F6B45}"/>
                      </a:ext>
                    </a:extLst>
                  </p:cNvPr>
                  <p:cNvSpPr/>
                  <p:nvPr userDrawn="1"/>
                </p:nvSpPr>
                <p:spPr>
                  <a:xfrm>
                    <a:off x="8202908" y="435280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F1F2F6"/>
                  </a:solidFill>
                  <a:ln w="2339" cap="flat">
                    <a:noFill/>
                    <a:prstDash val="solid"/>
                    <a:miter/>
                  </a:ln>
                </p:spPr>
                <p:txBody>
                  <a:bodyPr rtlCol="0" anchor="ctr"/>
                  <a:lstStyle/>
                  <a:p>
                    <a:endParaRPr lang="en-US" sz="2400"/>
                  </a:p>
                </p:txBody>
              </p:sp>
              <p:sp>
                <p:nvSpPr>
                  <p:cNvPr id="236" name="Freeform: Shape 235">
                    <a:extLst>
                      <a:ext uri="{FF2B5EF4-FFF2-40B4-BE49-F238E27FC236}">
                        <a16:creationId xmlns:a16="http://schemas.microsoft.com/office/drawing/2014/main" id="{6DB267B9-79BA-4E72-205A-EA0D4414F342}"/>
                      </a:ext>
                    </a:extLst>
                  </p:cNvPr>
                  <p:cNvSpPr/>
                  <p:nvPr userDrawn="1"/>
                </p:nvSpPr>
                <p:spPr>
                  <a:xfrm>
                    <a:off x="8202604" y="435238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F1F2F6"/>
                  </a:solidFill>
                  <a:ln w="2339" cap="flat">
                    <a:noFill/>
                    <a:prstDash val="solid"/>
                    <a:miter/>
                  </a:ln>
                </p:spPr>
                <p:txBody>
                  <a:bodyPr rtlCol="0" anchor="ctr"/>
                  <a:lstStyle/>
                  <a:p>
                    <a:endParaRPr lang="en-US" sz="2400"/>
                  </a:p>
                </p:txBody>
              </p:sp>
              <p:sp>
                <p:nvSpPr>
                  <p:cNvPr id="237" name="Freeform: Shape 236">
                    <a:extLst>
                      <a:ext uri="{FF2B5EF4-FFF2-40B4-BE49-F238E27FC236}">
                        <a16:creationId xmlns:a16="http://schemas.microsoft.com/office/drawing/2014/main" id="{4B1826F7-5DD8-5DDD-2BC1-2DCD690567C3}"/>
                      </a:ext>
                    </a:extLst>
                  </p:cNvPr>
                  <p:cNvSpPr/>
                  <p:nvPr userDrawn="1"/>
                </p:nvSpPr>
                <p:spPr>
                  <a:xfrm>
                    <a:off x="8202323" y="435196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F1F2F6"/>
                  </a:solidFill>
                  <a:ln w="2339" cap="flat">
                    <a:noFill/>
                    <a:prstDash val="solid"/>
                    <a:miter/>
                  </a:ln>
                </p:spPr>
                <p:txBody>
                  <a:bodyPr rtlCol="0" anchor="ctr"/>
                  <a:lstStyle/>
                  <a:p>
                    <a:endParaRPr lang="en-US" sz="2400"/>
                  </a:p>
                </p:txBody>
              </p:sp>
              <p:sp>
                <p:nvSpPr>
                  <p:cNvPr id="238" name="Freeform: Shape 237">
                    <a:extLst>
                      <a:ext uri="{FF2B5EF4-FFF2-40B4-BE49-F238E27FC236}">
                        <a16:creationId xmlns:a16="http://schemas.microsoft.com/office/drawing/2014/main" id="{010EE647-FE59-3BAF-C5B4-15DA25357DE5}"/>
                      </a:ext>
                    </a:extLst>
                  </p:cNvPr>
                  <p:cNvSpPr/>
                  <p:nvPr userDrawn="1"/>
                </p:nvSpPr>
                <p:spPr>
                  <a:xfrm>
                    <a:off x="8202042" y="435154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F2F3F6"/>
                  </a:solidFill>
                  <a:ln w="2339" cap="flat">
                    <a:noFill/>
                    <a:prstDash val="solid"/>
                    <a:miter/>
                  </a:ln>
                </p:spPr>
                <p:txBody>
                  <a:bodyPr rtlCol="0" anchor="ctr"/>
                  <a:lstStyle/>
                  <a:p>
                    <a:endParaRPr lang="en-US" sz="2400"/>
                  </a:p>
                </p:txBody>
              </p:sp>
              <p:sp>
                <p:nvSpPr>
                  <p:cNvPr id="239" name="Freeform: Shape 238">
                    <a:extLst>
                      <a:ext uri="{FF2B5EF4-FFF2-40B4-BE49-F238E27FC236}">
                        <a16:creationId xmlns:a16="http://schemas.microsoft.com/office/drawing/2014/main" id="{2631769D-5AE2-54DC-E855-94107678B1C2}"/>
                      </a:ext>
                    </a:extLst>
                  </p:cNvPr>
                  <p:cNvSpPr/>
                  <p:nvPr userDrawn="1"/>
                </p:nvSpPr>
                <p:spPr>
                  <a:xfrm>
                    <a:off x="8201761" y="435112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F2F3F6"/>
                  </a:solidFill>
                  <a:ln w="2339" cap="flat">
                    <a:noFill/>
                    <a:prstDash val="solid"/>
                    <a:miter/>
                  </a:ln>
                </p:spPr>
                <p:txBody>
                  <a:bodyPr rtlCol="0" anchor="ctr"/>
                  <a:lstStyle/>
                  <a:p>
                    <a:endParaRPr lang="en-US" sz="2400"/>
                  </a:p>
                </p:txBody>
              </p:sp>
              <p:sp>
                <p:nvSpPr>
                  <p:cNvPr id="240" name="Freeform: Shape 239">
                    <a:extLst>
                      <a:ext uri="{FF2B5EF4-FFF2-40B4-BE49-F238E27FC236}">
                        <a16:creationId xmlns:a16="http://schemas.microsoft.com/office/drawing/2014/main" id="{77788780-55EE-3E26-821B-05DBFC7B4A72}"/>
                      </a:ext>
                    </a:extLst>
                  </p:cNvPr>
                  <p:cNvSpPr/>
                  <p:nvPr userDrawn="1"/>
                </p:nvSpPr>
                <p:spPr>
                  <a:xfrm>
                    <a:off x="8201480" y="435070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F2F3F7"/>
                  </a:solidFill>
                  <a:ln w="2339" cap="flat">
                    <a:noFill/>
                    <a:prstDash val="solid"/>
                    <a:miter/>
                  </a:ln>
                </p:spPr>
                <p:txBody>
                  <a:bodyPr rtlCol="0" anchor="ctr"/>
                  <a:lstStyle/>
                  <a:p>
                    <a:endParaRPr lang="en-US" sz="2400"/>
                  </a:p>
                </p:txBody>
              </p:sp>
              <p:sp>
                <p:nvSpPr>
                  <p:cNvPr id="241" name="Freeform: Shape 240">
                    <a:extLst>
                      <a:ext uri="{FF2B5EF4-FFF2-40B4-BE49-F238E27FC236}">
                        <a16:creationId xmlns:a16="http://schemas.microsoft.com/office/drawing/2014/main" id="{0AED1328-53C2-67D3-D288-45C63E07903A}"/>
                      </a:ext>
                    </a:extLst>
                  </p:cNvPr>
                  <p:cNvSpPr/>
                  <p:nvPr userDrawn="1"/>
                </p:nvSpPr>
                <p:spPr>
                  <a:xfrm>
                    <a:off x="8201223" y="435028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F2F4F7"/>
                  </a:solidFill>
                  <a:ln w="2339" cap="flat">
                    <a:noFill/>
                    <a:prstDash val="solid"/>
                    <a:miter/>
                  </a:ln>
                </p:spPr>
                <p:txBody>
                  <a:bodyPr rtlCol="0" anchor="ctr"/>
                  <a:lstStyle/>
                  <a:p>
                    <a:endParaRPr lang="en-US" sz="2400"/>
                  </a:p>
                </p:txBody>
              </p:sp>
              <p:sp>
                <p:nvSpPr>
                  <p:cNvPr id="242" name="Freeform: Shape 241">
                    <a:extLst>
                      <a:ext uri="{FF2B5EF4-FFF2-40B4-BE49-F238E27FC236}">
                        <a16:creationId xmlns:a16="http://schemas.microsoft.com/office/drawing/2014/main" id="{1DAEF082-46B4-AE1B-199E-1D600E4EF175}"/>
                      </a:ext>
                    </a:extLst>
                  </p:cNvPr>
                  <p:cNvSpPr/>
                  <p:nvPr userDrawn="1"/>
                </p:nvSpPr>
                <p:spPr>
                  <a:xfrm>
                    <a:off x="8200966" y="4349860"/>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3F4F7"/>
                  </a:solidFill>
                  <a:ln w="2339" cap="flat">
                    <a:noFill/>
                    <a:prstDash val="solid"/>
                    <a:miter/>
                  </a:ln>
                </p:spPr>
                <p:txBody>
                  <a:bodyPr rtlCol="0" anchor="ctr"/>
                  <a:lstStyle/>
                  <a:p>
                    <a:endParaRPr lang="en-US" sz="2400"/>
                  </a:p>
                </p:txBody>
              </p:sp>
              <p:sp>
                <p:nvSpPr>
                  <p:cNvPr id="243" name="Freeform: Shape 242">
                    <a:extLst>
                      <a:ext uri="{FF2B5EF4-FFF2-40B4-BE49-F238E27FC236}">
                        <a16:creationId xmlns:a16="http://schemas.microsoft.com/office/drawing/2014/main" id="{1EC83FBE-9C47-DB1F-23F5-5EABC4399715}"/>
                      </a:ext>
                    </a:extLst>
                  </p:cNvPr>
                  <p:cNvSpPr/>
                  <p:nvPr userDrawn="1"/>
                </p:nvSpPr>
                <p:spPr>
                  <a:xfrm>
                    <a:off x="8200708" y="4349439"/>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3F4F7"/>
                  </a:solidFill>
                  <a:ln w="2339" cap="flat">
                    <a:noFill/>
                    <a:prstDash val="solid"/>
                    <a:miter/>
                  </a:ln>
                </p:spPr>
                <p:txBody>
                  <a:bodyPr rtlCol="0" anchor="ctr"/>
                  <a:lstStyle/>
                  <a:p>
                    <a:endParaRPr lang="en-US" sz="2400"/>
                  </a:p>
                </p:txBody>
              </p:sp>
              <p:sp>
                <p:nvSpPr>
                  <p:cNvPr id="244" name="Freeform: Shape 243">
                    <a:extLst>
                      <a:ext uri="{FF2B5EF4-FFF2-40B4-BE49-F238E27FC236}">
                        <a16:creationId xmlns:a16="http://schemas.microsoft.com/office/drawing/2014/main" id="{CB0E754A-4C7A-FDFC-B37D-0D6B59C3A6E3}"/>
                      </a:ext>
                    </a:extLst>
                  </p:cNvPr>
                  <p:cNvSpPr/>
                  <p:nvPr userDrawn="1"/>
                </p:nvSpPr>
                <p:spPr>
                  <a:xfrm>
                    <a:off x="8200474" y="4349018"/>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3F4F7"/>
                  </a:solidFill>
                  <a:ln w="2339" cap="flat">
                    <a:noFill/>
                    <a:prstDash val="solid"/>
                    <a:miter/>
                  </a:ln>
                </p:spPr>
                <p:txBody>
                  <a:bodyPr rtlCol="0" anchor="ctr"/>
                  <a:lstStyle/>
                  <a:p>
                    <a:endParaRPr lang="en-US" sz="2400"/>
                  </a:p>
                </p:txBody>
              </p:sp>
              <p:sp>
                <p:nvSpPr>
                  <p:cNvPr id="245" name="Freeform: Shape 244">
                    <a:extLst>
                      <a:ext uri="{FF2B5EF4-FFF2-40B4-BE49-F238E27FC236}">
                        <a16:creationId xmlns:a16="http://schemas.microsoft.com/office/drawing/2014/main" id="{BD81FC2F-043D-DC83-1360-9687EE87C326}"/>
                      </a:ext>
                    </a:extLst>
                  </p:cNvPr>
                  <p:cNvSpPr/>
                  <p:nvPr userDrawn="1"/>
                </p:nvSpPr>
                <p:spPr>
                  <a:xfrm>
                    <a:off x="8200217" y="4348597"/>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4F5F8"/>
                  </a:solidFill>
                  <a:ln w="2339" cap="flat">
                    <a:noFill/>
                    <a:prstDash val="solid"/>
                    <a:miter/>
                  </a:ln>
                </p:spPr>
                <p:txBody>
                  <a:bodyPr rtlCol="0" anchor="ctr"/>
                  <a:lstStyle/>
                  <a:p>
                    <a:endParaRPr lang="en-US" sz="2400"/>
                  </a:p>
                </p:txBody>
              </p:sp>
              <p:sp>
                <p:nvSpPr>
                  <p:cNvPr id="246" name="Freeform: Shape 245">
                    <a:extLst>
                      <a:ext uri="{FF2B5EF4-FFF2-40B4-BE49-F238E27FC236}">
                        <a16:creationId xmlns:a16="http://schemas.microsoft.com/office/drawing/2014/main" id="{CCD4F35B-2C25-024F-6B9B-E8E315A45AD7}"/>
                      </a:ext>
                    </a:extLst>
                  </p:cNvPr>
                  <p:cNvSpPr/>
                  <p:nvPr userDrawn="1"/>
                </p:nvSpPr>
                <p:spPr>
                  <a:xfrm>
                    <a:off x="8199983" y="4348175"/>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4F5F8"/>
                  </a:solidFill>
                  <a:ln w="2339" cap="flat">
                    <a:noFill/>
                    <a:prstDash val="solid"/>
                    <a:miter/>
                  </a:ln>
                </p:spPr>
                <p:txBody>
                  <a:bodyPr rtlCol="0" anchor="ctr"/>
                  <a:lstStyle/>
                  <a:p>
                    <a:endParaRPr lang="en-US" sz="2400"/>
                  </a:p>
                </p:txBody>
              </p:sp>
              <p:sp>
                <p:nvSpPr>
                  <p:cNvPr id="247" name="Freeform: Shape 246">
                    <a:extLst>
                      <a:ext uri="{FF2B5EF4-FFF2-40B4-BE49-F238E27FC236}">
                        <a16:creationId xmlns:a16="http://schemas.microsoft.com/office/drawing/2014/main" id="{B968BCFA-437E-D4CD-CF5C-FDD73F023781}"/>
                      </a:ext>
                    </a:extLst>
                  </p:cNvPr>
                  <p:cNvSpPr/>
                  <p:nvPr userDrawn="1"/>
                </p:nvSpPr>
                <p:spPr>
                  <a:xfrm>
                    <a:off x="8199749" y="4347754"/>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4F5F8"/>
                  </a:solidFill>
                  <a:ln w="2339" cap="flat">
                    <a:noFill/>
                    <a:prstDash val="solid"/>
                    <a:miter/>
                  </a:ln>
                </p:spPr>
                <p:txBody>
                  <a:bodyPr rtlCol="0" anchor="ctr"/>
                  <a:lstStyle/>
                  <a:p>
                    <a:endParaRPr lang="en-US" sz="2400"/>
                  </a:p>
                </p:txBody>
              </p:sp>
              <p:sp>
                <p:nvSpPr>
                  <p:cNvPr id="248" name="Freeform: Shape 247">
                    <a:extLst>
                      <a:ext uri="{FF2B5EF4-FFF2-40B4-BE49-F238E27FC236}">
                        <a16:creationId xmlns:a16="http://schemas.microsoft.com/office/drawing/2014/main" id="{805978F9-417A-E28D-DAD3-C5EADA76697A}"/>
                      </a:ext>
                    </a:extLst>
                  </p:cNvPr>
                  <p:cNvSpPr/>
                  <p:nvPr userDrawn="1"/>
                </p:nvSpPr>
                <p:spPr>
                  <a:xfrm>
                    <a:off x="8199515" y="4347356"/>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5F6F8"/>
                  </a:solidFill>
                  <a:ln w="2339" cap="flat">
                    <a:noFill/>
                    <a:prstDash val="solid"/>
                    <a:miter/>
                  </a:ln>
                </p:spPr>
                <p:txBody>
                  <a:bodyPr rtlCol="0" anchor="ctr"/>
                  <a:lstStyle/>
                  <a:p>
                    <a:endParaRPr lang="en-US" sz="2400"/>
                  </a:p>
                </p:txBody>
              </p:sp>
              <p:sp>
                <p:nvSpPr>
                  <p:cNvPr id="249" name="Freeform: Shape 248">
                    <a:extLst>
                      <a:ext uri="{FF2B5EF4-FFF2-40B4-BE49-F238E27FC236}">
                        <a16:creationId xmlns:a16="http://schemas.microsoft.com/office/drawing/2014/main" id="{DF054F90-9004-F945-286A-FD126AE367AA}"/>
                      </a:ext>
                    </a:extLst>
                  </p:cNvPr>
                  <p:cNvSpPr/>
                  <p:nvPr userDrawn="1"/>
                </p:nvSpPr>
                <p:spPr>
                  <a:xfrm>
                    <a:off x="8199281" y="4346935"/>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74"/>
                          <a:pt x="42074" y="32667"/>
                          <a:pt x="42074" y="21037"/>
                        </a:cubicBezTo>
                        <a:close/>
                      </a:path>
                    </a:pathLst>
                  </a:custGeom>
                  <a:solidFill>
                    <a:srgbClr val="F5F6F8"/>
                  </a:solidFill>
                  <a:ln w="2339" cap="flat">
                    <a:noFill/>
                    <a:prstDash val="solid"/>
                    <a:miter/>
                  </a:ln>
                </p:spPr>
                <p:txBody>
                  <a:bodyPr rtlCol="0" anchor="ctr"/>
                  <a:lstStyle/>
                  <a:p>
                    <a:endParaRPr lang="en-US" sz="2400"/>
                  </a:p>
                </p:txBody>
              </p:sp>
              <p:sp>
                <p:nvSpPr>
                  <p:cNvPr id="250" name="Freeform: Shape 249">
                    <a:extLst>
                      <a:ext uri="{FF2B5EF4-FFF2-40B4-BE49-F238E27FC236}">
                        <a16:creationId xmlns:a16="http://schemas.microsoft.com/office/drawing/2014/main" id="{1143852B-E3EB-E1D4-4C15-D4195AB6B301}"/>
                      </a:ext>
                    </a:extLst>
                  </p:cNvPr>
                  <p:cNvSpPr/>
                  <p:nvPr userDrawn="1"/>
                </p:nvSpPr>
                <p:spPr>
                  <a:xfrm>
                    <a:off x="8199070" y="4346514"/>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5F6F9"/>
                  </a:solidFill>
                  <a:ln w="2339" cap="flat">
                    <a:noFill/>
                    <a:prstDash val="solid"/>
                    <a:miter/>
                  </a:ln>
                </p:spPr>
                <p:txBody>
                  <a:bodyPr rtlCol="0" anchor="ctr"/>
                  <a:lstStyle/>
                  <a:p>
                    <a:endParaRPr lang="en-US" sz="2400"/>
                  </a:p>
                </p:txBody>
              </p:sp>
              <p:sp>
                <p:nvSpPr>
                  <p:cNvPr id="251" name="Freeform: Shape 250">
                    <a:extLst>
                      <a:ext uri="{FF2B5EF4-FFF2-40B4-BE49-F238E27FC236}">
                        <a16:creationId xmlns:a16="http://schemas.microsoft.com/office/drawing/2014/main" id="{33B04E21-B2D9-7DCF-B37D-2C5AD78F1C24}"/>
                      </a:ext>
                    </a:extLst>
                  </p:cNvPr>
                  <p:cNvSpPr/>
                  <p:nvPr userDrawn="1"/>
                </p:nvSpPr>
                <p:spPr>
                  <a:xfrm>
                    <a:off x="8198860" y="4346093"/>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6F6F9"/>
                  </a:solidFill>
                  <a:ln w="2339" cap="flat">
                    <a:noFill/>
                    <a:prstDash val="solid"/>
                    <a:miter/>
                  </a:ln>
                </p:spPr>
                <p:txBody>
                  <a:bodyPr rtlCol="0" anchor="ctr"/>
                  <a:lstStyle/>
                  <a:p>
                    <a:endParaRPr lang="en-US" sz="2400"/>
                  </a:p>
                </p:txBody>
              </p:sp>
              <p:sp>
                <p:nvSpPr>
                  <p:cNvPr id="252" name="Freeform: Shape 251">
                    <a:extLst>
                      <a:ext uri="{FF2B5EF4-FFF2-40B4-BE49-F238E27FC236}">
                        <a16:creationId xmlns:a16="http://schemas.microsoft.com/office/drawing/2014/main" id="{02EA62B5-52EA-20D1-6DA1-809524EE9A41}"/>
                      </a:ext>
                    </a:extLst>
                  </p:cNvPr>
                  <p:cNvSpPr/>
                  <p:nvPr userDrawn="1"/>
                </p:nvSpPr>
                <p:spPr>
                  <a:xfrm>
                    <a:off x="8198649" y="4345671"/>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6F7F9"/>
                  </a:solidFill>
                  <a:ln w="2339" cap="flat">
                    <a:noFill/>
                    <a:prstDash val="solid"/>
                    <a:miter/>
                  </a:ln>
                </p:spPr>
                <p:txBody>
                  <a:bodyPr rtlCol="0" anchor="ctr"/>
                  <a:lstStyle/>
                  <a:p>
                    <a:endParaRPr lang="en-US" sz="2400"/>
                  </a:p>
                </p:txBody>
              </p:sp>
              <p:sp>
                <p:nvSpPr>
                  <p:cNvPr id="253" name="Freeform: Shape 252">
                    <a:extLst>
                      <a:ext uri="{FF2B5EF4-FFF2-40B4-BE49-F238E27FC236}">
                        <a16:creationId xmlns:a16="http://schemas.microsoft.com/office/drawing/2014/main" id="{C1674430-4CF7-6AA0-AB65-7B3AB942FD23}"/>
                      </a:ext>
                    </a:extLst>
                  </p:cNvPr>
                  <p:cNvSpPr/>
                  <p:nvPr userDrawn="1"/>
                </p:nvSpPr>
                <p:spPr>
                  <a:xfrm>
                    <a:off x="8198438" y="4345250"/>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6F7F9"/>
                  </a:solidFill>
                  <a:ln w="2339" cap="flat">
                    <a:noFill/>
                    <a:prstDash val="solid"/>
                    <a:miter/>
                  </a:ln>
                </p:spPr>
                <p:txBody>
                  <a:bodyPr rtlCol="0" anchor="ctr"/>
                  <a:lstStyle/>
                  <a:p>
                    <a:endParaRPr lang="en-US" sz="2400"/>
                  </a:p>
                </p:txBody>
              </p:sp>
              <p:sp>
                <p:nvSpPr>
                  <p:cNvPr id="254" name="Freeform: Shape 253">
                    <a:extLst>
                      <a:ext uri="{FF2B5EF4-FFF2-40B4-BE49-F238E27FC236}">
                        <a16:creationId xmlns:a16="http://schemas.microsoft.com/office/drawing/2014/main" id="{EFE846FB-C562-0B02-3187-A7EA8B2944C5}"/>
                      </a:ext>
                    </a:extLst>
                  </p:cNvPr>
                  <p:cNvSpPr/>
                  <p:nvPr userDrawn="1"/>
                </p:nvSpPr>
                <p:spPr>
                  <a:xfrm>
                    <a:off x="8198251" y="4344829"/>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6F7F9"/>
                  </a:solidFill>
                  <a:ln w="2339" cap="flat">
                    <a:noFill/>
                    <a:prstDash val="solid"/>
                    <a:miter/>
                  </a:ln>
                </p:spPr>
                <p:txBody>
                  <a:bodyPr rtlCol="0" anchor="ctr"/>
                  <a:lstStyle/>
                  <a:p>
                    <a:endParaRPr lang="en-US" sz="2400"/>
                  </a:p>
                </p:txBody>
              </p:sp>
              <p:sp>
                <p:nvSpPr>
                  <p:cNvPr id="255" name="Freeform: Shape 254">
                    <a:extLst>
                      <a:ext uri="{FF2B5EF4-FFF2-40B4-BE49-F238E27FC236}">
                        <a16:creationId xmlns:a16="http://schemas.microsoft.com/office/drawing/2014/main" id="{05D606C2-8759-B074-F21E-8333172A619A}"/>
                      </a:ext>
                    </a:extLst>
                  </p:cNvPr>
                  <p:cNvSpPr/>
                  <p:nvPr userDrawn="1"/>
                </p:nvSpPr>
                <p:spPr>
                  <a:xfrm>
                    <a:off x="8198064" y="4344408"/>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7F7FA"/>
                  </a:solidFill>
                  <a:ln w="2339" cap="flat">
                    <a:noFill/>
                    <a:prstDash val="solid"/>
                    <a:miter/>
                  </a:ln>
                </p:spPr>
                <p:txBody>
                  <a:bodyPr rtlCol="0" anchor="ctr"/>
                  <a:lstStyle/>
                  <a:p>
                    <a:endParaRPr lang="en-US" sz="2400"/>
                  </a:p>
                </p:txBody>
              </p:sp>
              <p:sp>
                <p:nvSpPr>
                  <p:cNvPr id="256" name="Freeform: Shape 255">
                    <a:extLst>
                      <a:ext uri="{FF2B5EF4-FFF2-40B4-BE49-F238E27FC236}">
                        <a16:creationId xmlns:a16="http://schemas.microsoft.com/office/drawing/2014/main" id="{4227ABE0-21E9-A5CF-F95F-3CF513FC9A3D}"/>
                      </a:ext>
                    </a:extLst>
                  </p:cNvPr>
                  <p:cNvSpPr/>
                  <p:nvPr userDrawn="1"/>
                </p:nvSpPr>
                <p:spPr>
                  <a:xfrm>
                    <a:off x="8197877" y="4343987"/>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7F8FA"/>
                  </a:solidFill>
                  <a:ln w="2339" cap="flat">
                    <a:noFill/>
                    <a:prstDash val="solid"/>
                    <a:miter/>
                  </a:ln>
                </p:spPr>
                <p:txBody>
                  <a:bodyPr rtlCol="0" anchor="ctr"/>
                  <a:lstStyle/>
                  <a:p>
                    <a:endParaRPr lang="en-US" sz="2400"/>
                  </a:p>
                </p:txBody>
              </p:sp>
              <p:sp>
                <p:nvSpPr>
                  <p:cNvPr id="257" name="Freeform: Shape 256">
                    <a:extLst>
                      <a:ext uri="{FF2B5EF4-FFF2-40B4-BE49-F238E27FC236}">
                        <a16:creationId xmlns:a16="http://schemas.microsoft.com/office/drawing/2014/main" id="{93D289CC-C8BC-3EE0-1B24-57BD23F62A12}"/>
                      </a:ext>
                    </a:extLst>
                  </p:cNvPr>
                  <p:cNvSpPr/>
                  <p:nvPr userDrawn="1"/>
                </p:nvSpPr>
                <p:spPr>
                  <a:xfrm>
                    <a:off x="8197690" y="4343565"/>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7F8FA"/>
                  </a:solidFill>
                  <a:ln w="2339" cap="flat">
                    <a:noFill/>
                    <a:prstDash val="solid"/>
                    <a:miter/>
                  </a:ln>
                </p:spPr>
                <p:txBody>
                  <a:bodyPr rtlCol="0" anchor="ctr"/>
                  <a:lstStyle/>
                  <a:p>
                    <a:endParaRPr lang="en-US" sz="2400"/>
                  </a:p>
                </p:txBody>
              </p:sp>
              <p:sp>
                <p:nvSpPr>
                  <p:cNvPr id="258" name="Freeform: Shape 257">
                    <a:extLst>
                      <a:ext uri="{FF2B5EF4-FFF2-40B4-BE49-F238E27FC236}">
                        <a16:creationId xmlns:a16="http://schemas.microsoft.com/office/drawing/2014/main" id="{0DD0CEDF-41A7-4EA0-A311-D47D86F924CE}"/>
                      </a:ext>
                    </a:extLst>
                  </p:cNvPr>
                  <p:cNvSpPr/>
                  <p:nvPr userDrawn="1"/>
                </p:nvSpPr>
                <p:spPr>
                  <a:xfrm>
                    <a:off x="8197526" y="4343144"/>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8F8FA"/>
                  </a:solidFill>
                  <a:ln w="2339" cap="flat">
                    <a:noFill/>
                    <a:prstDash val="solid"/>
                    <a:miter/>
                  </a:ln>
                </p:spPr>
                <p:txBody>
                  <a:bodyPr rtlCol="0" anchor="ctr"/>
                  <a:lstStyle/>
                  <a:p>
                    <a:endParaRPr lang="en-US" sz="2400"/>
                  </a:p>
                </p:txBody>
              </p:sp>
              <p:sp>
                <p:nvSpPr>
                  <p:cNvPr id="259" name="Freeform: Shape 258">
                    <a:extLst>
                      <a:ext uri="{FF2B5EF4-FFF2-40B4-BE49-F238E27FC236}">
                        <a16:creationId xmlns:a16="http://schemas.microsoft.com/office/drawing/2014/main" id="{B834FF05-5F71-1317-5AE4-105D1C39123C}"/>
                      </a:ext>
                    </a:extLst>
                  </p:cNvPr>
                  <p:cNvSpPr/>
                  <p:nvPr userDrawn="1"/>
                </p:nvSpPr>
                <p:spPr>
                  <a:xfrm>
                    <a:off x="8197362" y="4342723"/>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90"/>
                          <a:pt x="42074" y="21037"/>
                        </a:cubicBezTo>
                        <a:close/>
                      </a:path>
                    </a:pathLst>
                  </a:custGeom>
                  <a:solidFill>
                    <a:srgbClr val="F8F9FA"/>
                  </a:solidFill>
                  <a:ln w="2339" cap="flat">
                    <a:noFill/>
                    <a:prstDash val="solid"/>
                    <a:miter/>
                  </a:ln>
                </p:spPr>
                <p:txBody>
                  <a:bodyPr rtlCol="0" anchor="ctr"/>
                  <a:lstStyle/>
                  <a:p>
                    <a:endParaRPr lang="en-US" sz="2400"/>
                  </a:p>
                </p:txBody>
              </p:sp>
              <p:sp>
                <p:nvSpPr>
                  <p:cNvPr id="260" name="Freeform: Shape 259">
                    <a:extLst>
                      <a:ext uri="{FF2B5EF4-FFF2-40B4-BE49-F238E27FC236}">
                        <a16:creationId xmlns:a16="http://schemas.microsoft.com/office/drawing/2014/main" id="{B3CA0CF5-176D-1E7F-4F7C-E0FCA0791F0D}"/>
                      </a:ext>
                    </a:extLst>
                  </p:cNvPr>
                  <p:cNvSpPr/>
                  <p:nvPr userDrawn="1"/>
                </p:nvSpPr>
                <p:spPr>
                  <a:xfrm>
                    <a:off x="8197198" y="4342325"/>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8F9FB"/>
                  </a:solidFill>
                  <a:ln w="2339" cap="flat">
                    <a:noFill/>
                    <a:prstDash val="solid"/>
                    <a:miter/>
                  </a:ln>
                </p:spPr>
                <p:txBody>
                  <a:bodyPr rtlCol="0" anchor="ctr"/>
                  <a:lstStyle/>
                  <a:p>
                    <a:endParaRPr lang="en-US" sz="2400"/>
                  </a:p>
                </p:txBody>
              </p:sp>
              <p:sp>
                <p:nvSpPr>
                  <p:cNvPr id="261" name="Freeform: Shape 260">
                    <a:extLst>
                      <a:ext uri="{FF2B5EF4-FFF2-40B4-BE49-F238E27FC236}">
                        <a16:creationId xmlns:a16="http://schemas.microsoft.com/office/drawing/2014/main" id="{B3A090FC-4D13-4729-C4F4-C8641E7DB2E5}"/>
                      </a:ext>
                    </a:extLst>
                  </p:cNvPr>
                  <p:cNvSpPr/>
                  <p:nvPr userDrawn="1"/>
                </p:nvSpPr>
                <p:spPr>
                  <a:xfrm>
                    <a:off x="8197034" y="4341904"/>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9F9FB"/>
                  </a:solidFill>
                  <a:ln w="2339" cap="flat">
                    <a:noFill/>
                    <a:prstDash val="solid"/>
                    <a:miter/>
                  </a:ln>
                </p:spPr>
                <p:txBody>
                  <a:bodyPr rtlCol="0" anchor="ctr"/>
                  <a:lstStyle/>
                  <a:p>
                    <a:endParaRPr lang="en-US" sz="2400"/>
                  </a:p>
                </p:txBody>
              </p:sp>
              <p:sp>
                <p:nvSpPr>
                  <p:cNvPr id="262" name="Freeform: Shape 261">
                    <a:extLst>
                      <a:ext uri="{FF2B5EF4-FFF2-40B4-BE49-F238E27FC236}">
                        <a16:creationId xmlns:a16="http://schemas.microsoft.com/office/drawing/2014/main" id="{879171E9-17BF-EBD5-067B-E21A9B097118}"/>
                      </a:ext>
                    </a:extLst>
                  </p:cNvPr>
                  <p:cNvSpPr/>
                  <p:nvPr userDrawn="1"/>
                </p:nvSpPr>
                <p:spPr>
                  <a:xfrm>
                    <a:off x="8196871" y="4341483"/>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9F9FB"/>
                  </a:solidFill>
                  <a:ln w="2339" cap="flat">
                    <a:noFill/>
                    <a:prstDash val="solid"/>
                    <a:miter/>
                  </a:ln>
                </p:spPr>
                <p:txBody>
                  <a:bodyPr rtlCol="0" anchor="ctr"/>
                  <a:lstStyle/>
                  <a:p>
                    <a:endParaRPr lang="en-US" sz="2400"/>
                  </a:p>
                </p:txBody>
              </p:sp>
              <p:sp>
                <p:nvSpPr>
                  <p:cNvPr id="263" name="Freeform: Shape 262">
                    <a:extLst>
                      <a:ext uri="{FF2B5EF4-FFF2-40B4-BE49-F238E27FC236}">
                        <a16:creationId xmlns:a16="http://schemas.microsoft.com/office/drawing/2014/main" id="{5F29C9B3-5747-4339-02DA-F0064B83C22B}"/>
                      </a:ext>
                    </a:extLst>
                  </p:cNvPr>
                  <p:cNvSpPr/>
                  <p:nvPr userDrawn="1"/>
                </p:nvSpPr>
                <p:spPr>
                  <a:xfrm>
                    <a:off x="8196730" y="4341062"/>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9FAFB"/>
                  </a:solidFill>
                  <a:ln w="2339" cap="flat">
                    <a:noFill/>
                    <a:prstDash val="solid"/>
                    <a:miter/>
                  </a:ln>
                </p:spPr>
                <p:txBody>
                  <a:bodyPr rtlCol="0" anchor="ctr"/>
                  <a:lstStyle/>
                  <a:p>
                    <a:endParaRPr lang="en-US" sz="2400"/>
                  </a:p>
                </p:txBody>
              </p:sp>
              <p:sp>
                <p:nvSpPr>
                  <p:cNvPr id="264" name="Freeform: Shape 263">
                    <a:extLst>
                      <a:ext uri="{FF2B5EF4-FFF2-40B4-BE49-F238E27FC236}">
                        <a16:creationId xmlns:a16="http://schemas.microsoft.com/office/drawing/2014/main" id="{86652CBE-7ACB-AE46-D71E-46B11AA52BDA}"/>
                      </a:ext>
                    </a:extLst>
                  </p:cNvPr>
                  <p:cNvSpPr/>
                  <p:nvPr userDrawn="1"/>
                </p:nvSpPr>
                <p:spPr>
                  <a:xfrm>
                    <a:off x="8196590" y="4340640"/>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9FAFB"/>
                  </a:solidFill>
                  <a:ln w="2339" cap="flat">
                    <a:noFill/>
                    <a:prstDash val="solid"/>
                    <a:miter/>
                  </a:ln>
                </p:spPr>
                <p:txBody>
                  <a:bodyPr rtlCol="0" anchor="ctr"/>
                  <a:lstStyle/>
                  <a:p>
                    <a:endParaRPr lang="en-US" sz="2400"/>
                  </a:p>
                </p:txBody>
              </p:sp>
              <p:sp>
                <p:nvSpPr>
                  <p:cNvPr id="265" name="Freeform: Shape 264">
                    <a:extLst>
                      <a:ext uri="{FF2B5EF4-FFF2-40B4-BE49-F238E27FC236}">
                        <a16:creationId xmlns:a16="http://schemas.microsoft.com/office/drawing/2014/main" id="{5DCA820A-2C22-DB9A-D97A-D576023D8F1D}"/>
                      </a:ext>
                    </a:extLst>
                  </p:cNvPr>
                  <p:cNvSpPr/>
                  <p:nvPr userDrawn="1"/>
                </p:nvSpPr>
                <p:spPr>
                  <a:xfrm>
                    <a:off x="8196449" y="4340243"/>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74"/>
                          <a:pt x="42074" y="32667"/>
                          <a:pt x="42074" y="21037"/>
                        </a:cubicBezTo>
                        <a:close/>
                      </a:path>
                    </a:pathLst>
                  </a:custGeom>
                  <a:solidFill>
                    <a:srgbClr val="FAFAFC"/>
                  </a:solidFill>
                  <a:ln w="2339" cap="flat">
                    <a:noFill/>
                    <a:prstDash val="solid"/>
                    <a:miter/>
                  </a:ln>
                </p:spPr>
                <p:txBody>
                  <a:bodyPr rtlCol="0" anchor="ctr"/>
                  <a:lstStyle/>
                  <a:p>
                    <a:endParaRPr lang="en-US" sz="2400"/>
                  </a:p>
                </p:txBody>
              </p:sp>
              <p:sp>
                <p:nvSpPr>
                  <p:cNvPr id="266" name="Freeform: Shape 265">
                    <a:extLst>
                      <a:ext uri="{FF2B5EF4-FFF2-40B4-BE49-F238E27FC236}">
                        <a16:creationId xmlns:a16="http://schemas.microsoft.com/office/drawing/2014/main" id="{60A84E2B-9C2A-CB1D-F492-A37930B5978D}"/>
                      </a:ext>
                    </a:extLst>
                  </p:cNvPr>
                  <p:cNvSpPr/>
                  <p:nvPr userDrawn="1"/>
                </p:nvSpPr>
                <p:spPr>
                  <a:xfrm>
                    <a:off x="8196332" y="4339821"/>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AFBFC"/>
                  </a:solidFill>
                  <a:ln w="2339" cap="flat">
                    <a:noFill/>
                    <a:prstDash val="solid"/>
                    <a:miter/>
                  </a:ln>
                </p:spPr>
                <p:txBody>
                  <a:bodyPr rtlCol="0" anchor="ctr"/>
                  <a:lstStyle/>
                  <a:p>
                    <a:endParaRPr lang="en-US" sz="2400"/>
                  </a:p>
                </p:txBody>
              </p:sp>
              <p:sp>
                <p:nvSpPr>
                  <p:cNvPr id="267" name="Freeform: Shape 266">
                    <a:extLst>
                      <a:ext uri="{FF2B5EF4-FFF2-40B4-BE49-F238E27FC236}">
                        <a16:creationId xmlns:a16="http://schemas.microsoft.com/office/drawing/2014/main" id="{F919F7CE-4550-2031-5DE2-21624437F66B}"/>
                      </a:ext>
                    </a:extLst>
                  </p:cNvPr>
                  <p:cNvSpPr/>
                  <p:nvPr userDrawn="1"/>
                </p:nvSpPr>
                <p:spPr>
                  <a:xfrm>
                    <a:off x="8196215" y="4339400"/>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AFBFC"/>
                  </a:solidFill>
                  <a:ln w="2339" cap="flat">
                    <a:noFill/>
                    <a:prstDash val="solid"/>
                    <a:miter/>
                  </a:ln>
                </p:spPr>
                <p:txBody>
                  <a:bodyPr rtlCol="0" anchor="ctr"/>
                  <a:lstStyle/>
                  <a:p>
                    <a:endParaRPr lang="en-US" sz="2400"/>
                  </a:p>
                </p:txBody>
              </p:sp>
              <p:sp>
                <p:nvSpPr>
                  <p:cNvPr id="268" name="Freeform: Shape 267">
                    <a:extLst>
                      <a:ext uri="{FF2B5EF4-FFF2-40B4-BE49-F238E27FC236}">
                        <a16:creationId xmlns:a16="http://schemas.microsoft.com/office/drawing/2014/main" id="{72212B73-74F2-59A9-EBA9-B07FC11FA9E3}"/>
                      </a:ext>
                    </a:extLst>
                  </p:cNvPr>
                  <p:cNvSpPr/>
                  <p:nvPr userDrawn="1"/>
                </p:nvSpPr>
                <p:spPr>
                  <a:xfrm>
                    <a:off x="8196098" y="4338979"/>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BFBFC"/>
                  </a:solidFill>
                  <a:ln w="2339" cap="flat">
                    <a:noFill/>
                    <a:prstDash val="solid"/>
                    <a:miter/>
                  </a:ln>
                </p:spPr>
                <p:txBody>
                  <a:bodyPr rtlCol="0" anchor="ctr"/>
                  <a:lstStyle/>
                  <a:p>
                    <a:endParaRPr lang="en-US" sz="2400"/>
                  </a:p>
                </p:txBody>
              </p:sp>
              <p:sp>
                <p:nvSpPr>
                  <p:cNvPr id="269" name="Freeform: Shape 268">
                    <a:extLst>
                      <a:ext uri="{FF2B5EF4-FFF2-40B4-BE49-F238E27FC236}">
                        <a16:creationId xmlns:a16="http://schemas.microsoft.com/office/drawing/2014/main" id="{6A3672C8-9F7E-20E7-45A3-A1F2BEFCEA71}"/>
                      </a:ext>
                    </a:extLst>
                  </p:cNvPr>
                  <p:cNvSpPr/>
                  <p:nvPr userDrawn="1"/>
                </p:nvSpPr>
                <p:spPr>
                  <a:xfrm>
                    <a:off x="8195981" y="4338581"/>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BFBFC"/>
                  </a:solidFill>
                  <a:ln w="2339" cap="flat">
                    <a:noFill/>
                    <a:prstDash val="solid"/>
                    <a:miter/>
                  </a:ln>
                </p:spPr>
                <p:txBody>
                  <a:bodyPr rtlCol="0" anchor="ctr"/>
                  <a:lstStyle/>
                  <a:p>
                    <a:endParaRPr lang="en-US" sz="2400"/>
                  </a:p>
                </p:txBody>
              </p:sp>
              <p:sp>
                <p:nvSpPr>
                  <p:cNvPr id="270" name="Freeform: Shape 269">
                    <a:extLst>
                      <a:ext uri="{FF2B5EF4-FFF2-40B4-BE49-F238E27FC236}">
                        <a16:creationId xmlns:a16="http://schemas.microsoft.com/office/drawing/2014/main" id="{71489268-5EF8-692C-4518-4E7DECCD5419}"/>
                      </a:ext>
                    </a:extLst>
                  </p:cNvPr>
                  <p:cNvSpPr/>
                  <p:nvPr userDrawn="1"/>
                </p:nvSpPr>
                <p:spPr>
                  <a:xfrm>
                    <a:off x="8195864" y="4338160"/>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BFCFD"/>
                  </a:solidFill>
                  <a:ln w="2339" cap="flat">
                    <a:noFill/>
                    <a:prstDash val="solid"/>
                    <a:miter/>
                  </a:ln>
                </p:spPr>
                <p:txBody>
                  <a:bodyPr rtlCol="0" anchor="ctr"/>
                  <a:lstStyle/>
                  <a:p>
                    <a:endParaRPr lang="en-US" sz="2400"/>
                  </a:p>
                </p:txBody>
              </p:sp>
              <p:sp>
                <p:nvSpPr>
                  <p:cNvPr id="271" name="Freeform: Shape 270">
                    <a:extLst>
                      <a:ext uri="{FF2B5EF4-FFF2-40B4-BE49-F238E27FC236}">
                        <a16:creationId xmlns:a16="http://schemas.microsoft.com/office/drawing/2014/main" id="{E8BBA3EC-571D-D368-325F-B87E56B1504F}"/>
                      </a:ext>
                    </a:extLst>
                  </p:cNvPr>
                  <p:cNvSpPr/>
                  <p:nvPr userDrawn="1"/>
                </p:nvSpPr>
                <p:spPr>
                  <a:xfrm>
                    <a:off x="8195771" y="4337739"/>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CFCFD"/>
                  </a:solidFill>
                  <a:ln w="2339" cap="flat">
                    <a:noFill/>
                    <a:prstDash val="solid"/>
                    <a:miter/>
                  </a:ln>
                </p:spPr>
                <p:txBody>
                  <a:bodyPr rtlCol="0" anchor="ctr"/>
                  <a:lstStyle/>
                  <a:p>
                    <a:endParaRPr lang="en-US" sz="2400"/>
                  </a:p>
                </p:txBody>
              </p:sp>
              <p:sp>
                <p:nvSpPr>
                  <p:cNvPr id="272" name="Freeform: Shape 271">
                    <a:extLst>
                      <a:ext uri="{FF2B5EF4-FFF2-40B4-BE49-F238E27FC236}">
                        <a16:creationId xmlns:a16="http://schemas.microsoft.com/office/drawing/2014/main" id="{F95CA3AC-281D-F499-EDD3-0CED97345081}"/>
                      </a:ext>
                    </a:extLst>
                  </p:cNvPr>
                  <p:cNvSpPr/>
                  <p:nvPr userDrawn="1"/>
                </p:nvSpPr>
                <p:spPr>
                  <a:xfrm>
                    <a:off x="8195677" y="4337341"/>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CFCFD"/>
                  </a:solidFill>
                  <a:ln w="2339" cap="flat">
                    <a:noFill/>
                    <a:prstDash val="solid"/>
                    <a:miter/>
                  </a:ln>
                </p:spPr>
                <p:txBody>
                  <a:bodyPr rtlCol="0" anchor="ctr"/>
                  <a:lstStyle/>
                  <a:p>
                    <a:endParaRPr lang="en-US" sz="2400"/>
                  </a:p>
                </p:txBody>
              </p:sp>
              <p:sp>
                <p:nvSpPr>
                  <p:cNvPr id="273" name="Freeform: Shape 272">
                    <a:extLst>
                      <a:ext uri="{FF2B5EF4-FFF2-40B4-BE49-F238E27FC236}">
                        <a16:creationId xmlns:a16="http://schemas.microsoft.com/office/drawing/2014/main" id="{13315A20-9445-5503-05A1-7E81CE34491A}"/>
                      </a:ext>
                    </a:extLst>
                  </p:cNvPr>
                  <p:cNvSpPr/>
                  <p:nvPr userDrawn="1"/>
                </p:nvSpPr>
                <p:spPr>
                  <a:xfrm>
                    <a:off x="8195584" y="4336920"/>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CFCFD"/>
                  </a:solidFill>
                  <a:ln w="2339" cap="flat">
                    <a:noFill/>
                    <a:prstDash val="solid"/>
                    <a:miter/>
                  </a:ln>
                </p:spPr>
                <p:txBody>
                  <a:bodyPr rtlCol="0" anchor="ctr"/>
                  <a:lstStyle/>
                  <a:p>
                    <a:endParaRPr lang="en-US" sz="2400"/>
                  </a:p>
                </p:txBody>
              </p:sp>
              <p:sp>
                <p:nvSpPr>
                  <p:cNvPr id="274" name="Freeform: Shape 273">
                    <a:extLst>
                      <a:ext uri="{FF2B5EF4-FFF2-40B4-BE49-F238E27FC236}">
                        <a16:creationId xmlns:a16="http://schemas.microsoft.com/office/drawing/2014/main" id="{7AC2FB25-7CBB-1BB8-041B-EC0795882B84}"/>
                      </a:ext>
                    </a:extLst>
                  </p:cNvPr>
                  <p:cNvSpPr/>
                  <p:nvPr userDrawn="1"/>
                </p:nvSpPr>
                <p:spPr>
                  <a:xfrm>
                    <a:off x="8195490" y="4336499"/>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DFDFD"/>
                  </a:solidFill>
                  <a:ln w="2339" cap="flat">
                    <a:noFill/>
                    <a:prstDash val="solid"/>
                    <a:miter/>
                  </a:ln>
                </p:spPr>
                <p:txBody>
                  <a:bodyPr rtlCol="0" anchor="ctr"/>
                  <a:lstStyle/>
                  <a:p>
                    <a:endParaRPr lang="en-US" sz="2400"/>
                  </a:p>
                </p:txBody>
              </p:sp>
              <p:sp>
                <p:nvSpPr>
                  <p:cNvPr id="275" name="Freeform: Shape 274">
                    <a:extLst>
                      <a:ext uri="{FF2B5EF4-FFF2-40B4-BE49-F238E27FC236}">
                        <a16:creationId xmlns:a16="http://schemas.microsoft.com/office/drawing/2014/main" id="{BFB5427D-BEA7-6E90-D85C-7CE4588176A3}"/>
                      </a:ext>
                    </a:extLst>
                  </p:cNvPr>
                  <p:cNvSpPr/>
                  <p:nvPr userDrawn="1"/>
                </p:nvSpPr>
                <p:spPr>
                  <a:xfrm>
                    <a:off x="8195420" y="4336101"/>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74"/>
                          <a:pt x="42074" y="32667"/>
                          <a:pt x="42074" y="21037"/>
                        </a:cubicBezTo>
                        <a:close/>
                      </a:path>
                    </a:pathLst>
                  </a:custGeom>
                  <a:solidFill>
                    <a:srgbClr val="FDFDFE"/>
                  </a:solidFill>
                  <a:ln w="2339" cap="flat">
                    <a:noFill/>
                    <a:prstDash val="solid"/>
                    <a:miter/>
                  </a:ln>
                </p:spPr>
                <p:txBody>
                  <a:bodyPr rtlCol="0" anchor="ctr"/>
                  <a:lstStyle/>
                  <a:p>
                    <a:endParaRPr lang="en-US" sz="2400"/>
                  </a:p>
                </p:txBody>
              </p:sp>
              <p:sp>
                <p:nvSpPr>
                  <p:cNvPr id="276" name="Freeform: Shape 275">
                    <a:extLst>
                      <a:ext uri="{FF2B5EF4-FFF2-40B4-BE49-F238E27FC236}">
                        <a16:creationId xmlns:a16="http://schemas.microsoft.com/office/drawing/2014/main" id="{7AA5D70E-45CA-0ECF-5059-584875FC178B}"/>
                      </a:ext>
                    </a:extLst>
                  </p:cNvPr>
                  <p:cNvSpPr/>
                  <p:nvPr userDrawn="1"/>
                </p:nvSpPr>
                <p:spPr>
                  <a:xfrm>
                    <a:off x="8195350" y="4335680"/>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DFDFE"/>
                  </a:solidFill>
                  <a:ln w="2339" cap="flat">
                    <a:noFill/>
                    <a:prstDash val="solid"/>
                    <a:miter/>
                  </a:ln>
                </p:spPr>
                <p:txBody>
                  <a:bodyPr rtlCol="0" anchor="ctr"/>
                  <a:lstStyle/>
                  <a:p>
                    <a:endParaRPr lang="en-US" sz="2400"/>
                  </a:p>
                </p:txBody>
              </p:sp>
              <p:sp>
                <p:nvSpPr>
                  <p:cNvPr id="277" name="Freeform: Shape 276">
                    <a:extLst>
                      <a:ext uri="{FF2B5EF4-FFF2-40B4-BE49-F238E27FC236}">
                        <a16:creationId xmlns:a16="http://schemas.microsoft.com/office/drawing/2014/main" id="{068E562C-610C-3532-7EA5-9EC4041ACE66}"/>
                      </a:ext>
                    </a:extLst>
                  </p:cNvPr>
                  <p:cNvSpPr/>
                  <p:nvPr userDrawn="1"/>
                </p:nvSpPr>
                <p:spPr>
                  <a:xfrm>
                    <a:off x="8195279" y="4335282"/>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74"/>
                          <a:pt x="42074" y="32667"/>
                          <a:pt x="42074" y="21037"/>
                        </a:cubicBezTo>
                        <a:close/>
                      </a:path>
                    </a:pathLst>
                  </a:custGeom>
                  <a:solidFill>
                    <a:srgbClr val="FDFEFE"/>
                  </a:solidFill>
                  <a:ln w="2339" cap="flat">
                    <a:noFill/>
                    <a:prstDash val="solid"/>
                    <a:miter/>
                  </a:ln>
                </p:spPr>
                <p:txBody>
                  <a:bodyPr rtlCol="0" anchor="ctr"/>
                  <a:lstStyle/>
                  <a:p>
                    <a:endParaRPr lang="en-US" sz="2400"/>
                  </a:p>
                </p:txBody>
              </p:sp>
              <p:sp>
                <p:nvSpPr>
                  <p:cNvPr id="278" name="Freeform: Shape 277">
                    <a:extLst>
                      <a:ext uri="{FF2B5EF4-FFF2-40B4-BE49-F238E27FC236}">
                        <a16:creationId xmlns:a16="http://schemas.microsoft.com/office/drawing/2014/main" id="{1E2BEF22-909C-736B-94B2-1F83D5F6EAB5}"/>
                      </a:ext>
                    </a:extLst>
                  </p:cNvPr>
                  <p:cNvSpPr/>
                  <p:nvPr userDrawn="1"/>
                </p:nvSpPr>
                <p:spPr>
                  <a:xfrm>
                    <a:off x="8195233" y="4334861"/>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EFEFE"/>
                  </a:solidFill>
                  <a:ln w="2339" cap="flat">
                    <a:noFill/>
                    <a:prstDash val="solid"/>
                    <a:miter/>
                  </a:ln>
                </p:spPr>
                <p:txBody>
                  <a:bodyPr rtlCol="0" anchor="ctr"/>
                  <a:lstStyle/>
                  <a:p>
                    <a:endParaRPr lang="en-US" sz="2400"/>
                  </a:p>
                </p:txBody>
              </p:sp>
              <p:sp>
                <p:nvSpPr>
                  <p:cNvPr id="279" name="Freeform: Shape 278">
                    <a:extLst>
                      <a:ext uri="{FF2B5EF4-FFF2-40B4-BE49-F238E27FC236}">
                        <a16:creationId xmlns:a16="http://schemas.microsoft.com/office/drawing/2014/main" id="{FB4A7BB1-8D6A-EE1B-F046-8B7055F4F3A2}"/>
                      </a:ext>
                    </a:extLst>
                  </p:cNvPr>
                  <p:cNvSpPr/>
                  <p:nvPr userDrawn="1"/>
                </p:nvSpPr>
                <p:spPr>
                  <a:xfrm>
                    <a:off x="8195162" y="4334463"/>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74"/>
                          <a:pt x="42074" y="32667"/>
                          <a:pt x="42074" y="21037"/>
                        </a:cubicBezTo>
                        <a:close/>
                      </a:path>
                    </a:pathLst>
                  </a:custGeom>
                  <a:solidFill>
                    <a:srgbClr val="FEFEFE"/>
                  </a:solidFill>
                  <a:ln w="2339" cap="flat">
                    <a:noFill/>
                    <a:prstDash val="solid"/>
                    <a:miter/>
                  </a:ln>
                </p:spPr>
                <p:txBody>
                  <a:bodyPr rtlCol="0" anchor="ctr"/>
                  <a:lstStyle/>
                  <a:p>
                    <a:endParaRPr lang="en-US" sz="2400"/>
                  </a:p>
                </p:txBody>
              </p:sp>
              <p:sp>
                <p:nvSpPr>
                  <p:cNvPr id="280" name="Freeform: Shape 279">
                    <a:extLst>
                      <a:ext uri="{FF2B5EF4-FFF2-40B4-BE49-F238E27FC236}">
                        <a16:creationId xmlns:a16="http://schemas.microsoft.com/office/drawing/2014/main" id="{9CB41E50-B55A-5EEA-51AC-B46AF42B8767}"/>
                      </a:ext>
                    </a:extLst>
                  </p:cNvPr>
                  <p:cNvSpPr/>
                  <p:nvPr userDrawn="1"/>
                </p:nvSpPr>
                <p:spPr>
                  <a:xfrm>
                    <a:off x="8195116" y="4334042"/>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EFEFF"/>
                  </a:solidFill>
                  <a:ln w="2339" cap="flat">
                    <a:noFill/>
                    <a:prstDash val="solid"/>
                    <a:miter/>
                  </a:ln>
                </p:spPr>
                <p:txBody>
                  <a:bodyPr rtlCol="0" anchor="ctr"/>
                  <a:lstStyle/>
                  <a:p>
                    <a:endParaRPr lang="en-US" sz="2400"/>
                  </a:p>
                </p:txBody>
              </p:sp>
              <p:sp>
                <p:nvSpPr>
                  <p:cNvPr id="281" name="Freeform: Shape 280">
                    <a:extLst>
                      <a:ext uri="{FF2B5EF4-FFF2-40B4-BE49-F238E27FC236}">
                        <a16:creationId xmlns:a16="http://schemas.microsoft.com/office/drawing/2014/main" id="{2A7B4462-BC98-934B-8CAE-C5C5655BB824}"/>
                      </a:ext>
                    </a:extLst>
                  </p:cNvPr>
                  <p:cNvSpPr/>
                  <p:nvPr userDrawn="1"/>
                </p:nvSpPr>
                <p:spPr>
                  <a:xfrm>
                    <a:off x="8195069" y="4333644"/>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74"/>
                          <a:pt x="42074" y="32667"/>
                          <a:pt x="42074" y="21037"/>
                        </a:cubicBezTo>
                        <a:close/>
                      </a:path>
                    </a:pathLst>
                  </a:custGeom>
                  <a:solidFill>
                    <a:srgbClr val="FFFFFF"/>
                  </a:solidFill>
                  <a:ln w="2339" cap="flat">
                    <a:noFill/>
                    <a:prstDash val="solid"/>
                    <a:miter/>
                  </a:ln>
                </p:spPr>
                <p:txBody>
                  <a:bodyPr rtlCol="0" anchor="ctr"/>
                  <a:lstStyle/>
                  <a:p>
                    <a:endParaRPr lang="en-US" sz="2400"/>
                  </a:p>
                </p:txBody>
              </p:sp>
              <p:sp>
                <p:nvSpPr>
                  <p:cNvPr id="282" name="Freeform: Shape 281">
                    <a:extLst>
                      <a:ext uri="{FF2B5EF4-FFF2-40B4-BE49-F238E27FC236}">
                        <a16:creationId xmlns:a16="http://schemas.microsoft.com/office/drawing/2014/main" id="{F59EC5E6-E91C-C4B1-88F1-82697EB3233D}"/>
                      </a:ext>
                    </a:extLst>
                  </p:cNvPr>
                  <p:cNvSpPr/>
                  <p:nvPr userDrawn="1"/>
                </p:nvSpPr>
                <p:spPr>
                  <a:xfrm>
                    <a:off x="8195045" y="4333223"/>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FFFFF"/>
                  </a:solidFill>
                  <a:ln w="2339" cap="flat">
                    <a:noFill/>
                    <a:prstDash val="solid"/>
                    <a:miter/>
                  </a:ln>
                </p:spPr>
                <p:txBody>
                  <a:bodyPr rtlCol="0" anchor="ctr"/>
                  <a:lstStyle/>
                  <a:p>
                    <a:endParaRPr lang="en-US" sz="2400"/>
                  </a:p>
                </p:txBody>
              </p:sp>
            </p:grpSp>
            <p:grpSp>
              <p:nvGrpSpPr>
                <p:cNvPr id="283" name="Graphic 4">
                  <a:extLst>
                    <a:ext uri="{FF2B5EF4-FFF2-40B4-BE49-F238E27FC236}">
                      <a16:creationId xmlns:a16="http://schemas.microsoft.com/office/drawing/2014/main" id="{B85C0367-B953-932B-189B-15278C301AD0}"/>
                    </a:ext>
                  </a:extLst>
                </p:cNvPr>
                <p:cNvGrpSpPr/>
                <p:nvPr userDrawn="1"/>
              </p:nvGrpSpPr>
              <p:grpSpPr>
                <a:xfrm>
                  <a:off x="8382317" y="4333223"/>
                  <a:ext cx="144917" cy="107360"/>
                  <a:chOff x="8382317" y="4333223"/>
                  <a:chExt cx="144917" cy="107359"/>
                </a:xfrm>
              </p:grpSpPr>
              <p:sp>
                <p:nvSpPr>
                  <p:cNvPr id="284" name="Freeform: Shape 283">
                    <a:extLst>
                      <a:ext uri="{FF2B5EF4-FFF2-40B4-BE49-F238E27FC236}">
                        <a16:creationId xmlns:a16="http://schemas.microsoft.com/office/drawing/2014/main" id="{59C558CF-6F7C-6A62-B850-55D22DE95BE1}"/>
                      </a:ext>
                    </a:extLst>
                  </p:cNvPr>
                  <p:cNvSpPr/>
                  <p:nvPr userDrawn="1"/>
                </p:nvSpPr>
                <p:spPr>
                  <a:xfrm>
                    <a:off x="8382317" y="439850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1B8CC"/>
                  </a:solidFill>
                  <a:ln w="2339" cap="flat">
                    <a:noFill/>
                    <a:prstDash val="solid"/>
                    <a:miter/>
                  </a:ln>
                </p:spPr>
                <p:txBody>
                  <a:bodyPr rtlCol="0" anchor="ctr"/>
                  <a:lstStyle/>
                  <a:p>
                    <a:endParaRPr lang="en-US" sz="2400"/>
                  </a:p>
                </p:txBody>
              </p:sp>
              <p:sp>
                <p:nvSpPr>
                  <p:cNvPr id="285" name="Freeform: Shape 284">
                    <a:extLst>
                      <a:ext uri="{FF2B5EF4-FFF2-40B4-BE49-F238E27FC236}">
                        <a16:creationId xmlns:a16="http://schemas.microsoft.com/office/drawing/2014/main" id="{E8CE9AF9-43BB-BB8F-59F4-487BA072C3E8}"/>
                      </a:ext>
                    </a:extLst>
                  </p:cNvPr>
                  <p:cNvSpPr/>
                  <p:nvPr userDrawn="1"/>
                </p:nvSpPr>
                <p:spPr>
                  <a:xfrm>
                    <a:off x="8382902" y="439843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74"/>
                          <a:pt x="0" y="32643"/>
                          <a:pt x="0" y="21037"/>
                        </a:cubicBezTo>
                        <a:close/>
                      </a:path>
                    </a:pathLst>
                  </a:custGeom>
                  <a:solidFill>
                    <a:srgbClr val="B1B8CC"/>
                  </a:solidFill>
                  <a:ln w="2339" cap="flat">
                    <a:noFill/>
                    <a:prstDash val="solid"/>
                    <a:miter/>
                  </a:ln>
                </p:spPr>
                <p:txBody>
                  <a:bodyPr rtlCol="0" anchor="ctr"/>
                  <a:lstStyle/>
                  <a:p>
                    <a:endParaRPr lang="en-US" sz="2400"/>
                  </a:p>
                </p:txBody>
              </p:sp>
              <p:sp>
                <p:nvSpPr>
                  <p:cNvPr id="286" name="Freeform: Shape 285">
                    <a:extLst>
                      <a:ext uri="{FF2B5EF4-FFF2-40B4-BE49-F238E27FC236}">
                        <a16:creationId xmlns:a16="http://schemas.microsoft.com/office/drawing/2014/main" id="{D38BD378-E4C9-102F-E881-43DD1B0A50CD}"/>
                      </a:ext>
                    </a:extLst>
                  </p:cNvPr>
                  <p:cNvSpPr/>
                  <p:nvPr userDrawn="1"/>
                </p:nvSpPr>
                <p:spPr>
                  <a:xfrm>
                    <a:off x="8383464" y="4398345"/>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74"/>
                          <a:pt x="0" y="32667"/>
                          <a:pt x="0" y="21037"/>
                        </a:cubicBezTo>
                        <a:close/>
                      </a:path>
                    </a:pathLst>
                  </a:custGeom>
                  <a:solidFill>
                    <a:srgbClr val="B2B9CC"/>
                  </a:solidFill>
                  <a:ln w="2339" cap="flat">
                    <a:noFill/>
                    <a:prstDash val="solid"/>
                    <a:miter/>
                  </a:ln>
                </p:spPr>
                <p:txBody>
                  <a:bodyPr rtlCol="0" anchor="ctr"/>
                  <a:lstStyle/>
                  <a:p>
                    <a:endParaRPr lang="en-US" sz="2400"/>
                  </a:p>
                </p:txBody>
              </p:sp>
              <p:sp>
                <p:nvSpPr>
                  <p:cNvPr id="287" name="Freeform: Shape 286">
                    <a:extLst>
                      <a:ext uri="{FF2B5EF4-FFF2-40B4-BE49-F238E27FC236}">
                        <a16:creationId xmlns:a16="http://schemas.microsoft.com/office/drawing/2014/main" id="{41782DF0-C4B6-5766-B20A-C1BF64125B59}"/>
                      </a:ext>
                    </a:extLst>
                  </p:cNvPr>
                  <p:cNvSpPr/>
                  <p:nvPr userDrawn="1"/>
                </p:nvSpPr>
                <p:spPr>
                  <a:xfrm>
                    <a:off x="8384025" y="4398252"/>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2B9CD"/>
                  </a:solidFill>
                  <a:ln w="2339" cap="flat">
                    <a:noFill/>
                    <a:prstDash val="solid"/>
                    <a:miter/>
                  </a:ln>
                </p:spPr>
                <p:txBody>
                  <a:bodyPr rtlCol="0" anchor="ctr"/>
                  <a:lstStyle/>
                  <a:p>
                    <a:endParaRPr lang="en-US" sz="2400"/>
                  </a:p>
                </p:txBody>
              </p:sp>
              <p:sp>
                <p:nvSpPr>
                  <p:cNvPr id="288" name="Freeform: Shape 287">
                    <a:extLst>
                      <a:ext uri="{FF2B5EF4-FFF2-40B4-BE49-F238E27FC236}">
                        <a16:creationId xmlns:a16="http://schemas.microsoft.com/office/drawing/2014/main" id="{B8B49F8F-7B45-BA22-553B-4ABD5881CE12}"/>
                      </a:ext>
                    </a:extLst>
                  </p:cNvPr>
                  <p:cNvSpPr/>
                  <p:nvPr userDrawn="1"/>
                </p:nvSpPr>
                <p:spPr>
                  <a:xfrm>
                    <a:off x="8384587" y="439818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2B9CD"/>
                  </a:solidFill>
                  <a:ln w="2339" cap="flat">
                    <a:noFill/>
                    <a:prstDash val="solid"/>
                    <a:miter/>
                  </a:ln>
                </p:spPr>
                <p:txBody>
                  <a:bodyPr rtlCol="0" anchor="ctr"/>
                  <a:lstStyle/>
                  <a:p>
                    <a:endParaRPr lang="en-US" sz="2400"/>
                  </a:p>
                </p:txBody>
              </p:sp>
              <p:sp>
                <p:nvSpPr>
                  <p:cNvPr id="289" name="Freeform: Shape 288">
                    <a:extLst>
                      <a:ext uri="{FF2B5EF4-FFF2-40B4-BE49-F238E27FC236}">
                        <a16:creationId xmlns:a16="http://schemas.microsoft.com/office/drawing/2014/main" id="{F3AB1B7D-DE3A-CB5E-7BAD-37F21DEE17F1}"/>
                      </a:ext>
                    </a:extLst>
                  </p:cNvPr>
                  <p:cNvSpPr/>
                  <p:nvPr userDrawn="1"/>
                </p:nvSpPr>
                <p:spPr>
                  <a:xfrm>
                    <a:off x="8385148" y="4398088"/>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3B9CD"/>
                  </a:solidFill>
                  <a:ln w="2339" cap="flat">
                    <a:noFill/>
                    <a:prstDash val="solid"/>
                    <a:miter/>
                  </a:ln>
                </p:spPr>
                <p:txBody>
                  <a:bodyPr rtlCol="0" anchor="ctr"/>
                  <a:lstStyle/>
                  <a:p>
                    <a:endParaRPr lang="en-US" sz="2400"/>
                  </a:p>
                </p:txBody>
              </p:sp>
              <p:sp>
                <p:nvSpPr>
                  <p:cNvPr id="290" name="Freeform: Shape 289">
                    <a:extLst>
                      <a:ext uri="{FF2B5EF4-FFF2-40B4-BE49-F238E27FC236}">
                        <a16:creationId xmlns:a16="http://schemas.microsoft.com/office/drawing/2014/main" id="{9DAF8641-969C-7C39-1C26-BECBFD3DAFDF}"/>
                      </a:ext>
                    </a:extLst>
                  </p:cNvPr>
                  <p:cNvSpPr/>
                  <p:nvPr userDrawn="1"/>
                </p:nvSpPr>
                <p:spPr>
                  <a:xfrm>
                    <a:off x="8385710" y="4397994"/>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3BACD"/>
                  </a:solidFill>
                  <a:ln w="2339" cap="flat">
                    <a:noFill/>
                    <a:prstDash val="solid"/>
                    <a:miter/>
                  </a:ln>
                </p:spPr>
                <p:txBody>
                  <a:bodyPr rtlCol="0" anchor="ctr"/>
                  <a:lstStyle/>
                  <a:p>
                    <a:endParaRPr lang="en-US" sz="2400"/>
                  </a:p>
                </p:txBody>
              </p:sp>
              <p:sp>
                <p:nvSpPr>
                  <p:cNvPr id="291" name="Freeform: Shape 290">
                    <a:extLst>
                      <a:ext uri="{FF2B5EF4-FFF2-40B4-BE49-F238E27FC236}">
                        <a16:creationId xmlns:a16="http://schemas.microsoft.com/office/drawing/2014/main" id="{39D51C1B-DF4F-1C56-BD42-7ACF58D80C2C}"/>
                      </a:ext>
                    </a:extLst>
                  </p:cNvPr>
                  <p:cNvSpPr/>
                  <p:nvPr userDrawn="1"/>
                </p:nvSpPr>
                <p:spPr>
                  <a:xfrm>
                    <a:off x="8386272" y="439790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3BACD"/>
                  </a:solidFill>
                  <a:ln w="2339" cap="flat">
                    <a:noFill/>
                    <a:prstDash val="solid"/>
                    <a:miter/>
                  </a:ln>
                </p:spPr>
                <p:txBody>
                  <a:bodyPr rtlCol="0" anchor="ctr"/>
                  <a:lstStyle/>
                  <a:p>
                    <a:endParaRPr lang="en-US" sz="2400"/>
                  </a:p>
                </p:txBody>
              </p:sp>
              <p:sp>
                <p:nvSpPr>
                  <p:cNvPr id="292" name="Freeform: Shape 291">
                    <a:extLst>
                      <a:ext uri="{FF2B5EF4-FFF2-40B4-BE49-F238E27FC236}">
                        <a16:creationId xmlns:a16="http://schemas.microsoft.com/office/drawing/2014/main" id="{CEB1BD3A-1C40-C857-8663-3EBE05B6870C}"/>
                      </a:ext>
                    </a:extLst>
                  </p:cNvPr>
                  <p:cNvSpPr/>
                  <p:nvPr userDrawn="1"/>
                </p:nvSpPr>
                <p:spPr>
                  <a:xfrm>
                    <a:off x="8386833" y="4397807"/>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3BACE"/>
                  </a:solidFill>
                  <a:ln w="2339" cap="flat">
                    <a:noFill/>
                    <a:prstDash val="solid"/>
                    <a:miter/>
                  </a:ln>
                </p:spPr>
                <p:txBody>
                  <a:bodyPr rtlCol="0" anchor="ctr"/>
                  <a:lstStyle/>
                  <a:p>
                    <a:endParaRPr lang="en-US" sz="2400"/>
                  </a:p>
                </p:txBody>
              </p:sp>
              <p:sp>
                <p:nvSpPr>
                  <p:cNvPr id="293" name="Freeform: Shape 292">
                    <a:extLst>
                      <a:ext uri="{FF2B5EF4-FFF2-40B4-BE49-F238E27FC236}">
                        <a16:creationId xmlns:a16="http://schemas.microsoft.com/office/drawing/2014/main" id="{DFFB522F-0600-AED8-AE62-C16AB58C0B04}"/>
                      </a:ext>
                    </a:extLst>
                  </p:cNvPr>
                  <p:cNvSpPr/>
                  <p:nvPr userDrawn="1"/>
                </p:nvSpPr>
                <p:spPr>
                  <a:xfrm>
                    <a:off x="8387395" y="4397713"/>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4BBCE"/>
                  </a:solidFill>
                  <a:ln w="2339" cap="flat">
                    <a:noFill/>
                    <a:prstDash val="solid"/>
                    <a:miter/>
                  </a:ln>
                </p:spPr>
                <p:txBody>
                  <a:bodyPr rtlCol="0" anchor="ctr"/>
                  <a:lstStyle/>
                  <a:p>
                    <a:endParaRPr lang="en-US" sz="2400"/>
                  </a:p>
                </p:txBody>
              </p:sp>
              <p:sp>
                <p:nvSpPr>
                  <p:cNvPr id="294" name="Freeform: Shape 293">
                    <a:extLst>
                      <a:ext uri="{FF2B5EF4-FFF2-40B4-BE49-F238E27FC236}">
                        <a16:creationId xmlns:a16="http://schemas.microsoft.com/office/drawing/2014/main" id="{28BEC592-FF48-4D60-7DE1-3924FB3E9C96}"/>
                      </a:ext>
                    </a:extLst>
                  </p:cNvPr>
                  <p:cNvSpPr/>
                  <p:nvPr userDrawn="1"/>
                </p:nvSpPr>
                <p:spPr>
                  <a:xfrm>
                    <a:off x="8387956" y="439762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4BBCE"/>
                  </a:solidFill>
                  <a:ln w="2339" cap="flat">
                    <a:noFill/>
                    <a:prstDash val="solid"/>
                    <a:miter/>
                  </a:ln>
                </p:spPr>
                <p:txBody>
                  <a:bodyPr rtlCol="0" anchor="ctr"/>
                  <a:lstStyle/>
                  <a:p>
                    <a:endParaRPr lang="en-US" sz="2400"/>
                  </a:p>
                </p:txBody>
              </p:sp>
              <p:sp>
                <p:nvSpPr>
                  <p:cNvPr id="295" name="Freeform: Shape 294">
                    <a:extLst>
                      <a:ext uri="{FF2B5EF4-FFF2-40B4-BE49-F238E27FC236}">
                        <a16:creationId xmlns:a16="http://schemas.microsoft.com/office/drawing/2014/main" id="{DCC07CA6-02A3-FF6A-D951-534901303A33}"/>
                      </a:ext>
                    </a:extLst>
                  </p:cNvPr>
                  <p:cNvSpPr/>
                  <p:nvPr userDrawn="1"/>
                </p:nvSpPr>
                <p:spPr>
                  <a:xfrm>
                    <a:off x="8388518" y="4397526"/>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4BBCE"/>
                  </a:solidFill>
                  <a:ln w="2339" cap="flat">
                    <a:noFill/>
                    <a:prstDash val="solid"/>
                    <a:miter/>
                  </a:ln>
                </p:spPr>
                <p:txBody>
                  <a:bodyPr rtlCol="0" anchor="ctr"/>
                  <a:lstStyle/>
                  <a:p>
                    <a:endParaRPr lang="en-US" sz="2400"/>
                  </a:p>
                </p:txBody>
              </p:sp>
              <p:sp>
                <p:nvSpPr>
                  <p:cNvPr id="296" name="Freeform: Shape 295">
                    <a:extLst>
                      <a:ext uri="{FF2B5EF4-FFF2-40B4-BE49-F238E27FC236}">
                        <a16:creationId xmlns:a16="http://schemas.microsoft.com/office/drawing/2014/main" id="{35C931B7-8431-35FB-7130-9C496C9B568E}"/>
                      </a:ext>
                    </a:extLst>
                  </p:cNvPr>
                  <p:cNvSpPr/>
                  <p:nvPr userDrawn="1"/>
                </p:nvSpPr>
                <p:spPr>
                  <a:xfrm>
                    <a:off x="8389080" y="4397433"/>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5BBCE"/>
                  </a:solidFill>
                  <a:ln w="2339" cap="flat">
                    <a:noFill/>
                    <a:prstDash val="solid"/>
                    <a:miter/>
                  </a:ln>
                </p:spPr>
                <p:txBody>
                  <a:bodyPr rtlCol="0" anchor="ctr"/>
                  <a:lstStyle/>
                  <a:p>
                    <a:endParaRPr lang="en-US" sz="2400"/>
                  </a:p>
                </p:txBody>
              </p:sp>
              <p:sp>
                <p:nvSpPr>
                  <p:cNvPr id="297" name="Freeform: Shape 296">
                    <a:extLst>
                      <a:ext uri="{FF2B5EF4-FFF2-40B4-BE49-F238E27FC236}">
                        <a16:creationId xmlns:a16="http://schemas.microsoft.com/office/drawing/2014/main" id="{3534FEE9-AD4A-ACFA-3A9B-C893E0443D30}"/>
                      </a:ext>
                    </a:extLst>
                  </p:cNvPr>
                  <p:cNvSpPr/>
                  <p:nvPr userDrawn="1"/>
                </p:nvSpPr>
                <p:spPr>
                  <a:xfrm>
                    <a:off x="8389641" y="4397316"/>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5BCCF"/>
                  </a:solidFill>
                  <a:ln w="2339" cap="flat">
                    <a:noFill/>
                    <a:prstDash val="solid"/>
                    <a:miter/>
                  </a:ln>
                </p:spPr>
                <p:txBody>
                  <a:bodyPr rtlCol="0" anchor="ctr"/>
                  <a:lstStyle/>
                  <a:p>
                    <a:endParaRPr lang="en-US" sz="2400"/>
                  </a:p>
                </p:txBody>
              </p:sp>
              <p:sp>
                <p:nvSpPr>
                  <p:cNvPr id="298" name="Freeform: Shape 297">
                    <a:extLst>
                      <a:ext uri="{FF2B5EF4-FFF2-40B4-BE49-F238E27FC236}">
                        <a16:creationId xmlns:a16="http://schemas.microsoft.com/office/drawing/2014/main" id="{EE1E83C5-DFBF-5630-C341-60781762E260}"/>
                      </a:ext>
                    </a:extLst>
                  </p:cNvPr>
                  <p:cNvSpPr/>
                  <p:nvPr userDrawn="1"/>
                </p:nvSpPr>
                <p:spPr>
                  <a:xfrm>
                    <a:off x="8390203" y="4397222"/>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5BCCF"/>
                  </a:solidFill>
                  <a:ln w="2339" cap="flat">
                    <a:noFill/>
                    <a:prstDash val="solid"/>
                    <a:miter/>
                  </a:ln>
                </p:spPr>
                <p:txBody>
                  <a:bodyPr rtlCol="0" anchor="ctr"/>
                  <a:lstStyle/>
                  <a:p>
                    <a:endParaRPr lang="en-US" sz="2400"/>
                  </a:p>
                </p:txBody>
              </p:sp>
              <p:sp>
                <p:nvSpPr>
                  <p:cNvPr id="299" name="Freeform: Shape 298">
                    <a:extLst>
                      <a:ext uri="{FF2B5EF4-FFF2-40B4-BE49-F238E27FC236}">
                        <a16:creationId xmlns:a16="http://schemas.microsoft.com/office/drawing/2014/main" id="{6742C993-3B0B-DF7C-AF40-B1542C341CA0}"/>
                      </a:ext>
                    </a:extLst>
                  </p:cNvPr>
                  <p:cNvSpPr/>
                  <p:nvPr userDrawn="1"/>
                </p:nvSpPr>
                <p:spPr>
                  <a:xfrm>
                    <a:off x="8390764" y="4397128"/>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6BCCF"/>
                  </a:solidFill>
                  <a:ln w="2339" cap="flat">
                    <a:noFill/>
                    <a:prstDash val="solid"/>
                    <a:miter/>
                  </a:ln>
                </p:spPr>
                <p:txBody>
                  <a:bodyPr rtlCol="0" anchor="ctr"/>
                  <a:lstStyle/>
                  <a:p>
                    <a:endParaRPr lang="en-US" sz="2400"/>
                  </a:p>
                </p:txBody>
              </p:sp>
              <p:sp>
                <p:nvSpPr>
                  <p:cNvPr id="300" name="Freeform: Shape 299">
                    <a:extLst>
                      <a:ext uri="{FF2B5EF4-FFF2-40B4-BE49-F238E27FC236}">
                        <a16:creationId xmlns:a16="http://schemas.microsoft.com/office/drawing/2014/main" id="{9FCE8BEC-C445-2865-28EC-D7C14A0849EC}"/>
                      </a:ext>
                    </a:extLst>
                  </p:cNvPr>
                  <p:cNvSpPr/>
                  <p:nvPr userDrawn="1"/>
                </p:nvSpPr>
                <p:spPr>
                  <a:xfrm>
                    <a:off x="8391326" y="439701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6BCCF"/>
                  </a:solidFill>
                  <a:ln w="2339" cap="flat">
                    <a:noFill/>
                    <a:prstDash val="solid"/>
                    <a:miter/>
                  </a:ln>
                </p:spPr>
                <p:txBody>
                  <a:bodyPr rtlCol="0" anchor="ctr"/>
                  <a:lstStyle/>
                  <a:p>
                    <a:endParaRPr lang="en-US" sz="2400"/>
                  </a:p>
                </p:txBody>
              </p:sp>
              <p:sp>
                <p:nvSpPr>
                  <p:cNvPr id="301" name="Freeform: Shape 300">
                    <a:extLst>
                      <a:ext uri="{FF2B5EF4-FFF2-40B4-BE49-F238E27FC236}">
                        <a16:creationId xmlns:a16="http://schemas.microsoft.com/office/drawing/2014/main" id="{556146A0-BE39-8D4D-82B7-DB45080F30D4}"/>
                      </a:ext>
                    </a:extLst>
                  </p:cNvPr>
                  <p:cNvSpPr/>
                  <p:nvPr userDrawn="1"/>
                </p:nvSpPr>
                <p:spPr>
                  <a:xfrm>
                    <a:off x="8391888" y="4396918"/>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74"/>
                          <a:pt x="0" y="32667"/>
                          <a:pt x="0" y="21037"/>
                        </a:cubicBezTo>
                        <a:close/>
                      </a:path>
                    </a:pathLst>
                  </a:custGeom>
                  <a:solidFill>
                    <a:srgbClr val="B6BDCF"/>
                  </a:solidFill>
                  <a:ln w="2339" cap="flat">
                    <a:noFill/>
                    <a:prstDash val="solid"/>
                    <a:miter/>
                  </a:ln>
                </p:spPr>
                <p:txBody>
                  <a:bodyPr rtlCol="0" anchor="ctr"/>
                  <a:lstStyle/>
                  <a:p>
                    <a:endParaRPr lang="en-US" sz="2400"/>
                  </a:p>
                </p:txBody>
              </p:sp>
              <p:sp>
                <p:nvSpPr>
                  <p:cNvPr id="302" name="Freeform: Shape 301">
                    <a:extLst>
                      <a:ext uri="{FF2B5EF4-FFF2-40B4-BE49-F238E27FC236}">
                        <a16:creationId xmlns:a16="http://schemas.microsoft.com/office/drawing/2014/main" id="{1C851EE6-3565-BC07-C89F-20C434EE83DF}"/>
                      </a:ext>
                    </a:extLst>
                  </p:cNvPr>
                  <p:cNvSpPr/>
                  <p:nvPr userDrawn="1"/>
                </p:nvSpPr>
                <p:spPr>
                  <a:xfrm>
                    <a:off x="8392449" y="439680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97"/>
                          <a:pt x="0" y="32667"/>
                          <a:pt x="0" y="21037"/>
                        </a:cubicBezTo>
                        <a:close/>
                      </a:path>
                    </a:pathLst>
                  </a:custGeom>
                  <a:solidFill>
                    <a:srgbClr val="B7BDD0"/>
                  </a:solidFill>
                  <a:ln w="2339" cap="flat">
                    <a:noFill/>
                    <a:prstDash val="solid"/>
                    <a:miter/>
                  </a:ln>
                </p:spPr>
                <p:txBody>
                  <a:bodyPr rtlCol="0" anchor="ctr"/>
                  <a:lstStyle/>
                  <a:p>
                    <a:endParaRPr lang="en-US" sz="2400"/>
                  </a:p>
                </p:txBody>
              </p:sp>
              <p:sp>
                <p:nvSpPr>
                  <p:cNvPr id="303" name="Freeform: Shape 302">
                    <a:extLst>
                      <a:ext uri="{FF2B5EF4-FFF2-40B4-BE49-F238E27FC236}">
                        <a16:creationId xmlns:a16="http://schemas.microsoft.com/office/drawing/2014/main" id="{DDCFC538-364C-C92B-FC87-663143564EDB}"/>
                      </a:ext>
                    </a:extLst>
                  </p:cNvPr>
                  <p:cNvSpPr/>
                  <p:nvPr userDrawn="1"/>
                </p:nvSpPr>
                <p:spPr>
                  <a:xfrm>
                    <a:off x="8392987" y="4396707"/>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7BDD0"/>
                  </a:solidFill>
                  <a:ln w="2339" cap="flat">
                    <a:noFill/>
                    <a:prstDash val="solid"/>
                    <a:miter/>
                  </a:ln>
                </p:spPr>
                <p:txBody>
                  <a:bodyPr rtlCol="0" anchor="ctr"/>
                  <a:lstStyle/>
                  <a:p>
                    <a:endParaRPr lang="en-US" sz="2400"/>
                  </a:p>
                </p:txBody>
              </p:sp>
              <p:sp>
                <p:nvSpPr>
                  <p:cNvPr id="304" name="Freeform: Shape 303">
                    <a:extLst>
                      <a:ext uri="{FF2B5EF4-FFF2-40B4-BE49-F238E27FC236}">
                        <a16:creationId xmlns:a16="http://schemas.microsoft.com/office/drawing/2014/main" id="{69E9B8ED-22A4-27FE-7373-713620B6E445}"/>
                      </a:ext>
                    </a:extLst>
                  </p:cNvPr>
                  <p:cNvSpPr/>
                  <p:nvPr userDrawn="1"/>
                </p:nvSpPr>
                <p:spPr>
                  <a:xfrm>
                    <a:off x="8393549" y="439659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7BED0"/>
                  </a:solidFill>
                  <a:ln w="2339" cap="flat">
                    <a:noFill/>
                    <a:prstDash val="solid"/>
                    <a:miter/>
                  </a:ln>
                </p:spPr>
                <p:txBody>
                  <a:bodyPr rtlCol="0" anchor="ctr"/>
                  <a:lstStyle/>
                  <a:p>
                    <a:endParaRPr lang="en-US" sz="2400"/>
                  </a:p>
                </p:txBody>
              </p:sp>
              <p:sp>
                <p:nvSpPr>
                  <p:cNvPr id="305" name="Freeform: Shape 304">
                    <a:extLst>
                      <a:ext uri="{FF2B5EF4-FFF2-40B4-BE49-F238E27FC236}">
                        <a16:creationId xmlns:a16="http://schemas.microsoft.com/office/drawing/2014/main" id="{3BDAEBD6-5FE5-A928-8F40-37BB73A5E0B9}"/>
                      </a:ext>
                    </a:extLst>
                  </p:cNvPr>
                  <p:cNvSpPr/>
                  <p:nvPr userDrawn="1"/>
                </p:nvSpPr>
                <p:spPr>
                  <a:xfrm>
                    <a:off x="8394111" y="4396473"/>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7BED0"/>
                  </a:solidFill>
                  <a:ln w="2339" cap="flat">
                    <a:noFill/>
                    <a:prstDash val="solid"/>
                    <a:miter/>
                  </a:ln>
                </p:spPr>
                <p:txBody>
                  <a:bodyPr rtlCol="0" anchor="ctr"/>
                  <a:lstStyle/>
                  <a:p>
                    <a:endParaRPr lang="en-US" sz="2400"/>
                  </a:p>
                </p:txBody>
              </p:sp>
              <p:sp>
                <p:nvSpPr>
                  <p:cNvPr id="306" name="Freeform: Shape 305">
                    <a:extLst>
                      <a:ext uri="{FF2B5EF4-FFF2-40B4-BE49-F238E27FC236}">
                        <a16:creationId xmlns:a16="http://schemas.microsoft.com/office/drawing/2014/main" id="{67AC3052-5D7C-A9A8-C035-A31C7CCD3F40}"/>
                      </a:ext>
                    </a:extLst>
                  </p:cNvPr>
                  <p:cNvSpPr/>
                  <p:nvPr userDrawn="1"/>
                </p:nvSpPr>
                <p:spPr>
                  <a:xfrm>
                    <a:off x="8394672" y="439638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74"/>
                          <a:pt x="0" y="32643"/>
                          <a:pt x="0" y="21037"/>
                        </a:cubicBezTo>
                        <a:close/>
                      </a:path>
                    </a:pathLst>
                  </a:custGeom>
                  <a:solidFill>
                    <a:srgbClr val="B8BED0"/>
                  </a:solidFill>
                  <a:ln w="2339" cap="flat">
                    <a:noFill/>
                    <a:prstDash val="solid"/>
                    <a:miter/>
                  </a:ln>
                </p:spPr>
                <p:txBody>
                  <a:bodyPr rtlCol="0" anchor="ctr"/>
                  <a:lstStyle/>
                  <a:p>
                    <a:endParaRPr lang="en-US" sz="2400"/>
                  </a:p>
                </p:txBody>
              </p:sp>
              <p:sp>
                <p:nvSpPr>
                  <p:cNvPr id="307" name="Freeform: Shape 306">
                    <a:extLst>
                      <a:ext uri="{FF2B5EF4-FFF2-40B4-BE49-F238E27FC236}">
                        <a16:creationId xmlns:a16="http://schemas.microsoft.com/office/drawing/2014/main" id="{96F05156-CC63-E7AE-5D1F-A8166A088464}"/>
                      </a:ext>
                    </a:extLst>
                  </p:cNvPr>
                  <p:cNvSpPr/>
                  <p:nvPr userDrawn="1"/>
                </p:nvSpPr>
                <p:spPr>
                  <a:xfrm>
                    <a:off x="8395210" y="4396263"/>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8BED1"/>
                  </a:solidFill>
                  <a:ln w="2339" cap="flat">
                    <a:noFill/>
                    <a:prstDash val="solid"/>
                    <a:miter/>
                  </a:ln>
                </p:spPr>
                <p:txBody>
                  <a:bodyPr rtlCol="0" anchor="ctr"/>
                  <a:lstStyle/>
                  <a:p>
                    <a:endParaRPr lang="en-US" sz="2400"/>
                  </a:p>
                </p:txBody>
              </p:sp>
              <p:sp>
                <p:nvSpPr>
                  <p:cNvPr id="308" name="Freeform: Shape 307">
                    <a:extLst>
                      <a:ext uri="{FF2B5EF4-FFF2-40B4-BE49-F238E27FC236}">
                        <a16:creationId xmlns:a16="http://schemas.microsoft.com/office/drawing/2014/main" id="{DE248BF9-A088-0C45-229A-C9BE2D394BF4}"/>
                      </a:ext>
                    </a:extLst>
                  </p:cNvPr>
                  <p:cNvSpPr/>
                  <p:nvPr userDrawn="1"/>
                </p:nvSpPr>
                <p:spPr>
                  <a:xfrm>
                    <a:off x="8395772" y="4396146"/>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8BFD1"/>
                  </a:solidFill>
                  <a:ln w="2339" cap="flat">
                    <a:noFill/>
                    <a:prstDash val="solid"/>
                    <a:miter/>
                  </a:ln>
                </p:spPr>
                <p:txBody>
                  <a:bodyPr rtlCol="0" anchor="ctr"/>
                  <a:lstStyle/>
                  <a:p>
                    <a:endParaRPr lang="en-US" sz="2400"/>
                  </a:p>
                </p:txBody>
              </p:sp>
              <p:sp>
                <p:nvSpPr>
                  <p:cNvPr id="309" name="Freeform: Shape 308">
                    <a:extLst>
                      <a:ext uri="{FF2B5EF4-FFF2-40B4-BE49-F238E27FC236}">
                        <a16:creationId xmlns:a16="http://schemas.microsoft.com/office/drawing/2014/main" id="{A260C83D-4F3C-F1FC-CCE2-5AA5F27F131E}"/>
                      </a:ext>
                    </a:extLst>
                  </p:cNvPr>
                  <p:cNvSpPr/>
                  <p:nvPr userDrawn="1"/>
                </p:nvSpPr>
                <p:spPr>
                  <a:xfrm>
                    <a:off x="8396310" y="439602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9BFD1"/>
                  </a:solidFill>
                  <a:ln w="2339" cap="flat">
                    <a:noFill/>
                    <a:prstDash val="solid"/>
                    <a:miter/>
                  </a:ln>
                </p:spPr>
                <p:txBody>
                  <a:bodyPr rtlCol="0" anchor="ctr"/>
                  <a:lstStyle/>
                  <a:p>
                    <a:endParaRPr lang="en-US" sz="2400"/>
                  </a:p>
                </p:txBody>
              </p:sp>
              <p:sp>
                <p:nvSpPr>
                  <p:cNvPr id="310" name="Freeform: Shape 309">
                    <a:extLst>
                      <a:ext uri="{FF2B5EF4-FFF2-40B4-BE49-F238E27FC236}">
                        <a16:creationId xmlns:a16="http://schemas.microsoft.com/office/drawing/2014/main" id="{9939232B-C94F-58F4-12F0-88CA333A4466}"/>
                      </a:ext>
                    </a:extLst>
                  </p:cNvPr>
                  <p:cNvSpPr/>
                  <p:nvPr userDrawn="1"/>
                </p:nvSpPr>
                <p:spPr>
                  <a:xfrm>
                    <a:off x="8396872" y="4395912"/>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9BFD1"/>
                  </a:solidFill>
                  <a:ln w="2339" cap="flat">
                    <a:noFill/>
                    <a:prstDash val="solid"/>
                    <a:miter/>
                  </a:ln>
                </p:spPr>
                <p:txBody>
                  <a:bodyPr rtlCol="0" anchor="ctr"/>
                  <a:lstStyle/>
                  <a:p>
                    <a:endParaRPr lang="en-US" sz="2400"/>
                  </a:p>
                </p:txBody>
              </p:sp>
              <p:sp>
                <p:nvSpPr>
                  <p:cNvPr id="311" name="Freeform: Shape 310">
                    <a:extLst>
                      <a:ext uri="{FF2B5EF4-FFF2-40B4-BE49-F238E27FC236}">
                        <a16:creationId xmlns:a16="http://schemas.microsoft.com/office/drawing/2014/main" id="{AFCA68CF-A6A6-674E-C1B8-F1F0E34972B5}"/>
                      </a:ext>
                    </a:extLst>
                  </p:cNvPr>
                  <p:cNvSpPr/>
                  <p:nvPr userDrawn="1"/>
                </p:nvSpPr>
                <p:spPr>
                  <a:xfrm>
                    <a:off x="8397433" y="4395795"/>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97"/>
                          <a:pt x="0" y="32667"/>
                          <a:pt x="0" y="21037"/>
                        </a:cubicBezTo>
                        <a:close/>
                      </a:path>
                    </a:pathLst>
                  </a:custGeom>
                  <a:solidFill>
                    <a:srgbClr val="B9C0D1"/>
                  </a:solidFill>
                  <a:ln w="2339" cap="flat">
                    <a:noFill/>
                    <a:prstDash val="solid"/>
                    <a:miter/>
                  </a:ln>
                </p:spPr>
                <p:txBody>
                  <a:bodyPr rtlCol="0" anchor="ctr"/>
                  <a:lstStyle/>
                  <a:p>
                    <a:endParaRPr lang="en-US" sz="2400"/>
                  </a:p>
                </p:txBody>
              </p:sp>
              <p:sp>
                <p:nvSpPr>
                  <p:cNvPr id="312" name="Freeform: Shape 311">
                    <a:extLst>
                      <a:ext uri="{FF2B5EF4-FFF2-40B4-BE49-F238E27FC236}">
                        <a16:creationId xmlns:a16="http://schemas.microsoft.com/office/drawing/2014/main" id="{B3AE7595-A535-6BFB-7361-8EFADFD17B4A}"/>
                      </a:ext>
                    </a:extLst>
                  </p:cNvPr>
                  <p:cNvSpPr/>
                  <p:nvPr userDrawn="1"/>
                </p:nvSpPr>
                <p:spPr>
                  <a:xfrm>
                    <a:off x="8397972" y="4395678"/>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AC0D2"/>
                  </a:solidFill>
                  <a:ln w="2339" cap="flat">
                    <a:noFill/>
                    <a:prstDash val="solid"/>
                    <a:miter/>
                  </a:ln>
                </p:spPr>
                <p:txBody>
                  <a:bodyPr rtlCol="0" anchor="ctr"/>
                  <a:lstStyle/>
                  <a:p>
                    <a:endParaRPr lang="en-US" sz="2400"/>
                  </a:p>
                </p:txBody>
              </p:sp>
              <p:sp>
                <p:nvSpPr>
                  <p:cNvPr id="313" name="Freeform: Shape 312">
                    <a:extLst>
                      <a:ext uri="{FF2B5EF4-FFF2-40B4-BE49-F238E27FC236}">
                        <a16:creationId xmlns:a16="http://schemas.microsoft.com/office/drawing/2014/main" id="{2C94D8FC-CFF4-A285-7BEF-9D7328D0F9D0}"/>
                      </a:ext>
                    </a:extLst>
                  </p:cNvPr>
                  <p:cNvSpPr/>
                  <p:nvPr userDrawn="1"/>
                </p:nvSpPr>
                <p:spPr>
                  <a:xfrm>
                    <a:off x="8398510" y="439556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AC0D2"/>
                  </a:solidFill>
                  <a:ln w="2339" cap="flat">
                    <a:noFill/>
                    <a:prstDash val="solid"/>
                    <a:miter/>
                  </a:ln>
                </p:spPr>
                <p:txBody>
                  <a:bodyPr rtlCol="0" anchor="ctr"/>
                  <a:lstStyle/>
                  <a:p>
                    <a:endParaRPr lang="en-US" sz="2400"/>
                  </a:p>
                </p:txBody>
              </p:sp>
              <p:sp>
                <p:nvSpPr>
                  <p:cNvPr id="314" name="Freeform: Shape 313">
                    <a:extLst>
                      <a:ext uri="{FF2B5EF4-FFF2-40B4-BE49-F238E27FC236}">
                        <a16:creationId xmlns:a16="http://schemas.microsoft.com/office/drawing/2014/main" id="{97AFC678-9209-B912-72A5-9B58D7A2E216}"/>
                      </a:ext>
                    </a:extLst>
                  </p:cNvPr>
                  <p:cNvSpPr/>
                  <p:nvPr userDrawn="1"/>
                </p:nvSpPr>
                <p:spPr>
                  <a:xfrm>
                    <a:off x="8399071" y="4395444"/>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AC0D2"/>
                  </a:solidFill>
                  <a:ln w="2339" cap="flat">
                    <a:noFill/>
                    <a:prstDash val="solid"/>
                    <a:miter/>
                  </a:ln>
                </p:spPr>
                <p:txBody>
                  <a:bodyPr rtlCol="0" anchor="ctr"/>
                  <a:lstStyle/>
                  <a:p>
                    <a:endParaRPr lang="en-US" sz="2400"/>
                  </a:p>
                </p:txBody>
              </p:sp>
              <p:sp>
                <p:nvSpPr>
                  <p:cNvPr id="315" name="Freeform: Shape 314">
                    <a:extLst>
                      <a:ext uri="{FF2B5EF4-FFF2-40B4-BE49-F238E27FC236}">
                        <a16:creationId xmlns:a16="http://schemas.microsoft.com/office/drawing/2014/main" id="{69E1E69B-1612-36DC-3431-70D8D2D872B7}"/>
                      </a:ext>
                    </a:extLst>
                  </p:cNvPr>
                  <p:cNvSpPr/>
                  <p:nvPr userDrawn="1"/>
                </p:nvSpPr>
                <p:spPr>
                  <a:xfrm>
                    <a:off x="8399610" y="4395327"/>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AC1D2"/>
                  </a:solidFill>
                  <a:ln w="2339" cap="flat">
                    <a:noFill/>
                    <a:prstDash val="solid"/>
                    <a:miter/>
                  </a:ln>
                </p:spPr>
                <p:txBody>
                  <a:bodyPr rtlCol="0" anchor="ctr"/>
                  <a:lstStyle/>
                  <a:p>
                    <a:endParaRPr lang="en-US" sz="2400"/>
                  </a:p>
                </p:txBody>
              </p:sp>
              <p:sp>
                <p:nvSpPr>
                  <p:cNvPr id="316" name="Freeform: Shape 315">
                    <a:extLst>
                      <a:ext uri="{FF2B5EF4-FFF2-40B4-BE49-F238E27FC236}">
                        <a16:creationId xmlns:a16="http://schemas.microsoft.com/office/drawing/2014/main" id="{4A724DC5-1D71-6CF3-984A-74AD93E5AA47}"/>
                      </a:ext>
                    </a:extLst>
                  </p:cNvPr>
                  <p:cNvSpPr/>
                  <p:nvPr userDrawn="1"/>
                </p:nvSpPr>
                <p:spPr>
                  <a:xfrm>
                    <a:off x="8400171" y="439521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74"/>
                          <a:pt x="0" y="32643"/>
                          <a:pt x="0" y="21037"/>
                        </a:cubicBezTo>
                        <a:close/>
                      </a:path>
                    </a:pathLst>
                  </a:custGeom>
                  <a:solidFill>
                    <a:srgbClr val="BBC1D2"/>
                  </a:solidFill>
                  <a:ln w="2339" cap="flat">
                    <a:noFill/>
                    <a:prstDash val="solid"/>
                    <a:miter/>
                  </a:ln>
                </p:spPr>
                <p:txBody>
                  <a:bodyPr rtlCol="0" anchor="ctr"/>
                  <a:lstStyle/>
                  <a:p>
                    <a:endParaRPr lang="en-US" sz="2400"/>
                  </a:p>
                </p:txBody>
              </p:sp>
              <p:sp>
                <p:nvSpPr>
                  <p:cNvPr id="317" name="Freeform: Shape 316">
                    <a:extLst>
                      <a:ext uri="{FF2B5EF4-FFF2-40B4-BE49-F238E27FC236}">
                        <a16:creationId xmlns:a16="http://schemas.microsoft.com/office/drawing/2014/main" id="{B1CE94A7-5DC0-4C75-25F2-AB496C20F173}"/>
                      </a:ext>
                    </a:extLst>
                  </p:cNvPr>
                  <p:cNvSpPr/>
                  <p:nvPr userDrawn="1"/>
                </p:nvSpPr>
                <p:spPr>
                  <a:xfrm>
                    <a:off x="8400710" y="439506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BC1D3"/>
                  </a:solidFill>
                  <a:ln w="2339" cap="flat">
                    <a:noFill/>
                    <a:prstDash val="solid"/>
                    <a:miter/>
                  </a:ln>
                </p:spPr>
                <p:txBody>
                  <a:bodyPr rtlCol="0" anchor="ctr"/>
                  <a:lstStyle/>
                  <a:p>
                    <a:endParaRPr lang="en-US" sz="2400"/>
                  </a:p>
                </p:txBody>
              </p:sp>
              <p:sp>
                <p:nvSpPr>
                  <p:cNvPr id="318" name="Freeform: Shape 317">
                    <a:extLst>
                      <a:ext uri="{FF2B5EF4-FFF2-40B4-BE49-F238E27FC236}">
                        <a16:creationId xmlns:a16="http://schemas.microsoft.com/office/drawing/2014/main" id="{2D9E30FC-AB4A-4DA7-371B-714B3F57A275}"/>
                      </a:ext>
                    </a:extLst>
                  </p:cNvPr>
                  <p:cNvSpPr/>
                  <p:nvPr userDrawn="1"/>
                </p:nvSpPr>
                <p:spPr>
                  <a:xfrm>
                    <a:off x="8401248" y="4394952"/>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BC1D3"/>
                  </a:solidFill>
                  <a:ln w="2339" cap="flat">
                    <a:noFill/>
                    <a:prstDash val="solid"/>
                    <a:miter/>
                  </a:ln>
                </p:spPr>
                <p:txBody>
                  <a:bodyPr rtlCol="0" anchor="ctr"/>
                  <a:lstStyle/>
                  <a:p>
                    <a:endParaRPr lang="en-US" sz="2400"/>
                  </a:p>
                </p:txBody>
              </p:sp>
              <p:sp>
                <p:nvSpPr>
                  <p:cNvPr id="319" name="Freeform: Shape 318">
                    <a:extLst>
                      <a:ext uri="{FF2B5EF4-FFF2-40B4-BE49-F238E27FC236}">
                        <a16:creationId xmlns:a16="http://schemas.microsoft.com/office/drawing/2014/main" id="{32A4B276-6F73-2757-ABF7-09B28C2CBD74}"/>
                      </a:ext>
                    </a:extLst>
                  </p:cNvPr>
                  <p:cNvSpPr/>
                  <p:nvPr userDrawn="1"/>
                </p:nvSpPr>
                <p:spPr>
                  <a:xfrm>
                    <a:off x="8401809" y="4394835"/>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74"/>
                          <a:pt x="0" y="32667"/>
                          <a:pt x="0" y="21037"/>
                        </a:cubicBezTo>
                        <a:close/>
                      </a:path>
                    </a:pathLst>
                  </a:custGeom>
                  <a:solidFill>
                    <a:srgbClr val="BCC2D3"/>
                  </a:solidFill>
                  <a:ln w="2339" cap="flat">
                    <a:noFill/>
                    <a:prstDash val="solid"/>
                    <a:miter/>
                  </a:ln>
                </p:spPr>
                <p:txBody>
                  <a:bodyPr rtlCol="0" anchor="ctr"/>
                  <a:lstStyle/>
                  <a:p>
                    <a:endParaRPr lang="en-US" sz="2400"/>
                  </a:p>
                </p:txBody>
              </p:sp>
              <p:sp>
                <p:nvSpPr>
                  <p:cNvPr id="320" name="Freeform: Shape 319">
                    <a:extLst>
                      <a:ext uri="{FF2B5EF4-FFF2-40B4-BE49-F238E27FC236}">
                        <a16:creationId xmlns:a16="http://schemas.microsoft.com/office/drawing/2014/main" id="{2DBE3DA1-B226-0A24-40A7-44AE30D309F6}"/>
                      </a:ext>
                    </a:extLst>
                  </p:cNvPr>
                  <p:cNvSpPr/>
                  <p:nvPr userDrawn="1"/>
                </p:nvSpPr>
                <p:spPr>
                  <a:xfrm>
                    <a:off x="8402348" y="4394695"/>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97"/>
                          <a:pt x="0" y="32667"/>
                          <a:pt x="0" y="21037"/>
                        </a:cubicBezTo>
                        <a:close/>
                      </a:path>
                    </a:pathLst>
                  </a:custGeom>
                  <a:solidFill>
                    <a:srgbClr val="BCC2D3"/>
                  </a:solidFill>
                  <a:ln w="2339" cap="flat">
                    <a:noFill/>
                    <a:prstDash val="solid"/>
                    <a:miter/>
                  </a:ln>
                </p:spPr>
                <p:txBody>
                  <a:bodyPr rtlCol="0" anchor="ctr"/>
                  <a:lstStyle/>
                  <a:p>
                    <a:endParaRPr lang="en-US" sz="2400"/>
                  </a:p>
                </p:txBody>
              </p:sp>
              <p:sp>
                <p:nvSpPr>
                  <p:cNvPr id="321" name="Freeform: Shape 320">
                    <a:extLst>
                      <a:ext uri="{FF2B5EF4-FFF2-40B4-BE49-F238E27FC236}">
                        <a16:creationId xmlns:a16="http://schemas.microsoft.com/office/drawing/2014/main" id="{00E34CEF-AFE8-3C2E-760E-2A7DF036E25B}"/>
                      </a:ext>
                    </a:extLst>
                  </p:cNvPr>
                  <p:cNvSpPr/>
                  <p:nvPr userDrawn="1"/>
                </p:nvSpPr>
                <p:spPr>
                  <a:xfrm>
                    <a:off x="8402886" y="4394578"/>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CC2D3"/>
                  </a:solidFill>
                  <a:ln w="2339" cap="flat">
                    <a:noFill/>
                    <a:prstDash val="solid"/>
                    <a:miter/>
                  </a:ln>
                </p:spPr>
                <p:txBody>
                  <a:bodyPr rtlCol="0" anchor="ctr"/>
                  <a:lstStyle/>
                  <a:p>
                    <a:endParaRPr lang="en-US" sz="2400"/>
                  </a:p>
                </p:txBody>
              </p:sp>
              <p:sp>
                <p:nvSpPr>
                  <p:cNvPr id="322" name="Freeform: Shape 321">
                    <a:extLst>
                      <a:ext uri="{FF2B5EF4-FFF2-40B4-BE49-F238E27FC236}">
                        <a16:creationId xmlns:a16="http://schemas.microsoft.com/office/drawing/2014/main" id="{92E0AED2-BF75-2E78-FC40-80BB5C1C4611}"/>
                      </a:ext>
                    </a:extLst>
                  </p:cNvPr>
                  <p:cNvSpPr/>
                  <p:nvPr userDrawn="1"/>
                </p:nvSpPr>
                <p:spPr>
                  <a:xfrm>
                    <a:off x="8403424" y="4394437"/>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DC3D4"/>
                  </a:solidFill>
                  <a:ln w="2339" cap="flat">
                    <a:noFill/>
                    <a:prstDash val="solid"/>
                    <a:miter/>
                  </a:ln>
                </p:spPr>
                <p:txBody>
                  <a:bodyPr rtlCol="0" anchor="ctr"/>
                  <a:lstStyle/>
                  <a:p>
                    <a:endParaRPr lang="en-US" sz="2400"/>
                  </a:p>
                </p:txBody>
              </p:sp>
              <p:sp>
                <p:nvSpPr>
                  <p:cNvPr id="323" name="Freeform: Shape 322">
                    <a:extLst>
                      <a:ext uri="{FF2B5EF4-FFF2-40B4-BE49-F238E27FC236}">
                        <a16:creationId xmlns:a16="http://schemas.microsoft.com/office/drawing/2014/main" id="{1F2EA07B-67A0-5655-B838-F7C3413B02F3}"/>
                      </a:ext>
                    </a:extLst>
                  </p:cNvPr>
                  <p:cNvSpPr/>
                  <p:nvPr userDrawn="1"/>
                </p:nvSpPr>
                <p:spPr>
                  <a:xfrm>
                    <a:off x="8403962" y="439432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DC3D4"/>
                  </a:solidFill>
                  <a:ln w="2339" cap="flat">
                    <a:noFill/>
                    <a:prstDash val="solid"/>
                    <a:miter/>
                  </a:ln>
                </p:spPr>
                <p:txBody>
                  <a:bodyPr rtlCol="0" anchor="ctr"/>
                  <a:lstStyle/>
                  <a:p>
                    <a:endParaRPr lang="en-US" sz="2400"/>
                  </a:p>
                </p:txBody>
              </p:sp>
              <p:sp>
                <p:nvSpPr>
                  <p:cNvPr id="324" name="Freeform: Shape 323">
                    <a:extLst>
                      <a:ext uri="{FF2B5EF4-FFF2-40B4-BE49-F238E27FC236}">
                        <a16:creationId xmlns:a16="http://schemas.microsoft.com/office/drawing/2014/main" id="{A1C4DC74-5F1E-F7B4-C409-8EBB76CA8CDB}"/>
                      </a:ext>
                    </a:extLst>
                  </p:cNvPr>
                  <p:cNvSpPr/>
                  <p:nvPr userDrawn="1"/>
                </p:nvSpPr>
                <p:spPr>
                  <a:xfrm>
                    <a:off x="8404500" y="439418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DC3D4"/>
                  </a:solidFill>
                  <a:ln w="2339" cap="flat">
                    <a:noFill/>
                    <a:prstDash val="solid"/>
                    <a:miter/>
                  </a:ln>
                </p:spPr>
                <p:txBody>
                  <a:bodyPr rtlCol="0" anchor="ctr"/>
                  <a:lstStyle/>
                  <a:p>
                    <a:endParaRPr lang="en-US" sz="2400"/>
                  </a:p>
                </p:txBody>
              </p:sp>
              <p:sp>
                <p:nvSpPr>
                  <p:cNvPr id="325" name="Freeform: Shape 324">
                    <a:extLst>
                      <a:ext uri="{FF2B5EF4-FFF2-40B4-BE49-F238E27FC236}">
                        <a16:creationId xmlns:a16="http://schemas.microsoft.com/office/drawing/2014/main" id="{8A38DCE1-0D0B-25E9-F4B0-6C051325B7FB}"/>
                      </a:ext>
                    </a:extLst>
                  </p:cNvPr>
                  <p:cNvSpPr/>
                  <p:nvPr userDrawn="1"/>
                </p:nvSpPr>
                <p:spPr>
                  <a:xfrm>
                    <a:off x="8405039" y="439404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EC3D4"/>
                  </a:solidFill>
                  <a:ln w="2339" cap="flat">
                    <a:noFill/>
                    <a:prstDash val="solid"/>
                    <a:miter/>
                  </a:ln>
                </p:spPr>
                <p:txBody>
                  <a:bodyPr rtlCol="0" anchor="ctr"/>
                  <a:lstStyle/>
                  <a:p>
                    <a:endParaRPr lang="en-US" sz="2400"/>
                  </a:p>
                </p:txBody>
              </p:sp>
              <p:sp>
                <p:nvSpPr>
                  <p:cNvPr id="326" name="Freeform: Shape 325">
                    <a:extLst>
                      <a:ext uri="{FF2B5EF4-FFF2-40B4-BE49-F238E27FC236}">
                        <a16:creationId xmlns:a16="http://schemas.microsoft.com/office/drawing/2014/main" id="{37C976AD-A969-4873-5AF7-48C8B032513B}"/>
                      </a:ext>
                    </a:extLst>
                  </p:cNvPr>
                  <p:cNvSpPr/>
                  <p:nvPr userDrawn="1"/>
                </p:nvSpPr>
                <p:spPr>
                  <a:xfrm>
                    <a:off x="8405577" y="4393923"/>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EC4D4"/>
                  </a:solidFill>
                  <a:ln w="2339" cap="flat">
                    <a:noFill/>
                    <a:prstDash val="solid"/>
                    <a:miter/>
                  </a:ln>
                </p:spPr>
                <p:txBody>
                  <a:bodyPr rtlCol="0" anchor="ctr"/>
                  <a:lstStyle/>
                  <a:p>
                    <a:endParaRPr lang="en-US" sz="2400"/>
                  </a:p>
                </p:txBody>
              </p:sp>
              <p:sp>
                <p:nvSpPr>
                  <p:cNvPr id="327" name="Freeform: Shape 326">
                    <a:extLst>
                      <a:ext uri="{FF2B5EF4-FFF2-40B4-BE49-F238E27FC236}">
                        <a16:creationId xmlns:a16="http://schemas.microsoft.com/office/drawing/2014/main" id="{5929F8C2-BE75-7540-872B-3D58356C9DE4}"/>
                      </a:ext>
                    </a:extLst>
                  </p:cNvPr>
                  <p:cNvSpPr/>
                  <p:nvPr userDrawn="1"/>
                </p:nvSpPr>
                <p:spPr>
                  <a:xfrm>
                    <a:off x="8406115" y="4393782"/>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EC4D5"/>
                  </a:solidFill>
                  <a:ln w="2339" cap="flat">
                    <a:noFill/>
                    <a:prstDash val="solid"/>
                    <a:miter/>
                  </a:ln>
                </p:spPr>
                <p:txBody>
                  <a:bodyPr rtlCol="0" anchor="ctr"/>
                  <a:lstStyle/>
                  <a:p>
                    <a:endParaRPr lang="en-US" sz="2400"/>
                  </a:p>
                </p:txBody>
              </p:sp>
              <p:sp>
                <p:nvSpPr>
                  <p:cNvPr id="328" name="Freeform: Shape 327">
                    <a:extLst>
                      <a:ext uri="{FF2B5EF4-FFF2-40B4-BE49-F238E27FC236}">
                        <a16:creationId xmlns:a16="http://schemas.microsoft.com/office/drawing/2014/main" id="{B18F891F-7209-1C92-2B0B-0FB4DE5804BD}"/>
                      </a:ext>
                    </a:extLst>
                  </p:cNvPr>
                  <p:cNvSpPr/>
                  <p:nvPr userDrawn="1"/>
                </p:nvSpPr>
                <p:spPr>
                  <a:xfrm>
                    <a:off x="8406653" y="4393642"/>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EC4D5"/>
                  </a:solidFill>
                  <a:ln w="2339" cap="flat">
                    <a:noFill/>
                    <a:prstDash val="solid"/>
                    <a:miter/>
                  </a:ln>
                </p:spPr>
                <p:txBody>
                  <a:bodyPr rtlCol="0" anchor="ctr"/>
                  <a:lstStyle/>
                  <a:p>
                    <a:endParaRPr lang="en-US" sz="2400"/>
                  </a:p>
                </p:txBody>
              </p:sp>
              <p:sp>
                <p:nvSpPr>
                  <p:cNvPr id="329" name="Freeform: Shape 328">
                    <a:extLst>
                      <a:ext uri="{FF2B5EF4-FFF2-40B4-BE49-F238E27FC236}">
                        <a16:creationId xmlns:a16="http://schemas.microsoft.com/office/drawing/2014/main" id="{EE1C0AA4-8515-4FEF-0275-79C3A7F8DE31}"/>
                      </a:ext>
                    </a:extLst>
                  </p:cNvPr>
                  <p:cNvSpPr/>
                  <p:nvPr userDrawn="1"/>
                </p:nvSpPr>
                <p:spPr>
                  <a:xfrm>
                    <a:off x="8407191" y="439350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FC5D5"/>
                  </a:solidFill>
                  <a:ln w="2339" cap="flat">
                    <a:noFill/>
                    <a:prstDash val="solid"/>
                    <a:miter/>
                  </a:ln>
                </p:spPr>
                <p:txBody>
                  <a:bodyPr rtlCol="0" anchor="ctr"/>
                  <a:lstStyle/>
                  <a:p>
                    <a:endParaRPr lang="en-US" sz="2400"/>
                  </a:p>
                </p:txBody>
              </p:sp>
              <p:sp>
                <p:nvSpPr>
                  <p:cNvPr id="330" name="Freeform: Shape 329">
                    <a:extLst>
                      <a:ext uri="{FF2B5EF4-FFF2-40B4-BE49-F238E27FC236}">
                        <a16:creationId xmlns:a16="http://schemas.microsoft.com/office/drawing/2014/main" id="{DA1D6DAB-6F5D-911F-69CA-4CEF2A591126}"/>
                      </a:ext>
                    </a:extLst>
                  </p:cNvPr>
                  <p:cNvSpPr/>
                  <p:nvPr userDrawn="1"/>
                </p:nvSpPr>
                <p:spPr>
                  <a:xfrm>
                    <a:off x="8407730" y="439336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FC5D5"/>
                  </a:solidFill>
                  <a:ln w="2339" cap="flat">
                    <a:noFill/>
                    <a:prstDash val="solid"/>
                    <a:miter/>
                  </a:ln>
                </p:spPr>
                <p:txBody>
                  <a:bodyPr rtlCol="0" anchor="ctr"/>
                  <a:lstStyle/>
                  <a:p>
                    <a:endParaRPr lang="en-US" sz="2400"/>
                  </a:p>
                </p:txBody>
              </p:sp>
              <p:sp>
                <p:nvSpPr>
                  <p:cNvPr id="331" name="Freeform: Shape 330">
                    <a:extLst>
                      <a:ext uri="{FF2B5EF4-FFF2-40B4-BE49-F238E27FC236}">
                        <a16:creationId xmlns:a16="http://schemas.microsoft.com/office/drawing/2014/main" id="{0AB76237-89DE-9135-8690-985B4DEB70F3}"/>
                      </a:ext>
                    </a:extLst>
                  </p:cNvPr>
                  <p:cNvSpPr/>
                  <p:nvPr userDrawn="1"/>
                </p:nvSpPr>
                <p:spPr>
                  <a:xfrm>
                    <a:off x="8408268" y="439322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97"/>
                          <a:pt x="0" y="32667"/>
                          <a:pt x="0" y="21037"/>
                        </a:cubicBezTo>
                        <a:close/>
                      </a:path>
                    </a:pathLst>
                  </a:custGeom>
                  <a:solidFill>
                    <a:srgbClr val="BFC5D5"/>
                  </a:solidFill>
                  <a:ln w="2339" cap="flat">
                    <a:noFill/>
                    <a:prstDash val="solid"/>
                    <a:miter/>
                  </a:ln>
                </p:spPr>
                <p:txBody>
                  <a:bodyPr rtlCol="0" anchor="ctr"/>
                  <a:lstStyle/>
                  <a:p>
                    <a:endParaRPr lang="en-US" sz="2400"/>
                  </a:p>
                </p:txBody>
              </p:sp>
              <p:sp>
                <p:nvSpPr>
                  <p:cNvPr id="332" name="Freeform: Shape 331">
                    <a:extLst>
                      <a:ext uri="{FF2B5EF4-FFF2-40B4-BE49-F238E27FC236}">
                        <a16:creationId xmlns:a16="http://schemas.microsoft.com/office/drawing/2014/main" id="{9B383ED3-164A-89C9-36CC-2AF377911D2B}"/>
                      </a:ext>
                    </a:extLst>
                  </p:cNvPr>
                  <p:cNvSpPr/>
                  <p:nvPr userDrawn="1"/>
                </p:nvSpPr>
                <p:spPr>
                  <a:xfrm>
                    <a:off x="8408783" y="439308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C0C5D6"/>
                  </a:solidFill>
                  <a:ln w="2339" cap="flat">
                    <a:noFill/>
                    <a:prstDash val="solid"/>
                    <a:miter/>
                  </a:ln>
                </p:spPr>
                <p:txBody>
                  <a:bodyPr rtlCol="0" anchor="ctr"/>
                  <a:lstStyle/>
                  <a:p>
                    <a:endParaRPr lang="en-US" sz="2400"/>
                  </a:p>
                </p:txBody>
              </p:sp>
              <p:sp>
                <p:nvSpPr>
                  <p:cNvPr id="333" name="Freeform: Shape 332">
                    <a:extLst>
                      <a:ext uri="{FF2B5EF4-FFF2-40B4-BE49-F238E27FC236}">
                        <a16:creationId xmlns:a16="http://schemas.microsoft.com/office/drawing/2014/main" id="{236A5C22-144D-BE95-F8D9-064C508E5691}"/>
                      </a:ext>
                    </a:extLst>
                  </p:cNvPr>
                  <p:cNvSpPr/>
                  <p:nvPr userDrawn="1"/>
                </p:nvSpPr>
                <p:spPr>
                  <a:xfrm>
                    <a:off x="8409321" y="439294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C0C6D6"/>
                  </a:solidFill>
                  <a:ln w="2339" cap="flat">
                    <a:noFill/>
                    <a:prstDash val="solid"/>
                    <a:miter/>
                  </a:ln>
                </p:spPr>
                <p:txBody>
                  <a:bodyPr rtlCol="0" anchor="ctr"/>
                  <a:lstStyle/>
                  <a:p>
                    <a:endParaRPr lang="en-US" sz="2400"/>
                  </a:p>
                </p:txBody>
              </p:sp>
              <p:sp>
                <p:nvSpPr>
                  <p:cNvPr id="334" name="Freeform: Shape 333">
                    <a:extLst>
                      <a:ext uri="{FF2B5EF4-FFF2-40B4-BE49-F238E27FC236}">
                        <a16:creationId xmlns:a16="http://schemas.microsoft.com/office/drawing/2014/main" id="{BF4A8413-475A-5488-23A6-82368920D274}"/>
                      </a:ext>
                    </a:extLst>
                  </p:cNvPr>
                  <p:cNvSpPr/>
                  <p:nvPr userDrawn="1"/>
                </p:nvSpPr>
                <p:spPr>
                  <a:xfrm>
                    <a:off x="8409859" y="439279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97"/>
                          <a:pt x="0" y="32667"/>
                          <a:pt x="0" y="21037"/>
                        </a:cubicBezTo>
                        <a:close/>
                      </a:path>
                    </a:pathLst>
                  </a:custGeom>
                  <a:solidFill>
                    <a:srgbClr val="C0C6D6"/>
                  </a:solidFill>
                  <a:ln w="2339" cap="flat">
                    <a:noFill/>
                    <a:prstDash val="solid"/>
                    <a:miter/>
                  </a:ln>
                </p:spPr>
                <p:txBody>
                  <a:bodyPr rtlCol="0" anchor="ctr"/>
                  <a:lstStyle/>
                  <a:p>
                    <a:endParaRPr lang="en-US" sz="2400"/>
                  </a:p>
                </p:txBody>
              </p:sp>
              <p:sp>
                <p:nvSpPr>
                  <p:cNvPr id="335" name="Freeform: Shape 334">
                    <a:extLst>
                      <a:ext uri="{FF2B5EF4-FFF2-40B4-BE49-F238E27FC236}">
                        <a16:creationId xmlns:a16="http://schemas.microsoft.com/office/drawing/2014/main" id="{01465BCA-6E2D-6B13-4745-841B8BC3EBFE}"/>
                      </a:ext>
                    </a:extLst>
                  </p:cNvPr>
                  <p:cNvSpPr/>
                  <p:nvPr userDrawn="1"/>
                </p:nvSpPr>
                <p:spPr>
                  <a:xfrm>
                    <a:off x="8410374" y="439265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C1C6D6"/>
                  </a:solidFill>
                  <a:ln w="2339" cap="flat">
                    <a:noFill/>
                    <a:prstDash val="solid"/>
                    <a:miter/>
                  </a:ln>
                </p:spPr>
                <p:txBody>
                  <a:bodyPr rtlCol="0" anchor="ctr"/>
                  <a:lstStyle/>
                  <a:p>
                    <a:endParaRPr lang="en-US" sz="2400"/>
                  </a:p>
                </p:txBody>
              </p:sp>
              <p:sp>
                <p:nvSpPr>
                  <p:cNvPr id="336" name="Freeform: Shape 335">
                    <a:extLst>
                      <a:ext uri="{FF2B5EF4-FFF2-40B4-BE49-F238E27FC236}">
                        <a16:creationId xmlns:a16="http://schemas.microsoft.com/office/drawing/2014/main" id="{FB1D64CE-B457-2EDE-719A-74D144A7151E}"/>
                      </a:ext>
                    </a:extLst>
                  </p:cNvPr>
                  <p:cNvSpPr/>
                  <p:nvPr userDrawn="1"/>
                </p:nvSpPr>
                <p:spPr>
                  <a:xfrm>
                    <a:off x="8410912" y="439251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C1C6D6"/>
                  </a:solidFill>
                  <a:ln w="2339" cap="flat">
                    <a:noFill/>
                    <a:prstDash val="solid"/>
                    <a:miter/>
                  </a:ln>
                </p:spPr>
                <p:txBody>
                  <a:bodyPr rtlCol="0" anchor="ctr"/>
                  <a:lstStyle/>
                  <a:p>
                    <a:endParaRPr lang="en-US" sz="2400"/>
                  </a:p>
                </p:txBody>
              </p:sp>
              <p:sp>
                <p:nvSpPr>
                  <p:cNvPr id="337" name="Freeform: Shape 336">
                    <a:extLst>
                      <a:ext uri="{FF2B5EF4-FFF2-40B4-BE49-F238E27FC236}">
                        <a16:creationId xmlns:a16="http://schemas.microsoft.com/office/drawing/2014/main" id="{5368474E-C7DD-B5BF-142A-BA49D226E862}"/>
                      </a:ext>
                    </a:extLst>
                  </p:cNvPr>
                  <p:cNvSpPr/>
                  <p:nvPr userDrawn="1"/>
                </p:nvSpPr>
                <p:spPr>
                  <a:xfrm>
                    <a:off x="8411427" y="4392378"/>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C1C7D7"/>
                  </a:solidFill>
                  <a:ln w="2339" cap="flat">
                    <a:noFill/>
                    <a:prstDash val="solid"/>
                    <a:miter/>
                  </a:ln>
                </p:spPr>
                <p:txBody>
                  <a:bodyPr rtlCol="0" anchor="ctr"/>
                  <a:lstStyle/>
                  <a:p>
                    <a:endParaRPr lang="en-US" sz="2400"/>
                  </a:p>
                </p:txBody>
              </p:sp>
              <p:sp>
                <p:nvSpPr>
                  <p:cNvPr id="338" name="Freeform: Shape 337">
                    <a:extLst>
                      <a:ext uri="{FF2B5EF4-FFF2-40B4-BE49-F238E27FC236}">
                        <a16:creationId xmlns:a16="http://schemas.microsoft.com/office/drawing/2014/main" id="{F295AFD4-253A-68BE-53A8-D78DC089CA28}"/>
                      </a:ext>
                    </a:extLst>
                  </p:cNvPr>
                  <p:cNvSpPr/>
                  <p:nvPr userDrawn="1"/>
                </p:nvSpPr>
                <p:spPr>
                  <a:xfrm>
                    <a:off x="8411965" y="4392214"/>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C2C7D7"/>
                  </a:solidFill>
                  <a:ln w="2339" cap="flat">
                    <a:noFill/>
                    <a:prstDash val="solid"/>
                    <a:miter/>
                  </a:ln>
                </p:spPr>
                <p:txBody>
                  <a:bodyPr rtlCol="0" anchor="ctr"/>
                  <a:lstStyle/>
                  <a:p>
                    <a:endParaRPr lang="en-US" sz="2400"/>
                  </a:p>
                </p:txBody>
              </p:sp>
              <p:sp>
                <p:nvSpPr>
                  <p:cNvPr id="339" name="Freeform: Shape 338">
                    <a:extLst>
                      <a:ext uri="{FF2B5EF4-FFF2-40B4-BE49-F238E27FC236}">
                        <a16:creationId xmlns:a16="http://schemas.microsoft.com/office/drawing/2014/main" id="{868423E6-7B0A-4474-2BD2-63DDEDBAE1AA}"/>
                      </a:ext>
                    </a:extLst>
                  </p:cNvPr>
                  <p:cNvSpPr/>
                  <p:nvPr userDrawn="1"/>
                </p:nvSpPr>
                <p:spPr>
                  <a:xfrm>
                    <a:off x="8412480" y="4392074"/>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C2C7D7"/>
                  </a:solidFill>
                  <a:ln w="2339" cap="flat">
                    <a:noFill/>
                    <a:prstDash val="solid"/>
                    <a:miter/>
                  </a:ln>
                </p:spPr>
                <p:txBody>
                  <a:bodyPr rtlCol="0" anchor="ctr"/>
                  <a:lstStyle/>
                  <a:p>
                    <a:endParaRPr lang="en-US" sz="2400"/>
                  </a:p>
                </p:txBody>
              </p:sp>
              <p:sp>
                <p:nvSpPr>
                  <p:cNvPr id="340" name="Freeform: Shape 339">
                    <a:extLst>
                      <a:ext uri="{FF2B5EF4-FFF2-40B4-BE49-F238E27FC236}">
                        <a16:creationId xmlns:a16="http://schemas.microsoft.com/office/drawing/2014/main" id="{303C6F54-701B-C41D-E199-E1FE6D355FC9}"/>
                      </a:ext>
                    </a:extLst>
                  </p:cNvPr>
                  <p:cNvSpPr/>
                  <p:nvPr userDrawn="1"/>
                </p:nvSpPr>
                <p:spPr>
                  <a:xfrm>
                    <a:off x="8413018" y="439191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97"/>
                          <a:pt x="0" y="32667"/>
                          <a:pt x="0" y="21037"/>
                        </a:cubicBezTo>
                        <a:close/>
                      </a:path>
                    </a:pathLst>
                  </a:custGeom>
                  <a:solidFill>
                    <a:srgbClr val="C2C8D7"/>
                  </a:solidFill>
                  <a:ln w="2339" cap="flat">
                    <a:noFill/>
                    <a:prstDash val="solid"/>
                    <a:miter/>
                  </a:ln>
                </p:spPr>
                <p:txBody>
                  <a:bodyPr rtlCol="0" anchor="ctr"/>
                  <a:lstStyle/>
                  <a:p>
                    <a:endParaRPr lang="en-US" sz="2400"/>
                  </a:p>
                </p:txBody>
              </p:sp>
              <p:sp>
                <p:nvSpPr>
                  <p:cNvPr id="341" name="Freeform: Shape 340">
                    <a:extLst>
                      <a:ext uri="{FF2B5EF4-FFF2-40B4-BE49-F238E27FC236}">
                        <a16:creationId xmlns:a16="http://schemas.microsoft.com/office/drawing/2014/main" id="{57F04E31-F3B7-3A1D-4F15-191739FB351B}"/>
                      </a:ext>
                    </a:extLst>
                  </p:cNvPr>
                  <p:cNvSpPr/>
                  <p:nvPr userDrawn="1"/>
                </p:nvSpPr>
                <p:spPr>
                  <a:xfrm>
                    <a:off x="8413533" y="439177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C2C8D7"/>
                  </a:solidFill>
                  <a:ln w="2339" cap="flat">
                    <a:noFill/>
                    <a:prstDash val="solid"/>
                    <a:miter/>
                  </a:ln>
                </p:spPr>
                <p:txBody>
                  <a:bodyPr rtlCol="0" anchor="ctr"/>
                  <a:lstStyle/>
                  <a:p>
                    <a:endParaRPr lang="en-US" sz="2400"/>
                  </a:p>
                </p:txBody>
              </p:sp>
              <p:sp>
                <p:nvSpPr>
                  <p:cNvPr id="342" name="Freeform: Shape 341">
                    <a:extLst>
                      <a:ext uri="{FF2B5EF4-FFF2-40B4-BE49-F238E27FC236}">
                        <a16:creationId xmlns:a16="http://schemas.microsoft.com/office/drawing/2014/main" id="{4E993F20-7E7F-881A-8550-7D0B7A7F40D4}"/>
                      </a:ext>
                    </a:extLst>
                  </p:cNvPr>
                  <p:cNvSpPr/>
                  <p:nvPr userDrawn="1"/>
                </p:nvSpPr>
                <p:spPr>
                  <a:xfrm>
                    <a:off x="8414048" y="439162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C3C8D8"/>
                  </a:solidFill>
                  <a:ln w="2339" cap="flat">
                    <a:noFill/>
                    <a:prstDash val="solid"/>
                    <a:miter/>
                  </a:ln>
                </p:spPr>
                <p:txBody>
                  <a:bodyPr rtlCol="0" anchor="ctr"/>
                  <a:lstStyle/>
                  <a:p>
                    <a:endParaRPr lang="en-US" sz="2400"/>
                  </a:p>
                </p:txBody>
              </p:sp>
              <p:sp>
                <p:nvSpPr>
                  <p:cNvPr id="343" name="Freeform: Shape 342">
                    <a:extLst>
                      <a:ext uri="{FF2B5EF4-FFF2-40B4-BE49-F238E27FC236}">
                        <a16:creationId xmlns:a16="http://schemas.microsoft.com/office/drawing/2014/main" id="{72A8E494-3657-543E-7136-5020B67FBEC7}"/>
                      </a:ext>
                    </a:extLst>
                  </p:cNvPr>
                  <p:cNvSpPr/>
                  <p:nvPr userDrawn="1"/>
                </p:nvSpPr>
                <p:spPr>
                  <a:xfrm>
                    <a:off x="8414586" y="4391466"/>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74"/>
                          <a:pt x="0" y="32667"/>
                          <a:pt x="0" y="21037"/>
                        </a:cubicBezTo>
                        <a:close/>
                      </a:path>
                    </a:pathLst>
                  </a:custGeom>
                  <a:solidFill>
                    <a:srgbClr val="C3C8D8"/>
                  </a:solidFill>
                  <a:ln w="2339" cap="flat">
                    <a:noFill/>
                    <a:prstDash val="solid"/>
                    <a:miter/>
                  </a:ln>
                </p:spPr>
                <p:txBody>
                  <a:bodyPr rtlCol="0" anchor="ctr"/>
                  <a:lstStyle/>
                  <a:p>
                    <a:endParaRPr lang="en-US" sz="2400"/>
                  </a:p>
                </p:txBody>
              </p:sp>
              <p:sp>
                <p:nvSpPr>
                  <p:cNvPr id="344" name="Freeform: Shape 343">
                    <a:extLst>
                      <a:ext uri="{FF2B5EF4-FFF2-40B4-BE49-F238E27FC236}">
                        <a16:creationId xmlns:a16="http://schemas.microsoft.com/office/drawing/2014/main" id="{E502BC6F-1B1F-CF2D-5851-404A60A16E46}"/>
                      </a:ext>
                    </a:extLst>
                  </p:cNvPr>
                  <p:cNvSpPr/>
                  <p:nvPr userDrawn="1"/>
                </p:nvSpPr>
                <p:spPr>
                  <a:xfrm>
                    <a:off x="8415101" y="4391302"/>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97"/>
                          <a:pt x="0" y="32667"/>
                          <a:pt x="0" y="21037"/>
                        </a:cubicBezTo>
                        <a:close/>
                      </a:path>
                    </a:pathLst>
                  </a:custGeom>
                  <a:solidFill>
                    <a:srgbClr val="C3C9D8"/>
                  </a:solidFill>
                  <a:ln w="2339" cap="flat">
                    <a:noFill/>
                    <a:prstDash val="solid"/>
                    <a:miter/>
                  </a:ln>
                </p:spPr>
                <p:txBody>
                  <a:bodyPr rtlCol="0" anchor="ctr"/>
                  <a:lstStyle/>
                  <a:p>
                    <a:endParaRPr lang="en-US" sz="2400"/>
                  </a:p>
                </p:txBody>
              </p:sp>
              <p:sp>
                <p:nvSpPr>
                  <p:cNvPr id="345" name="Freeform: Shape 344">
                    <a:extLst>
                      <a:ext uri="{FF2B5EF4-FFF2-40B4-BE49-F238E27FC236}">
                        <a16:creationId xmlns:a16="http://schemas.microsoft.com/office/drawing/2014/main" id="{59988F96-3431-0F62-843A-D2C3C21D26FB}"/>
                      </a:ext>
                    </a:extLst>
                  </p:cNvPr>
                  <p:cNvSpPr/>
                  <p:nvPr userDrawn="1"/>
                </p:nvSpPr>
                <p:spPr>
                  <a:xfrm>
                    <a:off x="8415615" y="439116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C4C9D8"/>
                  </a:solidFill>
                  <a:ln w="2339" cap="flat">
                    <a:noFill/>
                    <a:prstDash val="solid"/>
                    <a:miter/>
                  </a:ln>
                </p:spPr>
                <p:txBody>
                  <a:bodyPr rtlCol="0" anchor="ctr"/>
                  <a:lstStyle/>
                  <a:p>
                    <a:endParaRPr lang="en-US" sz="2400"/>
                  </a:p>
                </p:txBody>
              </p:sp>
              <p:sp>
                <p:nvSpPr>
                  <p:cNvPr id="346" name="Freeform: Shape 345">
                    <a:extLst>
                      <a:ext uri="{FF2B5EF4-FFF2-40B4-BE49-F238E27FC236}">
                        <a16:creationId xmlns:a16="http://schemas.microsoft.com/office/drawing/2014/main" id="{D75DBA2F-C36E-D7D4-315A-7080A91B9912}"/>
                      </a:ext>
                    </a:extLst>
                  </p:cNvPr>
                  <p:cNvSpPr/>
                  <p:nvPr userDrawn="1"/>
                </p:nvSpPr>
                <p:spPr>
                  <a:xfrm>
                    <a:off x="8416130" y="4390998"/>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C4C9D8"/>
                  </a:solidFill>
                  <a:ln w="2339" cap="flat">
                    <a:noFill/>
                    <a:prstDash val="solid"/>
                    <a:miter/>
                  </a:ln>
                </p:spPr>
                <p:txBody>
                  <a:bodyPr rtlCol="0" anchor="ctr"/>
                  <a:lstStyle/>
                  <a:p>
                    <a:endParaRPr lang="en-US" sz="2400"/>
                  </a:p>
                </p:txBody>
              </p:sp>
              <p:sp>
                <p:nvSpPr>
                  <p:cNvPr id="347" name="Freeform: Shape 346">
                    <a:extLst>
                      <a:ext uri="{FF2B5EF4-FFF2-40B4-BE49-F238E27FC236}">
                        <a16:creationId xmlns:a16="http://schemas.microsoft.com/office/drawing/2014/main" id="{2D5A2DE2-5C1A-9EA2-5170-94A6CFB56291}"/>
                      </a:ext>
                    </a:extLst>
                  </p:cNvPr>
                  <p:cNvSpPr/>
                  <p:nvPr userDrawn="1"/>
                </p:nvSpPr>
                <p:spPr>
                  <a:xfrm>
                    <a:off x="8416645" y="4390834"/>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C4CAD9"/>
                  </a:solidFill>
                  <a:ln w="2339" cap="flat">
                    <a:noFill/>
                    <a:prstDash val="solid"/>
                    <a:miter/>
                  </a:ln>
                </p:spPr>
                <p:txBody>
                  <a:bodyPr rtlCol="0" anchor="ctr"/>
                  <a:lstStyle/>
                  <a:p>
                    <a:endParaRPr lang="en-US" sz="2400"/>
                  </a:p>
                </p:txBody>
              </p:sp>
              <p:sp>
                <p:nvSpPr>
                  <p:cNvPr id="348" name="Freeform: Shape 347">
                    <a:extLst>
                      <a:ext uri="{FF2B5EF4-FFF2-40B4-BE49-F238E27FC236}">
                        <a16:creationId xmlns:a16="http://schemas.microsoft.com/office/drawing/2014/main" id="{16AA86D9-A0E8-0299-A7FC-1A55DD7C6BDA}"/>
                      </a:ext>
                    </a:extLst>
                  </p:cNvPr>
                  <p:cNvSpPr/>
                  <p:nvPr userDrawn="1"/>
                </p:nvSpPr>
                <p:spPr>
                  <a:xfrm>
                    <a:off x="8417160" y="4390693"/>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C5CAD9"/>
                  </a:solidFill>
                  <a:ln w="2339" cap="flat">
                    <a:noFill/>
                    <a:prstDash val="solid"/>
                    <a:miter/>
                  </a:ln>
                </p:spPr>
                <p:txBody>
                  <a:bodyPr rtlCol="0" anchor="ctr"/>
                  <a:lstStyle/>
                  <a:p>
                    <a:endParaRPr lang="en-US" sz="2400"/>
                  </a:p>
                </p:txBody>
              </p:sp>
              <p:sp>
                <p:nvSpPr>
                  <p:cNvPr id="349" name="Freeform: Shape 348">
                    <a:extLst>
                      <a:ext uri="{FF2B5EF4-FFF2-40B4-BE49-F238E27FC236}">
                        <a16:creationId xmlns:a16="http://schemas.microsoft.com/office/drawing/2014/main" id="{24DAF25C-020D-F648-7297-2E5B1125160A}"/>
                      </a:ext>
                    </a:extLst>
                  </p:cNvPr>
                  <p:cNvSpPr/>
                  <p:nvPr userDrawn="1"/>
                </p:nvSpPr>
                <p:spPr>
                  <a:xfrm>
                    <a:off x="8417675" y="439053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C5CAD9"/>
                  </a:solidFill>
                  <a:ln w="2339" cap="flat">
                    <a:noFill/>
                    <a:prstDash val="solid"/>
                    <a:miter/>
                  </a:ln>
                </p:spPr>
                <p:txBody>
                  <a:bodyPr rtlCol="0" anchor="ctr"/>
                  <a:lstStyle/>
                  <a:p>
                    <a:endParaRPr lang="en-US" sz="2400"/>
                  </a:p>
                </p:txBody>
              </p:sp>
              <p:sp>
                <p:nvSpPr>
                  <p:cNvPr id="350" name="Freeform: Shape 349">
                    <a:extLst>
                      <a:ext uri="{FF2B5EF4-FFF2-40B4-BE49-F238E27FC236}">
                        <a16:creationId xmlns:a16="http://schemas.microsoft.com/office/drawing/2014/main" id="{60220BBB-DE5E-B6B0-60F0-6BFE4E2E4AFC}"/>
                      </a:ext>
                    </a:extLst>
                  </p:cNvPr>
                  <p:cNvSpPr/>
                  <p:nvPr userDrawn="1"/>
                </p:nvSpPr>
                <p:spPr>
                  <a:xfrm>
                    <a:off x="8418189" y="439036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C5CAD9"/>
                  </a:solidFill>
                  <a:ln w="2339" cap="flat">
                    <a:noFill/>
                    <a:prstDash val="solid"/>
                    <a:miter/>
                  </a:ln>
                </p:spPr>
                <p:txBody>
                  <a:bodyPr rtlCol="0" anchor="ctr"/>
                  <a:lstStyle/>
                  <a:p>
                    <a:endParaRPr lang="en-US" sz="2400"/>
                  </a:p>
                </p:txBody>
              </p:sp>
              <p:sp>
                <p:nvSpPr>
                  <p:cNvPr id="351" name="Freeform: Shape 350">
                    <a:extLst>
                      <a:ext uri="{FF2B5EF4-FFF2-40B4-BE49-F238E27FC236}">
                        <a16:creationId xmlns:a16="http://schemas.microsoft.com/office/drawing/2014/main" id="{7B8C5855-97FA-4B89-FAC7-50891AD35A50}"/>
                      </a:ext>
                    </a:extLst>
                  </p:cNvPr>
                  <p:cNvSpPr/>
                  <p:nvPr userDrawn="1"/>
                </p:nvSpPr>
                <p:spPr>
                  <a:xfrm>
                    <a:off x="8418704" y="439020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C5CBD9"/>
                  </a:solidFill>
                  <a:ln w="2339" cap="flat">
                    <a:noFill/>
                    <a:prstDash val="solid"/>
                    <a:miter/>
                  </a:ln>
                </p:spPr>
                <p:txBody>
                  <a:bodyPr rtlCol="0" anchor="ctr"/>
                  <a:lstStyle/>
                  <a:p>
                    <a:endParaRPr lang="en-US" sz="2400"/>
                  </a:p>
                </p:txBody>
              </p:sp>
              <p:sp>
                <p:nvSpPr>
                  <p:cNvPr id="352" name="Freeform: Shape 351">
                    <a:extLst>
                      <a:ext uri="{FF2B5EF4-FFF2-40B4-BE49-F238E27FC236}">
                        <a16:creationId xmlns:a16="http://schemas.microsoft.com/office/drawing/2014/main" id="{E346958C-F38F-0A2E-8079-E689CB3473CF}"/>
                      </a:ext>
                    </a:extLst>
                  </p:cNvPr>
                  <p:cNvSpPr/>
                  <p:nvPr userDrawn="1"/>
                </p:nvSpPr>
                <p:spPr>
                  <a:xfrm>
                    <a:off x="8419196" y="439003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6CBDA"/>
                  </a:solidFill>
                  <a:ln w="2339" cap="flat">
                    <a:noFill/>
                    <a:prstDash val="solid"/>
                    <a:miter/>
                  </a:ln>
                </p:spPr>
                <p:txBody>
                  <a:bodyPr rtlCol="0" anchor="ctr"/>
                  <a:lstStyle/>
                  <a:p>
                    <a:endParaRPr lang="en-US" sz="2400"/>
                  </a:p>
                </p:txBody>
              </p:sp>
              <p:sp>
                <p:nvSpPr>
                  <p:cNvPr id="353" name="Freeform: Shape 352">
                    <a:extLst>
                      <a:ext uri="{FF2B5EF4-FFF2-40B4-BE49-F238E27FC236}">
                        <a16:creationId xmlns:a16="http://schemas.microsoft.com/office/drawing/2014/main" id="{F939E530-1521-4637-30DA-CFF7C1C93BBE}"/>
                      </a:ext>
                    </a:extLst>
                  </p:cNvPr>
                  <p:cNvSpPr/>
                  <p:nvPr userDrawn="1"/>
                </p:nvSpPr>
                <p:spPr>
                  <a:xfrm>
                    <a:off x="8419710" y="438987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6CBDA"/>
                  </a:solidFill>
                  <a:ln w="2339" cap="flat">
                    <a:noFill/>
                    <a:prstDash val="solid"/>
                    <a:miter/>
                  </a:ln>
                </p:spPr>
                <p:txBody>
                  <a:bodyPr rtlCol="0" anchor="ctr"/>
                  <a:lstStyle/>
                  <a:p>
                    <a:endParaRPr lang="en-US" sz="2400"/>
                  </a:p>
                </p:txBody>
              </p:sp>
              <p:sp>
                <p:nvSpPr>
                  <p:cNvPr id="354" name="Freeform: Shape 353">
                    <a:extLst>
                      <a:ext uri="{FF2B5EF4-FFF2-40B4-BE49-F238E27FC236}">
                        <a16:creationId xmlns:a16="http://schemas.microsoft.com/office/drawing/2014/main" id="{734D8566-83C5-1912-B6DE-77625C6A2F45}"/>
                      </a:ext>
                    </a:extLst>
                  </p:cNvPr>
                  <p:cNvSpPr/>
                  <p:nvPr userDrawn="1"/>
                </p:nvSpPr>
                <p:spPr>
                  <a:xfrm>
                    <a:off x="8420225" y="438971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C6CBDA"/>
                  </a:solidFill>
                  <a:ln w="2339" cap="flat">
                    <a:noFill/>
                    <a:prstDash val="solid"/>
                    <a:miter/>
                  </a:ln>
                </p:spPr>
                <p:txBody>
                  <a:bodyPr rtlCol="0" anchor="ctr"/>
                  <a:lstStyle/>
                  <a:p>
                    <a:endParaRPr lang="en-US" sz="2400"/>
                  </a:p>
                </p:txBody>
              </p:sp>
              <p:sp>
                <p:nvSpPr>
                  <p:cNvPr id="355" name="Freeform: Shape 354">
                    <a:extLst>
                      <a:ext uri="{FF2B5EF4-FFF2-40B4-BE49-F238E27FC236}">
                        <a16:creationId xmlns:a16="http://schemas.microsoft.com/office/drawing/2014/main" id="{E7C56A60-7707-B636-E82A-6E9B0DB4589B}"/>
                      </a:ext>
                    </a:extLst>
                  </p:cNvPr>
                  <p:cNvSpPr/>
                  <p:nvPr userDrawn="1"/>
                </p:nvSpPr>
                <p:spPr>
                  <a:xfrm>
                    <a:off x="8420717" y="438954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C7CCDA"/>
                  </a:solidFill>
                  <a:ln w="2339" cap="flat">
                    <a:noFill/>
                    <a:prstDash val="solid"/>
                    <a:miter/>
                  </a:ln>
                </p:spPr>
                <p:txBody>
                  <a:bodyPr rtlCol="0" anchor="ctr"/>
                  <a:lstStyle/>
                  <a:p>
                    <a:endParaRPr lang="en-US" sz="2400"/>
                  </a:p>
                </p:txBody>
              </p:sp>
              <p:sp>
                <p:nvSpPr>
                  <p:cNvPr id="356" name="Freeform: Shape 355">
                    <a:extLst>
                      <a:ext uri="{FF2B5EF4-FFF2-40B4-BE49-F238E27FC236}">
                        <a16:creationId xmlns:a16="http://schemas.microsoft.com/office/drawing/2014/main" id="{AFEC5015-926D-6338-BBED-3A1D38BE7E8E}"/>
                      </a:ext>
                    </a:extLst>
                  </p:cNvPr>
                  <p:cNvSpPr/>
                  <p:nvPr userDrawn="1"/>
                </p:nvSpPr>
                <p:spPr>
                  <a:xfrm>
                    <a:off x="8421231" y="438938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C7CCDA"/>
                  </a:solidFill>
                  <a:ln w="2339" cap="flat">
                    <a:noFill/>
                    <a:prstDash val="solid"/>
                    <a:miter/>
                  </a:ln>
                </p:spPr>
                <p:txBody>
                  <a:bodyPr rtlCol="0" anchor="ctr"/>
                  <a:lstStyle/>
                  <a:p>
                    <a:endParaRPr lang="en-US" sz="2400"/>
                  </a:p>
                </p:txBody>
              </p:sp>
              <p:sp>
                <p:nvSpPr>
                  <p:cNvPr id="357" name="Freeform: Shape 356">
                    <a:extLst>
                      <a:ext uri="{FF2B5EF4-FFF2-40B4-BE49-F238E27FC236}">
                        <a16:creationId xmlns:a16="http://schemas.microsoft.com/office/drawing/2014/main" id="{2DE302CC-0918-C919-53C4-6DFB39063D24}"/>
                      </a:ext>
                    </a:extLst>
                  </p:cNvPr>
                  <p:cNvSpPr/>
                  <p:nvPr userDrawn="1"/>
                </p:nvSpPr>
                <p:spPr>
                  <a:xfrm>
                    <a:off x="8421723" y="438921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C7CCDB"/>
                  </a:solidFill>
                  <a:ln w="2339" cap="flat">
                    <a:noFill/>
                    <a:prstDash val="solid"/>
                    <a:miter/>
                  </a:ln>
                </p:spPr>
                <p:txBody>
                  <a:bodyPr rtlCol="0" anchor="ctr"/>
                  <a:lstStyle/>
                  <a:p>
                    <a:endParaRPr lang="en-US" sz="2400"/>
                  </a:p>
                </p:txBody>
              </p:sp>
              <p:sp>
                <p:nvSpPr>
                  <p:cNvPr id="358" name="Freeform: Shape 357">
                    <a:extLst>
                      <a:ext uri="{FF2B5EF4-FFF2-40B4-BE49-F238E27FC236}">
                        <a16:creationId xmlns:a16="http://schemas.microsoft.com/office/drawing/2014/main" id="{CC9093CB-6DED-902A-CECC-4890B431ABC2}"/>
                      </a:ext>
                    </a:extLst>
                  </p:cNvPr>
                  <p:cNvSpPr/>
                  <p:nvPr userDrawn="1"/>
                </p:nvSpPr>
                <p:spPr>
                  <a:xfrm>
                    <a:off x="8422238" y="438903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8CDDB"/>
                  </a:solidFill>
                  <a:ln w="2339" cap="flat">
                    <a:noFill/>
                    <a:prstDash val="solid"/>
                    <a:miter/>
                  </a:ln>
                </p:spPr>
                <p:txBody>
                  <a:bodyPr rtlCol="0" anchor="ctr"/>
                  <a:lstStyle/>
                  <a:p>
                    <a:endParaRPr lang="en-US" sz="2400"/>
                  </a:p>
                </p:txBody>
              </p:sp>
              <p:sp>
                <p:nvSpPr>
                  <p:cNvPr id="359" name="Freeform: Shape 358">
                    <a:extLst>
                      <a:ext uri="{FF2B5EF4-FFF2-40B4-BE49-F238E27FC236}">
                        <a16:creationId xmlns:a16="http://schemas.microsoft.com/office/drawing/2014/main" id="{9E52D8C0-CFD9-8AE1-F1C3-A77ABB77F6CE}"/>
                      </a:ext>
                    </a:extLst>
                  </p:cNvPr>
                  <p:cNvSpPr/>
                  <p:nvPr userDrawn="1"/>
                </p:nvSpPr>
                <p:spPr>
                  <a:xfrm>
                    <a:off x="8422729" y="438886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8CDDB"/>
                  </a:solidFill>
                  <a:ln w="2339" cap="flat">
                    <a:noFill/>
                    <a:prstDash val="solid"/>
                    <a:miter/>
                  </a:ln>
                </p:spPr>
                <p:txBody>
                  <a:bodyPr rtlCol="0" anchor="ctr"/>
                  <a:lstStyle/>
                  <a:p>
                    <a:endParaRPr lang="en-US" sz="2400"/>
                  </a:p>
                </p:txBody>
              </p:sp>
              <p:sp>
                <p:nvSpPr>
                  <p:cNvPr id="360" name="Freeform: Shape 359">
                    <a:extLst>
                      <a:ext uri="{FF2B5EF4-FFF2-40B4-BE49-F238E27FC236}">
                        <a16:creationId xmlns:a16="http://schemas.microsoft.com/office/drawing/2014/main" id="{1F0A4EA7-2F6F-9923-D07D-4607C518B918}"/>
                      </a:ext>
                    </a:extLst>
                  </p:cNvPr>
                  <p:cNvSpPr/>
                  <p:nvPr userDrawn="1"/>
                </p:nvSpPr>
                <p:spPr>
                  <a:xfrm>
                    <a:off x="8423244" y="438870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C8CDDB"/>
                  </a:solidFill>
                  <a:ln w="2339" cap="flat">
                    <a:noFill/>
                    <a:prstDash val="solid"/>
                    <a:miter/>
                  </a:ln>
                </p:spPr>
                <p:txBody>
                  <a:bodyPr rtlCol="0" anchor="ctr"/>
                  <a:lstStyle/>
                  <a:p>
                    <a:endParaRPr lang="en-US" sz="2400"/>
                  </a:p>
                </p:txBody>
              </p:sp>
              <p:sp>
                <p:nvSpPr>
                  <p:cNvPr id="361" name="Freeform: Shape 360">
                    <a:extLst>
                      <a:ext uri="{FF2B5EF4-FFF2-40B4-BE49-F238E27FC236}">
                        <a16:creationId xmlns:a16="http://schemas.microsoft.com/office/drawing/2014/main" id="{572E3919-D174-F391-1464-898B77C4E410}"/>
                      </a:ext>
                    </a:extLst>
                  </p:cNvPr>
                  <p:cNvSpPr/>
                  <p:nvPr userDrawn="1"/>
                </p:nvSpPr>
                <p:spPr>
                  <a:xfrm>
                    <a:off x="8423735" y="438851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C9CDDB"/>
                  </a:solidFill>
                  <a:ln w="2339" cap="flat">
                    <a:noFill/>
                    <a:prstDash val="solid"/>
                    <a:miter/>
                  </a:ln>
                </p:spPr>
                <p:txBody>
                  <a:bodyPr rtlCol="0" anchor="ctr"/>
                  <a:lstStyle/>
                  <a:p>
                    <a:endParaRPr lang="en-US" sz="2400"/>
                  </a:p>
                </p:txBody>
              </p:sp>
              <p:sp>
                <p:nvSpPr>
                  <p:cNvPr id="362" name="Freeform: Shape 361">
                    <a:extLst>
                      <a:ext uri="{FF2B5EF4-FFF2-40B4-BE49-F238E27FC236}">
                        <a16:creationId xmlns:a16="http://schemas.microsoft.com/office/drawing/2014/main" id="{176FD044-A17F-A0EE-9DBF-6DE7934874CB}"/>
                      </a:ext>
                    </a:extLst>
                  </p:cNvPr>
                  <p:cNvSpPr/>
                  <p:nvPr userDrawn="1"/>
                </p:nvSpPr>
                <p:spPr>
                  <a:xfrm>
                    <a:off x="8424227" y="438835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C9CEDC"/>
                  </a:solidFill>
                  <a:ln w="2339" cap="flat">
                    <a:noFill/>
                    <a:prstDash val="solid"/>
                    <a:miter/>
                  </a:ln>
                </p:spPr>
                <p:txBody>
                  <a:bodyPr rtlCol="0" anchor="ctr"/>
                  <a:lstStyle/>
                  <a:p>
                    <a:endParaRPr lang="en-US" sz="2400"/>
                  </a:p>
                </p:txBody>
              </p:sp>
              <p:sp>
                <p:nvSpPr>
                  <p:cNvPr id="363" name="Freeform: Shape 362">
                    <a:extLst>
                      <a:ext uri="{FF2B5EF4-FFF2-40B4-BE49-F238E27FC236}">
                        <a16:creationId xmlns:a16="http://schemas.microsoft.com/office/drawing/2014/main" id="{60804BC0-B81C-74DE-A434-33BF7B20EEEE}"/>
                      </a:ext>
                    </a:extLst>
                  </p:cNvPr>
                  <p:cNvSpPr/>
                  <p:nvPr userDrawn="1"/>
                </p:nvSpPr>
                <p:spPr>
                  <a:xfrm>
                    <a:off x="8424718" y="438816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9CEDC"/>
                  </a:solidFill>
                  <a:ln w="2339" cap="flat">
                    <a:noFill/>
                    <a:prstDash val="solid"/>
                    <a:miter/>
                  </a:ln>
                </p:spPr>
                <p:txBody>
                  <a:bodyPr rtlCol="0" anchor="ctr"/>
                  <a:lstStyle/>
                  <a:p>
                    <a:endParaRPr lang="en-US" sz="2400"/>
                  </a:p>
                </p:txBody>
              </p:sp>
              <p:sp>
                <p:nvSpPr>
                  <p:cNvPr id="364" name="Freeform: Shape 363">
                    <a:extLst>
                      <a:ext uri="{FF2B5EF4-FFF2-40B4-BE49-F238E27FC236}">
                        <a16:creationId xmlns:a16="http://schemas.microsoft.com/office/drawing/2014/main" id="{137C3F88-E2F6-39D6-C290-AC54C3486115}"/>
                      </a:ext>
                    </a:extLst>
                  </p:cNvPr>
                  <p:cNvSpPr/>
                  <p:nvPr userDrawn="1"/>
                </p:nvSpPr>
                <p:spPr>
                  <a:xfrm>
                    <a:off x="8425209" y="438800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C9CEDC"/>
                  </a:solidFill>
                  <a:ln w="2339" cap="flat">
                    <a:noFill/>
                    <a:prstDash val="solid"/>
                    <a:miter/>
                  </a:ln>
                </p:spPr>
                <p:txBody>
                  <a:bodyPr rtlCol="0" anchor="ctr"/>
                  <a:lstStyle/>
                  <a:p>
                    <a:endParaRPr lang="en-US" sz="2400"/>
                  </a:p>
                </p:txBody>
              </p:sp>
              <p:sp>
                <p:nvSpPr>
                  <p:cNvPr id="365" name="Freeform: Shape 364">
                    <a:extLst>
                      <a:ext uri="{FF2B5EF4-FFF2-40B4-BE49-F238E27FC236}">
                        <a16:creationId xmlns:a16="http://schemas.microsoft.com/office/drawing/2014/main" id="{0D1208E3-5E81-DC53-45DA-B40DF0FB91F6}"/>
                      </a:ext>
                    </a:extLst>
                  </p:cNvPr>
                  <p:cNvSpPr/>
                  <p:nvPr userDrawn="1"/>
                </p:nvSpPr>
                <p:spPr>
                  <a:xfrm>
                    <a:off x="8425701" y="438781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ACFDC"/>
                  </a:solidFill>
                  <a:ln w="2339" cap="flat">
                    <a:noFill/>
                    <a:prstDash val="solid"/>
                    <a:miter/>
                  </a:ln>
                </p:spPr>
                <p:txBody>
                  <a:bodyPr rtlCol="0" anchor="ctr"/>
                  <a:lstStyle/>
                  <a:p>
                    <a:endParaRPr lang="en-US" sz="2400"/>
                  </a:p>
                </p:txBody>
              </p:sp>
              <p:sp>
                <p:nvSpPr>
                  <p:cNvPr id="366" name="Freeform: Shape 365">
                    <a:extLst>
                      <a:ext uri="{FF2B5EF4-FFF2-40B4-BE49-F238E27FC236}">
                        <a16:creationId xmlns:a16="http://schemas.microsoft.com/office/drawing/2014/main" id="{6B7516E3-B712-F9D5-4DB6-7E6512A885C6}"/>
                      </a:ext>
                    </a:extLst>
                  </p:cNvPr>
                  <p:cNvSpPr/>
                  <p:nvPr userDrawn="1"/>
                </p:nvSpPr>
                <p:spPr>
                  <a:xfrm>
                    <a:off x="8426192" y="438765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CACFDC"/>
                  </a:solidFill>
                  <a:ln w="2339" cap="flat">
                    <a:noFill/>
                    <a:prstDash val="solid"/>
                    <a:miter/>
                  </a:ln>
                </p:spPr>
                <p:txBody>
                  <a:bodyPr rtlCol="0" anchor="ctr"/>
                  <a:lstStyle/>
                  <a:p>
                    <a:endParaRPr lang="en-US" sz="2400"/>
                  </a:p>
                </p:txBody>
              </p:sp>
              <p:sp>
                <p:nvSpPr>
                  <p:cNvPr id="367" name="Freeform: Shape 366">
                    <a:extLst>
                      <a:ext uri="{FF2B5EF4-FFF2-40B4-BE49-F238E27FC236}">
                        <a16:creationId xmlns:a16="http://schemas.microsoft.com/office/drawing/2014/main" id="{F8C25286-6BC7-3268-17FD-EA9798001F01}"/>
                      </a:ext>
                    </a:extLst>
                  </p:cNvPr>
                  <p:cNvSpPr/>
                  <p:nvPr userDrawn="1"/>
                </p:nvSpPr>
                <p:spPr>
                  <a:xfrm>
                    <a:off x="8426684" y="438746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ACFDD"/>
                  </a:solidFill>
                  <a:ln w="2339" cap="flat">
                    <a:noFill/>
                    <a:prstDash val="solid"/>
                    <a:miter/>
                  </a:ln>
                </p:spPr>
                <p:txBody>
                  <a:bodyPr rtlCol="0" anchor="ctr"/>
                  <a:lstStyle/>
                  <a:p>
                    <a:endParaRPr lang="en-US" sz="2400"/>
                  </a:p>
                </p:txBody>
              </p:sp>
              <p:sp>
                <p:nvSpPr>
                  <p:cNvPr id="368" name="Freeform: Shape 367">
                    <a:extLst>
                      <a:ext uri="{FF2B5EF4-FFF2-40B4-BE49-F238E27FC236}">
                        <a16:creationId xmlns:a16="http://schemas.microsoft.com/office/drawing/2014/main" id="{64372DE9-C994-25C0-A7E6-EEDAEC78F82C}"/>
                      </a:ext>
                    </a:extLst>
                  </p:cNvPr>
                  <p:cNvSpPr/>
                  <p:nvPr userDrawn="1"/>
                </p:nvSpPr>
                <p:spPr>
                  <a:xfrm>
                    <a:off x="8427175" y="438730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CBCFDD"/>
                  </a:solidFill>
                  <a:ln w="2339" cap="flat">
                    <a:noFill/>
                    <a:prstDash val="solid"/>
                    <a:miter/>
                  </a:ln>
                </p:spPr>
                <p:txBody>
                  <a:bodyPr rtlCol="0" anchor="ctr"/>
                  <a:lstStyle/>
                  <a:p>
                    <a:endParaRPr lang="en-US" sz="2400"/>
                  </a:p>
                </p:txBody>
              </p:sp>
              <p:sp>
                <p:nvSpPr>
                  <p:cNvPr id="369" name="Freeform: Shape 368">
                    <a:extLst>
                      <a:ext uri="{FF2B5EF4-FFF2-40B4-BE49-F238E27FC236}">
                        <a16:creationId xmlns:a16="http://schemas.microsoft.com/office/drawing/2014/main" id="{45A59E0A-F915-DEE7-0EB4-524D00393CEC}"/>
                      </a:ext>
                    </a:extLst>
                  </p:cNvPr>
                  <p:cNvSpPr/>
                  <p:nvPr userDrawn="1"/>
                </p:nvSpPr>
                <p:spPr>
                  <a:xfrm>
                    <a:off x="8427666" y="438711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CBD0DD"/>
                  </a:solidFill>
                  <a:ln w="2339" cap="flat">
                    <a:noFill/>
                    <a:prstDash val="solid"/>
                    <a:miter/>
                  </a:ln>
                </p:spPr>
                <p:txBody>
                  <a:bodyPr rtlCol="0" anchor="ctr"/>
                  <a:lstStyle/>
                  <a:p>
                    <a:endParaRPr lang="en-US" sz="2400"/>
                  </a:p>
                </p:txBody>
              </p:sp>
              <p:sp>
                <p:nvSpPr>
                  <p:cNvPr id="370" name="Freeform: Shape 369">
                    <a:extLst>
                      <a:ext uri="{FF2B5EF4-FFF2-40B4-BE49-F238E27FC236}">
                        <a16:creationId xmlns:a16="http://schemas.microsoft.com/office/drawing/2014/main" id="{2FCAD4A7-0ABF-3B45-4430-8406BB8829DA}"/>
                      </a:ext>
                    </a:extLst>
                  </p:cNvPr>
                  <p:cNvSpPr/>
                  <p:nvPr userDrawn="1"/>
                </p:nvSpPr>
                <p:spPr>
                  <a:xfrm>
                    <a:off x="8428135" y="438692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BD0DD"/>
                  </a:solidFill>
                  <a:ln w="2339" cap="flat">
                    <a:noFill/>
                    <a:prstDash val="solid"/>
                    <a:miter/>
                  </a:ln>
                </p:spPr>
                <p:txBody>
                  <a:bodyPr rtlCol="0" anchor="ctr"/>
                  <a:lstStyle/>
                  <a:p>
                    <a:endParaRPr lang="en-US" sz="2400"/>
                  </a:p>
                </p:txBody>
              </p:sp>
              <p:sp>
                <p:nvSpPr>
                  <p:cNvPr id="371" name="Freeform: Shape 370">
                    <a:extLst>
                      <a:ext uri="{FF2B5EF4-FFF2-40B4-BE49-F238E27FC236}">
                        <a16:creationId xmlns:a16="http://schemas.microsoft.com/office/drawing/2014/main" id="{48BDD046-CC80-CF9A-E4E9-8853D32AEC2A}"/>
                      </a:ext>
                    </a:extLst>
                  </p:cNvPr>
                  <p:cNvSpPr/>
                  <p:nvPr userDrawn="1"/>
                </p:nvSpPr>
                <p:spPr>
                  <a:xfrm>
                    <a:off x="8428626" y="438673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CD0DD"/>
                  </a:solidFill>
                  <a:ln w="2339" cap="flat">
                    <a:noFill/>
                    <a:prstDash val="solid"/>
                    <a:miter/>
                  </a:ln>
                </p:spPr>
                <p:txBody>
                  <a:bodyPr rtlCol="0" anchor="ctr"/>
                  <a:lstStyle/>
                  <a:p>
                    <a:endParaRPr lang="en-US" sz="2400"/>
                  </a:p>
                </p:txBody>
              </p:sp>
              <p:sp>
                <p:nvSpPr>
                  <p:cNvPr id="372" name="Freeform: Shape 371">
                    <a:extLst>
                      <a:ext uri="{FF2B5EF4-FFF2-40B4-BE49-F238E27FC236}">
                        <a16:creationId xmlns:a16="http://schemas.microsoft.com/office/drawing/2014/main" id="{6BDECC4C-19DE-16DD-8421-AC80765077AF}"/>
                      </a:ext>
                    </a:extLst>
                  </p:cNvPr>
                  <p:cNvSpPr/>
                  <p:nvPr userDrawn="1"/>
                </p:nvSpPr>
                <p:spPr>
                  <a:xfrm>
                    <a:off x="8429117" y="438655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CCD0DE"/>
                  </a:solidFill>
                  <a:ln w="2339" cap="flat">
                    <a:noFill/>
                    <a:prstDash val="solid"/>
                    <a:miter/>
                  </a:ln>
                </p:spPr>
                <p:txBody>
                  <a:bodyPr rtlCol="0" anchor="ctr"/>
                  <a:lstStyle/>
                  <a:p>
                    <a:endParaRPr lang="en-US" sz="2400"/>
                  </a:p>
                </p:txBody>
              </p:sp>
              <p:sp>
                <p:nvSpPr>
                  <p:cNvPr id="373" name="Freeform: Shape 372">
                    <a:extLst>
                      <a:ext uri="{FF2B5EF4-FFF2-40B4-BE49-F238E27FC236}">
                        <a16:creationId xmlns:a16="http://schemas.microsoft.com/office/drawing/2014/main" id="{DD08563D-0AEB-64CD-82AF-507B2470C41C}"/>
                      </a:ext>
                    </a:extLst>
                  </p:cNvPr>
                  <p:cNvSpPr/>
                  <p:nvPr userDrawn="1"/>
                </p:nvSpPr>
                <p:spPr>
                  <a:xfrm>
                    <a:off x="8429585" y="438638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CCD1DE"/>
                  </a:solidFill>
                  <a:ln w="2339" cap="flat">
                    <a:noFill/>
                    <a:prstDash val="solid"/>
                    <a:miter/>
                  </a:ln>
                </p:spPr>
                <p:txBody>
                  <a:bodyPr rtlCol="0" anchor="ctr"/>
                  <a:lstStyle/>
                  <a:p>
                    <a:endParaRPr lang="en-US" sz="2400"/>
                  </a:p>
                </p:txBody>
              </p:sp>
              <p:sp>
                <p:nvSpPr>
                  <p:cNvPr id="374" name="Freeform: Shape 373">
                    <a:extLst>
                      <a:ext uri="{FF2B5EF4-FFF2-40B4-BE49-F238E27FC236}">
                        <a16:creationId xmlns:a16="http://schemas.microsoft.com/office/drawing/2014/main" id="{1795E0F4-2AE3-F852-2E57-37A5E2601765}"/>
                      </a:ext>
                    </a:extLst>
                  </p:cNvPr>
                  <p:cNvSpPr/>
                  <p:nvPr userDrawn="1"/>
                </p:nvSpPr>
                <p:spPr>
                  <a:xfrm>
                    <a:off x="8430077" y="438620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43"/>
                          <a:pt x="0" y="21037"/>
                        </a:cubicBezTo>
                        <a:close/>
                      </a:path>
                    </a:pathLst>
                  </a:custGeom>
                  <a:solidFill>
                    <a:srgbClr val="CDD1DE"/>
                  </a:solidFill>
                  <a:ln w="2339" cap="flat">
                    <a:noFill/>
                    <a:prstDash val="solid"/>
                    <a:miter/>
                  </a:ln>
                </p:spPr>
                <p:txBody>
                  <a:bodyPr rtlCol="0" anchor="ctr"/>
                  <a:lstStyle/>
                  <a:p>
                    <a:endParaRPr lang="en-US" sz="2400"/>
                  </a:p>
                </p:txBody>
              </p:sp>
              <p:sp>
                <p:nvSpPr>
                  <p:cNvPr id="375" name="Freeform: Shape 374">
                    <a:extLst>
                      <a:ext uri="{FF2B5EF4-FFF2-40B4-BE49-F238E27FC236}">
                        <a16:creationId xmlns:a16="http://schemas.microsoft.com/office/drawing/2014/main" id="{324A5045-0EA9-A447-46CB-DEDC3E9FE1BE}"/>
                      </a:ext>
                    </a:extLst>
                  </p:cNvPr>
                  <p:cNvSpPr/>
                  <p:nvPr userDrawn="1"/>
                </p:nvSpPr>
                <p:spPr>
                  <a:xfrm>
                    <a:off x="8430545" y="438601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CDD1DE"/>
                  </a:solidFill>
                  <a:ln w="2339" cap="flat">
                    <a:noFill/>
                    <a:prstDash val="solid"/>
                    <a:miter/>
                  </a:ln>
                </p:spPr>
                <p:txBody>
                  <a:bodyPr rtlCol="0" anchor="ctr"/>
                  <a:lstStyle/>
                  <a:p>
                    <a:endParaRPr lang="en-US" sz="2400"/>
                  </a:p>
                </p:txBody>
              </p:sp>
              <p:sp>
                <p:nvSpPr>
                  <p:cNvPr id="376" name="Freeform: Shape 375">
                    <a:extLst>
                      <a:ext uri="{FF2B5EF4-FFF2-40B4-BE49-F238E27FC236}">
                        <a16:creationId xmlns:a16="http://schemas.microsoft.com/office/drawing/2014/main" id="{6CB39175-7478-BA68-6C26-5444F358FC79}"/>
                      </a:ext>
                    </a:extLst>
                  </p:cNvPr>
                  <p:cNvSpPr/>
                  <p:nvPr userDrawn="1"/>
                </p:nvSpPr>
                <p:spPr>
                  <a:xfrm>
                    <a:off x="8431013" y="438582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CDD2DE"/>
                  </a:solidFill>
                  <a:ln w="2339" cap="flat">
                    <a:noFill/>
                    <a:prstDash val="solid"/>
                    <a:miter/>
                  </a:ln>
                </p:spPr>
                <p:txBody>
                  <a:bodyPr rtlCol="0" anchor="ctr"/>
                  <a:lstStyle/>
                  <a:p>
                    <a:endParaRPr lang="en-US" sz="2400"/>
                  </a:p>
                </p:txBody>
              </p:sp>
              <p:sp>
                <p:nvSpPr>
                  <p:cNvPr id="377" name="Freeform: Shape 376">
                    <a:extLst>
                      <a:ext uri="{FF2B5EF4-FFF2-40B4-BE49-F238E27FC236}">
                        <a16:creationId xmlns:a16="http://schemas.microsoft.com/office/drawing/2014/main" id="{3C43FD3E-580D-4D97-929E-EB3E61E8FA7F}"/>
                      </a:ext>
                    </a:extLst>
                  </p:cNvPr>
                  <p:cNvSpPr/>
                  <p:nvPr userDrawn="1"/>
                </p:nvSpPr>
                <p:spPr>
                  <a:xfrm>
                    <a:off x="8431504" y="438563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43"/>
                          <a:pt x="0" y="21037"/>
                        </a:cubicBezTo>
                        <a:close/>
                      </a:path>
                    </a:pathLst>
                  </a:custGeom>
                  <a:solidFill>
                    <a:srgbClr val="CDD2DF"/>
                  </a:solidFill>
                  <a:ln w="2339" cap="flat">
                    <a:noFill/>
                    <a:prstDash val="solid"/>
                    <a:miter/>
                  </a:ln>
                </p:spPr>
                <p:txBody>
                  <a:bodyPr rtlCol="0" anchor="ctr"/>
                  <a:lstStyle/>
                  <a:p>
                    <a:endParaRPr lang="en-US" sz="2400"/>
                  </a:p>
                </p:txBody>
              </p:sp>
              <p:sp>
                <p:nvSpPr>
                  <p:cNvPr id="378" name="Freeform: Shape 377">
                    <a:extLst>
                      <a:ext uri="{FF2B5EF4-FFF2-40B4-BE49-F238E27FC236}">
                        <a16:creationId xmlns:a16="http://schemas.microsoft.com/office/drawing/2014/main" id="{B28A74D4-7510-7E0E-1C3A-85F74C84443E}"/>
                      </a:ext>
                    </a:extLst>
                  </p:cNvPr>
                  <p:cNvSpPr/>
                  <p:nvPr userDrawn="1"/>
                </p:nvSpPr>
                <p:spPr>
                  <a:xfrm>
                    <a:off x="8431972" y="438542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ED2DF"/>
                  </a:solidFill>
                  <a:ln w="2339" cap="flat">
                    <a:noFill/>
                    <a:prstDash val="solid"/>
                    <a:miter/>
                  </a:ln>
                </p:spPr>
                <p:txBody>
                  <a:bodyPr rtlCol="0" anchor="ctr"/>
                  <a:lstStyle/>
                  <a:p>
                    <a:endParaRPr lang="en-US" sz="2400"/>
                  </a:p>
                </p:txBody>
              </p:sp>
              <p:sp>
                <p:nvSpPr>
                  <p:cNvPr id="379" name="Freeform: Shape 378">
                    <a:extLst>
                      <a:ext uri="{FF2B5EF4-FFF2-40B4-BE49-F238E27FC236}">
                        <a16:creationId xmlns:a16="http://schemas.microsoft.com/office/drawing/2014/main" id="{1A38C5B8-407C-8E56-D703-88721853398D}"/>
                      </a:ext>
                    </a:extLst>
                  </p:cNvPr>
                  <p:cNvSpPr/>
                  <p:nvPr userDrawn="1"/>
                </p:nvSpPr>
                <p:spPr>
                  <a:xfrm>
                    <a:off x="8432440" y="438524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ED2DF"/>
                  </a:solidFill>
                  <a:ln w="2339" cap="flat">
                    <a:noFill/>
                    <a:prstDash val="solid"/>
                    <a:miter/>
                  </a:ln>
                </p:spPr>
                <p:txBody>
                  <a:bodyPr rtlCol="0" anchor="ctr"/>
                  <a:lstStyle/>
                  <a:p>
                    <a:endParaRPr lang="en-US" sz="2400"/>
                  </a:p>
                </p:txBody>
              </p:sp>
              <p:sp>
                <p:nvSpPr>
                  <p:cNvPr id="380" name="Freeform: Shape 379">
                    <a:extLst>
                      <a:ext uri="{FF2B5EF4-FFF2-40B4-BE49-F238E27FC236}">
                        <a16:creationId xmlns:a16="http://schemas.microsoft.com/office/drawing/2014/main" id="{7FBC0DAD-BCCC-24B0-68D4-CB99205C7856}"/>
                      </a:ext>
                    </a:extLst>
                  </p:cNvPr>
                  <p:cNvSpPr/>
                  <p:nvPr userDrawn="1"/>
                </p:nvSpPr>
                <p:spPr>
                  <a:xfrm>
                    <a:off x="8432908" y="438505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ED3DF"/>
                  </a:solidFill>
                  <a:ln w="2339" cap="flat">
                    <a:noFill/>
                    <a:prstDash val="solid"/>
                    <a:miter/>
                  </a:ln>
                </p:spPr>
                <p:txBody>
                  <a:bodyPr rtlCol="0" anchor="ctr"/>
                  <a:lstStyle/>
                  <a:p>
                    <a:endParaRPr lang="en-US" sz="2400"/>
                  </a:p>
                </p:txBody>
              </p:sp>
              <p:sp>
                <p:nvSpPr>
                  <p:cNvPr id="381" name="Freeform: Shape 380">
                    <a:extLst>
                      <a:ext uri="{FF2B5EF4-FFF2-40B4-BE49-F238E27FC236}">
                        <a16:creationId xmlns:a16="http://schemas.microsoft.com/office/drawing/2014/main" id="{594AAFCC-CFD4-4707-2276-2549C38554FF}"/>
                      </a:ext>
                    </a:extLst>
                  </p:cNvPr>
                  <p:cNvSpPr/>
                  <p:nvPr userDrawn="1"/>
                </p:nvSpPr>
                <p:spPr>
                  <a:xfrm>
                    <a:off x="8433376" y="438486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CFD3DF"/>
                  </a:solidFill>
                  <a:ln w="2339" cap="flat">
                    <a:noFill/>
                    <a:prstDash val="solid"/>
                    <a:miter/>
                  </a:ln>
                </p:spPr>
                <p:txBody>
                  <a:bodyPr rtlCol="0" anchor="ctr"/>
                  <a:lstStyle/>
                  <a:p>
                    <a:endParaRPr lang="en-US" sz="2400"/>
                  </a:p>
                </p:txBody>
              </p:sp>
              <p:sp>
                <p:nvSpPr>
                  <p:cNvPr id="382" name="Freeform: Shape 381">
                    <a:extLst>
                      <a:ext uri="{FF2B5EF4-FFF2-40B4-BE49-F238E27FC236}">
                        <a16:creationId xmlns:a16="http://schemas.microsoft.com/office/drawing/2014/main" id="{ED6069CC-95C0-3A5D-1345-36BBA48E650E}"/>
                      </a:ext>
                    </a:extLst>
                  </p:cNvPr>
                  <p:cNvSpPr/>
                  <p:nvPr userDrawn="1"/>
                </p:nvSpPr>
                <p:spPr>
                  <a:xfrm>
                    <a:off x="8433844" y="438468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CFD3E0"/>
                  </a:solidFill>
                  <a:ln w="2339" cap="flat">
                    <a:noFill/>
                    <a:prstDash val="solid"/>
                    <a:miter/>
                  </a:ln>
                </p:spPr>
                <p:txBody>
                  <a:bodyPr rtlCol="0" anchor="ctr"/>
                  <a:lstStyle/>
                  <a:p>
                    <a:endParaRPr lang="en-US" sz="2400"/>
                  </a:p>
                </p:txBody>
              </p:sp>
              <p:sp>
                <p:nvSpPr>
                  <p:cNvPr id="383" name="Freeform: Shape 382">
                    <a:extLst>
                      <a:ext uri="{FF2B5EF4-FFF2-40B4-BE49-F238E27FC236}">
                        <a16:creationId xmlns:a16="http://schemas.microsoft.com/office/drawing/2014/main" id="{A825F7D3-3965-5989-947B-C4ACB18D7D13}"/>
                      </a:ext>
                    </a:extLst>
                  </p:cNvPr>
                  <p:cNvSpPr/>
                  <p:nvPr userDrawn="1"/>
                </p:nvSpPr>
                <p:spPr>
                  <a:xfrm>
                    <a:off x="8434312" y="438446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CFD4E0"/>
                  </a:solidFill>
                  <a:ln w="2339" cap="flat">
                    <a:noFill/>
                    <a:prstDash val="solid"/>
                    <a:miter/>
                  </a:ln>
                </p:spPr>
                <p:txBody>
                  <a:bodyPr rtlCol="0" anchor="ctr"/>
                  <a:lstStyle/>
                  <a:p>
                    <a:endParaRPr lang="en-US" sz="2400"/>
                  </a:p>
                </p:txBody>
              </p:sp>
              <p:sp>
                <p:nvSpPr>
                  <p:cNvPr id="384" name="Freeform: Shape 383">
                    <a:extLst>
                      <a:ext uri="{FF2B5EF4-FFF2-40B4-BE49-F238E27FC236}">
                        <a16:creationId xmlns:a16="http://schemas.microsoft.com/office/drawing/2014/main" id="{1B8986A1-1476-A89B-0F2E-876451C01E64}"/>
                      </a:ext>
                    </a:extLst>
                  </p:cNvPr>
                  <p:cNvSpPr/>
                  <p:nvPr userDrawn="1"/>
                </p:nvSpPr>
                <p:spPr>
                  <a:xfrm>
                    <a:off x="8434780" y="438428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D0D4E0"/>
                  </a:solidFill>
                  <a:ln w="2339" cap="flat">
                    <a:noFill/>
                    <a:prstDash val="solid"/>
                    <a:miter/>
                  </a:ln>
                </p:spPr>
                <p:txBody>
                  <a:bodyPr rtlCol="0" anchor="ctr"/>
                  <a:lstStyle/>
                  <a:p>
                    <a:endParaRPr lang="en-US" sz="2400"/>
                  </a:p>
                </p:txBody>
              </p:sp>
              <p:sp>
                <p:nvSpPr>
                  <p:cNvPr id="385" name="Freeform: Shape 384">
                    <a:extLst>
                      <a:ext uri="{FF2B5EF4-FFF2-40B4-BE49-F238E27FC236}">
                        <a16:creationId xmlns:a16="http://schemas.microsoft.com/office/drawing/2014/main" id="{C73B4115-5F4A-B557-F4BA-A57BB1418590}"/>
                      </a:ext>
                    </a:extLst>
                  </p:cNvPr>
                  <p:cNvSpPr/>
                  <p:nvPr userDrawn="1"/>
                </p:nvSpPr>
                <p:spPr>
                  <a:xfrm>
                    <a:off x="8435225" y="438409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0D4E0"/>
                  </a:solidFill>
                  <a:ln w="2339" cap="flat">
                    <a:noFill/>
                    <a:prstDash val="solid"/>
                    <a:miter/>
                  </a:ln>
                </p:spPr>
                <p:txBody>
                  <a:bodyPr rtlCol="0" anchor="ctr"/>
                  <a:lstStyle/>
                  <a:p>
                    <a:endParaRPr lang="en-US" sz="2400"/>
                  </a:p>
                </p:txBody>
              </p:sp>
              <p:sp>
                <p:nvSpPr>
                  <p:cNvPr id="386" name="Freeform: Shape 385">
                    <a:extLst>
                      <a:ext uri="{FF2B5EF4-FFF2-40B4-BE49-F238E27FC236}">
                        <a16:creationId xmlns:a16="http://schemas.microsoft.com/office/drawing/2014/main" id="{B6B91C9E-8D52-F3E0-71EB-9D419FB46B14}"/>
                      </a:ext>
                    </a:extLst>
                  </p:cNvPr>
                  <p:cNvSpPr/>
                  <p:nvPr userDrawn="1"/>
                </p:nvSpPr>
                <p:spPr>
                  <a:xfrm>
                    <a:off x="8435693" y="438388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0D4E0"/>
                  </a:solidFill>
                  <a:ln w="2339" cap="flat">
                    <a:noFill/>
                    <a:prstDash val="solid"/>
                    <a:miter/>
                  </a:ln>
                </p:spPr>
                <p:txBody>
                  <a:bodyPr rtlCol="0" anchor="ctr"/>
                  <a:lstStyle/>
                  <a:p>
                    <a:endParaRPr lang="en-US" sz="2400"/>
                  </a:p>
                </p:txBody>
              </p:sp>
              <p:sp>
                <p:nvSpPr>
                  <p:cNvPr id="387" name="Freeform: Shape 386">
                    <a:extLst>
                      <a:ext uri="{FF2B5EF4-FFF2-40B4-BE49-F238E27FC236}">
                        <a16:creationId xmlns:a16="http://schemas.microsoft.com/office/drawing/2014/main" id="{60D9B1D8-BD52-8288-CF1B-5DDA726C3322}"/>
                      </a:ext>
                    </a:extLst>
                  </p:cNvPr>
                  <p:cNvSpPr/>
                  <p:nvPr userDrawn="1"/>
                </p:nvSpPr>
                <p:spPr>
                  <a:xfrm>
                    <a:off x="8436137" y="438369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1D5E1"/>
                  </a:solidFill>
                  <a:ln w="2339" cap="flat">
                    <a:noFill/>
                    <a:prstDash val="solid"/>
                    <a:miter/>
                  </a:ln>
                </p:spPr>
                <p:txBody>
                  <a:bodyPr rtlCol="0" anchor="ctr"/>
                  <a:lstStyle/>
                  <a:p>
                    <a:endParaRPr lang="en-US" sz="2400"/>
                  </a:p>
                </p:txBody>
              </p:sp>
              <p:sp>
                <p:nvSpPr>
                  <p:cNvPr id="388" name="Freeform: Shape 387">
                    <a:extLst>
                      <a:ext uri="{FF2B5EF4-FFF2-40B4-BE49-F238E27FC236}">
                        <a16:creationId xmlns:a16="http://schemas.microsoft.com/office/drawing/2014/main" id="{DB2BA04F-24FE-2F94-A737-F712D93E274D}"/>
                      </a:ext>
                    </a:extLst>
                  </p:cNvPr>
                  <p:cNvSpPr/>
                  <p:nvPr userDrawn="1"/>
                </p:nvSpPr>
                <p:spPr>
                  <a:xfrm>
                    <a:off x="8436605" y="438348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1D5E1"/>
                  </a:solidFill>
                  <a:ln w="2339" cap="flat">
                    <a:noFill/>
                    <a:prstDash val="solid"/>
                    <a:miter/>
                  </a:ln>
                </p:spPr>
                <p:txBody>
                  <a:bodyPr rtlCol="0" anchor="ctr"/>
                  <a:lstStyle/>
                  <a:p>
                    <a:endParaRPr lang="en-US" sz="2400"/>
                  </a:p>
                </p:txBody>
              </p:sp>
              <p:sp>
                <p:nvSpPr>
                  <p:cNvPr id="389" name="Freeform: Shape 388">
                    <a:extLst>
                      <a:ext uri="{FF2B5EF4-FFF2-40B4-BE49-F238E27FC236}">
                        <a16:creationId xmlns:a16="http://schemas.microsoft.com/office/drawing/2014/main" id="{F79752B7-C4DC-4AAC-EDA5-DAA94DB832DF}"/>
                      </a:ext>
                    </a:extLst>
                  </p:cNvPr>
                  <p:cNvSpPr/>
                  <p:nvPr userDrawn="1"/>
                </p:nvSpPr>
                <p:spPr>
                  <a:xfrm>
                    <a:off x="8437050" y="438329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1D5E1"/>
                  </a:solidFill>
                  <a:ln w="2339" cap="flat">
                    <a:noFill/>
                    <a:prstDash val="solid"/>
                    <a:miter/>
                  </a:ln>
                </p:spPr>
                <p:txBody>
                  <a:bodyPr rtlCol="0" anchor="ctr"/>
                  <a:lstStyle/>
                  <a:p>
                    <a:endParaRPr lang="en-US" sz="2400"/>
                  </a:p>
                </p:txBody>
              </p:sp>
              <p:sp>
                <p:nvSpPr>
                  <p:cNvPr id="390" name="Freeform: Shape 389">
                    <a:extLst>
                      <a:ext uri="{FF2B5EF4-FFF2-40B4-BE49-F238E27FC236}">
                        <a16:creationId xmlns:a16="http://schemas.microsoft.com/office/drawing/2014/main" id="{7CDAF092-8EA5-BA98-B01B-219CE81AFFD1}"/>
                      </a:ext>
                    </a:extLst>
                  </p:cNvPr>
                  <p:cNvSpPr/>
                  <p:nvPr userDrawn="1"/>
                </p:nvSpPr>
                <p:spPr>
                  <a:xfrm>
                    <a:off x="8437518" y="438308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D1D6E1"/>
                  </a:solidFill>
                  <a:ln w="2339" cap="flat">
                    <a:noFill/>
                    <a:prstDash val="solid"/>
                    <a:miter/>
                  </a:ln>
                </p:spPr>
                <p:txBody>
                  <a:bodyPr rtlCol="0" anchor="ctr"/>
                  <a:lstStyle/>
                  <a:p>
                    <a:endParaRPr lang="en-US" sz="2400"/>
                  </a:p>
                </p:txBody>
              </p:sp>
              <p:sp>
                <p:nvSpPr>
                  <p:cNvPr id="391" name="Freeform: Shape 390">
                    <a:extLst>
                      <a:ext uri="{FF2B5EF4-FFF2-40B4-BE49-F238E27FC236}">
                        <a16:creationId xmlns:a16="http://schemas.microsoft.com/office/drawing/2014/main" id="{710B3214-7A4A-D0AC-6940-3EE433CA5E25}"/>
                      </a:ext>
                    </a:extLst>
                  </p:cNvPr>
                  <p:cNvSpPr/>
                  <p:nvPr userDrawn="1"/>
                </p:nvSpPr>
                <p:spPr>
                  <a:xfrm>
                    <a:off x="8437963" y="438287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2D6E1"/>
                  </a:solidFill>
                  <a:ln w="2339" cap="flat">
                    <a:noFill/>
                    <a:prstDash val="solid"/>
                    <a:miter/>
                  </a:ln>
                </p:spPr>
                <p:txBody>
                  <a:bodyPr rtlCol="0" anchor="ctr"/>
                  <a:lstStyle/>
                  <a:p>
                    <a:endParaRPr lang="en-US" sz="2400"/>
                  </a:p>
                </p:txBody>
              </p:sp>
              <p:sp>
                <p:nvSpPr>
                  <p:cNvPr id="392" name="Freeform: Shape 391">
                    <a:extLst>
                      <a:ext uri="{FF2B5EF4-FFF2-40B4-BE49-F238E27FC236}">
                        <a16:creationId xmlns:a16="http://schemas.microsoft.com/office/drawing/2014/main" id="{3003BED7-3B7B-72DA-9511-7D640052D103}"/>
                      </a:ext>
                    </a:extLst>
                  </p:cNvPr>
                  <p:cNvSpPr/>
                  <p:nvPr userDrawn="1"/>
                </p:nvSpPr>
                <p:spPr>
                  <a:xfrm>
                    <a:off x="8438407" y="438269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2D6E2"/>
                  </a:solidFill>
                  <a:ln w="2339" cap="flat">
                    <a:noFill/>
                    <a:prstDash val="solid"/>
                    <a:miter/>
                  </a:ln>
                </p:spPr>
                <p:txBody>
                  <a:bodyPr rtlCol="0" anchor="ctr"/>
                  <a:lstStyle/>
                  <a:p>
                    <a:endParaRPr lang="en-US" sz="2400"/>
                  </a:p>
                </p:txBody>
              </p:sp>
              <p:sp>
                <p:nvSpPr>
                  <p:cNvPr id="393" name="Freeform: Shape 392">
                    <a:extLst>
                      <a:ext uri="{FF2B5EF4-FFF2-40B4-BE49-F238E27FC236}">
                        <a16:creationId xmlns:a16="http://schemas.microsoft.com/office/drawing/2014/main" id="{1A8C4ACB-9A1B-EFFA-4158-6FC8A1E7BE10}"/>
                      </a:ext>
                    </a:extLst>
                  </p:cNvPr>
                  <p:cNvSpPr/>
                  <p:nvPr userDrawn="1"/>
                </p:nvSpPr>
                <p:spPr>
                  <a:xfrm>
                    <a:off x="8438852" y="438248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D2D6E2"/>
                  </a:solidFill>
                  <a:ln w="2339" cap="flat">
                    <a:noFill/>
                    <a:prstDash val="solid"/>
                    <a:miter/>
                  </a:ln>
                </p:spPr>
                <p:txBody>
                  <a:bodyPr rtlCol="0" anchor="ctr"/>
                  <a:lstStyle/>
                  <a:p>
                    <a:endParaRPr lang="en-US" sz="2400"/>
                  </a:p>
                </p:txBody>
              </p:sp>
              <p:sp>
                <p:nvSpPr>
                  <p:cNvPr id="394" name="Freeform: Shape 393">
                    <a:extLst>
                      <a:ext uri="{FF2B5EF4-FFF2-40B4-BE49-F238E27FC236}">
                        <a16:creationId xmlns:a16="http://schemas.microsoft.com/office/drawing/2014/main" id="{12F860E9-81E1-C994-10AA-B87870E85DA5}"/>
                      </a:ext>
                    </a:extLst>
                  </p:cNvPr>
                  <p:cNvSpPr/>
                  <p:nvPr userDrawn="1"/>
                </p:nvSpPr>
                <p:spPr>
                  <a:xfrm>
                    <a:off x="8439296" y="438226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3D7E2"/>
                  </a:solidFill>
                  <a:ln w="2339" cap="flat">
                    <a:noFill/>
                    <a:prstDash val="solid"/>
                    <a:miter/>
                  </a:ln>
                </p:spPr>
                <p:txBody>
                  <a:bodyPr rtlCol="0" anchor="ctr"/>
                  <a:lstStyle/>
                  <a:p>
                    <a:endParaRPr lang="en-US" sz="2400"/>
                  </a:p>
                </p:txBody>
              </p:sp>
              <p:sp>
                <p:nvSpPr>
                  <p:cNvPr id="395" name="Freeform: Shape 394">
                    <a:extLst>
                      <a:ext uri="{FF2B5EF4-FFF2-40B4-BE49-F238E27FC236}">
                        <a16:creationId xmlns:a16="http://schemas.microsoft.com/office/drawing/2014/main" id="{C86B665D-8AFC-0405-4446-6956961C76CD}"/>
                      </a:ext>
                    </a:extLst>
                  </p:cNvPr>
                  <p:cNvSpPr/>
                  <p:nvPr userDrawn="1"/>
                </p:nvSpPr>
                <p:spPr>
                  <a:xfrm>
                    <a:off x="8439741" y="438205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3D7E2"/>
                  </a:solidFill>
                  <a:ln w="2339" cap="flat">
                    <a:noFill/>
                    <a:prstDash val="solid"/>
                    <a:miter/>
                  </a:ln>
                </p:spPr>
                <p:txBody>
                  <a:bodyPr rtlCol="0" anchor="ctr"/>
                  <a:lstStyle/>
                  <a:p>
                    <a:endParaRPr lang="en-US" sz="2400"/>
                  </a:p>
                </p:txBody>
              </p:sp>
              <p:sp>
                <p:nvSpPr>
                  <p:cNvPr id="396" name="Freeform: Shape 395">
                    <a:extLst>
                      <a:ext uri="{FF2B5EF4-FFF2-40B4-BE49-F238E27FC236}">
                        <a16:creationId xmlns:a16="http://schemas.microsoft.com/office/drawing/2014/main" id="{97E3603F-B402-923D-B4FF-81A25C5027E6}"/>
                      </a:ext>
                    </a:extLst>
                  </p:cNvPr>
                  <p:cNvSpPr/>
                  <p:nvPr userDrawn="1"/>
                </p:nvSpPr>
                <p:spPr>
                  <a:xfrm>
                    <a:off x="8440186" y="438184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3D7E2"/>
                  </a:solidFill>
                  <a:ln w="2339" cap="flat">
                    <a:noFill/>
                    <a:prstDash val="solid"/>
                    <a:miter/>
                  </a:ln>
                </p:spPr>
                <p:txBody>
                  <a:bodyPr rtlCol="0" anchor="ctr"/>
                  <a:lstStyle/>
                  <a:p>
                    <a:endParaRPr lang="en-US" sz="2400"/>
                  </a:p>
                </p:txBody>
              </p:sp>
              <p:sp>
                <p:nvSpPr>
                  <p:cNvPr id="397" name="Freeform: Shape 396">
                    <a:extLst>
                      <a:ext uri="{FF2B5EF4-FFF2-40B4-BE49-F238E27FC236}">
                        <a16:creationId xmlns:a16="http://schemas.microsoft.com/office/drawing/2014/main" id="{A5C663A0-C499-8827-60D8-19FD35DAAAF2}"/>
                      </a:ext>
                    </a:extLst>
                  </p:cNvPr>
                  <p:cNvSpPr/>
                  <p:nvPr userDrawn="1"/>
                </p:nvSpPr>
                <p:spPr>
                  <a:xfrm>
                    <a:off x="8440630" y="438166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4D7E3"/>
                  </a:solidFill>
                  <a:ln w="2339" cap="flat">
                    <a:noFill/>
                    <a:prstDash val="solid"/>
                    <a:miter/>
                  </a:ln>
                </p:spPr>
                <p:txBody>
                  <a:bodyPr rtlCol="0" anchor="ctr"/>
                  <a:lstStyle/>
                  <a:p>
                    <a:endParaRPr lang="en-US" sz="2400"/>
                  </a:p>
                </p:txBody>
              </p:sp>
              <p:sp>
                <p:nvSpPr>
                  <p:cNvPr id="398" name="Freeform: Shape 397">
                    <a:extLst>
                      <a:ext uri="{FF2B5EF4-FFF2-40B4-BE49-F238E27FC236}">
                        <a16:creationId xmlns:a16="http://schemas.microsoft.com/office/drawing/2014/main" id="{CAC7F53E-153C-EB60-5F4C-70CC9CDB86FF}"/>
                      </a:ext>
                    </a:extLst>
                  </p:cNvPr>
                  <p:cNvSpPr/>
                  <p:nvPr userDrawn="1"/>
                </p:nvSpPr>
                <p:spPr>
                  <a:xfrm>
                    <a:off x="8441075" y="438145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D4D8E3"/>
                  </a:solidFill>
                  <a:ln w="2339" cap="flat">
                    <a:noFill/>
                    <a:prstDash val="solid"/>
                    <a:miter/>
                  </a:ln>
                </p:spPr>
                <p:txBody>
                  <a:bodyPr rtlCol="0" anchor="ctr"/>
                  <a:lstStyle/>
                  <a:p>
                    <a:endParaRPr lang="en-US" sz="2400"/>
                  </a:p>
                </p:txBody>
              </p:sp>
              <p:sp>
                <p:nvSpPr>
                  <p:cNvPr id="399" name="Freeform: Shape 398">
                    <a:extLst>
                      <a:ext uri="{FF2B5EF4-FFF2-40B4-BE49-F238E27FC236}">
                        <a16:creationId xmlns:a16="http://schemas.microsoft.com/office/drawing/2014/main" id="{E238312C-2E33-122D-D2BA-86FB5514ED5B}"/>
                      </a:ext>
                    </a:extLst>
                  </p:cNvPr>
                  <p:cNvSpPr/>
                  <p:nvPr userDrawn="1"/>
                </p:nvSpPr>
                <p:spPr>
                  <a:xfrm>
                    <a:off x="8441496" y="438124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D4D8E3"/>
                  </a:solidFill>
                  <a:ln w="2339" cap="flat">
                    <a:noFill/>
                    <a:prstDash val="solid"/>
                    <a:miter/>
                  </a:ln>
                </p:spPr>
                <p:txBody>
                  <a:bodyPr rtlCol="0" anchor="ctr"/>
                  <a:lstStyle/>
                  <a:p>
                    <a:endParaRPr lang="en-US" sz="2400"/>
                  </a:p>
                </p:txBody>
              </p:sp>
              <p:sp>
                <p:nvSpPr>
                  <p:cNvPr id="400" name="Freeform: Shape 399">
                    <a:extLst>
                      <a:ext uri="{FF2B5EF4-FFF2-40B4-BE49-F238E27FC236}">
                        <a16:creationId xmlns:a16="http://schemas.microsoft.com/office/drawing/2014/main" id="{F7C63CCE-3D04-B1B7-6B99-C1B54E3A3C17}"/>
                      </a:ext>
                    </a:extLst>
                  </p:cNvPr>
                  <p:cNvSpPr/>
                  <p:nvPr userDrawn="1"/>
                </p:nvSpPr>
                <p:spPr>
                  <a:xfrm>
                    <a:off x="8441941" y="438102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D4D8E3"/>
                  </a:solidFill>
                  <a:ln w="2339" cap="flat">
                    <a:noFill/>
                    <a:prstDash val="solid"/>
                    <a:miter/>
                  </a:ln>
                </p:spPr>
                <p:txBody>
                  <a:bodyPr rtlCol="0" anchor="ctr"/>
                  <a:lstStyle/>
                  <a:p>
                    <a:endParaRPr lang="en-US" sz="2400"/>
                  </a:p>
                </p:txBody>
              </p:sp>
              <p:sp>
                <p:nvSpPr>
                  <p:cNvPr id="401" name="Freeform: Shape 400">
                    <a:extLst>
                      <a:ext uri="{FF2B5EF4-FFF2-40B4-BE49-F238E27FC236}">
                        <a16:creationId xmlns:a16="http://schemas.microsoft.com/office/drawing/2014/main" id="{C05D2F79-48C2-8A83-0204-9F52DD199D45}"/>
                      </a:ext>
                    </a:extLst>
                  </p:cNvPr>
                  <p:cNvSpPr/>
                  <p:nvPr userDrawn="1"/>
                </p:nvSpPr>
                <p:spPr>
                  <a:xfrm>
                    <a:off x="8442362" y="438081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D5D9E3"/>
                  </a:solidFill>
                  <a:ln w="2339" cap="flat">
                    <a:noFill/>
                    <a:prstDash val="solid"/>
                    <a:miter/>
                  </a:ln>
                </p:spPr>
                <p:txBody>
                  <a:bodyPr rtlCol="0" anchor="ctr"/>
                  <a:lstStyle/>
                  <a:p>
                    <a:endParaRPr lang="en-US" sz="2400"/>
                  </a:p>
                </p:txBody>
              </p:sp>
              <p:sp>
                <p:nvSpPr>
                  <p:cNvPr id="402" name="Freeform: Shape 401">
                    <a:extLst>
                      <a:ext uri="{FF2B5EF4-FFF2-40B4-BE49-F238E27FC236}">
                        <a16:creationId xmlns:a16="http://schemas.microsoft.com/office/drawing/2014/main" id="{9197AA2D-5807-B5BE-4247-1FB104A6E083}"/>
                      </a:ext>
                    </a:extLst>
                  </p:cNvPr>
                  <p:cNvSpPr/>
                  <p:nvPr userDrawn="1"/>
                </p:nvSpPr>
                <p:spPr>
                  <a:xfrm>
                    <a:off x="8442806" y="438060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5D9E4"/>
                  </a:solidFill>
                  <a:ln w="2339" cap="flat">
                    <a:noFill/>
                    <a:prstDash val="solid"/>
                    <a:miter/>
                  </a:ln>
                </p:spPr>
                <p:txBody>
                  <a:bodyPr rtlCol="0" anchor="ctr"/>
                  <a:lstStyle/>
                  <a:p>
                    <a:endParaRPr lang="en-US" sz="2400"/>
                  </a:p>
                </p:txBody>
              </p:sp>
              <p:sp>
                <p:nvSpPr>
                  <p:cNvPr id="403" name="Freeform: Shape 402">
                    <a:extLst>
                      <a:ext uri="{FF2B5EF4-FFF2-40B4-BE49-F238E27FC236}">
                        <a16:creationId xmlns:a16="http://schemas.microsoft.com/office/drawing/2014/main" id="{9CFD8C9E-2181-9658-84C9-A3018DFBBA4A}"/>
                      </a:ext>
                    </a:extLst>
                  </p:cNvPr>
                  <p:cNvSpPr/>
                  <p:nvPr userDrawn="1"/>
                </p:nvSpPr>
                <p:spPr>
                  <a:xfrm>
                    <a:off x="8443228" y="438037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5D9E4"/>
                  </a:solidFill>
                  <a:ln w="2339" cap="flat">
                    <a:noFill/>
                    <a:prstDash val="solid"/>
                    <a:miter/>
                  </a:ln>
                </p:spPr>
                <p:txBody>
                  <a:bodyPr rtlCol="0" anchor="ctr"/>
                  <a:lstStyle/>
                  <a:p>
                    <a:endParaRPr lang="en-US" sz="2400"/>
                  </a:p>
                </p:txBody>
              </p:sp>
              <p:sp>
                <p:nvSpPr>
                  <p:cNvPr id="404" name="Freeform: Shape 403">
                    <a:extLst>
                      <a:ext uri="{FF2B5EF4-FFF2-40B4-BE49-F238E27FC236}">
                        <a16:creationId xmlns:a16="http://schemas.microsoft.com/office/drawing/2014/main" id="{E3374B48-FE84-DEAC-A4DF-1317A263AFE3}"/>
                      </a:ext>
                    </a:extLst>
                  </p:cNvPr>
                  <p:cNvSpPr/>
                  <p:nvPr userDrawn="1"/>
                </p:nvSpPr>
                <p:spPr>
                  <a:xfrm>
                    <a:off x="8443649" y="438016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6D9E4"/>
                  </a:solidFill>
                  <a:ln w="2339" cap="flat">
                    <a:noFill/>
                    <a:prstDash val="solid"/>
                    <a:miter/>
                  </a:ln>
                </p:spPr>
                <p:txBody>
                  <a:bodyPr rtlCol="0" anchor="ctr"/>
                  <a:lstStyle/>
                  <a:p>
                    <a:endParaRPr lang="en-US" sz="2400"/>
                  </a:p>
                </p:txBody>
              </p:sp>
              <p:sp>
                <p:nvSpPr>
                  <p:cNvPr id="405" name="Freeform: Shape 404">
                    <a:extLst>
                      <a:ext uri="{FF2B5EF4-FFF2-40B4-BE49-F238E27FC236}">
                        <a16:creationId xmlns:a16="http://schemas.microsoft.com/office/drawing/2014/main" id="{3A0AD63E-FB47-C5E3-770B-5D1F3ABDD389}"/>
                      </a:ext>
                    </a:extLst>
                  </p:cNvPr>
                  <p:cNvSpPr/>
                  <p:nvPr userDrawn="1"/>
                </p:nvSpPr>
                <p:spPr>
                  <a:xfrm>
                    <a:off x="8444093" y="437995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6DAE4"/>
                  </a:solidFill>
                  <a:ln w="2339" cap="flat">
                    <a:noFill/>
                    <a:prstDash val="solid"/>
                    <a:miter/>
                  </a:ln>
                </p:spPr>
                <p:txBody>
                  <a:bodyPr rtlCol="0" anchor="ctr"/>
                  <a:lstStyle/>
                  <a:p>
                    <a:endParaRPr lang="en-US" sz="2400"/>
                  </a:p>
                </p:txBody>
              </p:sp>
              <p:sp>
                <p:nvSpPr>
                  <p:cNvPr id="406" name="Freeform: Shape 405">
                    <a:extLst>
                      <a:ext uri="{FF2B5EF4-FFF2-40B4-BE49-F238E27FC236}">
                        <a16:creationId xmlns:a16="http://schemas.microsoft.com/office/drawing/2014/main" id="{C09CBE37-2297-76C7-71AA-9D69F15C95A4}"/>
                      </a:ext>
                    </a:extLst>
                  </p:cNvPr>
                  <p:cNvSpPr/>
                  <p:nvPr userDrawn="1"/>
                </p:nvSpPr>
                <p:spPr>
                  <a:xfrm>
                    <a:off x="8444515" y="437974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D6DAE4"/>
                  </a:solidFill>
                  <a:ln w="2339" cap="flat">
                    <a:noFill/>
                    <a:prstDash val="solid"/>
                    <a:miter/>
                  </a:ln>
                </p:spPr>
                <p:txBody>
                  <a:bodyPr rtlCol="0" anchor="ctr"/>
                  <a:lstStyle/>
                  <a:p>
                    <a:endParaRPr lang="en-US" sz="2400"/>
                  </a:p>
                </p:txBody>
              </p:sp>
              <p:sp>
                <p:nvSpPr>
                  <p:cNvPr id="407" name="Freeform: Shape 406">
                    <a:extLst>
                      <a:ext uri="{FF2B5EF4-FFF2-40B4-BE49-F238E27FC236}">
                        <a16:creationId xmlns:a16="http://schemas.microsoft.com/office/drawing/2014/main" id="{8D90156C-52DD-C1A2-9E21-4C21FB341933}"/>
                      </a:ext>
                    </a:extLst>
                  </p:cNvPr>
                  <p:cNvSpPr/>
                  <p:nvPr userDrawn="1"/>
                </p:nvSpPr>
                <p:spPr>
                  <a:xfrm>
                    <a:off x="8444936" y="437953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43"/>
                          <a:pt x="0" y="21037"/>
                        </a:cubicBezTo>
                        <a:close/>
                      </a:path>
                    </a:pathLst>
                  </a:custGeom>
                  <a:solidFill>
                    <a:srgbClr val="D7DAE5"/>
                  </a:solidFill>
                  <a:ln w="2339" cap="flat">
                    <a:noFill/>
                    <a:prstDash val="solid"/>
                    <a:miter/>
                  </a:ln>
                </p:spPr>
                <p:txBody>
                  <a:bodyPr rtlCol="0" anchor="ctr"/>
                  <a:lstStyle/>
                  <a:p>
                    <a:endParaRPr lang="en-US" sz="2400"/>
                  </a:p>
                </p:txBody>
              </p:sp>
              <p:sp>
                <p:nvSpPr>
                  <p:cNvPr id="408" name="Freeform: Shape 407">
                    <a:extLst>
                      <a:ext uri="{FF2B5EF4-FFF2-40B4-BE49-F238E27FC236}">
                        <a16:creationId xmlns:a16="http://schemas.microsoft.com/office/drawing/2014/main" id="{62333208-0D17-E50A-573E-AD4BD02AAE0C}"/>
                      </a:ext>
                    </a:extLst>
                  </p:cNvPr>
                  <p:cNvSpPr/>
                  <p:nvPr userDrawn="1"/>
                </p:nvSpPr>
                <p:spPr>
                  <a:xfrm>
                    <a:off x="8445357" y="437929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7DBE5"/>
                  </a:solidFill>
                  <a:ln w="2339" cap="flat">
                    <a:noFill/>
                    <a:prstDash val="solid"/>
                    <a:miter/>
                  </a:ln>
                </p:spPr>
                <p:txBody>
                  <a:bodyPr rtlCol="0" anchor="ctr"/>
                  <a:lstStyle/>
                  <a:p>
                    <a:endParaRPr lang="en-US" sz="2400"/>
                  </a:p>
                </p:txBody>
              </p:sp>
              <p:sp>
                <p:nvSpPr>
                  <p:cNvPr id="409" name="Freeform: Shape 408">
                    <a:extLst>
                      <a:ext uri="{FF2B5EF4-FFF2-40B4-BE49-F238E27FC236}">
                        <a16:creationId xmlns:a16="http://schemas.microsoft.com/office/drawing/2014/main" id="{D8E2826F-1419-81EF-4988-7FD590160E92}"/>
                      </a:ext>
                    </a:extLst>
                  </p:cNvPr>
                  <p:cNvSpPr/>
                  <p:nvPr userDrawn="1"/>
                </p:nvSpPr>
                <p:spPr>
                  <a:xfrm>
                    <a:off x="8445778" y="437908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7DBE5"/>
                  </a:solidFill>
                  <a:ln w="2339" cap="flat">
                    <a:noFill/>
                    <a:prstDash val="solid"/>
                    <a:miter/>
                  </a:ln>
                </p:spPr>
                <p:txBody>
                  <a:bodyPr rtlCol="0" anchor="ctr"/>
                  <a:lstStyle/>
                  <a:p>
                    <a:endParaRPr lang="en-US" sz="2400"/>
                  </a:p>
                </p:txBody>
              </p:sp>
              <p:sp>
                <p:nvSpPr>
                  <p:cNvPr id="410" name="Freeform: Shape 409">
                    <a:extLst>
                      <a:ext uri="{FF2B5EF4-FFF2-40B4-BE49-F238E27FC236}">
                        <a16:creationId xmlns:a16="http://schemas.microsoft.com/office/drawing/2014/main" id="{BA4D808E-F7E6-B366-C5F5-318E1CB6B629}"/>
                      </a:ext>
                    </a:extLst>
                  </p:cNvPr>
                  <p:cNvSpPr/>
                  <p:nvPr userDrawn="1"/>
                </p:nvSpPr>
                <p:spPr>
                  <a:xfrm>
                    <a:off x="8446176" y="437887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8DBE5"/>
                  </a:solidFill>
                  <a:ln w="2339" cap="flat">
                    <a:noFill/>
                    <a:prstDash val="solid"/>
                    <a:miter/>
                  </a:ln>
                </p:spPr>
                <p:txBody>
                  <a:bodyPr rtlCol="0" anchor="ctr"/>
                  <a:lstStyle/>
                  <a:p>
                    <a:endParaRPr lang="en-US" sz="2400"/>
                  </a:p>
                </p:txBody>
              </p:sp>
              <p:sp>
                <p:nvSpPr>
                  <p:cNvPr id="411" name="Freeform: Shape 410">
                    <a:extLst>
                      <a:ext uri="{FF2B5EF4-FFF2-40B4-BE49-F238E27FC236}">
                        <a16:creationId xmlns:a16="http://schemas.microsoft.com/office/drawing/2014/main" id="{3805DE3E-43E4-6301-9826-2BCFA53FD0A9}"/>
                      </a:ext>
                    </a:extLst>
                  </p:cNvPr>
                  <p:cNvSpPr/>
                  <p:nvPr userDrawn="1"/>
                </p:nvSpPr>
                <p:spPr>
                  <a:xfrm>
                    <a:off x="8446597" y="437864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8DBE5"/>
                  </a:solidFill>
                  <a:ln w="2339" cap="flat">
                    <a:noFill/>
                    <a:prstDash val="solid"/>
                    <a:miter/>
                  </a:ln>
                </p:spPr>
                <p:txBody>
                  <a:bodyPr rtlCol="0" anchor="ctr"/>
                  <a:lstStyle/>
                  <a:p>
                    <a:endParaRPr lang="en-US" sz="2400"/>
                  </a:p>
                </p:txBody>
              </p:sp>
              <p:sp>
                <p:nvSpPr>
                  <p:cNvPr id="412" name="Freeform: Shape 411">
                    <a:extLst>
                      <a:ext uri="{FF2B5EF4-FFF2-40B4-BE49-F238E27FC236}">
                        <a16:creationId xmlns:a16="http://schemas.microsoft.com/office/drawing/2014/main" id="{6A06AA9E-2ADC-3A8B-3AE2-378CB96769C7}"/>
                      </a:ext>
                    </a:extLst>
                  </p:cNvPr>
                  <p:cNvSpPr/>
                  <p:nvPr userDrawn="1"/>
                </p:nvSpPr>
                <p:spPr>
                  <a:xfrm>
                    <a:off x="8447018" y="437843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D8DCE6"/>
                  </a:solidFill>
                  <a:ln w="2339" cap="flat">
                    <a:noFill/>
                    <a:prstDash val="solid"/>
                    <a:miter/>
                  </a:ln>
                </p:spPr>
                <p:txBody>
                  <a:bodyPr rtlCol="0" anchor="ctr"/>
                  <a:lstStyle/>
                  <a:p>
                    <a:endParaRPr lang="en-US" sz="2400"/>
                  </a:p>
                </p:txBody>
              </p:sp>
              <p:sp>
                <p:nvSpPr>
                  <p:cNvPr id="413" name="Freeform: Shape 412">
                    <a:extLst>
                      <a:ext uri="{FF2B5EF4-FFF2-40B4-BE49-F238E27FC236}">
                        <a16:creationId xmlns:a16="http://schemas.microsoft.com/office/drawing/2014/main" id="{5AFB8B8F-E3C0-79C6-456D-D1CCFC9A153B}"/>
                      </a:ext>
                    </a:extLst>
                  </p:cNvPr>
                  <p:cNvSpPr/>
                  <p:nvPr userDrawn="1"/>
                </p:nvSpPr>
                <p:spPr>
                  <a:xfrm>
                    <a:off x="8447416" y="437819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8DCE6"/>
                  </a:solidFill>
                  <a:ln w="2339" cap="flat">
                    <a:noFill/>
                    <a:prstDash val="solid"/>
                    <a:miter/>
                  </a:ln>
                </p:spPr>
                <p:txBody>
                  <a:bodyPr rtlCol="0" anchor="ctr"/>
                  <a:lstStyle/>
                  <a:p>
                    <a:endParaRPr lang="en-US" sz="2400"/>
                  </a:p>
                </p:txBody>
              </p:sp>
              <p:sp>
                <p:nvSpPr>
                  <p:cNvPr id="414" name="Freeform: Shape 413">
                    <a:extLst>
                      <a:ext uri="{FF2B5EF4-FFF2-40B4-BE49-F238E27FC236}">
                        <a16:creationId xmlns:a16="http://schemas.microsoft.com/office/drawing/2014/main" id="{1831B771-94DB-7407-44CC-ECC59FF3484F}"/>
                      </a:ext>
                    </a:extLst>
                  </p:cNvPr>
                  <p:cNvSpPr/>
                  <p:nvPr userDrawn="1"/>
                </p:nvSpPr>
                <p:spPr>
                  <a:xfrm>
                    <a:off x="8447814" y="437798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9DCE6"/>
                  </a:solidFill>
                  <a:ln w="2339" cap="flat">
                    <a:noFill/>
                    <a:prstDash val="solid"/>
                    <a:miter/>
                  </a:ln>
                </p:spPr>
                <p:txBody>
                  <a:bodyPr rtlCol="0" anchor="ctr"/>
                  <a:lstStyle/>
                  <a:p>
                    <a:endParaRPr lang="en-US" sz="2400"/>
                  </a:p>
                </p:txBody>
              </p:sp>
              <p:sp>
                <p:nvSpPr>
                  <p:cNvPr id="415" name="Freeform: Shape 414">
                    <a:extLst>
                      <a:ext uri="{FF2B5EF4-FFF2-40B4-BE49-F238E27FC236}">
                        <a16:creationId xmlns:a16="http://schemas.microsoft.com/office/drawing/2014/main" id="{D5AE51A5-B741-CC5B-EF75-8B1C6F3910CA}"/>
                      </a:ext>
                    </a:extLst>
                  </p:cNvPr>
                  <p:cNvSpPr/>
                  <p:nvPr userDrawn="1"/>
                </p:nvSpPr>
                <p:spPr>
                  <a:xfrm>
                    <a:off x="8448235" y="437775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9DCE6"/>
                  </a:solidFill>
                  <a:ln w="2339" cap="flat">
                    <a:noFill/>
                    <a:prstDash val="solid"/>
                    <a:miter/>
                  </a:ln>
                </p:spPr>
                <p:txBody>
                  <a:bodyPr rtlCol="0" anchor="ctr"/>
                  <a:lstStyle/>
                  <a:p>
                    <a:endParaRPr lang="en-US" sz="2400"/>
                  </a:p>
                </p:txBody>
              </p:sp>
              <p:sp>
                <p:nvSpPr>
                  <p:cNvPr id="416" name="Freeform: Shape 415">
                    <a:extLst>
                      <a:ext uri="{FF2B5EF4-FFF2-40B4-BE49-F238E27FC236}">
                        <a16:creationId xmlns:a16="http://schemas.microsoft.com/office/drawing/2014/main" id="{53AF27A3-FE2E-6066-A009-841B3CD848A0}"/>
                      </a:ext>
                    </a:extLst>
                  </p:cNvPr>
                  <p:cNvSpPr/>
                  <p:nvPr userDrawn="1"/>
                </p:nvSpPr>
                <p:spPr>
                  <a:xfrm>
                    <a:off x="8448633" y="437751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9DDE6"/>
                  </a:solidFill>
                  <a:ln w="2339" cap="flat">
                    <a:noFill/>
                    <a:prstDash val="solid"/>
                    <a:miter/>
                  </a:ln>
                </p:spPr>
                <p:txBody>
                  <a:bodyPr rtlCol="0" anchor="ctr"/>
                  <a:lstStyle/>
                  <a:p>
                    <a:endParaRPr lang="en-US" sz="2400"/>
                  </a:p>
                </p:txBody>
              </p:sp>
              <p:sp>
                <p:nvSpPr>
                  <p:cNvPr id="417" name="Freeform: Shape 416">
                    <a:extLst>
                      <a:ext uri="{FF2B5EF4-FFF2-40B4-BE49-F238E27FC236}">
                        <a16:creationId xmlns:a16="http://schemas.microsoft.com/office/drawing/2014/main" id="{EA52C698-021B-FC68-82B8-D471F9E39E46}"/>
                      </a:ext>
                    </a:extLst>
                  </p:cNvPr>
                  <p:cNvSpPr/>
                  <p:nvPr userDrawn="1"/>
                </p:nvSpPr>
                <p:spPr>
                  <a:xfrm>
                    <a:off x="8449031" y="437730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DADDE7"/>
                  </a:solidFill>
                  <a:ln w="2339" cap="flat">
                    <a:noFill/>
                    <a:prstDash val="solid"/>
                    <a:miter/>
                  </a:ln>
                </p:spPr>
                <p:txBody>
                  <a:bodyPr rtlCol="0" anchor="ctr"/>
                  <a:lstStyle/>
                  <a:p>
                    <a:endParaRPr lang="en-US" sz="2400"/>
                  </a:p>
                </p:txBody>
              </p:sp>
              <p:sp>
                <p:nvSpPr>
                  <p:cNvPr id="418" name="Freeform: Shape 417">
                    <a:extLst>
                      <a:ext uri="{FF2B5EF4-FFF2-40B4-BE49-F238E27FC236}">
                        <a16:creationId xmlns:a16="http://schemas.microsoft.com/office/drawing/2014/main" id="{EAE2B3AE-D5EB-B78E-96B6-D9E135B31601}"/>
                      </a:ext>
                    </a:extLst>
                  </p:cNvPr>
                  <p:cNvSpPr/>
                  <p:nvPr userDrawn="1"/>
                </p:nvSpPr>
                <p:spPr>
                  <a:xfrm>
                    <a:off x="8449429" y="437707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ADDE7"/>
                  </a:solidFill>
                  <a:ln w="2339" cap="flat">
                    <a:noFill/>
                    <a:prstDash val="solid"/>
                    <a:miter/>
                  </a:ln>
                </p:spPr>
                <p:txBody>
                  <a:bodyPr rtlCol="0" anchor="ctr"/>
                  <a:lstStyle/>
                  <a:p>
                    <a:endParaRPr lang="en-US" sz="2400"/>
                  </a:p>
                </p:txBody>
              </p:sp>
              <p:sp>
                <p:nvSpPr>
                  <p:cNvPr id="419" name="Freeform: Shape 418">
                    <a:extLst>
                      <a:ext uri="{FF2B5EF4-FFF2-40B4-BE49-F238E27FC236}">
                        <a16:creationId xmlns:a16="http://schemas.microsoft.com/office/drawing/2014/main" id="{6C548EF1-F4EC-AFB1-C456-F2B3FB6F0845}"/>
                      </a:ext>
                    </a:extLst>
                  </p:cNvPr>
                  <p:cNvSpPr/>
                  <p:nvPr userDrawn="1"/>
                </p:nvSpPr>
                <p:spPr>
                  <a:xfrm>
                    <a:off x="8449826" y="437684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ADEE7"/>
                  </a:solidFill>
                  <a:ln w="2339" cap="flat">
                    <a:noFill/>
                    <a:prstDash val="solid"/>
                    <a:miter/>
                  </a:ln>
                </p:spPr>
                <p:txBody>
                  <a:bodyPr rtlCol="0" anchor="ctr"/>
                  <a:lstStyle/>
                  <a:p>
                    <a:endParaRPr lang="en-US" sz="2400"/>
                  </a:p>
                </p:txBody>
              </p:sp>
              <p:sp>
                <p:nvSpPr>
                  <p:cNvPr id="420" name="Freeform: Shape 419">
                    <a:extLst>
                      <a:ext uri="{FF2B5EF4-FFF2-40B4-BE49-F238E27FC236}">
                        <a16:creationId xmlns:a16="http://schemas.microsoft.com/office/drawing/2014/main" id="{B985A7AE-4B40-F9FF-5E56-C227D6A8D191}"/>
                      </a:ext>
                    </a:extLst>
                  </p:cNvPr>
                  <p:cNvSpPr/>
                  <p:nvPr userDrawn="1"/>
                </p:nvSpPr>
                <p:spPr>
                  <a:xfrm>
                    <a:off x="8450224" y="437663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BDEE7"/>
                  </a:solidFill>
                  <a:ln w="2339" cap="flat">
                    <a:noFill/>
                    <a:prstDash val="solid"/>
                    <a:miter/>
                  </a:ln>
                </p:spPr>
                <p:txBody>
                  <a:bodyPr rtlCol="0" anchor="ctr"/>
                  <a:lstStyle/>
                  <a:p>
                    <a:endParaRPr lang="en-US" sz="2400"/>
                  </a:p>
                </p:txBody>
              </p:sp>
              <p:sp>
                <p:nvSpPr>
                  <p:cNvPr id="421" name="Freeform: Shape 420">
                    <a:extLst>
                      <a:ext uri="{FF2B5EF4-FFF2-40B4-BE49-F238E27FC236}">
                        <a16:creationId xmlns:a16="http://schemas.microsoft.com/office/drawing/2014/main" id="{91A4414E-69D5-2C9D-3AED-6794E5E064CE}"/>
                      </a:ext>
                    </a:extLst>
                  </p:cNvPr>
                  <p:cNvSpPr/>
                  <p:nvPr userDrawn="1"/>
                </p:nvSpPr>
                <p:spPr>
                  <a:xfrm>
                    <a:off x="8450622" y="437639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DBDEE7"/>
                  </a:solidFill>
                  <a:ln w="2339" cap="flat">
                    <a:noFill/>
                    <a:prstDash val="solid"/>
                    <a:miter/>
                  </a:ln>
                </p:spPr>
                <p:txBody>
                  <a:bodyPr rtlCol="0" anchor="ctr"/>
                  <a:lstStyle/>
                  <a:p>
                    <a:endParaRPr lang="en-US" sz="2400"/>
                  </a:p>
                </p:txBody>
              </p:sp>
              <p:sp>
                <p:nvSpPr>
                  <p:cNvPr id="422" name="Freeform: Shape 421">
                    <a:extLst>
                      <a:ext uri="{FF2B5EF4-FFF2-40B4-BE49-F238E27FC236}">
                        <a16:creationId xmlns:a16="http://schemas.microsoft.com/office/drawing/2014/main" id="{443D24D2-6D8C-7F52-9ED6-9125D9B14E31}"/>
                      </a:ext>
                    </a:extLst>
                  </p:cNvPr>
                  <p:cNvSpPr/>
                  <p:nvPr userDrawn="1"/>
                </p:nvSpPr>
                <p:spPr>
                  <a:xfrm>
                    <a:off x="8451020" y="437616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BDEE8"/>
                  </a:solidFill>
                  <a:ln w="2339" cap="flat">
                    <a:noFill/>
                    <a:prstDash val="solid"/>
                    <a:miter/>
                  </a:ln>
                </p:spPr>
                <p:txBody>
                  <a:bodyPr rtlCol="0" anchor="ctr"/>
                  <a:lstStyle/>
                  <a:p>
                    <a:endParaRPr lang="en-US" sz="2400"/>
                  </a:p>
                </p:txBody>
              </p:sp>
              <p:sp>
                <p:nvSpPr>
                  <p:cNvPr id="423" name="Freeform: Shape 422">
                    <a:extLst>
                      <a:ext uri="{FF2B5EF4-FFF2-40B4-BE49-F238E27FC236}">
                        <a16:creationId xmlns:a16="http://schemas.microsoft.com/office/drawing/2014/main" id="{7096ADD3-B728-1020-1603-43FD95A89C36}"/>
                      </a:ext>
                    </a:extLst>
                  </p:cNvPr>
                  <p:cNvSpPr/>
                  <p:nvPr userDrawn="1"/>
                </p:nvSpPr>
                <p:spPr>
                  <a:xfrm>
                    <a:off x="8451394" y="437592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CDFE8"/>
                  </a:solidFill>
                  <a:ln w="2339" cap="flat">
                    <a:noFill/>
                    <a:prstDash val="solid"/>
                    <a:miter/>
                  </a:ln>
                </p:spPr>
                <p:txBody>
                  <a:bodyPr rtlCol="0" anchor="ctr"/>
                  <a:lstStyle/>
                  <a:p>
                    <a:endParaRPr lang="en-US" sz="2400"/>
                  </a:p>
                </p:txBody>
              </p:sp>
              <p:sp>
                <p:nvSpPr>
                  <p:cNvPr id="424" name="Freeform: Shape 423">
                    <a:extLst>
                      <a:ext uri="{FF2B5EF4-FFF2-40B4-BE49-F238E27FC236}">
                        <a16:creationId xmlns:a16="http://schemas.microsoft.com/office/drawing/2014/main" id="{61E4B92F-3812-AA11-42E4-F8D9DFC0F97A}"/>
                      </a:ext>
                    </a:extLst>
                  </p:cNvPr>
                  <p:cNvSpPr/>
                  <p:nvPr userDrawn="1"/>
                </p:nvSpPr>
                <p:spPr>
                  <a:xfrm>
                    <a:off x="8451792" y="437569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CDFE8"/>
                  </a:solidFill>
                  <a:ln w="2339" cap="flat">
                    <a:noFill/>
                    <a:prstDash val="solid"/>
                    <a:miter/>
                  </a:ln>
                </p:spPr>
                <p:txBody>
                  <a:bodyPr rtlCol="0" anchor="ctr"/>
                  <a:lstStyle/>
                  <a:p>
                    <a:endParaRPr lang="en-US" sz="2400"/>
                  </a:p>
                </p:txBody>
              </p:sp>
              <p:sp>
                <p:nvSpPr>
                  <p:cNvPr id="425" name="Freeform: Shape 424">
                    <a:extLst>
                      <a:ext uri="{FF2B5EF4-FFF2-40B4-BE49-F238E27FC236}">
                        <a16:creationId xmlns:a16="http://schemas.microsoft.com/office/drawing/2014/main" id="{3AAF5499-D8B0-B713-6161-051600628070}"/>
                      </a:ext>
                    </a:extLst>
                  </p:cNvPr>
                  <p:cNvSpPr/>
                  <p:nvPr userDrawn="1"/>
                </p:nvSpPr>
                <p:spPr>
                  <a:xfrm>
                    <a:off x="8452166" y="437546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CDFE8"/>
                  </a:solidFill>
                  <a:ln w="2339" cap="flat">
                    <a:noFill/>
                    <a:prstDash val="solid"/>
                    <a:miter/>
                  </a:ln>
                </p:spPr>
                <p:txBody>
                  <a:bodyPr rtlCol="0" anchor="ctr"/>
                  <a:lstStyle/>
                  <a:p>
                    <a:endParaRPr lang="en-US" sz="2400"/>
                  </a:p>
                </p:txBody>
              </p:sp>
              <p:sp>
                <p:nvSpPr>
                  <p:cNvPr id="426" name="Freeform: Shape 425">
                    <a:extLst>
                      <a:ext uri="{FF2B5EF4-FFF2-40B4-BE49-F238E27FC236}">
                        <a16:creationId xmlns:a16="http://schemas.microsoft.com/office/drawing/2014/main" id="{97738CDB-6206-BCFE-22C6-45D59D19FC9A}"/>
                      </a:ext>
                    </a:extLst>
                  </p:cNvPr>
                  <p:cNvSpPr/>
                  <p:nvPr userDrawn="1"/>
                </p:nvSpPr>
                <p:spPr>
                  <a:xfrm>
                    <a:off x="8452564" y="437522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CE0E8"/>
                  </a:solidFill>
                  <a:ln w="2339" cap="flat">
                    <a:noFill/>
                    <a:prstDash val="solid"/>
                    <a:miter/>
                  </a:ln>
                </p:spPr>
                <p:txBody>
                  <a:bodyPr rtlCol="0" anchor="ctr"/>
                  <a:lstStyle/>
                  <a:p>
                    <a:endParaRPr lang="en-US" sz="2400"/>
                  </a:p>
                </p:txBody>
              </p:sp>
              <p:sp>
                <p:nvSpPr>
                  <p:cNvPr id="427" name="Freeform: Shape 426">
                    <a:extLst>
                      <a:ext uri="{FF2B5EF4-FFF2-40B4-BE49-F238E27FC236}">
                        <a16:creationId xmlns:a16="http://schemas.microsoft.com/office/drawing/2014/main" id="{815F15DD-70E6-BE5C-8C64-860EA20FCEB7}"/>
                      </a:ext>
                    </a:extLst>
                  </p:cNvPr>
                  <p:cNvSpPr/>
                  <p:nvPr userDrawn="1"/>
                </p:nvSpPr>
                <p:spPr>
                  <a:xfrm>
                    <a:off x="8452939" y="437499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DE0E9"/>
                  </a:solidFill>
                  <a:ln w="2339" cap="flat">
                    <a:noFill/>
                    <a:prstDash val="solid"/>
                    <a:miter/>
                  </a:ln>
                </p:spPr>
                <p:txBody>
                  <a:bodyPr rtlCol="0" anchor="ctr"/>
                  <a:lstStyle/>
                  <a:p>
                    <a:endParaRPr lang="en-US" sz="2400"/>
                  </a:p>
                </p:txBody>
              </p:sp>
              <p:sp>
                <p:nvSpPr>
                  <p:cNvPr id="428" name="Freeform: Shape 427">
                    <a:extLst>
                      <a:ext uri="{FF2B5EF4-FFF2-40B4-BE49-F238E27FC236}">
                        <a16:creationId xmlns:a16="http://schemas.microsoft.com/office/drawing/2014/main" id="{F5169089-D066-7519-E149-66D3B8DFE78B}"/>
                      </a:ext>
                    </a:extLst>
                  </p:cNvPr>
                  <p:cNvSpPr/>
                  <p:nvPr userDrawn="1"/>
                </p:nvSpPr>
                <p:spPr>
                  <a:xfrm>
                    <a:off x="8453313" y="437475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DE0E9"/>
                  </a:solidFill>
                  <a:ln w="2339" cap="flat">
                    <a:noFill/>
                    <a:prstDash val="solid"/>
                    <a:miter/>
                  </a:ln>
                </p:spPr>
                <p:txBody>
                  <a:bodyPr rtlCol="0" anchor="ctr"/>
                  <a:lstStyle/>
                  <a:p>
                    <a:endParaRPr lang="en-US" sz="2400"/>
                  </a:p>
                </p:txBody>
              </p:sp>
              <p:sp>
                <p:nvSpPr>
                  <p:cNvPr id="429" name="Freeform: Shape 428">
                    <a:extLst>
                      <a:ext uri="{FF2B5EF4-FFF2-40B4-BE49-F238E27FC236}">
                        <a16:creationId xmlns:a16="http://schemas.microsoft.com/office/drawing/2014/main" id="{799D473F-5110-FA61-69BC-9E00B460B1BD}"/>
                      </a:ext>
                    </a:extLst>
                  </p:cNvPr>
                  <p:cNvSpPr/>
                  <p:nvPr userDrawn="1"/>
                </p:nvSpPr>
                <p:spPr>
                  <a:xfrm>
                    <a:off x="8453688" y="437452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DE0E9"/>
                  </a:solidFill>
                  <a:ln w="2339" cap="flat">
                    <a:noFill/>
                    <a:prstDash val="solid"/>
                    <a:miter/>
                  </a:ln>
                </p:spPr>
                <p:txBody>
                  <a:bodyPr rtlCol="0" anchor="ctr"/>
                  <a:lstStyle/>
                  <a:p>
                    <a:endParaRPr lang="en-US" sz="2400"/>
                  </a:p>
                </p:txBody>
              </p:sp>
              <p:sp>
                <p:nvSpPr>
                  <p:cNvPr id="430" name="Freeform: Shape 429">
                    <a:extLst>
                      <a:ext uri="{FF2B5EF4-FFF2-40B4-BE49-F238E27FC236}">
                        <a16:creationId xmlns:a16="http://schemas.microsoft.com/office/drawing/2014/main" id="{489C8F4F-0E33-E02C-E076-BF13C149201E}"/>
                      </a:ext>
                    </a:extLst>
                  </p:cNvPr>
                  <p:cNvSpPr/>
                  <p:nvPr userDrawn="1"/>
                </p:nvSpPr>
                <p:spPr>
                  <a:xfrm>
                    <a:off x="8454062" y="437429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EE1E9"/>
                  </a:solidFill>
                  <a:ln w="2339" cap="flat">
                    <a:noFill/>
                    <a:prstDash val="solid"/>
                    <a:miter/>
                  </a:ln>
                </p:spPr>
                <p:txBody>
                  <a:bodyPr rtlCol="0" anchor="ctr"/>
                  <a:lstStyle/>
                  <a:p>
                    <a:endParaRPr lang="en-US" sz="2400"/>
                  </a:p>
                </p:txBody>
              </p:sp>
              <p:sp>
                <p:nvSpPr>
                  <p:cNvPr id="431" name="Freeform: Shape 430">
                    <a:extLst>
                      <a:ext uri="{FF2B5EF4-FFF2-40B4-BE49-F238E27FC236}">
                        <a16:creationId xmlns:a16="http://schemas.microsoft.com/office/drawing/2014/main" id="{DB2BDFA5-124E-D9D4-6A8E-5FED53715F28}"/>
                      </a:ext>
                    </a:extLst>
                  </p:cNvPr>
                  <p:cNvSpPr/>
                  <p:nvPr userDrawn="1"/>
                </p:nvSpPr>
                <p:spPr>
                  <a:xfrm>
                    <a:off x="8454436" y="437405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DEE1E9"/>
                  </a:solidFill>
                  <a:ln w="2339" cap="flat">
                    <a:noFill/>
                    <a:prstDash val="solid"/>
                    <a:miter/>
                  </a:ln>
                </p:spPr>
                <p:txBody>
                  <a:bodyPr rtlCol="0" anchor="ctr"/>
                  <a:lstStyle/>
                  <a:p>
                    <a:endParaRPr lang="en-US" sz="2400"/>
                  </a:p>
                </p:txBody>
              </p:sp>
              <p:sp>
                <p:nvSpPr>
                  <p:cNvPr id="432" name="Freeform: Shape 431">
                    <a:extLst>
                      <a:ext uri="{FF2B5EF4-FFF2-40B4-BE49-F238E27FC236}">
                        <a16:creationId xmlns:a16="http://schemas.microsoft.com/office/drawing/2014/main" id="{05779979-19EC-BC54-3314-9D8DADA04609}"/>
                      </a:ext>
                    </a:extLst>
                  </p:cNvPr>
                  <p:cNvSpPr/>
                  <p:nvPr userDrawn="1"/>
                </p:nvSpPr>
                <p:spPr>
                  <a:xfrm>
                    <a:off x="8454811" y="437382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43"/>
                          <a:pt x="0" y="21037"/>
                        </a:cubicBezTo>
                        <a:close/>
                      </a:path>
                    </a:pathLst>
                  </a:custGeom>
                  <a:solidFill>
                    <a:srgbClr val="DEE1EA"/>
                  </a:solidFill>
                  <a:ln w="2339" cap="flat">
                    <a:noFill/>
                    <a:prstDash val="solid"/>
                    <a:miter/>
                  </a:ln>
                </p:spPr>
                <p:txBody>
                  <a:bodyPr rtlCol="0" anchor="ctr"/>
                  <a:lstStyle/>
                  <a:p>
                    <a:endParaRPr lang="en-US" sz="2400"/>
                  </a:p>
                </p:txBody>
              </p:sp>
              <p:sp>
                <p:nvSpPr>
                  <p:cNvPr id="433" name="Freeform: Shape 432">
                    <a:extLst>
                      <a:ext uri="{FF2B5EF4-FFF2-40B4-BE49-F238E27FC236}">
                        <a16:creationId xmlns:a16="http://schemas.microsoft.com/office/drawing/2014/main" id="{C315D509-7B4D-4C3D-B75F-06372E91E82E}"/>
                      </a:ext>
                    </a:extLst>
                  </p:cNvPr>
                  <p:cNvSpPr/>
                  <p:nvPr userDrawn="1"/>
                </p:nvSpPr>
                <p:spPr>
                  <a:xfrm>
                    <a:off x="8455162" y="437356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FE1EA"/>
                  </a:solidFill>
                  <a:ln w="2339" cap="flat">
                    <a:noFill/>
                    <a:prstDash val="solid"/>
                    <a:miter/>
                  </a:ln>
                </p:spPr>
                <p:txBody>
                  <a:bodyPr rtlCol="0" anchor="ctr"/>
                  <a:lstStyle/>
                  <a:p>
                    <a:endParaRPr lang="en-US" sz="2400"/>
                  </a:p>
                </p:txBody>
              </p:sp>
              <p:sp>
                <p:nvSpPr>
                  <p:cNvPr id="434" name="Freeform: Shape 433">
                    <a:extLst>
                      <a:ext uri="{FF2B5EF4-FFF2-40B4-BE49-F238E27FC236}">
                        <a16:creationId xmlns:a16="http://schemas.microsoft.com/office/drawing/2014/main" id="{69075510-B360-2D2E-1FA4-6023F71398BA}"/>
                      </a:ext>
                    </a:extLst>
                  </p:cNvPr>
                  <p:cNvSpPr/>
                  <p:nvPr userDrawn="1"/>
                </p:nvSpPr>
                <p:spPr>
                  <a:xfrm>
                    <a:off x="8455536" y="437333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FE2EA"/>
                  </a:solidFill>
                  <a:ln w="2339" cap="flat">
                    <a:noFill/>
                    <a:prstDash val="solid"/>
                    <a:miter/>
                  </a:ln>
                </p:spPr>
                <p:txBody>
                  <a:bodyPr rtlCol="0" anchor="ctr"/>
                  <a:lstStyle/>
                  <a:p>
                    <a:endParaRPr lang="en-US" sz="2400"/>
                  </a:p>
                </p:txBody>
              </p:sp>
              <p:sp>
                <p:nvSpPr>
                  <p:cNvPr id="435" name="Freeform: Shape 434">
                    <a:extLst>
                      <a:ext uri="{FF2B5EF4-FFF2-40B4-BE49-F238E27FC236}">
                        <a16:creationId xmlns:a16="http://schemas.microsoft.com/office/drawing/2014/main" id="{96E378DC-F8C7-0469-1926-7788D55B7524}"/>
                      </a:ext>
                    </a:extLst>
                  </p:cNvPr>
                  <p:cNvSpPr/>
                  <p:nvPr userDrawn="1"/>
                </p:nvSpPr>
                <p:spPr>
                  <a:xfrm>
                    <a:off x="8455887" y="437309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DFE2EA"/>
                  </a:solidFill>
                  <a:ln w="2339" cap="flat">
                    <a:noFill/>
                    <a:prstDash val="solid"/>
                    <a:miter/>
                  </a:ln>
                </p:spPr>
                <p:txBody>
                  <a:bodyPr rtlCol="0" anchor="ctr"/>
                  <a:lstStyle/>
                  <a:p>
                    <a:endParaRPr lang="en-US" sz="2400"/>
                  </a:p>
                </p:txBody>
              </p:sp>
              <p:sp>
                <p:nvSpPr>
                  <p:cNvPr id="436" name="Freeform: Shape 435">
                    <a:extLst>
                      <a:ext uri="{FF2B5EF4-FFF2-40B4-BE49-F238E27FC236}">
                        <a16:creationId xmlns:a16="http://schemas.microsoft.com/office/drawing/2014/main" id="{2CF97E13-FFE4-272A-011B-4319892E8DE0}"/>
                      </a:ext>
                    </a:extLst>
                  </p:cNvPr>
                  <p:cNvSpPr/>
                  <p:nvPr userDrawn="1"/>
                </p:nvSpPr>
                <p:spPr>
                  <a:xfrm>
                    <a:off x="8456262" y="437283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FE2EA"/>
                  </a:solidFill>
                  <a:ln w="2339" cap="flat">
                    <a:noFill/>
                    <a:prstDash val="solid"/>
                    <a:miter/>
                  </a:ln>
                </p:spPr>
                <p:txBody>
                  <a:bodyPr rtlCol="0" anchor="ctr"/>
                  <a:lstStyle/>
                  <a:p>
                    <a:endParaRPr lang="en-US" sz="2400"/>
                  </a:p>
                </p:txBody>
              </p:sp>
              <p:sp>
                <p:nvSpPr>
                  <p:cNvPr id="437" name="Freeform: Shape 436">
                    <a:extLst>
                      <a:ext uri="{FF2B5EF4-FFF2-40B4-BE49-F238E27FC236}">
                        <a16:creationId xmlns:a16="http://schemas.microsoft.com/office/drawing/2014/main" id="{8E389127-7521-FD94-5EFA-4039F80929F1}"/>
                      </a:ext>
                    </a:extLst>
                  </p:cNvPr>
                  <p:cNvSpPr/>
                  <p:nvPr userDrawn="1"/>
                </p:nvSpPr>
                <p:spPr>
                  <a:xfrm>
                    <a:off x="8456613" y="437260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0E3EB"/>
                  </a:solidFill>
                  <a:ln w="2339" cap="flat">
                    <a:noFill/>
                    <a:prstDash val="solid"/>
                    <a:miter/>
                  </a:ln>
                </p:spPr>
                <p:txBody>
                  <a:bodyPr rtlCol="0" anchor="ctr"/>
                  <a:lstStyle/>
                  <a:p>
                    <a:endParaRPr lang="en-US" sz="2400"/>
                  </a:p>
                </p:txBody>
              </p:sp>
              <p:sp>
                <p:nvSpPr>
                  <p:cNvPr id="438" name="Freeform: Shape 437">
                    <a:extLst>
                      <a:ext uri="{FF2B5EF4-FFF2-40B4-BE49-F238E27FC236}">
                        <a16:creationId xmlns:a16="http://schemas.microsoft.com/office/drawing/2014/main" id="{8320630F-8EFD-777B-F064-0EFCA7902DC6}"/>
                      </a:ext>
                    </a:extLst>
                  </p:cNvPr>
                  <p:cNvSpPr/>
                  <p:nvPr userDrawn="1"/>
                </p:nvSpPr>
                <p:spPr>
                  <a:xfrm>
                    <a:off x="8456964" y="437237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0E3EB"/>
                  </a:solidFill>
                  <a:ln w="2339" cap="flat">
                    <a:noFill/>
                    <a:prstDash val="solid"/>
                    <a:miter/>
                  </a:ln>
                </p:spPr>
                <p:txBody>
                  <a:bodyPr rtlCol="0" anchor="ctr"/>
                  <a:lstStyle/>
                  <a:p>
                    <a:endParaRPr lang="en-US" sz="2400"/>
                  </a:p>
                </p:txBody>
              </p:sp>
              <p:sp>
                <p:nvSpPr>
                  <p:cNvPr id="439" name="Freeform: Shape 438">
                    <a:extLst>
                      <a:ext uri="{FF2B5EF4-FFF2-40B4-BE49-F238E27FC236}">
                        <a16:creationId xmlns:a16="http://schemas.microsoft.com/office/drawing/2014/main" id="{21787EDC-BD08-3873-4228-70986C3A0BB5}"/>
                      </a:ext>
                    </a:extLst>
                  </p:cNvPr>
                  <p:cNvSpPr/>
                  <p:nvPr userDrawn="1"/>
                </p:nvSpPr>
                <p:spPr>
                  <a:xfrm>
                    <a:off x="8457315" y="437211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0E3EB"/>
                  </a:solidFill>
                  <a:ln w="2339" cap="flat">
                    <a:noFill/>
                    <a:prstDash val="solid"/>
                    <a:miter/>
                  </a:ln>
                </p:spPr>
                <p:txBody>
                  <a:bodyPr rtlCol="0" anchor="ctr"/>
                  <a:lstStyle/>
                  <a:p>
                    <a:endParaRPr lang="en-US" sz="2400"/>
                  </a:p>
                </p:txBody>
              </p:sp>
              <p:sp>
                <p:nvSpPr>
                  <p:cNvPr id="440" name="Freeform: Shape 439">
                    <a:extLst>
                      <a:ext uri="{FF2B5EF4-FFF2-40B4-BE49-F238E27FC236}">
                        <a16:creationId xmlns:a16="http://schemas.microsoft.com/office/drawing/2014/main" id="{983F7EDB-E105-D5ED-C189-3F672E326838}"/>
                      </a:ext>
                    </a:extLst>
                  </p:cNvPr>
                  <p:cNvSpPr/>
                  <p:nvPr userDrawn="1"/>
                </p:nvSpPr>
                <p:spPr>
                  <a:xfrm>
                    <a:off x="8457666" y="437188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1E3EB"/>
                  </a:solidFill>
                  <a:ln w="2339" cap="flat">
                    <a:noFill/>
                    <a:prstDash val="solid"/>
                    <a:miter/>
                  </a:ln>
                </p:spPr>
                <p:txBody>
                  <a:bodyPr rtlCol="0" anchor="ctr"/>
                  <a:lstStyle/>
                  <a:p>
                    <a:endParaRPr lang="en-US" sz="2400"/>
                  </a:p>
                </p:txBody>
              </p:sp>
              <p:sp>
                <p:nvSpPr>
                  <p:cNvPr id="441" name="Freeform: Shape 440">
                    <a:extLst>
                      <a:ext uri="{FF2B5EF4-FFF2-40B4-BE49-F238E27FC236}">
                        <a16:creationId xmlns:a16="http://schemas.microsoft.com/office/drawing/2014/main" id="{4942D738-D357-735B-F858-760BD17D8CCB}"/>
                      </a:ext>
                    </a:extLst>
                  </p:cNvPr>
                  <p:cNvSpPr/>
                  <p:nvPr userDrawn="1"/>
                </p:nvSpPr>
                <p:spPr>
                  <a:xfrm>
                    <a:off x="8458017" y="437162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1E4EB"/>
                  </a:solidFill>
                  <a:ln w="2339" cap="flat">
                    <a:noFill/>
                    <a:prstDash val="solid"/>
                    <a:miter/>
                  </a:ln>
                </p:spPr>
                <p:txBody>
                  <a:bodyPr rtlCol="0" anchor="ctr"/>
                  <a:lstStyle/>
                  <a:p>
                    <a:endParaRPr lang="en-US" sz="2400"/>
                  </a:p>
                </p:txBody>
              </p:sp>
              <p:sp>
                <p:nvSpPr>
                  <p:cNvPr id="442" name="Freeform: Shape 441">
                    <a:extLst>
                      <a:ext uri="{FF2B5EF4-FFF2-40B4-BE49-F238E27FC236}">
                        <a16:creationId xmlns:a16="http://schemas.microsoft.com/office/drawing/2014/main" id="{B30D68BE-867F-A03C-29F3-BA31AA45AAFB}"/>
                      </a:ext>
                    </a:extLst>
                  </p:cNvPr>
                  <p:cNvSpPr/>
                  <p:nvPr userDrawn="1"/>
                </p:nvSpPr>
                <p:spPr>
                  <a:xfrm>
                    <a:off x="8458368" y="437138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1E4EC"/>
                  </a:solidFill>
                  <a:ln w="2339" cap="flat">
                    <a:noFill/>
                    <a:prstDash val="solid"/>
                    <a:miter/>
                  </a:ln>
                </p:spPr>
                <p:txBody>
                  <a:bodyPr rtlCol="0" anchor="ctr"/>
                  <a:lstStyle/>
                  <a:p>
                    <a:endParaRPr lang="en-US" sz="2400"/>
                  </a:p>
                </p:txBody>
              </p:sp>
              <p:sp>
                <p:nvSpPr>
                  <p:cNvPr id="443" name="Freeform: Shape 442">
                    <a:extLst>
                      <a:ext uri="{FF2B5EF4-FFF2-40B4-BE49-F238E27FC236}">
                        <a16:creationId xmlns:a16="http://schemas.microsoft.com/office/drawing/2014/main" id="{6EBA6CEA-6B5D-0778-C7C2-6152B1FB771F}"/>
                      </a:ext>
                    </a:extLst>
                  </p:cNvPr>
                  <p:cNvSpPr/>
                  <p:nvPr userDrawn="1"/>
                </p:nvSpPr>
                <p:spPr>
                  <a:xfrm>
                    <a:off x="8458719" y="437113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2E4EC"/>
                  </a:solidFill>
                  <a:ln w="2339" cap="flat">
                    <a:noFill/>
                    <a:prstDash val="solid"/>
                    <a:miter/>
                  </a:ln>
                </p:spPr>
                <p:txBody>
                  <a:bodyPr rtlCol="0" anchor="ctr"/>
                  <a:lstStyle/>
                  <a:p>
                    <a:endParaRPr lang="en-US" sz="2400"/>
                  </a:p>
                </p:txBody>
              </p:sp>
              <p:sp>
                <p:nvSpPr>
                  <p:cNvPr id="444" name="Freeform: Shape 443">
                    <a:extLst>
                      <a:ext uri="{FF2B5EF4-FFF2-40B4-BE49-F238E27FC236}">
                        <a16:creationId xmlns:a16="http://schemas.microsoft.com/office/drawing/2014/main" id="{7CEC4550-6D3C-8EAA-7F63-7CF26396B92B}"/>
                      </a:ext>
                    </a:extLst>
                  </p:cNvPr>
                  <p:cNvSpPr/>
                  <p:nvPr userDrawn="1"/>
                </p:nvSpPr>
                <p:spPr>
                  <a:xfrm>
                    <a:off x="8459046" y="437087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2E5EC"/>
                  </a:solidFill>
                  <a:ln w="2339" cap="flat">
                    <a:noFill/>
                    <a:prstDash val="solid"/>
                    <a:miter/>
                  </a:ln>
                </p:spPr>
                <p:txBody>
                  <a:bodyPr rtlCol="0" anchor="ctr"/>
                  <a:lstStyle/>
                  <a:p>
                    <a:endParaRPr lang="en-US" sz="2400"/>
                  </a:p>
                </p:txBody>
              </p:sp>
              <p:sp>
                <p:nvSpPr>
                  <p:cNvPr id="445" name="Freeform: Shape 444">
                    <a:extLst>
                      <a:ext uri="{FF2B5EF4-FFF2-40B4-BE49-F238E27FC236}">
                        <a16:creationId xmlns:a16="http://schemas.microsoft.com/office/drawing/2014/main" id="{FAB69673-4A6A-27A2-2B8B-0E244446591F}"/>
                      </a:ext>
                    </a:extLst>
                  </p:cNvPr>
                  <p:cNvSpPr/>
                  <p:nvPr userDrawn="1"/>
                </p:nvSpPr>
                <p:spPr>
                  <a:xfrm>
                    <a:off x="8459397" y="437063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E2E5EC"/>
                  </a:solidFill>
                  <a:ln w="2339" cap="flat">
                    <a:noFill/>
                    <a:prstDash val="solid"/>
                    <a:miter/>
                  </a:ln>
                </p:spPr>
                <p:txBody>
                  <a:bodyPr rtlCol="0" anchor="ctr"/>
                  <a:lstStyle/>
                  <a:p>
                    <a:endParaRPr lang="en-US" sz="2400"/>
                  </a:p>
                </p:txBody>
              </p:sp>
              <p:sp>
                <p:nvSpPr>
                  <p:cNvPr id="446" name="Freeform: Shape 445">
                    <a:extLst>
                      <a:ext uri="{FF2B5EF4-FFF2-40B4-BE49-F238E27FC236}">
                        <a16:creationId xmlns:a16="http://schemas.microsoft.com/office/drawing/2014/main" id="{06732E06-0D9D-E393-24D3-D5AB21E1B94A}"/>
                      </a:ext>
                    </a:extLst>
                  </p:cNvPr>
                  <p:cNvSpPr/>
                  <p:nvPr userDrawn="1"/>
                </p:nvSpPr>
                <p:spPr>
                  <a:xfrm>
                    <a:off x="8459725" y="437038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3E5EC"/>
                  </a:solidFill>
                  <a:ln w="2339" cap="flat">
                    <a:noFill/>
                    <a:prstDash val="solid"/>
                    <a:miter/>
                  </a:ln>
                </p:spPr>
                <p:txBody>
                  <a:bodyPr rtlCol="0" anchor="ctr"/>
                  <a:lstStyle/>
                  <a:p>
                    <a:endParaRPr lang="en-US" sz="2400"/>
                  </a:p>
                </p:txBody>
              </p:sp>
              <p:sp>
                <p:nvSpPr>
                  <p:cNvPr id="447" name="Freeform: Shape 446">
                    <a:extLst>
                      <a:ext uri="{FF2B5EF4-FFF2-40B4-BE49-F238E27FC236}">
                        <a16:creationId xmlns:a16="http://schemas.microsoft.com/office/drawing/2014/main" id="{E88E1CEA-D3B8-D17E-6DAC-468D6A63C864}"/>
                      </a:ext>
                    </a:extLst>
                  </p:cNvPr>
                  <p:cNvSpPr/>
                  <p:nvPr userDrawn="1"/>
                </p:nvSpPr>
                <p:spPr>
                  <a:xfrm>
                    <a:off x="8460052" y="437012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3E5ED"/>
                  </a:solidFill>
                  <a:ln w="2339" cap="flat">
                    <a:noFill/>
                    <a:prstDash val="solid"/>
                    <a:miter/>
                  </a:ln>
                </p:spPr>
                <p:txBody>
                  <a:bodyPr rtlCol="0" anchor="ctr"/>
                  <a:lstStyle/>
                  <a:p>
                    <a:endParaRPr lang="en-US" sz="2400"/>
                  </a:p>
                </p:txBody>
              </p:sp>
              <p:sp>
                <p:nvSpPr>
                  <p:cNvPr id="448" name="Freeform: Shape 447">
                    <a:extLst>
                      <a:ext uri="{FF2B5EF4-FFF2-40B4-BE49-F238E27FC236}">
                        <a16:creationId xmlns:a16="http://schemas.microsoft.com/office/drawing/2014/main" id="{77E78768-6D16-AFD5-1701-736A40206771}"/>
                      </a:ext>
                    </a:extLst>
                  </p:cNvPr>
                  <p:cNvSpPr/>
                  <p:nvPr userDrawn="1"/>
                </p:nvSpPr>
                <p:spPr>
                  <a:xfrm>
                    <a:off x="8460403" y="436989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E3E6ED"/>
                  </a:solidFill>
                  <a:ln w="2339" cap="flat">
                    <a:noFill/>
                    <a:prstDash val="solid"/>
                    <a:miter/>
                  </a:ln>
                </p:spPr>
                <p:txBody>
                  <a:bodyPr rtlCol="0" anchor="ctr"/>
                  <a:lstStyle/>
                  <a:p>
                    <a:endParaRPr lang="en-US" sz="2400"/>
                  </a:p>
                </p:txBody>
              </p:sp>
              <p:sp>
                <p:nvSpPr>
                  <p:cNvPr id="449" name="Freeform: Shape 448">
                    <a:extLst>
                      <a:ext uri="{FF2B5EF4-FFF2-40B4-BE49-F238E27FC236}">
                        <a16:creationId xmlns:a16="http://schemas.microsoft.com/office/drawing/2014/main" id="{119F834C-A698-0802-FA4B-4FAF6B62985F}"/>
                      </a:ext>
                    </a:extLst>
                  </p:cNvPr>
                  <p:cNvSpPr/>
                  <p:nvPr userDrawn="1"/>
                </p:nvSpPr>
                <p:spPr>
                  <a:xfrm>
                    <a:off x="8460731" y="436963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3E6ED"/>
                  </a:solidFill>
                  <a:ln w="2339" cap="flat">
                    <a:noFill/>
                    <a:prstDash val="solid"/>
                    <a:miter/>
                  </a:ln>
                </p:spPr>
                <p:txBody>
                  <a:bodyPr rtlCol="0" anchor="ctr"/>
                  <a:lstStyle/>
                  <a:p>
                    <a:endParaRPr lang="en-US" sz="2400"/>
                  </a:p>
                </p:txBody>
              </p:sp>
              <p:sp>
                <p:nvSpPr>
                  <p:cNvPr id="450" name="Freeform: Shape 449">
                    <a:extLst>
                      <a:ext uri="{FF2B5EF4-FFF2-40B4-BE49-F238E27FC236}">
                        <a16:creationId xmlns:a16="http://schemas.microsoft.com/office/drawing/2014/main" id="{31CB67B3-F60A-6556-5261-113685E2B506}"/>
                      </a:ext>
                    </a:extLst>
                  </p:cNvPr>
                  <p:cNvSpPr/>
                  <p:nvPr userDrawn="1"/>
                </p:nvSpPr>
                <p:spPr>
                  <a:xfrm>
                    <a:off x="8461059" y="436937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4E6ED"/>
                  </a:solidFill>
                  <a:ln w="2339" cap="flat">
                    <a:noFill/>
                    <a:prstDash val="solid"/>
                    <a:miter/>
                  </a:ln>
                </p:spPr>
                <p:txBody>
                  <a:bodyPr rtlCol="0" anchor="ctr"/>
                  <a:lstStyle/>
                  <a:p>
                    <a:endParaRPr lang="en-US" sz="2400"/>
                  </a:p>
                </p:txBody>
              </p:sp>
              <p:sp>
                <p:nvSpPr>
                  <p:cNvPr id="451" name="Freeform: Shape 450">
                    <a:extLst>
                      <a:ext uri="{FF2B5EF4-FFF2-40B4-BE49-F238E27FC236}">
                        <a16:creationId xmlns:a16="http://schemas.microsoft.com/office/drawing/2014/main" id="{7440B663-6638-66F2-C019-57E3016BF97D}"/>
                      </a:ext>
                    </a:extLst>
                  </p:cNvPr>
                  <p:cNvSpPr/>
                  <p:nvPr userDrawn="1"/>
                </p:nvSpPr>
                <p:spPr>
                  <a:xfrm>
                    <a:off x="8461363" y="436911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4E6ED"/>
                  </a:solidFill>
                  <a:ln w="2339" cap="flat">
                    <a:noFill/>
                    <a:prstDash val="solid"/>
                    <a:miter/>
                  </a:ln>
                </p:spPr>
                <p:txBody>
                  <a:bodyPr rtlCol="0" anchor="ctr"/>
                  <a:lstStyle/>
                  <a:p>
                    <a:endParaRPr lang="en-US" sz="2400"/>
                  </a:p>
                </p:txBody>
              </p:sp>
              <p:sp>
                <p:nvSpPr>
                  <p:cNvPr id="452" name="Freeform: Shape 451">
                    <a:extLst>
                      <a:ext uri="{FF2B5EF4-FFF2-40B4-BE49-F238E27FC236}">
                        <a16:creationId xmlns:a16="http://schemas.microsoft.com/office/drawing/2014/main" id="{FD7677C8-F4E8-AA9B-C4AA-FB76F9277AB4}"/>
                      </a:ext>
                    </a:extLst>
                  </p:cNvPr>
                  <p:cNvSpPr/>
                  <p:nvPr userDrawn="1"/>
                </p:nvSpPr>
                <p:spPr>
                  <a:xfrm>
                    <a:off x="8461690" y="436886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4E7EE"/>
                  </a:solidFill>
                  <a:ln w="2339" cap="flat">
                    <a:noFill/>
                    <a:prstDash val="solid"/>
                    <a:miter/>
                  </a:ln>
                </p:spPr>
                <p:txBody>
                  <a:bodyPr rtlCol="0" anchor="ctr"/>
                  <a:lstStyle/>
                  <a:p>
                    <a:endParaRPr lang="en-US" sz="2400"/>
                  </a:p>
                </p:txBody>
              </p:sp>
              <p:sp>
                <p:nvSpPr>
                  <p:cNvPr id="453" name="Freeform: Shape 452">
                    <a:extLst>
                      <a:ext uri="{FF2B5EF4-FFF2-40B4-BE49-F238E27FC236}">
                        <a16:creationId xmlns:a16="http://schemas.microsoft.com/office/drawing/2014/main" id="{74BB0F45-8444-8456-5A5D-39FF4D09F7B0}"/>
                      </a:ext>
                    </a:extLst>
                  </p:cNvPr>
                  <p:cNvSpPr/>
                  <p:nvPr userDrawn="1"/>
                </p:nvSpPr>
                <p:spPr>
                  <a:xfrm>
                    <a:off x="8462018" y="436860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5E7EE"/>
                  </a:solidFill>
                  <a:ln w="2339" cap="flat">
                    <a:noFill/>
                    <a:prstDash val="solid"/>
                    <a:miter/>
                  </a:ln>
                </p:spPr>
                <p:txBody>
                  <a:bodyPr rtlCol="0" anchor="ctr"/>
                  <a:lstStyle/>
                  <a:p>
                    <a:endParaRPr lang="en-US" sz="2400"/>
                  </a:p>
                </p:txBody>
              </p:sp>
              <p:sp>
                <p:nvSpPr>
                  <p:cNvPr id="454" name="Freeform: Shape 453">
                    <a:extLst>
                      <a:ext uri="{FF2B5EF4-FFF2-40B4-BE49-F238E27FC236}">
                        <a16:creationId xmlns:a16="http://schemas.microsoft.com/office/drawing/2014/main" id="{4E7DA1EA-B15B-0ACD-69BB-658274D9A48F}"/>
                      </a:ext>
                    </a:extLst>
                  </p:cNvPr>
                  <p:cNvSpPr/>
                  <p:nvPr userDrawn="1"/>
                </p:nvSpPr>
                <p:spPr>
                  <a:xfrm>
                    <a:off x="8462322" y="436837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E5E7EE"/>
                  </a:solidFill>
                  <a:ln w="2339" cap="flat">
                    <a:noFill/>
                    <a:prstDash val="solid"/>
                    <a:miter/>
                  </a:ln>
                </p:spPr>
                <p:txBody>
                  <a:bodyPr rtlCol="0" anchor="ctr"/>
                  <a:lstStyle/>
                  <a:p>
                    <a:endParaRPr lang="en-US" sz="2400"/>
                  </a:p>
                </p:txBody>
              </p:sp>
              <p:sp>
                <p:nvSpPr>
                  <p:cNvPr id="455" name="Freeform: Shape 454">
                    <a:extLst>
                      <a:ext uri="{FF2B5EF4-FFF2-40B4-BE49-F238E27FC236}">
                        <a16:creationId xmlns:a16="http://schemas.microsoft.com/office/drawing/2014/main" id="{E05414D4-707D-9473-2AD5-DE03E07A9599}"/>
                      </a:ext>
                    </a:extLst>
                  </p:cNvPr>
                  <p:cNvSpPr/>
                  <p:nvPr userDrawn="1"/>
                </p:nvSpPr>
                <p:spPr>
                  <a:xfrm>
                    <a:off x="8462650" y="436811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E5E8EE"/>
                  </a:solidFill>
                  <a:ln w="2339" cap="flat">
                    <a:noFill/>
                    <a:prstDash val="solid"/>
                    <a:miter/>
                  </a:ln>
                </p:spPr>
                <p:txBody>
                  <a:bodyPr rtlCol="0" anchor="ctr"/>
                  <a:lstStyle/>
                  <a:p>
                    <a:endParaRPr lang="en-US" sz="2400"/>
                  </a:p>
                </p:txBody>
              </p:sp>
              <p:sp>
                <p:nvSpPr>
                  <p:cNvPr id="456" name="Freeform: Shape 455">
                    <a:extLst>
                      <a:ext uri="{FF2B5EF4-FFF2-40B4-BE49-F238E27FC236}">
                        <a16:creationId xmlns:a16="http://schemas.microsoft.com/office/drawing/2014/main" id="{C398BDF1-2E2B-88B0-1739-89B04B7494C6}"/>
                      </a:ext>
                    </a:extLst>
                  </p:cNvPr>
                  <p:cNvSpPr/>
                  <p:nvPr userDrawn="1"/>
                </p:nvSpPr>
                <p:spPr>
                  <a:xfrm>
                    <a:off x="8463048" y="436776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6E8EE"/>
                  </a:solidFill>
                  <a:ln w="2339" cap="flat">
                    <a:noFill/>
                    <a:prstDash val="solid"/>
                    <a:miter/>
                  </a:ln>
                </p:spPr>
                <p:txBody>
                  <a:bodyPr rtlCol="0" anchor="ctr"/>
                  <a:lstStyle/>
                  <a:p>
                    <a:endParaRPr lang="en-US" sz="2400"/>
                  </a:p>
                </p:txBody>
              </p:sp>
              <p:sp>
                <p:nvSpPr>
                  <p:cNvPr id="457" name="Freeform: Shape 456">
                    <a:extLst>
                      <a:ext uri="{FF2B5EF4-FFF2-40B4-BE49-F238E27FC236}">
                        <a16:creationId xmlns:a16="http://schemas.microsoft.com/office/drawing/2014/main" id="{F541EDCB-F468-3379-86C2-91209714AB6C}"/>
                      </a:ext>
                    </a:extLst>
                  </p:cNvPr>
                  <p:cNvSpPr/>
                  <p:nvPr userDrawn="1"/>
                </p:nvSpPr>
                <p:spPr>
                  <a:xfrm>
                    <a:off x="8463539" y="436736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6E8EF"/>
                  </a:solidFill>
                  <a:ln w="2339" cap="flat">
                    <a:noFill/>
                    <a:prstDash val="solid"/>
                    <a:miter/>
                  </a:ln>
                </p:spPr>
                <p:txBody>
                  <a:bodyPr rtlCol="0" anchor="ctr"/>
                  <a:lstStyle/>
                  <a:p>
                    <a:endParaRPr lang="en-US" sz="2400"/>
                  </a:p>
                </p:txBody>
              </p:sp>
              <p:sp>
                <p:nvSpPr>
                  <p:cNvPr id="458" name="Freeform: Shape 457">
                    <a:extLst>
                      <a:ext uri="{FF2B5EF4-FFF2-40B4-BE49-F238E27FC236}">
                        <a16:creationId xmlns:a16="http://schemas.microsoft.com/office/drawing/2014/main" id="{DD9BD855-1828-7AB2-3212-98EA0ED29B92}"/>
                      </a:ext>
                    </a:extLst>
                  </p:cNvPr>
                  <p:cNvSpPr/>
                  <p:nvPr userDrawn="1"/>
                </p:nvSpPr>
                <p:spPr>
                  <a:xfrm>
                    <a:off x="8464030" y="436694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6E8EF"/>
                  </a:solidFill>
                  <a:ln w="2339" cap="flat">
                    <a:noFill/>
                    <a:prstDash val="solid"/>
                    <a:miter/>
                  </a:ln>
                </p:spPr>
                <p:txBody>
                  <a:bodyPr rtlCol="0" anchor="ctr"/>
                  <a:lstStyle/>
                  <a:p>
                    <a:endParaRPr lang="en-US" sz="2400"/>
                  </a:p>
                </p:txBody>
              </p:sp>
              <p:sp>
                <p:nvSpPr>
                  <p:cNvPr id="459" name="Freeform: Shape 458">
                    <a:extLst>
                      <a:ext uri="{FF2B5EF4-FFF2-40B4-BE49-F238E27FC236}">
                        <a16:creationId xmlns:a16="http://schemas.microsoft.com/office/drawing/2014/main" id="{3B286818-4EB5-359B-DC7B-A824CD95CF04}"/>
                      </a:ext>
                    </a:extLst>
                  </p:cNvPr>
                  <p:cNvSpPr/>
                  <p:nvPr userDrawn="1"/>
                </p:nvSpPr>
                <p:spPr>
                  <a:xfrm>
                    <a:off x="8464498" y="436654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7E9EF"/>
                  </a:solidFill>
                  <a:ln w="2339" cap="flat">
                    <a:noFill/>
                    <a:prstDash val="solid"/>
                    <a:miter/>
                  </a:ln>
                </p:spPr>
                <p:txBody>
                  <a:bodyPr rtlCol="0" anchor="ctr"/>
                  <a:lstStyle/>
                  <a:p>
                    <a:endParaRPr lang="en-US" sz="2400"/>
                  </a:p>
                </p:txBody>
              </p:sp>
              <p:sp>
                <p:nvSpPr>
                  <p:cNvPr id="460" name="Freeform: Shape 459">
                    <a:extLst>
                      <a:ext uri="{FF2B5EF4-FFF2-40B4-BE49-F238E27FC236}">
                        <a16:creationId xmlns:a16="http://schemas.microsoft.com/office/drawing/2014/main" id="{4F502FF0-AD24-8A1D-E8FB-70D70C342624}"/>
                      </a:ext>
                    </a:extLst>
                  </p:cNvPr>
                  <p:cNvSpPr/>
                  <p:nvPr userDrawn="1"/>
                </p:nvSpPr>
                <p:spPr>
                  <a:xfrm>
                    <a:off x="8464966" y="436612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7E9EF"/>
                  </a:solidFill>
                  <a:ln w="2339" cap="flat">
                    <a:noFill/>
                    <a:prstDash val="solid"/>
                    <a:miter/>
                  </a:ln>
                </p:spPr>
                <p:txBody>
                  <a:bodyPr rtlCol="0" anchor="ctr"/>
                  <a:lstStyle/>
                  <a:p>
                    <a:endParaRPr lang="en-US" sz="2400"/>
                  </a:p>
                </p:txBody>
              </p:sp>
              <p:sp>
                <p:nvSpPr>
                  <p:cNvPr id="461" name="Freeform: Shape 460">
                    <a:extLst>
                      <a:ext uri="{FF2B5EF4-FFF2-40B4-BE49-F238E27FC236}">
                        <a16:creationId xmlns:a16="http://schemas.microsoft.com/office/drawing/2014/main" id="{B40F71CB-EED7-C164-B247-44A92B191B79}"/>
                      </a:ext>
                    </a:extLst>
                  </p:cNvPr>
                  <p:cNvSpPr/>
                  <p:nvPr userDrawn="1"/>
                </p:nvSpPr>
                <p:spPr>
                  <a:xfrm>
                    <a:off x="8465434" y="436572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7E9EF"/>
                  </a:solidFill>
                  <a:ln w="2339" cap="flat">
                    <a:noFill/>
                    <a:prstDash val="solid"/>
                    <a:miter/>
                  </a:ln>
                </p:spPr>
                <p:txBody>
                  <a:bodyPr rtlCol="0" anchor="ctr"/>
                  <a:lstStyle/>
                  <a:p>
                    <a:endParaRPr lang="en-US" sz="2400"/>
                  </a:p>
                </p:txBody>
              </p:sp>
              <p:sp>
                <p:nvSpPr>
                  <p:cNvPr id="462" name="Freeform: Shape 461">
                    <a:extLst>
                      <a:ext uri="{FF2B5EF4-FFF2-40B4-BE49-F238E27FC236}">
                        <a16:creationId xmlns:a16="http://schemas.microsoft.com/office/drawing/2014/main" id="{BA8135C4-FFFE-C444-454F-99674D3F7073}"/>
                      </a:ext>
                    </a:extLst>
                  </p:cNvPr>
                  <p:cNvSpPr/>
                  <p:nvPr userDrawn="1"/>
                </p:nvSpPr>
                <p:spPr>
                  <a:xfrm>
                    <a:off x="8465902" y="436530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7EAF0"/>
                  </a:solidFill>
                  <a:ln w="2339" cap="flat">
                    <a:noFill/>
                    <a:prstDash val="solid"/>
                    <a:miter/>
                  </a:ln>
                </p:spPr>
                <p:txBody>
                  <a:bodyPr rtlCol="0" anchor="ctr"/>
                  <a:lstStyle/>
                  <a:p>
                    <a:endParaRPr lang="en-US" sz="2400"/>
                  </a:p>
                </p:txBody>
              </p:sp>
              <p:sp>
                <p:nvSpPr>
                  <p:cNvPr id="463" name="Freeform: Shape 462">
                    <a:extLst>
                      <a:ext uri="{FF2B5EF4-FFF2-40B4-BE49-F238E27FC236}">
                        <a16:creationId xmlns:a16="http://schemas.microsoft.com/office/drawing/2014/main" id="{A55D4538-5C0E-FDAB-AB1F-9B68553C9129}"/>
                      </a:ext>
                    </a:extLst>
                  </p:cNvPr>
                  <p:cNvSpPr/>
                  <p:nvPr userDrawn="1"/>
                </p:nvSpPr>
                <p:spPr>
                  <a:xfrm>
                    <a:off x="8466347" y="436490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8EAF0"/>
                  </a:solidFill>
                  <a:ln w="2339" cap="flat">
                    <a:noFill/>
                    <a:prstDash val="solid"/>
                    <a:miter/>
                  </a:ln>
                </p:spPr>
                <p:txBody>
                  <a:bodyPr rtlCol="0" anchor="ctr"/>
                  <a:lstStyle/>
                  <a:p>
                    <a:endParaRPr lang="en-US" sz="2400"/>
                  </a:p>
                </p:txBody>
              </p:sp>
              <p:sp>
                <p:nvSpPr>
                  <p:cNvPr id="464" name="Freeform: Shape 463">
                    <a:extLst>
                      <a:ext uri="{FF2B5EF4-FFF2-40B4-BE49-F238E27FC236}">
                        <a16:creationId xmlns:a16="http://schemas.microsoft.com/office/drawing/2014/main" id="{7CC606ED-318C-DC91-D838-9DC6B767B499}"/>
                      </a:ext>
                    </a:extLst>
                  </p:cNvPr>
                  <p:cNvSpPr/>
                  <p:nvPr userDrawn="1"/>
                </p:nvSpPr>
                <p:spPr>
                  <a:xfrm>
                    <a:off x="8466815" y="436448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8EAF0"/>
                  </a:solidFill>
                  <a:ln w="2339" cap="flat">
                    <a:noFill/>
                    <a:prstDash val="solid"/>
                    <a:miter/>
                  </a:ln>
                </p:spPr>
                <p:txBody>
                  <a:bodyPr rtlCol="0" anchor="ctr"/>
                  <a:lstStyle/>
                  <a:p>
                    <a:endParaRPr lang="en-US" sz="2400"/>
                  </a:p>
                </p:txBody>
              </p:sp>
              <p:sp>
                <p:nvSpPr>
                  <p:cNvPr id="465" name="Freeform: Shape 464">
                    <a:extLst>
                      <a:ext uri="{FF2B5EF4-FFF2-40B4-BE49-F238E27FC236}">
                        <a16:creationId xmlns:a16="http://schemas.microsoft.com/office/drawing/2014/main" id="{69A1DC14-B021-F8A1-3D99-7E6BC8D0B026}"/>
                      </a:ext>
                    </a:extLst>
                  </p:cNvPr>
                  <p:cNvSpPr/>
                  <p:nvPr userDrawn="1"/>
                </p:nvSpPr>
                <p:spPr>
                  <a:xfrm>
                    <a:off x="8467260" y="436406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8EAF0"/>
                  </a:solidFill>
                  <a:ln w="2339" cap="flat">
                    <a:noFill/>
                    <a:prstDash val="solid"/>
                    <a:miter/>
                  </a:ln>
                </p:spPr>
                <p:txBody>
                  <a:bodyPr rtlCol="0" anchor="ctr"/>
                  <a:lstStyle/>
                  <a:p>
                    <a:endParaRPr lang="en-US" sz="2400"/>
                  </a:p>
                </p:txBody>
              </p:sp>
              <p:sp>
                <p:nvSpPr>
                  <p:cNvPr id="466" name="Freeform: Shape 465">
                    <a:extLst>
                      <a:ext uri="{FF2B5EF4-FFF2-40B4-BE49-F238E27FC236}">
                        <a16:creationId xmlns:a16="http://schemas.microsoft.com/office/drawing/2014/main" id="{29A915D6-F55C-D844-7653-4319DD2213C5}"/>
                      </a:ext>
                    </a:extLst>
                  </p:cNvPr>
                  <p:cNvSpPr/>
                  <p:nvPr userDrawn="1"/>
                </p:nvSpPr>
                <p:spPr>
                  <a:xfrm>
                    <a:off x="8467681" y="436366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9EBF0"/>
                  </a:solidFill>
                  <a:ln w="2339" cap="flat">
                    <a:noFill/>
                    <a:prstDash val="solid"/>
                    <a:miter/>
                  </a:ln>
                </p:spPr>
                <p:txBody>
                  <a:bodyPr rtlCol="0" anchor="ctr"/>
                  <a:lstStyle/>
                  <a:p>
                    <a:endParaRPr lang="en-US" sz="2400"/>
                  </a:p>
                </p:txBody>
              </p:sp>
              <p:sp>
                <p:nvSpPr>
                  <p:cNvPr id="467" name="Freeform: Shape 466">
                    <a:extLst>
                      <a:ext uri="{FF2B5EF4-FFF2-40B4-BE49-F238E27FC236}">
                        <a16:creationId xmlns:a16="http://schemas.microsoft.com/office/drawing/2014/main" id="{463094DB-97A5-BEA0-7969-1B7E0B1F1B91}"/>
                      </a:ext>
                    </a:extLst>
                  </p:cNvPr>
                  <p:cNvSpPr/>
                  <p:nvPr userDrawn="1"/>
                </p:nvSpPr>
                <p:spPr>
                  <a:xfrm>
                    <a:off x="8468125" y="436324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9EBF1"/>
                  </a:solidFill>
                  <a:ln w="2339" cap="flat">
                    <a:noFill/>
                    <a:prstDash val="solid"/>
                    <a:miter/>
                  </a:ln>
                </p:spPr>
                <p:txBody>
                  <a:bodyPr rtlCol="0" anchor="ctr"/>
                  <a:lstStyle/>
                  <a:p>
                    <a:endParaRPr lang="en-US" sz="2400"/>
                  </a:p>
                </p:txBody>
              </p:sp>
              <p:sp>
                <p:nvSpPr>
                  <p:cNvPr id="468" name="Freeform: Shape 467">
                    <a:extLst>
                      <a:ext uri="{FF2B5EF4-FFF2-40B4-BE49-F238E27FC236}">
                        <a16:creationId xmlns:a16="http://schemas.microsoft.com/office/drawing/2014/main" id="{32A745A0-A1C7-1328-E38F-F1A5DE3F9B85}"/>
                      </a:ext>
                    </a:extLst>
                  </p:cNvPr>
                  <p:cNvSpPr/>
                  <p:nvPr userDrawn="1"/>
                </p:nvSpPr>
                <p:spPr>
                  <a:xfrm>
                    <a:off x="8468547" y="436282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9EBF1"/>
                  </a:solidFill>
                  <a:ln w="2339" cap="flat">
                    <a:noFill/>
                    <a:prstDash val="solid"/>
                    <a:miter/>
                  </a:ln>
                </p:spPr>
                <p:txBody>
                  <a:bodyPr rtlCol="0" anchor="ctr"/>
                  <a:lstStyle/>
                  <a:p>
                    <a:endParaRPr lang="en-US" sz="2400"/>
                  </a:p>
                </p:txBody>
              </p:sp>
              <p:sp>
                <p:nvSpPr>
                  <p:cNvPr id="469" name="Freeform: Shape 468">
                    <a:extLst>
                      <a:ext uri="{FF2B5EF4-FFF2-40B4-BE49-F238E27FC236}">
                        <a16:creationId xmlns:a16="http://schemas.microsoft.com/office/drawing/2014/main" id="{E86220EF-827B-FB9D-3B46-112F890D8151}"/>
                      </a:ext>
                    </a:extLst>
                  </p:cNvPr>
                  <p:cNvSpPr/>
                  <p:nvPr userDrawn="1"/>
                </p:nvSpPr>
                <p:spPr>
                  <a:xfrm>
                    <a:off x="8468991" y="436242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EAECF1"/>
                  </a:solidFill>
                  <a:ln w="2339" cap="flat">
                    <a:noFill/>
                    <a:prstDash val="solid"/>
                    <a:miter/>
                  </a:ln>
                </p:spPr>
                <p:txBody>
                  <a:bodyPr rtlCol="0" anchor="ctr"/>
                  <a:lstStyle/>
                  <a:p>
                    <a:endParaRPr lang="en-US" sz="2400"/>
                  </a:p>
                </p:txBody>
              </p:sp>
              <p:sp>
                <p:nvSpPr>
                  <p:cNvPr id="470" name="Freeform: Shape 469">
                    <a:extLst>
                      <a:ext uri="{FF2B5EF4-FFF2-40B4-BE49-F238E27FC236}">
                        <a16:creationId xmlns:a16="http://schemas.microsoft.com/office/drawing/2014/main" id="{86C9D181-96F8-63A6-6BFB-9945382E478C}"/>
                      </a:ext>
                    </a:extLst>
                  </p:cNvPr>
                  <p:cNvSpPr/>
                  <p:nvPr userDrawn="1"/>
                </p:nvSpPr>
                <p:spPr>
                  <a:xfrm>
                    <a:off x="8469389" y="436200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AECF1"/>
                  </a:solidFill>
                  <a:ln w="2339" cap="flat">
                    <a:noFill/>
                    <a:prstDash val="solid"/>
                    <a:miter/>
                  </a:ln>
                </p:spPr>
                <p:txBody>
                  <a:bodyPr rtlCol="0" anchor="ctr"/>
                  <a:lstStyle/>
                  <a:p>
                    <a:endParaRPr lang="en-US" sz="2400"/>
                  </a:p>
                </p:txBody>
              </p:sp>
              <p:sp>
                <p:nvSpPr>
                  <p:cNvPr id="471" name="Freeform: Shape 470">
                    <a:extLst>
                      <a:ext uri="{FF2B5EF4-FFF2-40B4-BE49-F238E27FC236}">
                        <a16:creationId xmlns:a16="http://schemas.microsoft.com/office/drawing/2014/main" id="{54E3E05E-8849-9164-C12C-7762250DAA8D}"/>
                      </a:ext>
                    </a:extLst>
                  </p:cNvPr>
                  <p:cNvSpPr/>
                  <p:nvPr userDrawn="1"/>
                </p:nvSpPr>
                <p:spPr>
                  <a:xfrm>
                    <a:off x="8469810" y="436158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AECF1"/>
                  </a:solidFill>
                  <a:ln w="2339" cap="flat">
                    <a:noFill/>
                    <a:prstDash val="solid"/>
                    <a:miter/>
                  </a:ln>
                </p:spPr>
                <p:txBody>
                  <a:bodyPr rtlCol="0" anchor="ctr"/>
                  <a:lstStyle/>
                  <a:p>
                    <a:endParaRPr lang="en-US" sz="2400"/>
                  </a:p>
                </p:txBody>
              </p:sp>
              <p:sp>
                <p:nvSpPr>
                  <p:cNvPr id="472" name="Freeform: Shape 471">
                    <a:extLst>
                      <a:ext uri="{FF2B5EF4-FFF2-40B4-BE49-F238E27FC236}">
                        <a16:creationId xmlns:a16="http://schemas.microsoft.com/office/drawing/2014/main" id="{AE63AE51-17C8-4494-E593-39E588030573}"/>
                      </a:ext>
                    </a:extLst>
                  </p:cNvPr>
                  <p:cNvSpPr/>
                  <p:nvPr userDrawn="1"/>
                </p:nvSpPr>
                <p:spPr>
                  <a:xfrm>
                    <a:off x="8470231" y="436118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EBECF2"/>
                  </a:solidFill>
                  <a:ln w="2339" cap="flat">
                    <a:noFill/>
                    <a:prstDash val="solid"/>
                    <a:miter/>
                  </a:ln>
                </p:spPr>
                <p:txBody>
                  <a:bodyPr rtlCol="0" anchor="ctr"/>
                  <a:lstStyle/>
                  <a:p>
                    <a:endParaRPr lang="en-US" sz="2400"/>
                  </a:p>
                </p:txBody>
              </p:sp>
              <p:sp>
                <p:nvSpPr>
                  <p:cNvPr id="473" name="Freeform: Shape 472">
                    <a:extLst>
                      <a:ext uri="{FF2B5EF4-FFF2-40B4-BE49-F238E27FC236}">
                        <a16:creationId xmlns:a16="http://schemas.microsoft.com/office/drawing/2014/main" id="{3694AC3A-2866-DB3D-BFD5-21F51A7C3C96}"/>
                      </a:ext>
                    </a:extLst>
                  </p:cNvPr>
                  <p:cNvSpPr/>
                  <p:nvPr userDrawn="1"/>
                </p:nvSpPr>
                <p:spPr>
                  <a:xfrm>
                    <a:off x="8470629" y="436076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BEDF2"/>
                  </a:solidFill>
                  <a:ln w="2339" cap="flat">
                    <a:noFill/>
                    <a:prstDash val="solid"/>
                    <a:miter/>
                  </a:ln>
                </p:spPr>
                <p:txBody>
                  <a:bodyPr rtlCol="0" anchor="ctr"/>
                  <a:lstStyle/>
                  <a:p>
                    <a:endParaRPr lang="en-US" sz="2400"/>
                  </a:p>
                </p:txBody>
              </p:sp>
              <p:sp>
                <p:nvSpPr>
                  <p:cNvPr id="474" name="Freeform: Shape 473">
                    <a:extLst>
                      <a:ext uri="{FF2B5EF4-FFF2-40B4-BE49-F238E27FC236}">
                        <a16:creationId xmlns:a16="http://schemas.microsoft.com/office/drawing/2014/main" id="{A75A8EC2-CE78-AC66-0E99-FA146AE8D7C4}"/>
                      </a:ext>
                    </a:extLst>
                  </p:cNvPr>
                  <p:cNvSpPr/>
                  <p:nvPr userDrawn="1"/>
                </p:nvSpPr>
                <p:spPr>
                  <a:xfrm>
                    <a:off x="8471027" y="436034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BEDF2"/>
                  </a:solidFill>
                  <a:ln w="2339" cap="flat">
                    <a:noFill/>
                    <a:prstDash val="solid"/>
                    <a:miter/>
                  </a:ln>
                </p:spPr>
                <p:txBody>
                  <a:bodyPr rtlCol="0" anchor="ctr"/>
                  <a:lstStyle/>
                  <a:p>
                    <a:endParaRPr lang="en-US" sz="2400"/>
                  </a:p>
                </p:txBody>
              </p:sp>
              <p:sp>
                <p:nvSpPr>
                  <p:cNvPr id="475" name="Freeform: Shape 474">
                    <a:extLst>
                      <a:ext uri="{FF2B5EF4-FFF2-40B4-BE49-F238E27FC236}">
                        <a16:creationId xmlns:a16="http://schemas.microsoft.com/office/drawing/2014/main" id="{28AA380C-3154-5430-4751-C42DEBF11C58}"/>
                      </a:ext>
                    </a:extLst>
                  </p:cNvPr>
                  <p:cNvSpPr/>
                  <p:nvPr userDrawn="1"/>
                </p:nvSpPr>
                <p:spPr>
                  <a:xfrm>
                    <a:off x="8471425" y="435992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BEDF2"/>
                  </a:solidFill>
                  <a:ln w="2339" cap="flat">
                    <a:noFill/>
                    <a:prstDash val="solid"/>
                    <a:miter/>
                  </a:ln>
                </p:spPr>
                <p:txBody>
                  <a:bodyPr rtlCol="0" anchor="ctr"/>
                  <a:lstStyle/>
                  <a:p>
                    <a:endParaRPr lang="en-US" sz="2400"/>
                  </a:p>
                </p:txBody>
              </p:sp>
              <p:sp>
                <p:nvSpPr>
                  <p:cNvPr id="476" name="Freeform: Shape 475">
                    <a:extLst>
                      <a:ext uri="{FF2B5EF4-FFF2-40B4-BE49-F238E27FC236}">
                        <a16:creationId xmlns:a16="http://schemas.microsoft.com/office/drawing/2014/main" id="{DE9C600B-54D6-C138-D767-03E7059AD085}"/>
                      </a:ext>
                    </a:extLst>
                  </p:cNvPr>
                  <p:cNvSpPr/>
                  <p:nvPr userDrawn="1"/>
                </p:nvSpPr>
                <p:spPr>
                  <a:xfrm>
                    <a:off x="8471799" y="435950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CEDF2"/>
                  </a:solidFill>
                  <a:ln w="2339" cap="flat">
                    <a:noFill/>
                    <a:prstDash val="solid"/>
                    <a:miter/>
                  </a:ln>
                </p:spPr>
                <p:txBody>
                  <a:bodyPr rtlCol="0" anchor="ctr"/>
                  <a:lstStyle/>
                  <a:p>
                    <a:endParaRPr lang="en-US" sz="2400"/>
                  </a:p>
                </p:txBody>
              </p:sp>
              <p:sp>
                <p:nvSpPr>
                  <p:cNvPr id="477" name="Freeform: Shape 476">
                    <a:extLst>
                      <a:ext uri="{FF2B5EF4-FFF2-40B4-BE49-F238E27FC236}">
                        <a16:creationId xmlns:a16="http://schemas.microsoft.com/office/drawing/2014/main" id="{58548667-9977-3AB8-E265-731109175838}"/>
                      </a:ext>
                    </a:extLst>
                  </p:cNvPr>
                  <p:cNvSpPr/>
                  <p:nvPr userDrawn="1"/>
                </p:nvSpPr>
                <p:spPr>
                  <a:xfrm>
                    <a:off x="8472174" y="435910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CEEF3"/>
                  </a:solidFill>
                  <a:ln w="2339" cap="flat">
                    <a:noFill/>
                    <a:prstDash val="solid"/>
                    <a:miter/>
                  </a:ln>
                </p:spPr>
                <p:txBody>
                  <a:bodyPr rtlCol="0" anchor="ctr"/>
                  <a:lstStyle/>
                  <a:p>
                    <a:endParaRPr lang="en-US" sz="2400"/>
                  </a:p>
                </p:txBody>
              </p:sp>
              <p:sp>
                <p:nvSpPr>
                  <p:cNvPr id="478" name="Freeform: Shape 477">
                    <a:extLst>
                      <a:ext uri="{FF2B5EF4-FFF2-40B4-BE49-F238E27FC236}">
                        <a16:creationId xmlns:a16="http://schemas.microsoft.com/office/drawing/2014/main" id="{D8B37B86-C294-B3E6-7EFE-C39E4E64C78A}"/>
                      </a:ext>
                    </a:extLst>
                  </p:cNvPr>
                  <p:cNvSpPr/>
                  <p:nvPr userDrawn="1"/>
                </p:nvSpPr>
                <p:spPr>
                  <a:xfrm>
                    <a:off x="8472548" y="435868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CEEF3"/>
                  </a:solidFill>
                  <a:ln w="2339" cap="flat">
                    <a:noFill/>
                    <a:prstDash val="solid"/>
                    <a:miter/>
                  </a:ln>
                </p:spPr>
                <p:txBody>
                  <a:bodyPr rtlCol="0" anchor="ctr"/>
                  <a:lstStyle/>
                  <a:p>
                    <a:endParaRPr lang="en-US" sz="2400"/>
                  </a:p>
                </p:txBody>
              </p:sp>
              <p:sp>
                <p:nvSpPr>
                  <p:cNvPr id="479" name="Freeform: Shape 478">
                    <a:extLst>
                      <a:ext uri="{FF2B5EF4-FFF2-40B4-BE49-F238E27FC236}">
                        <a16:creationId xmlns:a16="http://schemas.microsoft.com/office/drawing/2014/main" id="{63FA0585-AB96-2558-AAEA-E43666FDB139}"/>
                      </a:ext>
                    </a:extLst>
                  </p:cNvPr>
                  <p:cNvSpPr/>
                  <p:nvPr userDrawn="1"/>
                </p:nvSpPr>
                <p:spPr>
                  <a:xfrm>
                    <a:off x="8472922" y="435826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DEEF3"/>
                  </a:solidFill>
                  <a:ln w="2339" cap="flat">
                    <a:noFill/>
                    <a:prstDash val="solid"/>
                    <a:miter/>
                  </a:ln>
                </p:spPr>
                <p:txBody>
                  <a:bodyPr rtlCol="0" anchor="ctr"/>
                  <a:lstStyle/>
                  <a:p>
                    <a:endParaRPr lang="en-US" sz="2400"/>
                  </a:p>
                </p:txBody>
              </p:sp>
              <p:sp>
                <p:nvSpPr>
                  <p:cNvPr id="480" name="Freeform: Shape 479">
                    <a:extLst>
                      <a:ext uri="{FF2B5EF4-FFF2-40B4-BE49-F238E27FC236}">
                        <a16:creationId xmlns:a16="http://schemas.microsoft.com/office/drawing/2014/main" id="{B3623D4A-9484-17C1-671A-5E96175FC962}"/>
                      </a:ext>
                    </a:extLst>
                  </p:cNvPr>
                  <p:cNvSpPr/>
                  <p:nvPr userDrawn="1"/>
                </p:nvSpPr>
                <p:spPr>
                  <a:xfrm>
                    <a:off x="8473297" y="435784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DEFF3"/>
                  </a:solidFill>
                  <a:ln w="2339" cap="flat">
                    <a:noFill/>
                    <a:prstDash val="solid"/>
                    <a:miter/>
                  </a:ln>
                </p:spPr>
                <p:txBody>
                  <a:bodyPr rtlCol="0" anchor="ctr"/>
                  <a:lstStyle/>
                  <a:p>
                    <a:endParaRPr lang="en-US" sz="2400"/>
                  </a:p>
                </p:txBody>
              </p:sp>
              <p:sp>
                <p:nvSpPr>
                  <p:cNvPr id="481" name="Freeform: Shape 480">
                    <a:extLst>
                      <a:ext uri="{FF2B5EF4-FFF2-40B4-BE49-F238E27FC236}">
                        <a16:creationId xmlns:a16="http://schemas.microsoft.com/office/drawing/2014/main" id="{6184D78B-72E1-89BE-E5B5-C9B60B4AD866}"/>
                      </a:ext>
                    </a:extLst>
                  </p:cNvPr>
                  <p:cNvSpPr/>
                  <p:nvPr userDrawn="1"/>
                </p:nvSpPr>
                <p:spPr>
                  <a:xfrm>
                    <a:off x="8473648" y="435741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DEFF3"/>
                  </a:solidFill>
                  <a:ln w="2339" cap="flat">
                    <a:noFill/>
                    <a:prstDash val="solid"/>
                    <a:miter/>
                  </a:ln>
                </p:spPr>
                <p:txBody>
                  <a:bodyPr rtlCol="0" anchor="ctr"/>
                  <a:lstStyle/>
                  <a:p>
                    <a:endParaRPr lang="en-US" sz="2400"/>
                  </a:p>
                </p:txBody>
              </p:sp>
              <p:sp>
                <p:nvSpPr>
                  <p:cNvPr id="482" name="Freeform: Shape 481">
                    <a:extLst>
                      <a:ext uri="{FF2B5EF4-FFF2-40B4-BE49-F238E27FC236}">
                        <a16:creationId xmlns:a16="http://schemas.microsoft.com/office/drawing/2014/main" id="{B8EF9F5E-2FCF-3B26-7E0F-8809322E2285}"/>
                      </a:ext>
                    </a:extLst>
                  </p:cNvPr>
                  <p:cNvSpPr/>
                  <p:nvPr userDrawn="1"/>
                </p:nvSpPr>
                <p:spPr>
                  <a:xfrm>
                    <a:off x="8474022" y="435699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EEFF4"/>
                  </a:solidFill>
                  <a:ln w="2339" cap="flat">
                    <a:noFill/>
                    <a:prstDash val="solid"/>
                    <a:miter/>
                  </a:ln>
                </p:spPr>
                <p:txBody>
                  <a:bodyPr rtlCol="0" anchor="ctr"/>
                  <a:lstStyle/>
                  <a:p>
                    <a:endParaRPr lang="en-US" sz="2400"/>
                  </a:p>
                </p:txBody>
              </p:sp>
              <p:sp>
                <p:nvSpPr>
                  <p:cNvPr id="483" name="Freeform: Shape 482">
                    <a:extLst>
                      <a:ext uri="{FF2B5EF4-FFF2-40B4-BE49-F238E27FC236}">
                        <a16:creationId xmlns:a16="http://schemas.microsoft.com/office/drawing/2014/main" id="{C4BD3F9A-6A9C-C26A-A623-2274961379C5}"/>
                      </a:ext>
                    </a:extLst>
                  </p:cNvPr>
                  <p:cNvSpPr/>
                  <p:nvPr userDrawn="1"/>
                </p:nvSpPr>
                <p:spPr>
                  <a:xfrm>
                    <a:off x="8474373" y="435657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EEFF4"/>
                  </a:solidFill>
                  <a:ln w="2339" cap="flat">
                    <a:noFill/>
                    <a:prstDash val="solid"/>
                    <a:miter/>
                  </a:ln>
                </p:spPr>
                <p:txBody>
                  <a:bodyPr rtlCol="0" anchor="ctr"/>
                  <a:lstStyle/>
                  <a:p>
                    <a:endParaRPr lang="en-US" sz="2400"/>
                  </a:p>
                </p:txBody>
              </p:sp>
              <p:sp>
                <p:nvSpPr>
                  <p:cNvPr id="484" name="Freeform: Shape 483">
                    <a:extLst>
                      <a:ext uri="{FF2B5EF4-FFF2-40B4-BE49-F238E27FC236}">
                        <a16:creationId xmlns:a16="http://schemas.microsoft.com/office/drawing/2014/main" id="{FDA31F23-068A-3123-7341-ADD54CC57F49}"/>
                      </a:ext>
                    </a:extLst>
                  </p:cNvPr>
                  <p:cNvSpPr/>
                  <p:nvPr userDrawn="1"/>
                </p:nvSpPr>
                <p:spPr>
                  <a:xfrm>
                    <a:off x="8474701" y="435617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EF0F4"/>
                  </a:solidFill>
                  <a:ln w="2339" cap="flat">
                    <a:noFill/>
                    <a:prstDash val="solid"/>
                    <a:miter/>
                  </a:ln>
                </p:spPr>
                <p:txBody>
                  <a:bodyPr rtlCol="0" anchor="ctr"/>
                  <a:lstStyle/>
                  <a:p>
                    <a:endParaRPr lang="en-US" sz="2400"/>
                  </a:p>
                </p:txBody>
              </p:sp>
              <p:sp>
                <p:nvSpPr>
                  <p:cNvPr id="485" name="Freeform: Shape 484">
                    <a:extLst>
                      <a:ext uri="{FF2B5EF4-FFF2-40B4-BE49-F238E27FC236}">
                        <a16:creationId xmlns:a16="http://schemas.microsoft.com/office/drawing/2014/main" id="{3F1BD666-B591-A39B-9984-FE10193C8B06}"/>
                      </a:ext>
                    </a:extLst>
                  </p:cNvPr>
                  <p:cNvSpPr/>
                  <p:nvPr userDrawn="1"/>
                </p:nvSpPr>
                <p:spPr>
                  <a:xfrm>
                    <a:off x="8475052" y="435575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EEF0F4"/>
                  </a:solidFill>
                  <a:ln w="2339" cap="flat">
                    <a:noFill/>
                    <a:prstDash val="solid"/>
                    <a:miter/>
                  </a:ln>
                </p:spPr>
                <p:txBody>
                  <a:bodyPr rtlCol="0" anchor="ctr"/>
                  <a:lstStyle/>
                  <a:p>
                    <a:endParaRPr lang="en-US" sz="2400"/>
                  </a:p>
                </p:txBody>
              </p:sp>
              <p:sp>
                <p:nvSpPr>
                  <p:cNvPr id="486" name="Freeform: Shape 485">
                    <a:extLst>
                      <a:ext uri="{FF2B5EF4-FFF2-40B4-BE49-F238E27FC236}">
                        <a16:creationId xmlns:a16="http://schemas.microsoft.com/office/drawing/2014/main" id="{FBF9206A-8191-01E3-47D4-4BD3D23A7349}"/>
                      </a:ext>
                    </a:extLst>
                  </p:cNvPr>
                  <p:cNvSpPr/>
                  <p:nvPr userDrawn="1"/>
                </p:nvSpPr>
                <p:spPr>
                  <a:xfrm>
                    <a:off x="8475379" y="435533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FF0F4"/>
                  </a:solidFill>
                  <a:ln w="2339" cap="flat">
                    <a:noFill/>
                    <a:prstDash val="solid"/>
                    <a:miter/>
                  </a:ln>
                </p:spPr>
                <p:txBody>
                  <a:bodyPr rtlCol="0" anchor="ctr"/>
                  <a:lstStyle/>
                  <a:p>
                    <a:endParaRPr lang="en-US" sz="2400"/>
                  </a:p>
                </p:txBody>
              </p:sp>
              <p:sp>
                <p:nvSpPr>
                  <p:cNvPr id="487" name="Freeform: Shape 486">
                    <a:extLst>
                      <a:ext uri="{FF2B5EF4-FFF2-40B4-BE49-F238E27FC236}">
                        <a16:creationId xmlns:a16="http://schemas.microsoft.com/office/drawing/2014/main" id="{CB295DE9-C87B-BAD4-771A-C20232BD93E6}"/>
                      </a:ext>
                    </a:extLst>
                  </p:cNvPr>
                  <p:cNvSpPr/>
                  <p:nvPr userDrawn="1"/>
                </p:nvSpPr>
                <p:spPr>
                  <a:xfrm>
                    <a:off x="8475707" y="435491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FF1F5"/>
                  </a:solidFill>
                  <a:ln w="2339" cap="flat">
                    <a:noFill/>
                    <a:prstDash val="solid"/>
                    <a:miter/>
                  </a:ln>
                </p:spPr>
                <p:txBody>
                  <a:bodyPr rtlCol="0" anchor="ctr"/>
                  <a:lstStyle/>
                  <a:p>
                    <a:endParaRPr lang="en-US" sz="2400"/>
                  </a:p>
                </p:txBody>
              </p:sp>
              <p:sp>
                <p:nvSpPr>
                  <p:cNvPr id="488" name="Freeform: Shape 487">
                    <a:extLst>
                      <a:ext uri="{FF2B5EF4-FFF2-40B4-BE49-F238E27FC236}">
                        <a16:creationId xmlns:a16="http://schemas.microsoft.com/office/drawing/2014/main" id="{D6F71277-865D-4FFB-7C5E-3C0592BC1182}"/>
                      </a:ext>
                    </a:extLst>
                  </p:cNvPr>
                  <p:cNvSpPr/>
                  <p:nvPr userDrawn="1"/>
                </p:nvSpPr>
                <p:spPr>
                  <a:xfrm>
                    <a:off x="8476035" y="435449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FF1F5"/>
                  </a:solidFill>
                  <a:ln w="2339" cap="flat">
                    <a:noFill/>
                    <a:prstDash val="solid"/>
                    <a:miter/>
                  </a:ln>
                </p:spPr>
                <p:txBody>
                  <a:bodyPr rtlCol="0" anchor="ctr"/>
                  <a:lstStyle/>
                  <a:p>
                    <a:endParaRPr lang="en-US" sz="2400"/>
                  </a:p>
                </p:txBody>
              </p:sp>
              <p:sp>
                <p:nvSpPr>
                  <p:cNvPr id="489" name="Freeform: Shape 488">
                    <a:extLst>
                      <a:ext uri="{FF2B5EF4-FFF2-40B4-BE49-F238E27FC236}">
                        <a16:creationId xmlns:a16="http://schemas.microsoft.com/office/drawing/2014/main" id="{08514A47-CF59-8A0D-BCCE-6C457FE453C6}"/>
                      </a:ext>
                    </a:extLst>
                  </p:cNvPr>
                  <p:cNvSpPr/>
                  <p:nvPr userDrawn="1"/>
                </p:nvSpPr>
                <p:spPr>
                  <a:xfrm>
                    <a:off x="8476339" y="435407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F0F1F5"/>
                  </a:solidFill>
                  <a:ln w="2339" cap="flat">
                    <a:noFill/>
                    <a:prstDash val="solid"/>
                    <a:miter/>
                  </a:ln>
                </p:spPr>
                <p:txBody>
                  <a:bodyPr rtlCol="0" anchor="ctr"/>
                  <a:lstStyle/>
                  <a:p>
                    <a:endParaRPr lang="en-US" sz="2400"/>
                  </a:p>
                </p:txBody>
              </p:sp>
              <p:sp>
                <p:nvSpPr>
                  <p:cNvPr id="490" name="Freeform: Shape 489">
                    <a:extLst>
                      <a:ext uri="{FF2B5EF4-FFF2-40B4-BE49-F238E27FC236}">
                        <a16:creationId xmlns:a16="http://schemas.microsoft.com/office/drawing/2014/main" id="{7B1D977D-B0ED-D46D-AAC1-E5F46EE8EA6C}"/>
                      </a:ext>
                    </a:extLst>
                  </p:cNvPr>
                  <p:cNvSpPr/>
                  <p:nvPr userDrawn="1"/>
                </p:nvSpPr>
                <p:spPr>
                  <a:xfrm>
                    <a:off x="8476666" y="435365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F0F1F5"/>
                  </a:solidFill>
                  <a:ln w="2339" cap="flat">
                    <a:noFill/>
                    <a:prstDash val="solid"/>
                    <a:miter/>
                  </a:ln>
                </p:spPr>
                <p:txBody>
                  <a:bodyPr rtlCol="0" anchor="ctr"/>
                  <a:lstStyle/>
                  <a:p>
                    <a:endParaRPr lang="en-US" sz="2400"/>
                  </a:p>
                </p:txBody>
              </p:sp>
              <p:sp>
                <p:nvSpPr>
                  <p:cNvPr id="491" name="Freeform: Shape 490">
                    <a:extLst>
                      <a:ext uri="{FF2B5EF4-FFF2-40B4-BE49-F238E27FC236}">
                        <a16:creationId xmlns:a16="http://schemas.microsoft.com/office/drawing/2014/main" id="{4D8418E9-DEE1-9260-93B8-B2C8D826FF8D}"/>
                      </a:ext>
                    </a:extLst>
                  </p:cNvPr>
                  <p:cNvSpPr/>
                  <p:nvPr userDrawn="1"/>
                </p:nvSpPr>
                <p:spPr>
                  <a:xfrm>
                    <a:off x="8476971" y="435323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F0F2F5"/>
                  </a:solidFill>
                  <a:ln w="2339" cap="flat">
                    <a:noFill/>
                    <a:prstDash val="solid"/>
                    <a:miter/>
                  </a:ln>
                </p:spPr>
                <p:txBody>
                  <a:bodyPr rtlCol="0" anchor="ctr"/>
                  <a:lstStyle/>
                  <a:p>
                    <a:endParaRPr lang="en-US" sz="2400"/>
                  </a:p>
                </p:txBody>
              </p:sp>
              <p:sp>
                <p:nvSpPr>
                  <p:cNvPr id="492" name="Freeform: Shape 491">
                    <a:extLst>
                      <a:ext uri="{FF2B5EF4-FFF2-40B4-BE49-F238E27FC236}">
                        <a16:creationId xmlns:a16="http://schemas.microsoft.com/office/drawing/2014/main" id="{061E7564-7133-3961-176E-DBDC9D15BA96}"/>
                      </a:ext>
                    </a:extLst>
                  </p:cNvPr>
                  <p:cNvSpPr/>
                  <p:nvPr userDrawn="1"/>
                </p:nvSpPr>
                <p:spPr>
                  <a:xfrm>
                    <a:off x="8477275" y="435280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F1F2F6"/>
                  </a:solidFill>
                  <a:ln w="2339" cap="flat">
                    <a:noFill/>
                    <a:prstDash val="solid"/>
                    <a:miter/>
                  </a:ln>
                </p:spPr>
                <p:txBody>
                  <a:bodyPr rtlCol="0" anchor="ctr"/>
                  <a:lstStyle/>
                  <a:p>
                    <a:endParaRPr lang="en-US" sz="2400"/>
                  </a:p>
                </p:txBody>
              </p:sp>
              <p:sp>
                <p:nvSpPr>
                  <p:cNvPr id="493" name="Freeform: Shape 492">
                    <a:extLst>
                      <a:ext uri="{FF2B5EF4-FFF2-40B4-BE49-F238E27FC236}">
                        <a16:creationId xmlns:a16="http://schemas.microsoft.com/office/drawing/2014/main" id="{90952968-018A-26DB-A37B-62FDA805B0FB}"/>
                      </a:ext>
                    </a:extLst>
                  </p:cNvPr>
                  <p:cNvSpPr/>
                  <p:nvPr userDrawn="1"/>
                </p:nvSpPr>
                <p:spPr>
                  <a:xfrm>
                    <a:off x="8477556" y="435238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F1F2F6"/>
                  </a:solidFill>
                  <a:ln w="2339" cap="flat">
                    <a:noFill/>
                    <a:prstDash val="solid"/>
                    <a:miter/>
                  </a:ln>
                </p:spPr>
                <p:txBody>
                  <a:bodyPr rtlCol="0" anchor="ctr"/>
                  <a:lstStyle/>
                  <a:p>
                    <a:endParaRPr lang="en-US" sz="2400"/>
                  </a:p>
                </p:txBody>
              </p:sp>
              <p:sp>
                <p:nvSpPr>
                  <p:cNvPr id="494" name="Freeform: Shape 493">
                    <a:extLst>
                      <a:ext uri="{FF2B5EF4-FFF2-40B4-BE49-F238E27FC236}">
                        <a16:creationId xmlns:a16="http://schemas.microsoft.com/office/drawing/2014/main" id="{65421C63-4B19-145A-63F8-9FB1B3B20A24}"/>
                      </a:ext>
                    </a:extLst>
                  </p:cNvPr>
                  <p:cNvSpPr/>
                  <p:nvPr userDrawn="1"/>
                </p:nvSpPr>
                <p:spPr>
                  <a:xfrm>
                    <a:off x="8477860" y="435196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F1F2F6"/>
                  </a:solidFill>
                  <a:ln w="2339" cap="flat">
                    <a:noFill/>
                    <a:prstDash val="solid"/>
                    <a:miter/>
                  </a:ln>
                </p:spPr>
                <p:txBody>
                  <a:bodyPr rtlCol="0" anchor="ctr"/>
                  <a:lstStyle/>
                  <a:p>
                    <a:endParaRPr lang="en-US" sz="2400"/>
                  </a:p>
                </p:txBody>
              </p:sp>
              <p:sp>
                <p:nvSpPr>
                  <p:cNvPr id="495" name="Freeform: Shape 494">
                    <a:extLst>
                      <a:ext uri="{FF2B5EF4-FFF2-40B4-BE49-F238E27FC236}">
                        <a16:creationId xmlns:a16="http://schemas.microsoft.com/office/drawing/2014/main" id="{DFEB6E37-D2F7-111F-20EC-10FBE28FEAF5}"/>
                      </a:ext>
                    </a:extLst>
                  </p:cNvPr>
                  <p:cNvSpPr/>
                  <p:nvPr userDrawn="1"/>
                </p:nvSpPr>
                <p:spPr>
                  <a:xfrm>
                    <a:off x="8478141" y="435154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F2F3F6"/>
                  </a:solidFill>
                  <a:ln w="2339" cap="flat">
                    <a:noFill/>
                    <a:prstDash val="solid"/>
                    <a:miter/>
                  </a:ln>
                </p:spPr>
                <p:txBody>
                  <a:bodyPr rtlCol="0" anchor="ctr"/>
                  <a:lstStyle/>
                  <a:p>
                    <a:endParaRPr lang="en-US" sz="2400"/>
                  </a:p>
                </p:txBody>
              </p:sp>
              <p:sp>
                <p:nvSpPr>
                  <p:cNvPr id="496" name="Freeform: Shape 495">
                    <a:extLst>
                      <a:ext uri="{FF2B5EF4-FFF2-40B4-BE49-F238E27FC236}">
                        <a16:creationId xmlns:a16="http://schemas.microsoft.com/office/drawing/2014/main" id="{1A9F2A73-ED66-13D6-7B17-67D9E1BB3BF4}"/>
                      </a:ext>
                    </a:extLst>
                  </p:cNvPr>
                  <p:cNvSpPr/>
                  <p:nvPr userDrawn="1"/>
                </p:nvSpPr>
                <p:spPr>
                  <a:xfrm>
                    <a:off x="8478421" y="435112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F2F3F6"/>
                  </a:solidFill>
                  <a:ln w="2339" cap="flat">
                    <a:noFill/>
                    <a:prstDash val="solid"/>
                    <a:miter/>
                  </a:ln>
                </p:spPr>
                <p:txBody>
                  <a:bodyPr rtlCol="0" anchor="ctr"/>
                  <a:lstStyle/>
                  <a:p>
                    <a:endParaRPr lang="en-US" sz="2400"/>
                  </a:p>
                </p:txBody>
              </p:sp>
              <p:sp>
                <p:nvSpPr>
                  <p:cNvPr id="497" name="Freeform: Shape 496">
                    <a:extLst>
                      <a:ext uri="{FF2B5EF4-FFF2-40B4-BE49-F238E27FC236}">
                        <a16:creationId xmlns:a16="http://schemas.microsoft.com/office/drawing/2014/main" id="{8DB49F88-DB19-DB74-51A3-288822C239CC}"/>
                      </a:ext>
                    </a:extLst>
                  </p:cNvPr>
                  <p:cNvSpPr/>
                  <p:nvPr userDrawn="1"/>
                </p:nvSpPr>
                <p:spPr>
                  <a:xfrm>
                    <a:off x="8478702" y="435070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F2F3F7"/>
                  </a:solidFill>
                  <a:ln w="2339" cap="flat">
                    <a:noFill/>
                    <a:prstDash val="solid"/>
                    <a:miter/>
                  </a:ln>
                </p:spPr>
                <p:txBody>
                  <a:bodyPr rtlCol="0" anchor="ctr"/>
                  <a:lstStyle/>
                  <a:p>
                    <a:endParaRPr lang="en-US" sz="2400"/>
                  </a:p>
                </p:txBody>
              </p:sp>
              <p:sp>
                <p:nvSpPr>
                  <p:cNvPr id="498" name="Freeform: Shape 497">
                    <a:extLst>
                      <a:ext uri="{FF2B5EF4-FFF2-40B4-BE49-F238E27FC236}">
                        <a16:creationId xmlns:a16="http://schemas.microsoft.com/office/drawing/2014/main" id="{57BF51F9-57BD-EB5E-7F8F-BC6C46B49679}"/>
                      </a:ext>
                    </a:extLst>
                  </p:cNvPr>
                  <p:cNvSpPr/>
                  <p:nvPr userDrawn="1"/>
                </p:nvSpPr>
                <p:spPr>
                  <a:xfrm>
                    <a:off x="8478960" y="435028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F2F4F7"/>
                  </a:solidFill>
                  <a:ln w="2339" cap="flat">
                    <a:noFill/>
                    <a:prstDash val="solid"/>
                    <a:miter/>
                  </a:ln>
                </p:spPr>
                <p:txBody>
                  <a:bodyPr rtlCol="0" anchor="ctr"/>
                  <a:lstStyle/>
                  <a:p>
                    <a:endParaRPr lang="en-US" sz="2400"/>
                  </a:p>
                </p:txBody>
              </p:sp>
              <p:sp>
                <p:nvSpPr>
                  <p:cNvPr id="499" name="Freeform: Shape 498">
                    <a:extLst>
                      <a:ext uri="{FF2B5EF4-FFF2-40B4-BE49-F238E27FC236}">
                        <a16:creationId xmlns:a16="http://schemas.microsoft.com/office/drawing/2014/main" id="{85E80ECF-071A-FEE0-7561-F383C856454C}"/>
                      </a:ext>
                    </a:extLst>
                  </p:cNvPr>
                  <p:cNvSpPr/>
                  <p:nvPr userDrawn="1"/>
                </p:nvSpPr>
                <p:spPr>
                  <a:xfrm>
                    <a:off x="8479217" y="4349860"/>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3F4F7"/>
                  </a:solidFill>
                  <a:ln w="2339" cap="flat">
                    <a:noFill/>
                    <a:prstDash val="solid"/>
                    <a:miter/>
                  </a:ln>
                </p:spPr>
                <p:txBody>
                  <a:bodyPr rtlCol="0" anchor="ctr"/>
                  <a:lstStyle/>
                  <a:p>
                    <a:endParaRPr lang="en-US" sz="2400"/>
                  </a:p>
                </p:txBody>
              </p:sp>
              <p:sp>
                <p:nvSpPr>
                  <p:cNvPr id="500" name="Freeform: Shape 499">
                    <a:extLst>
                      <a:ext uri="{FF2B5EF4-FFF2-40B4-BE49-F238E27FC236}">
                        <a16:creationId xmlns:a16="http://schemas.microsoft.com/office/drawing/2014/main" id="{C3E1A6A1-FD99-04F1-509A-008AB380F268}"/>
                      </a:ext>
                    </a:extLst>
                  </p:cNvPr>
                  <p:cNvSpPr/>
                  <p:nvPr userDrawn="1"/>
                </p:nvSpPr>
                <p:spPr>
                  <a:xfrm>
                    <a:off x="8479474" y="4349439"/>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3F4F7"/>
                  </a:solidFill>
                  <a:ln w="2339" cap="flat">
                    <a:noFill/>
                    <a:prstDash val="solid"/>
                    <a:miter/>
                  </a:ln>
                </p:spPr>
                <p:txBody>
                  <a:bodyPr rtlCol="0" anchor="ctr"/>
                  <a:lstStyle/>
                  <a:p>
                    <a:endParaRPr lang="en-US" sz="2400"/>
                  </a:p>
                </p:txBody>
              </p:sp>
              <p:sp>
                <p:nvSpPr>
                  <p:cNvPr id="501" name="Freeform: Shape 500">
                    <a:extLst>
                      <a:ext uri="{FF2B5EF4-FFF2-40B4-BE49-F238E27FC236}">
                        <a16:creationId xmlns:a16="http://schemas.microsoft.com/office/drawing/2014/main" id="{44465A16-0DE6-19E2-8BB4-46EE8C85CE4B}"/>
                      </a:ext>
                    </a:extLst>
                  </p:cNvPr>
                  <p:cNvSpPr/>
                  <p:nvPr userDrawn="1"/>
                </p:nvSpPr>
                <p:spPr>
                  <a:xfrm>
                    <a:off x="8479732" y="4349018"/>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3F4F7"/>
                  </a:solidFill>
                  <a:ln w="2339" cap="flat">
                    <a:noFill/>
                    <a:prstDash val="solid"/>
                    <a:miter/>
                  </a:ln>
                </p:spPr>
                <p:txBody>
                  <a:bodyPr rtlCol="0" anchor="ctr"/>
                  <a:lstStyle/>
                  <a:p>
                    <a:endParaRPr lang="en-US" sz="2400"/>
                  </a:p>
                </p:txBody>
              </p:sp>
              <p:sp>
                <p:nvSpPr>
                  <p:cNvPr id="502" name="Freeform: Shape 501">
                    <a:extLst>
                      <a:ext uri="{FF2B5EF4-FFF2-40B4-BE49-F238E27FC236}">
                        <a16:creationId xmlns:a16="http://schemas.microsoft.com/office/drawing/2014/main" id="{A68C4C43-AED1-EAE1-BA47-2D86294D42F4}"/>
                      </a:ext>
                    </a:extLst>
                  </p:cNvPr>
                  <p:cNvSpPr/>
                  <p:nvPr userDrawn="1"/>
                </p:nvSpPr>
                <p:spPr>
                  <a:xfrm>
                    <a:off x="8479989" y="4348597"/>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4F5F8"/>
                  </a:solidFill>
                  <a:ln w="2339" cap="flat">
                    <a:noFill/>
                    <a:prstDash val="solid"/>
                    <a:miter/>
                  </a:ln>
                </p:spPr>
                <p:txBody>
                  <a:bodyPr rtlCol="0" anchor="ctr"/>
                  <a:lstStyle/>
                  <a:p>
                    <a:endParaRPr lang="en-US" sz="2400"/>
                  </a:p>
                </p:txBody>
              </p:sp>
              <p:sp>
                <p:nvSpPr>
                  <p:cNvPr id="503" name="Freeform: Shape 502">
                    <a:extLst>
                      <a:ext uri="{FF2B5EF4-FFF2-40B4-BE49-F238E27FC236}">
                        <a16:creationId xmlns:a16="http://schemas.microsoft.com/office/drawing/2014/main" id="{81DC80D6-F0D8-2674-09D6-5A6AD902FADE}"/>
                      </a:ext>
                    </a:extLst>
                  </p:cNvPr>
                  <p:cNvSpPr/>
                  <p:nvPr userDrawn="1"/>
                </p:nvSpPr>
                <p:spPr>
                  <a:xfrm>
                    <a:off x="8480223" y="4348175"/>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4F5F8"/>
                  </a:solidFill>
                  <a:ln w="2339" cap="flat">
                    <a:noFill/>
                    <a:prstDash val="solid"/>
                    <a:miter/>
                  </a:ln>
                </p:spPr>
                <p:txBody>
                  <a:bodyPr rtlCol="0" anchor="ctr"/>
                  <a:lstStyle/>
                  <a:p>
                    <a:endParaRPr lang="en-US" sz="2400"/>
                  </a:p>
                </p:txBody>
              </p:sp>
              <p:sp>
                <p:nvSpPr>
                  <p:cNvPr id="504" name="Freeform: Shape 503">
                    <a:extLst>
                      <a:ext uri="{FF2B5EF4-FFF2-40B4-BE49-F238E27FC236}">
                        <a16:creationId xmlns:a16="http://schemas.microsoft.com/office/drawing/2014/main" id="{40B039AD-DBF7-C720-518F-198E97434FE9}"/>
                      </a:ext>
                    </a:extLst>
                  </p:cNvPr>
                  <p:cNvSpPr/>
                  <p:nvPr userDrawn="1"/>
                </p:nvSpPr>
                <p:spPr>
                  <a:xfrm>
                    <a:off x="8480457" y="4347754"/>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4F5F8"/>
                  </a:solidFill>
                  <a:ln w="2339" cap="flat">
                    <a:noFill/>
                    <a:prstDash val="solid"/>
                    <a:miter/>
                  </a:ln>
                </p:spPr>
                <p:txBody>
                  <a:bodyPr rtlCol="0" anchor="ctr"/>
                  <a:lstStyle/>
                  <a:p>
                    <a:endParaRPr lang="en-US" sz="2400"/>
                  </a:p>
                </p:txBody>
              </p:sp>
              <p:sp>
                <p:nvSpPr>
                  <p:cNvPr id="505" name="Freeform: Shape 504">
                    <a:extLst>
                      <a:ext uri="{FF2B5EF4-FFF2-40B4-BE49-F238E27FC236}">
                        <a16:creationId xmlns:a16="http://schemas.microsoft.com/office/drawing/2014/main" id="{C1F6AE39-9D46-8F61-FA42-32A21D6D11FA}"/>
                      </a:ext>
                    </a:extLst>
                  </p:cNvPr>
                  <p:cNvSpPr/>
                  <p:nvPr userDrawn="1"/>
                </p:nvSpPr>
                <p:spPr>
                  <a:xfrm>
                    <a:off x="8480691" y="4347356"/>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5F6F8"/>
                  </a:solidFill>
                  <a:ln w="2339" cap="flat">
                    <a:noFill/>
                    <a:prstDash val="solid"/>
                    <a:miter/>
                  </a:ln>
                </p:spPr>
                <p:txBody>
                  <a:bodyPr rtlCol="0" anchor="ctr"/>
                  <a:lstStyle/>
                  <a:p>
                    <a:endParaRPr lang="en-US" sz="2400"/>
                  </a:p>
                </p:txBody>
              </p:sp>
              <p:sp>
                <p:nvSpPr>
                  <p:cNvPr id="506" name="Freeform: Shape 505">
                    <a:extLst>
                      <a:ext uri="{FF2B5EF4-FFF2-40B4-BE49-F238E27FC236}">
                        <a16:creationId xmlns:a16="http://schemas.microsoft.com/office/drawing/2014/main" id="{50DBDBC9-2F58-F2B9-5462-78292D76F4FD}"/>
                      </a:ext>
                    </a:extLst>
                  </p:cNvPr>
                  <p:cNvSpPr/>
                  <p:nvPr userDrawn="1"/>
                </p:nvSpPr>
                <p:spPr>
                  <a:xfrm>
                    <a:off x="8480902" y="4346935"/>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74"/>
                          <a:pt x="0" y="32667"/>
                          <a:pt x="0" y="21037"/>
                        </a:cubicBezTo>
                        <a:close/>
                      </a:path>
                    </a:pathLst>
                  </a:custGeom>
                  <a:solidFill>
                    <a:srgbClr val="F5F6F8"/>
                  </a:solidFill>
                  <a:ln w="2339" cap="flat">
                    <a:noFill/>
                    <a:prstDash val="solid"/>
                    <a:miter/>
                  </a:ln>
                </p:spPr>
                <p:txBody>
                  <a:bodyPr rtlCol="0" anchor="ctr"/>
                  <a:lstStyle/>
                  <a:p>
                    <a:endParaRPr lang="en-US" sz="2400"/>
                  </a:p>
                </p:txBody>
              </p:sp>
              <p:sp>
                <p:nvSpPr>
                  <p:cNvPr id="507" name="Freeform: Shape 506">
                    <a:extLst>
                      <a:ext uri="{FF2B5EF4-FFF2-40B4-BE49-F238E27FC236}">
                        <a16:creationId xmlns:a16="http://schemas.microsoft.com/office/drawing/2014/main" id="{8008055E-6D4A-BFC4-A1E8-57038731439B}"/>
                      </a:ext>
                    </a:extLst>
                  </p:cNvPr>
                  <p:cNvSpPr/>
                  <p:nvPr userDrawn="1"/>
                </p:nvSpPr>
                <p:spPr>
                  <a:xfrm>
                    <a:off x="8481136" y="4346514"/>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5F6F9"/>
                  </a:solidFill>
                  <a:ln w="2339" cap="flat">
                    <a:noFill/>
                    <a:prstDash val="solid"/>
                    <a:miter/>
                  </a:ln>
                </p:spPr>
                <p:txBody>
                  <a:bodyPr rtlCol="0" anchor="ctr"/>
                  <a:lstStyle/>
                  <a:p>
                    <a:endParaRPr lang="en-US" sz="2400"/>
                  </a:p>
                </p:txBody>
              </p:sp>
              <p:sp>
                <p:nvSpPr>
                  <p:cNvPr id="508" name="Freeform: Shape 507">
                    <a:extLst>
                      <a:ext uri="{FF2B5EF4-FFF2-40B4-BE49-F238E27FC236}">
                        <a16:creationId xmlns:a16="http://schemas.microsoft.com/office/drawing/2014/main" id="{4B620994-125C-DC0D-46C4-5D772568290B}"/>
                      </a:ext>
                    </a:extLst>
                  </p:cNvPr>
                  <p:cNvSpPr/>
                  <p:nvPr userDrawn="1"/>
                </p:nvSpPr>
                <p:spPr>
                  <a:xfrm>
                    <a:off x="8481346" y="4346093"/>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6F6F9"/>
                  </a:solidFill>
                  <a:ln w="2339" cap="flat">
                    <a:noFill/>
                    <a:prstDash val="solid"/>
                    <a:miter/>
                  </a:ln>
                </p:spPr>
                <p:txBody>
                  <a:bodyPr rtlCol="0" anchor="ctr"/>
                  <a:lstStyle/>
                  <a:p>
                    <a:endParaRPr lang="en-US" sz="2400"/>
                  </a:p>
                </p:txBody>
              </p:sp>
              <p:sp>
                <p:nvSpPr>
                  <p:cNvPr id="509" name="Freeform: Shape 508">
                    <a:extLst>
                      <a:ext uri="{FF2B5EF4-FFF2-40B4-BE49-F238E27FC236}">
                        <a16:creationId xmlns:a16="http://schemas.microsoft.com/office/drawing/2014/main" id="{4E1814A7-DB36-F77A-6217-3A5BEB74932A}"/>
                      </a:ext>
                    </a:extLst>
                  </p:cNvPr>
                  <p:cNvSpPr/>
                  <p:nvPr userDrawn="1"/>
                </p:nvSpPr>
                <p:spPr>
                  <a:xfrm>
                    <a:off x="8481557" y="4345671"/>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6F7F9"/>
                  </a:solidFill>
                  <a:ln w="2339" cap="flat">
                    <a:noFill/>
                    <a:prstDash val="solid"/>
                    <a:miter/>
                  </a:ln>
                </p:spPr>
                <p:txBody>
                  <a:bodyPr rtlCol="0" anchor="ctr"/>
                  <a:lstStyle/>
                  <a:p>
                    <a:endParaRPr lang="en-US" sz="2400"/>
                  </a:p>
                </p:txBody>
              </p:sp>
              <p:sp>
                <p:nvSpPr>
                  <p:cNvPr id="510" name="Freeform: Shape 509">
                    <a:extLst>
                      <a:ext uri="{FF2B5EF4-FFF2-40B4-BE49-F238E27FC236}">
                        <a16:creationId xmlns:a16="http://schemas.microsoft.com/office/drawing/2014/main" id="{6E5A64D5-C306-5A2F-AA37-8A7878F67681}"/>
                      </a:ext>
                    </a:extLst>
                  </p:cNvPr>
                  <p:cNvSpPr/>
                  <p:nvPr userDrawn="1"/>
                </p:nvSpPr>
                <p:spPr>
                  <a:xfrm>
                    <a:off x="8481744" y="4345250"/>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6F7F9"/>
                  </a:solidFill>
                  <a:ln w="2339" cap="flat">
                    <a:noFill/>
                    <a:prstDash val="solid"/>
                    <a:miter/>
                  </a:ln>
                </p:spPr>
                <p:txBody>
                  <a:bodyPr rtlCol="0" anchor="ctr"/>
                  <a:lstStyle/>
                  <a:p>
                    <a:endParaRPr lang="en-US" sz="2400"/>
                  </a:p>
                </p:txBody>
              </p:sp>
              <p:sp>
                <p:nvSpPr>
                  <p:cNvPr id="511" name="Freeform: Shape 510">
                    <a:extLst>
                      <a:ext uri="{FF2B5EF4-FFF2-40B4-BE49-F238E27FC236}">
                        <a16:creationId xmlns:a16="http://schemas.microsoft.com/office/drawing/2014/main" id="{45592199-A2D4-BD33-AC8E-A5766B3E8DC9}"/>
                      </a:ext>
                    </a:extLst>
                  </p:cNvPr>
                  <p:cNvSpPr/>
                  <p:nvPr userDrawn="1"/>
                </p:nvSpPr>
                <p:spPr>
                  <a:xfrm>
                    <a:off x="8481955" y="4344829"/>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6F7F9"/>
                  </a:solidFill>
                  <a:ln w="2339" cap="flat">
                    <a:noFill/>
                    <a:prstDash val="solid"/>
                    <a:miter/>
                  </a:ln>
                </p:spPr>
                <p:txBody>
                  <a:bodyPr rtlCol="0" anchor="ctr"/>
                  <a:lstStyle/>
                  <a:p>
                    <a:endParaRPr lang="en-US" sz="2400"/>
                  </a:p>
                </p:txBody>
              </p:sp>
              <p:sp>
                <p:nvSpPr>
                  <p:cNvPr id="512" name="Freeform: Shape 511">
                    <a:extLst>
                      <a:ext uri="{FF2B5EF4-FFF2-40B4-BE49-F238E27FC236}">
                        <a16:creationId xmlns:a16="http://schemas.microsoft.com/office/drawing/2014/main" id="{91AF4F22-D7E2-8A12-3068-3ACD7BA5035B}"/>
                      </a:ext>
                    </a:extLst>
                  </p:cNvPr>
                  <p:cNvSpPr/>
                  <p:nvPr userDrawn="1"/>
                </p:nvSpPr>
                <p:spPr>
                  <a:xfrm>
                    <a:off x="8482142" y="4344408"/>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7F7FA"/>
                  </a:solidFill>
                  <a:ln w="2339" cap="flat">
                    <a:noFill/>
                    <a:prstDash val="solid"/>
                    <a:miter/>
                  </a:ln>
                </p:spPr>
                <p:txBody>
                  <a:bodyPr rtlCol="0" anchor="ctr"/>
                  <a:lstStyle/>
                  <a:p>
                    <a:endParaRPr lang="en-US" sz="2400"/>
                  </a:p>
                </p:txBody>
              </p:sp>
              <p:sp>
                <p:nvSpPr>
                  <p:cNvPr id="513" name="Freeform: Shape 512">
                    <a:extLst>
                      <a:ext uri="{FF2B5EF4-FFF2-40B4-BE49-F238E27FC236}">
                        <a16:creationId xmlns:a16="http://schemas.microsoft.com/office/drawing/2014/main" id="{645606EB-9C13-A0A3-7CFC-29EE9CA0635A}"/>
                      </a:ext>
                    </a:extLst>
                  </p:cNvPr>
                  <p:cNvSpPr/>
                  <p:nvPr userDrawn="1"/>
                </p:nvSpPr>
                <p:spPr>
                  <a:xfrm>
                    <a:off x="8482329" y="4343987"/>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7F8FA"/>
                  </a:solidFill>
                  <a:ln w="2339" cap="flat">
                    <a:noFill/>
                    <a:prstDash val="solid"/>
                    <a:miter/>
                  </a:ln>
                </p:spPr>
                <p:txBody>
                  <a:bodyPr rtlCol="0" anchor="ctr"/>
                  <a:lstStyle/>
                  <a:p>
                    <a:endParaRPr lang="en-US" sz="2400"/>
                  </a:p>
                </p:txBody>
              </p:sp>
              <p:sp>
                <p:nvSpPr>
                  <p:cNvPr id="514" name="Freeform: Shape 513">
                    <a:extLst>
                      <a:ext uri="{FF2B5EF4-FFF2-40B4-BE49-F238E27FC236}">
                        <a16:creationId xmlns:a16="http://schemas.microsoft.com/office/drawing/2014/main" id="{8EAD7349-35F2-26F6-9D25-EB0801AF227D}"/>
                      </a:ext>
                    </a:extLst>
                  </p:cNvPr>
                  <p:cNvSpPr/>
                  <p:nvPr userDrawn="1"/>
                </p:nvSpPr>
                <p:spPr>
                  <a:xfrm>
                    <a:off x="8482517" y="4343565"/>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7F8FA"/>
                  </a:solidFill>
                  <a:ln w="2339" cap="flat">
                    <a:noFill/>
                    <a:prstDash val="solid"/>
                    <a:miter/>
                  </a:ln>
                </p:spPr>
                <p:txBody>
                  <a:bodyPr rtlCol="0" anchor="ctr"/>
                  <a:lstStyle/>
                  <a:p>
                    <a:endParaRPr lang="en-US" sz="2400"/>
                  </a:p>
                </p:txBody>
              </p:sp>
              <p:sp>
                <p:nvSpPr>
                  <p:cNvPr id="515" name="Freeform: Shape 514">
                    <a:extLst>
                      <a:ext uri="{FF2B5EF4-FFF2-40B4-BE49-F238E27FC236}">
                        <a16:creationId xmlns:a16="http://schemas.microsoft.com/office/drawing/2014/main" id="{6AF2DAF3-F5E0-4A24-2DE2-3E9DDA8B6E0D}"/>
                      </a:ext>
                    </a:extLst>
                  </p:cNvPr>
                  <p:cNvSpPr/>
                  <p:nvPr userDrawn="1"/>
                </p:nvSpPr>
                <p:spPr>
                  <a:xfrm>
                    <a:off x="8482680" y="4343144"/>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8F8FA"/>
                  </a:solidFill>
                  <a:ln w="2339" cap="flat">
                    <a:noFill/>
                    <a:prstDash val="solid"/>
                    <a:miter/>
                  </a:ln>
                </p:spPr>
                <p:txBody>
                  <a:bodyPr rtlCol="0" anchor="ctr"/>
                  <a:lstStyle/>
                  <a:p>
                    <a:endParaRPr lang="en-US" sz="2400"/>
                  </a:p>
                </p:txBody>
              </p:sp>
              <p:sp>
                <p:nvSpPr>
                  <p:cNvPr id="516" name="Freeform: Shape 515">
                    <a:extLst>
                      <a:ext uri="{FF2B5EF4-FFF2-40B4-BE49-F238E27FC236}">
                        <a16:creationId xmlns:a16="http://schemas.microsoft.com/office/drawing/2014/main" id="{C494E497-1FA6-C87D-0510-DE5CBEB3DE49}"/>
                      </a:ext>
                    </a:extLst>
                  </p:cNvPr>
                  <p:cNvSpPr/>
                  <p:nvPr userDrawn="1"/>
                </p:nvSpPr>
                <p:spPr>
                  <a:xfrm>
                    <a:off x="8482844" y="4342723"/>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90"/>
                          <a:pt x="0" y="21037"/>
                        </a:cubicBezTo>
                        <a:close/>
                      </a:path>
                    </a:pathLst>
                  </a:custGeom>
                  <a:solidFill>
                    <a:srgbClr val="F8F9FA"/>
                  </a:solidFill>
                  <a:ln w="2339" cap="flat">
                    <a:noFill/>
                    <a:prstDash val="solid"/>
                    <a:miter/>
                  </a:ln>
                </p:spPr>
                <p:txBody>
                  <a:bodyPr rtlCol="0" anchor="ctr"/>
                  <a:lstStyle/>
                  <a:p>
                    <a:endParaRPr lang="en-US" sz="2400"/>
                  </a:p>
                </p:txBody>
              </p:sp>
              <p:sp>
                <p:nvSpPr>
                  <p:cNvPr id="517" name="Freeform: Shape 516">
                    <a:extLst>
                      <a:ext uri="{FF2B5EF4-FFF2-40B4-BE49-F238E27FC236}">
                        <a16:creationId xmlns:a16="http://schemas.microsoft.com/office/drawing/2014/main" id="{CD6A2D30-14FA-BA6B-7A70-5756B501CA4D}"/>
                      </a:ext>
                    </a:extLst>
                  </p:cNvPr>
                  <p:cNvSpPr/>
                  <p:nvPr userDrawn="1"/>
                </p:nvSpPr>
                <p:spPr>
                  <a:xfrm>
                    <a:off x="8483008" y="4342325"/>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74"/>
                          <a:pt x="0" y="32667"/>
                          <a:pt x="0" y="21037"/>
                        </a:cubicBezTo>
                        <a:close/>
                      </a:path>
                    </a:pathLst>
                  </a:custGeom>
                  <a:solidFill>
                    <a:srgbClr val="F8F9FB"/>
                  </a:solidFill>
                  <a:ln w="2339" cap="flat">
                    <a:noFill/>
                    <a:prstDash val="solid"/>
                    <a:miter/>
                  </a:ln>
                </p:spPr>
                <p:txBody>
                  <a:bodyPr rtlCol="0" anchor="ctr"/>
                  <a:lstStyle/>
                  <a:p>
                    <a:endParaRPr lang="en-US" sz="2400"/>
                  </a:p>
                </p:txBody>
              </p:sp>
              <p:sp>
                <p:nvSpPr>
                  <p:cNvPr id="518" name="Freeform: Shape 517">
                    <a:extLst>
                      <a:ext uri="{FF2B5EF4-FFF2-40B4-BE49-F238E27FC236}">
                        <a16:creationId xmlns:a16="http://schemas.microsoft.com/office/drawing/2014/main" id="{1B1DE95B-671C-DE0B-789A-8B7651EDE9A9}"/>
                      </a:ext>
                    </a:extLst>
                  </p:cNvPr>
                  <p:cNvSpPr/>
                  <p:nvPr userDrawn="1"/>
                </p:nvSpPr>
                <p:spPr>
                  <a:xfrm>
                    <a:off x="8483172" y="4341904"/>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9F9FB"/>
                  </a:solidFill>
                  <a:ln w="2339" cap="flat">
                    <a:noFill/>
                    <a:prstDash val="solid"/>
                    <a:miter/>
                  </a:ln>
                </p:spPr>
                <p:txBody>
                  <a:bodyPr rtlCol="0" anchor="ctr"/>
                  <a:lstStyle/>
                  <a:p>
                    <a:endParaRPr lang="en-US" sz="2400"/>
                  </a:p>
                </p:txBody>
              </p:sp>
              <p:sp>
                <p:nvSpPr>
                  <p:cNvPr id="519" name="Freeform: Shape 518">
                    <a:extLst>
                      <a:ext uri="{FF2B5EF4-FFF2-40B4-BE49-F238E27FC236}">
                        <a16:creationId xmlns:a16="http://schemas.microsoft.com/office/drawing/2014/main" id="{DE8767FA-CD5A-B3D1-113F-19CCC1A72916}"/>
                      </a:ext>
                    </a:extLst>
                  </p:cNvPr>
                  <p:cNvSpPr/>
                  <p:nvPr userDrawn="1"/>
                </p:nvSpPr>
                <p:spPr>
                  <a:xfrm>
                    <a:off x="8483312" y="4341483"/>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9F9FB"/>
                  </a:solidFill>
                  <a:ln w="2339" cap="flat">
                    <a:noFill/>
                    <a:prstDash val="solid"/>
                    <a:miter/>
                  </a:ln>
                </p:spPr>
                <p:txBody>
                  <a:bodyPr rtlCol="0" anchor="ctr"/>
                  <a:lstStyle/>
                  <a:p>
                    <a:endParaRPr lang="en-US" sz="2400"/>
                  </a:p>
                </p:txBody>
              </p:sp>
              <p:sp>
                <p:nvSpPr>
                  <p:cNvPr id="520" name="Freeform: Shape 519">
                    <a:extLst>
                      <a:ext uri="{FF2B5EF4-FFF2-40B4-BE49-F238E27FC236}">
                        <a16:creationId xmlns:a16="http://schemas.microsoft.com/office/drawing/2014/main" id="{49B25098-EC93-CDEC-409A-81458EF0A9EB}"/>
                      </a:ext>
                    </a:extLst>
                  </p:cNvPr>
                  <p:cNvSpPr/>
                  <p:nvPr userDrawn="1"/>
                </p:nvSpPr>
                <p:spPr>
                  <a:xfrm>
                    <a:off x="8483476" y="4341062"/>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9FAFB"/>
                  </a:solidFill>
                  <a:ln w="2339" cap="flat">
                    <a:noFill/>
                    <a:prstDash val="solid"/>
                    <a:miter/>
                  </a:ln>
                </p:spPr>
                <p:txBody>
                  <a:bodyPr rtlCol="0" anchor="ctr"/>
                  <a:lstStyle/>
                  <a:p>
                    <a:endParaRPr lang="en-US" sz="2400"/>
                  </a:p>
                </p:txBody>
              </p:sp>
              <p:sp>
                <p:nvSpPr>
                  <p:cNvPr id="521" name="Freeform: Shape 520">
                    <a:extLst>
                      <a:ext uri="{FF2B5EF4-FFF2-40B4-BE49-F238E27FC236}">
                        <a16:creationId xmlns:a16="http://schemas.microsoft.com/office/drawing/2014/main" id="{3B2432E0-AC08-9C21-3CFB-512BD854E110}"/>
                      </a:ext>
                    </a:extLst>
                  </p:cNvPr>
                  <p:cNvSpPr/>
                  <p:nvPr userDrawn="1"/>
                </p:nvSpPr>
                <p:spPr>
                  <a:xfrm>
                    <a:off x="8483616" y="4340640"/>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9FAFB"/>
                  </a:solidFill>
                  <a:ln w="2339" cap="flat">
                    <a:noFill/>
                    <a:prstDash val="solid"/>
                    <a:miter/>
                  </a:ln>
                </p:spPr>
                <p:txBody>
                  <a:bodyPr rtlCol="0" anchor="ctr"/>
                  <a:lstStyle/>
                  <a:p>
                    <a:endParaRPr lang="en-US" sz="2400"/>
                  </a:p>
                </p:txBody>
              </p:sp>
              <p:sp>
                <p:nvSpPr>
                  <p:cNvPr id="522" name="Freeform: Shape 521">
                    <a:extLst>
                      <a:ext uri="{FF2B5EF4-FFF2-40B4-BE49-F238E27FC236}">
                        <a16:creationId xmlns:a16="http://schemas.microsoft.com/office/drawing/2014/main" id="{149AC202-B4AF-DDD1-98E8-5119956B4465}"/>
                      </a:ext>
                    </a:extLst>
                  </p:cNvPr>
                  <p:cNvSpPr/>
                  <p:nvPr userDrawn="1"/>
                </p:nvSpPr>
                <p:spPr>
                  <a:xfrm>
                    <a:off x="8483733" y="4340243"/>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74"/>
                          <a:pt x="0" y="32667"/>
                          <a:pt x="0" y="21037"/>
                        </a:cubicBezTo>
                        <a:close/>
                      </a:path>
                    </a:pathLst>
                  </a:custGeom>
                  <a:solidFill>
                    <a:srgbClr val="FAFAFC"/>
                  </a:solidFill>
                  <a:ln w="2339" cap="flat">
                    <a:noFill/>
                    <a:prstDash val="solid"/>
                    <a:miter/>
                  </a:ln>
                </p:spPr>
                <p:txBody>
                  <a:bodyPr rtlCol="0" anchor="ctr"/>
                  <a:lstStyle/>
                  <a:p>
                    <a:endParaRPr lang="en-US" sz="2400"/>
                  </a:p>
                </p:txBody>
              </p:sp>
              <p:sp>
                <p:nvSpPr>
                  <p:cNvPr id="523" name="Freeform: Shape 522">
                    <a:extLst>
                      <a:ext uri="{FF2B5EF4-FFF2-40B4-BE49-F238E27FC236}">
                        <a16:creationId xmlns:a16="http://schemas.microsoft.com/office/drawing/2014/main" id="{9F7B349D-C4E6-3ABF-9369-0B4990462E7D}"/>
                      </a:ext>
                    </a:extLst>
                  </p:cNvPr>
                  <p:cNvSpPr/>
                  <p:nvPr userDrawn="1"/>
                </p:nvSpPr>
                <p:spPr>
                  <a:xfrm>
                    <a:off x="8483874" y="4339821"/>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43" y="0"/>
                          <a:pt x="42074" y="9430"/>
                          <a:pt x="42074" y="21037"/>
                        </a:cubicBezTo>
                        <a:cubicBezTo>
                          <a:pt x="42074" y="32667"/>
                          <a:pt x="32643" y="42097"/>
                          <a:pt x="21037" y="42097"/>
                        </a:cubicBezTo>
                        <a:cubicBezTo>
                          <a:pt x="9430" y="42097"/>
                          <a:pt x="0" y="32667"/>
                          <a:pt x="0" y="21037"/>
                        </a:cubicBezTo>
                        <a:close/>
                      </a:path>
                    </a:pathLst>
                  </a:custGeom>
                  <a:solidFill>
                    <a:srgbClr val="FAFBFC"/>
                  </a:solidFill>
                  <a:ln w="2339" cap="flat">
                    <a:noFill/>
                    <a:prstDash val="solid"/>
                    <a:miter/>
                  </a:ln>
                </p:spPr>
                <p:txBody>
                  <a:bodyPr rtlCol="0" anchor="ctr"/>
                  <a:lstStyle/>
                  <a:p>
                    <a:endParaRPr lang="en-US" sz="2400"/>
                  </a:p>
                </p:txBody>
              </p:sp>
              <p:sp>
                <p:nvSpPr>
                  <p:cNvPr id="524" name="Freeform: Shape 523">
                    <a:extLst>
                      <a:ext uri="{FF2B5EF4-FFF2-40B4-BE49-F238E27FC236}">
                        <a16:creationId xmlns:a16="http://schemas.microsoft.com/office/drawing/2014/main" id="{FB06E11B-C86F-2AE6-3F59-212B575CAFBA}"/>
                      </a:ext>
                    </a:extLst>
                  </p:cNvPr>
                  <p:cNvSpPr/>
                  <p:nvPr userDrawn="1"/>
                </p:nvSpPr>
                <p:spPr>
                  <a:xfrm>
                    <a:off x="8483991" y="4339400"/>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AFBFC"/>
                  </a:solidFill>
                  <a:ln w="2339" cap="flat">
                    <a:noFill/>
                    <a:prstDash val="solid"/>
                    <a:miter/>
                  </a:ln>
                </p:spPr>
                <p:txBody>
                  <a:bodyPr rtlCol="0" anchor="ctr"/>
                  <a:lstStyle/>
                  <a:p>
                    <a:endParaRPr lang="en-US" sz="2400"/>
                  </a:p>
                </p:txBody>
              </p:sp>
              <p:sp>
                <p:nvSpPr>
                  <p:cNvPr id="525" name="Freeform: Shape 524">
                    <a:extLst>
                      <a:ext uri="{FF2B5EF4-FFF2-40B4-BE49-F238E27FC236}">
                        <a16:creationId xmlns:a16="http://schemas.microsoft.com/office/drawing/2014/main" id="{C9742ED2-810E-43F1-3D08-1E07DD0BAF2C}"/>
                      </a:ext>
                    </a:extLst>
                  </p:cNvPr>
                  <p:cNvSpPr/>
                  <p:nvPr userDrawn="1"/>
                </p:nvSpPr>
                <p:spPr>
                  <a:xfrm>
                    <a:off x="8484108" y="4338979"/>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BFBFC"/>
                  </a:solidFill>
                  <a:ln w="2339" cap="flat">
                    <a:noFill/>
                    <a:prstDash val="solid"/>
                    <a:miter/>
                  </a:ln>
                </p:spPr>
                <p:txBody>
                  <a:bodyPr rtlCol="0" anchor="ctr"/>
                  <a:lstStyle/>
                  <a:p>
                    <a:endParaRPr lang="en-US" sz="2400"/>
                  </a:p>
                </p:txBody>
              </p:sp>
              <p:sp>
                <p:nvSpPr>
                  <p:cNvPr id="526" name="Freeform: Shape 525">
                    <a:extLst>
                      <a:ext uri="{FF2B5EF4-FFF2-40B4-BE49-F238E27FC236}">
                        <a16:creationId xmlns:a16="http://schemas.microsoft.com/office/drawing/2014/main" id="{F2247105-C22D-41E3-2EEC-025412CF74F9}"/>
                      </a:ext>
                    </a:extLst>
                  </p:cNvPr>
                  <p:cNvSpPr/>
                  <p:nvPr userDrawn="1"/>
                </p:nvSpPr>
                <p:spPr>
                  <a:xfrm>
                    <a:off x="8484225" y="4338581"/>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74"/>
                          <a:pt x="0" y="32667"/>
                          <a:pt x="0" y="21037"/>
                        </a:cubicBezTo>
                        <a:close/>
                      </a:path>
                    </a:pathLst>
                  </a:custGeom>
                  <a:solidFill>
                    <a:srgbClr val="FBFBFC"/>
                  </a:solidFill>
                  <a:ln w="2339" cap="flat">
                    <a:noFill/>
                    <a:prstDash val="solid"/>
                    <a:miter/>
                  </a:ln>
                </p:spPr>
                <p:txBody>
                  <a:bodyPr rtlCol="0" anchor="ctr"/>
                  <a:lstStyle/>
                  <a:p>
                    <a:endParaRPr lang="en-US" sz="2400"/>
                  </a:p>
                </p:txBody>
              </p:sp>
              <p:sp>
                <p:nvSpPr>
                  <p:cNvPr id="527" name="Freeform: Shape 526">
                    <a:extLst>
                      <a:ext uri="{FF2B5EF4-FFF2-40B4-BE49-F238E27FC236}">
                        <a16:creationId xmlns:a16="http://schemas.microsoft.com/office/drawing/2014/main" id="{A1685B71-8C20-4F78-5CA7-6912AE3D6E56}"/>
                      </a:ext>
                    </a:extLst>
                  </p:cNvPr>
                  <p:cNvSpPr/>
                  <p:nvPr userDrawn="1"/>
                </p:nvSpPr>
                <p:spPr>
                  <a:xfrm>
                    <a:off x="8484342" y="4338160"/>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BFCFD"/>
                  </a:solidFill>
                  <a:ln w="2339" cap="flat">
                    <a:noFill/>
                    <a:prstDash val="solid"/>
                    <a:miter/>
                  </a:ln>
                </p:spPr>
                <p:txBody>
                  <a:bodyPr rtlCol="0" anchor="ctr"/>
                  <a:lstStyle/>
                  <a:p>
                    <a:endParaRPr lang="en-US" sz="2400"/>
                  </a:p>
                </p:txBody>
              </p:sp>
              <p:sp>
                <p:nvSpPr>
                  <p:cNvPr id="528" name="Freeform: Shape 527">
                    <a:extLst>
                      <a:ext uri="{FF2B5EF4-FFF2-40B4-BE49-F238E27FC236}">
                        <a16:creationId xmlns:a16="http://schemas.microsoft.com/office/drawing/2014/main" id="{915AE1F4-9C76-B458-629F-19D05DB76AE6}"/>
                      </a:ext>
                    </a:extLst>
                  </p:cNvPr>
                  <p:cNvSpPr/>
                  <p:nvPr userDrawn="1"/>
                </p:nvSpPr>
                <p:spPr>
                  <a:xfrm>
                    <a:off x="8484435" y="4337739"/>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CFCFD"/>
                  </a:solidFill>
                  <a:ln w="2339" cap="flat">
                    <a:noFill/>
                    <a:prstDash val="solid"/>
                    <a:miter/>
                  </a:ln>
                </p:spPr>
                <p:txBody>
                  <a:bodyPr rtlCol="0" anchor="ctr"/>
                  <a:lstStyle/>
                  <a:p>
                    <a:endParaRPr lang="en-US" sz="2400"/>
                  </a:p>
                </p:txBody>
              </p:sp>
              <p:sp>
                <p:nvSpPr>
                  <p:cNvPr id="529" name="Freeform: Shape 528">
                    <a:extLst>
                      <a:ext uri="{FF2B5EF4-FFF2-40B4-BE49-F238E27FC236}">
                        <a16:creationId xmlns:a16="http://schemas.microsoft.com/office/drawing/2014/main" id="{49126C95-E0AA-EC2A-5B2D-5721DAE0A3B4}"/>
                      </a:ext>
                    </a:extLst>
                  </p:cNvPr>
                  <p:cNvSpPr/>
                  <p:nvPr userDrawn="1"/>
                </p:nvSpPr>
                <p:spPr>
                  <a:xfrm>
                    <a:off x="8484529" y="4337341"/>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CFCFD"/>
                  </a:solidFill>
                  <a:ln w="2339" cap="flat">
                    <a:noFill/>
                    <a:prstDash val="solid"/>
                    <a:miter/>
                  </a:ln>
                </p:spPr>
                <p:txBody>
                  <a:bodyPr rtlCol="0" anchor="ctr"/>
                  <a:lstStyle/>
                  <a:p>
                    <a:endParaRPr lang="en-US" sz="2400"/>
                  </a:p>
                </p:txBody>
              </p:sp>
              <p:sp>
                <p:nvSpPr>
                  <p:cNvPr id="530" name="Freeform: Shape 529">
                    <a:extLst>
                      <a:ext uri="{FF2B5EF4-FFF2-40B4-BE49-F238E27FC236}">
                        <a16:creationId xmlns:a16="http://schemas.microsoft.com/office/drawing/2014/main" id="{0AFF6127-8E7A-98E6-37D4-91E7C28240A8}"/>
                      </a:ext>
                    </a:extLst>
                  </p:cNvPr>
                  <p:cNvSpPr/>
                  <p:nvPr userDrawn="1"/>
                </p:nvSpPr>
                <p:spPr>
                  <a:xfrm>
                    <a:off x="8484623" y="4336920"/>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CFCFD"/>
                  </a:solidFill>
                  <a:ln w="2339" cap="flat">
                    <a:noFill/>
                    <a:prstDash val="solid"/>
                    <a:miter/>
                  </a:ln>
                </p:spPr>
                <p:txBody>
                  <a:bodyPr rtlCol="0" anchor="ctr"/>
                  <a:lstStyle/>
                  <a:p>
                    <a:endParaRPr lang="en-US" sz="2400"/>
                  </a:p>
                </p:txBody>
              </p:sp>
              <p:sp>
                <p:nvSpPr>
                  <p:cNvPr id="531" name="Freeform: Shape 530">
                    <a:extLst>
                      <a:ext uri="{FF2B5EF4-FFF2-40B4-BE49-F238E27FC236}">
                        <a16:creationId xmlns:a16="http://schemas.microsoft.com/office/drawing/2014/main" id="{6E5040B3-DCBE-4357-AA34-12E98A69C6D4}"/>
                      </a:ext>
                    </a:extLst>
                  </p:cNvPr>
                  <p:cNvSpPr/>
                  <p:nvPr userDrawn="1"/>
                </p:nvSpPr>
                <p:spPr>
                  <a:xfrm>
                    <a:off x="8484693" y="4336499"/>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DFDFD"/>
                  </a:solidFill>
                  <a:ln w="2339" cap="flat">
                    <a:noFill/>
                    <a:prstDash val="solid"/>
                    <a:miter/>
                  </a:ln>
                </p:spPr>
                <p:txBody>
                  <a:bodyPr rtlCol="0" anchor="ctr"/>
                  <a:lstStyle/>
                  <a:p>
                    <a:endParaRPr lang="en-US" sz="2400"/>
                  </a:p>
                </p:txBody>
              </p:sp>
              <p:sp>
                <p:nvSpPr>
                  <p:cNvPr id="532" name="Freeform: Shape 531">
                    <a:extLst>
                      <a:ext uri="{FF2B5EF4-FFF2-40B4-BE49-F238E27FC236}">
                        <a16:creationId xmlns:a16="http://schemas.microsoft.com/office/drawing/2014/main" id="{6D5812C9-C35B-DB81-14BC-E8FEFBADE049}"/>
                      </a:ext>
                    </a:extLst>
                  </p:cNvPr>
                  <p:cNvSpPr/>
                  <p:nvPr userDrawn="1"/>
                </p:nvSpPr>
                <p:spPr>
                  <a:xfrm>
                    <a:off x="8484786" y="4336101"/>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DFDFE"/>
                  </a:solidFill>
                  <a:ln w="2339" cap="flat">
                    <a:noFill/>
                    <a:prstDash val="solid"/>
                    <a:miter/>
                  </a:ln>
                </p:spPr>
                <p:txBody>
                  <a:bodyPr rtlCol="0" anchor="ctr"/>
                  <a:lstStyle/>
                  <a:p>
                    <a:endParaRPr lang="en-US" sz="2400"/>
                  </a:p>
                </p:txBody>
              </p:sp>
              <p:sp>
                <p:nvSpPr>
                  <p:cNvPr id="533" name="Freeform: Shape 532">
                    <a:extLst>
                      <a:ext uri="{FF2B5EF4-FFF2-40B4-BE49-F238E27FC236}">
                        <a16:creationId xmlns:a16="http://schemas.microsoft.com/office/drawing/2014/main" id="{AD5502E3-B930-44AF-5A38-30A6EE60E41C}"/>
                      </a:ext>
                    </a:extLst>
                  </p:cNvPr>
                  <p:cNvSpPr/>
                  <p:nvPr userDrawn="1"/>
                </p:nvSpPr>
                <p:spPr>
                  <a:xfrm>
                    <a:off x="8484857" y="4335680"/>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DFDFE"/>
                  </a:solidFill>
                  <a:ln w="2339" cap="flat">
                    <a:noFill/>
                    <a:prstDash val="solid"/>
                    <a:miter/>
                  </a:ln>
                </p:spPr>
                <p:txBody>
                  <a:bodyPr rtlCol="0" anchor="ctr"/>
                  <a:lstStyle/>
                  <a:p>
                    <a:endParaRPr lang="en-US" sz="2400"/>
                  </a:p>
                </p:txBody>
              </p:sp>
              <p:sp>
                <p:nvSpPr>
                  <p:cNvPr id="534" name="Freeform: Shape 533">
                    <a:extLst>
                      <a:ext uri="{FF2B5EF4-FFF2-40B4-BE49-F238E27FC236}">
                        <a16:creationId xmlns:a16="http://schemas.microsoft.com/office/drawing/2014/main" id="{53559ABD-4DC9-C8B8-FDA1-8C3907988122}"/>
                      </a:ext>
                    </a:extLst>
                  </p:cNvPr>
                  <p:cNvSpPr/>
                  <p:nvPr userDrawn="1"/>
                </p:nvSpPr>
                <p:spPr>
                  <a:xfrm>
                    <a:off x="8484927" y="4335282"/>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DFEFE"/>
                  </a:solidFill>
                  <a:ln w="2339" cap="flat">
                    <a:noFill/>
                    <a:prstDash val="solid"/>
                    <a:miter/>
                  </a:ln>
                </p:spPr>
                <p:txBody>
                  <a:bodyPr rtlCol="0" anchor="ctr"/>
                  <a:lstStyle/>
                  <a:p>
                    <a:endParaRPr lang="en-US" sz="2400"/>
                  </a:p>
                </p:txBody>
              </p:sp>
              <p:sp>
                <p:nvSpPr>
                  <p:cNvPr id="535" name="Freeform: Shape 534">
                    <a:extLst>
                      <a:ext uri="{FF2B5EF4-FFF2-40B4-BE49-F238E27FC236}">
                        <a16:creationId xmlns:a16="http://schemas.microsoft.com/office/drawing/2014/main" id="{F8F146DC-3AC8-D458-09C5-ED9D5CBEE9DA}"/>
                      </a:ext>
                    </a:extLst>
                  </p:cNvPr>
                  <p:cNvSpPr/>
                  <p:nvPr userDrawn="1"/>
                </p:nvSpPr>
                <p:spPr>
                  <a:xfrm>
                    <a:off x="8484974" y="4334861"/>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EFEFE"/>
                  </a:solidFill>
                  <a:ln w="2339" cap="flat">
                    <a:noFill/>
                    <a:prstDash val="solid"/>
                    <a:miter/>
                  </a:ln>
                </p:spPr>
                <p:txBody>
                  <a:bodyPr rtlCol="0" anchor="ctr"/>
                  <a:lstStyle/>
                  <a:p>
                    <a:endParaRPr lang="en-US" sz="2400"/>
                  </a:p>
                </p:txBody>
              </p:sp>
              <p:sp>
                <p:nvSpPr>
                  <p:cNvPr id="536" name="Freeform: Shape 535">
                    <a:extLst>
                      <a:ext uri="{FF2B5EF4-FFF2-40B4-BE49-F238E27FC236}">
                        <a16:creationId xmlns:a16="http://schemas.microsoft.com/office/drawing/2014/main" id="{9252C4D9-0344-639F-544F-CCF9BC3E580D}"/>
                      </a:ext>
                    </a:extLst>
                  </p:cNvPr>
                  <p:cNvSpPr/>
                  <p:nvPr userDrawn="1"/>
                </p:nvSpPr>
                <p:spPr>
                  <a:xfrm>
                    <a:off x="8485020" y="4334463"/>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74"/>
                          <a:pt x="0" y="32667"/>
                          <a:pt x="0" y="21037"/>
                        </a:cubicBezTo>
                        <a:close/>
                      </a:path>
                    </a:pathLst>
                  </a:custGeom>
                  <a:solidFill>
                    <a:srgbClr val="FEFEFE"/>
                  </a:solidFill>
                  <a:ln w="2339" cap="flat">
                    <a:noFill/>
                    <a:prstDash val="solid"/>
                    <a:miter/>
                  </a:ln>
                </p:spPr>
                <p:txBody>
                  <a:bodyPr rtlCol="0" anchor="ctr"/>
                  <a:lstStyle/>
                  <a:p>
                    <a:endParaRPr lang="en-US" sz="2400"/>
                  </a:p>
                </p:txBody>
              </p:sp>
              <p:sp>
                <p:nvSpPr>
                  <p:cNvPr id="537" name="Freeform: Shape 536">
                    <a:extLst>
                      <a:ext uri="{FF2B5EF4-FFF2-40B4-BE49-F238E27FC236}">
                        <a16:creationId xmlns:a16="http://schemas.microsoft.com/office/drawing/2014/main" id="{07A1DB01-7B99-9438-2975-7FEC3059E55D}"/>
                      </a:ext>
                    </a:extLst>
                  </p:cNvPr>
                  <p:cNvSpPr/>
                  <p:nvPr userDrawn="1"/>
                </p:nvSpPr>
                <p:spPr>
                  <a:xfrm>
                    <a:off x="8485091" y="4334042"/>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EFEFF"/>
                  </a:solidFill>
                  <a:ln w="2339" cap="flat">
                    <a:noFill/>
                    <a:prstDash val="solid"/>
                    <a:miter/>
                  </a:ln>
                </p:spPr>
                <p:txBody>
                  <a:bodyPr rtlCol="0" anchor="ctr"/>
                  <a:lstStyle/>
                  <a:p>
                    <a:endParaRPr lang="en-US" sz="2400"/>
                  </a:p>
                </p:txBody>
              </p:sp>
              <p:sp>
                <p:nvSpPr>
                  <p:cNvPr id="538" name="Freeform: Shape 537">
                    <a:extLst>
                      <a:ext uri="{FF2B5EF4-FFF2-40B4-BE49-F238E27FC236}">
                        <a16:creationId xmlns:a16="http://schemas.microsoft.com/office/drawing/2014/main" id="{67B0D516-1206-5109-32EB-93AEBC7A0899}"/>
                      </a:ext>
                    </a:extLst>
                  </p:cNvPr>
                  <p:cNvSpPr/>
                  <p:nvPr userDrawn="1"/>
                </p:nvSpPr>
                <p:spPr>
                  <a:xfrm>
                    <a:off x="8485114" y="4333644"/>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74"/>
                          <a:pt x="0" y="32667"/>
                          <a:pt x="0" y="21037"/>
                        </a:cubicBezTo>
                        <a:close/>
                      </a:path>
                    </a:pathLst>
                  </a:custGeom>
                  <a:solidFill>
                    <a:srgbClr val="FFFFFF"/>
                  </a:solidFill>
                  <a:ln w="2339" cap="flat">
                    <a:noFill/>
                    <a:prstDash val="solid"/>
                    <a:miter/>
                  </a:ln>
                </p:spPr>
                <p:txBody>
                  <a:bodyPr rtlCol="0" anchor="ctr"/>
                  <a:lstStyle/>
                  <a:p>
                    <a:endParaRPr lang="en-US" sz="2400"/>
                  </a:p>
                </p:txBody>
              </p:sp>
              <p:sp>
                <p:nvSpPr>
                  <p:cNvPr id="539" name="Freeform: Shape 538">
                    <a:extLst>
                      <a:ext uri="{FF2B5EF4-FFF2-40B4-BE49-F238E27FC236}">
                        <a16:creationId xmlns:a16="http://schemas.microsoft.com/office/drawing/2014/main" id="{DBC2895E-D8B9-ABD9-87E6-939D6212E43C}"/>
                      </a:ext>
                    </a:extLst>
                  </p:cNvPr>
                  <p:cNvSpPr/>
                  <p:nvPr userDrawn="1"/>
                </p:nvSpPr>
                <p:spPr>
                  <a:xfrm>
                    <a:off x="8485161" y="4333223"/>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FFFFF"/>
                  </a:solidFill>
                  <a:ln w="2339" cap="flat">
                    <a:noFill/>
                    <a:prstDash val="solid"/>
                    <a:miter/>
                  </a:ln>
                </p:spPr>
                <p:txBody>
                  <a:bodyPr rtlCol="0" anchor="ctr"/>
                  <a:lstStyle/>
                  <a:p>
                    <a:endParaRPr lang="en-US" sz="2400"/>
                  </a:p>
                </p:txBody>
              </p:sp>
            </p:grpSp>
          </p:grpSp>
          <p:grpSp>
            <p:nvGrpSpPr>
              <p:cNvPr id="540" name="Graphic 4">
                <a:extLst>
                  <a:ext uri="{FF2B5EF4-FFF2-40B4-BE49-F238E27FC236}">
                    <a16:creationId xmlns:a16="http://schemas.microsoft.com/office/drawing/2014/main" id="{FB06EFB0-8661-A435-50AE-18C0E80EC8C3}"/>
                  </a:ext>
                </a:extLst>
              </p:cNvPr>
              <p:cNvGrpSpPr/>
              <p:nvPr userDrawn="1"/>
            </p:nvGrpSpPr>
            <p:grpSpPr>
              <a:xfrm>
                <a:off x="8195045" y="4482867"/>
                <a:ext cx="332188" cy="107360"/>
                <a:chOff x="8195045" y="4482867"/>
                <a:chExt cx="332189" cy="107360"/>
              </a:xfrm>
            </p:grpSpPr>
            <p:grpSp>
              <p:nvGrpSpPr>
                <p:cNvPr id="541" name="Graphic 4">
                  <a:extLst>
                    <a:ext uri="{FF2B5EF4-FFF2-40B4-BE49-F238E27FC236}">
                      <a16:creationId xmlns:a16="http://schemas.microsoft.com/office/drawing/2014/main" id="{A69FE177-6160-6326-D575-1BEA7D01BE77}"/>
                    </a:ext>
                  </a:extLst>
                </p:cNvPr>
                <p:cNvGrpSpPr/>
                <p:nvPr userDrawn="1"/>
              </p:nvGrpSpPr>
              <p:grpSpPr>
                <a:xfrm>
                  <a:off x="8195045" y="4482867"/>
                  <a:ext cx="144893" cy="107360"/>
                  <a:chOff x="8195045" y="4482867"/>
                  <a:chExt cx="144893" cy="107359"/>
                </a:xfrm>
              </p:grpSpPr>
              <p:sp>
                <p:nvSpPr>
                  <p:cNvPr id="542" name="Freeform: Shape 541">
                    <a:extLst>
                      <a:ext uri="{FF2B5EF4-FFF2-40B4-BE49-F238E27FC236}">
                        <a16:creationId xmlns:a16="http://schemas.microsoft.com/office/drawing/2014/main" id="{A6B92602-3DF3-09BE-149C-E4C582792E9C}"/>
                      </a:ext>
                    </a:extLst>
                  </p:cNvPr>
                  <p:cNvSpPr/>
                  <p:nvPr userDrawn="1"/>
                </p:nvSpPr>
                <p:spPr>
                  <a:xfrm>
                    <a:off x="8297842" y="4482867"/>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B1B8CC"/>
                  </a:solidFill>
                  <a:ln w="2339" cap="flat">
                    <a:noFill/>
                    <a:prstDash val="solid"/>
                    <a:miter/>
                  </a:ln>
                </p:spPr>
                <p:txBody>
                  <a:bodyPr rtlCol="0" anchor="ctr"/>
                  <a:lstStyle/>
                  <a:p>
                    <a:endParaRPr lang="en-US" sz="2400"/>
                  </a:p>
                </p:txBody>
              </p:sp>
              <p:sp>
                <p:nvSpPr>
                  <p:cNvPr id="543" name="Freeform: Shape 542">
                    <a:extLst>
                      <a:ext uri="{FF2B5EF4-FFF2-40B4-BE49-F238E27FC236}">
                        <a16:creationId xmlns:a16="http://schemas.microsoft.com/office/drawing/2014/main" id="{B8C38539-FE8E-9D2B-B831-2519CA771660}"/>
                      </a:ext>
                    </a:extLst>
                  </p:cNvPr>
                  <p:cNvSpPr/>
                  <p:nvPr userDrawn="1"/>
                </p:nvSpPr>
                <p:spPr>
                  <a:xfrm>
                    <a:off x="8297281" y="4482937"/>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B1B8CC"/>
                  </a:solidFill>
                  <a:ln w="2339" cap="flat">
                    <a:noFill/>
                    <a:prstDash val="solid"/>
                    <a:miter/>
                  </a:ln>
                </p:spPr>
                <p:txBody>
                  <a:bodyPr rtlCol="0" anchor="ctr"/>
                  <a:lstStyle/>
                  <a:p>
                    <a:endParaRPr lang="en-US" sz="2400"/>
                  </a:p>
                </p:txBody>
              </p:sp>
              <p:sp>
                <p:nvSpPr>
                  <p:cNvPr id="544" name="Freeform: Shape 543">
                    <a:extLst>
                      <a:ext uri="{FF2B5EF4-FFF2-40B4-BE49-F238E27FC236}">
                        <a16:creationId xmlns:a16="http://schemas.microsoft.com/office/drawing/2014/main" id="{CFE62346-EEE9-1734-D6F3-35C8715C1C25}"/>
                      </a:ext>
                    </a:extLst>
                  </p:cNvPr>
                  <p:cNvSpPr/>
                  <p:nvPr userDrawn="1"/>
                </p:nvSpPr>
                <p:spPr>
                  <a:xfrm>
                    <a:off x="8296719" y="4483031"/>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B2B9CC"/>
                  </a:solidFill>
                  <a:ln w="2339" cap="flat">
                    <a:noFill/>
                    <a:prstDash val="solid"/>
                    <a:miter/>
                  </a:ln>
                </p:spPr>
                <p:txBody>
                  <a:bodyPr rtlCol="0" anchor="ctr"/>
                  <a:lstStyle/>
                  <a:p>
                    <a:endParaRPr lang="en-US" sz="2400"/>
                  </a:p>
                </p:txBody>
              </p:sp>
              <p:sp>
                <p:nvSpPr>
                  <p:cNvPr id="545" name="Freeform: Shape 544">
                    <a:extLst>
                      <a:ext uri="{FF2B5EF4-FFF2-40B4-BE49-F238E27FC236}">
                        <a16:creationId xmlns:a16="http://schemas.microsoft.com/office/drawing/2014/main" id="{7B28D175-8D0D-ABA6-28B0-046849F86A89}"/>
                      </a:ext>
                    </a:extLst>
                  </p:cNvPr>
                  <p:cNvSpPr/>
                  <p:nvPr userDrawn="1"/>
                </p:nvSpPr>
                <p:spPr>
                  <a:xfrm>
                    <a:off x="8296158" y="448312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2B9CD"/>
                  </a:solidFill>
                  <a:ln w="2339" cap="flat">
                    <a:noFill/>
                    <a:prstDash val="solid"/>
                    <a:miter/>
                  </a:ln>
                </p:spPr>
                <p:txBody>
                  <a:bodyPr rtlCol="0" anchor="ctr"/>
                  <a:lstStyle/>
                  <a:p>
                    <a:endParaRPr lang="en-US" sz="2400"/>
                  </a:p>
                </p:txBody>
              </p:sp>
              <p:sp>
                <p:nvSpPr>
                  <p:cNvPr id="546" name="Freeform: Shape 545">
                    <a:extLst>
                      <a:ext uri="{FF2B5EF4-FFF2-40B4-BE49-F238E27FC236}">
                        <a16:creationId xmlns:a16="http://schemas.microsoft.com/office/drawing/2014/main" id="{BAF1F9DF-96AF-1006-E277-F16E627B6343}"/>
                      </a:ext>
                    </a:extLst>
                  </p:cNvPr>
                  <p:cNvSpPr/>
                  <p:nvPr userDrawn="1"/>
                </p:nvSpPr>
                <p:spPr>
                  <a:xfrm>
                    <a:off x="8295596" y="4483218"/>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2B9CD"/>
                  </a:solidFill>
                  <a:ln w="2339" cap="flat">
                    <a:noFill/>
                    <a:prstDash val="solid"/>
                    <a:miter/>
                  </a:ln>
                </p:spPr>
                <p:txBody>
                  <a:bodyPr rtlCol="0" anchor="ctr"/>
                  <a:lstStyle/>
                  <a:p>
                    <a:endParaRPr lang="en-US" sz="2400"/>
                  </a:p>
                </p:txBody>
              </p:sp>
              <p:sp>
                <p:nvSpPr>
                  <p:cNvPr id="547" name="Freeform: Shape 546">
                    <a:extLst>
                      <a:ext uri="{FF2B5EF4-FFF2-40B4-BE49-F238E27FC236}">
                        <a16:creationId xmlns:a16="http://schemas.microsoft.com/office/drawing/2014/main" id="{9612801D-42D6-71D7-CB23-E378E0751CF8}"/>
                      </a:ext>
                    </a:extLst>
                  </p:cNvPr>
                  <p:cNvSpPr/>
                  <p:nvPr userDrawn="1"/>
                </p:nvSpPr>
                <p:spPr>
                  <a:xfrm>
                    <a:off x="8295034" y="4483288"/>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B3B9CD"/>
                  </a:solidFill>
                  <a:ln w="2339" cap="flat">
                    <a:noFill/>
                    <a:prstDash val="solid"/>
                    <a:miter/>
                  </a:ln>
                </p:spPr>
                <p:txBody>
                  <a:bodyPr rtlCol="0" anchor="ctr"/>
                  <a:lstStyle/>
                  <a:p>
                    <a:endParaRPr lang="en-US" sz="2400"/>
                  </a:p>
                </p:txBody>
              </p:sp>
              <p:sp>
                <p:nvSpPr>
                  <p:cNvPr id="548" name="Freeform: Shape 547">
                    <a:extLst>
                      <a:ext uri="{FF2B5EF4-FFF2-40B4-BE49-F238E27FC236}">
                        <a16:creationId xmlns:a16="http://schemas.microsoft.com/office/drawing/2014/main" id="{B74CAF45-A076-8608-0948-2A58BC5B75DA}"/>
                      </a:ext>
                    </a:extLst>
                  </p:cNvPr>
                  <p:cNvSpPr/>
                  <p:nvPr userDrawn="1"/>
                </p:nvSpPr>
                <p:spPr>
                  <a:xfrm>
                    <a:off x="8294449" y="4483382"/>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3BACD"/>
                  </a:solidFill>
                  <a:ln w="2339" cap="flat">
                    <a:noFill/>
                    <a:prstDash val="solid"/>
                    <a:miter/>
                  </a:ln>
                </p:spPr>
                <p:txBody>
                  <a:bodyPr rtlCol="0" anchor="ctr"/>
                  <a:lstStyle/>
                  <a:p>
                    <a:endParaRPr lang="en-US" sz="2400"/>
                  </a:p>
                </p:txBody>
              </p:sp>
              <p:sp>
                <p:nvSpPr>
                  <p:cNvPr id="549" name="Freeform: Shape 548">
                    <a:extLst>
                      <a:ext uri="{FF2B5EF4-FFF2-40B4-BE49-F238E27FC236}">
                        <a16:creationId xmlns:a16="http://schemas.microsoft.com/office/drawing/2014/main" id="{41C14B33-03D0-AC6E-FF2B-5F559B31B81A}"/>
                      </a:ext>
                    </a:extLst>
                  </p:cNvPr>
                  <p:cNvSpPr/>
                  <p:nvPr userDrawn="1"/>
                </p:nvSpPr>
                <p:spPr>
                  <a:xfrm>
                    <a:off x="8293888" y="4483475"/>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3BACD"/>
                  </a:solidFill>
                  <a:ln w="2339" cap="flat">
                    <a:noFill/>
                    <a:prstDash val="solid"/>
                    <a:miter/>
                  </a:ln>
                </p:spPr>
                <p:txBody>
                  <a:bodyPr rtlCol="0" anchor="ctr"/>
                  <a:lstStyle/>
                  <a:p>
                    <a:endParaRPr lang="en-US" sz="2400"/>
                  </a:p>
                </p:txBody>
              </p:sp>
              <p:sp>
                <p:nvSpPr>
                  <p:cNvPr id="550" name="Freeform: Shape 549">
                    <a:extLst>
                      <a:ext uri="{FF2B5EF4-FFF2-40B4-BE49-F238E27FC236}">
                        <a16:creationId xmlns:a16="http://schemas.microsoft.com/office/drawing/2014/main" id="{BC9821E5-3A17-CA63-6306-B72767642DD2}"/>
                      </a:ext>
                    </a:extLst>
                  </p:cNvPr>
                  <p:cNvSpPr/>
                  <p:nvPr userDrawn="1"/>
                </p:nvSpPr>
                <p:spPr>
                  <a:xfrm>
                    <a:off x="8293326" y="4483569"/>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3BACE"/>
                  </a:solidFill>
                  <a:ln w="2339" cap="flat">
                    <a:noFill/>
                    <a:prstDash val="solid"/>
                    <a:miter/>
                  </a:ln>
                </p:spPr>
                <p:txBody>
                  <a:bodyPr rtlCol="0" anchor="ctr"/>
                  <a:lstStyle/>
                  <a:p>
                    <a:endParaRPr lang="en-US" sz="2400"/>
                  </a:p>
                </p:txBody>
              </p:sp>
              <p:sp>
                <p:nvSpPr>
                  <p:cNvPr id="551" name="Freeform: Shape 550">
                    <a:extLst>
                      <a:ext uri="{FF2B5EF4-FFF2-40B4-BE49-F238E27FC236}">
                        <a16:creationId xmlns:a16="http://schemas.microsoft.com/office/drawing/2014/main" id="{C6C2E0EE-EF38-6EE2-BE2D-83CF26AF60F6}"/>
                      </a:ext>
                    </a:extLst>
                  </p:cNvPr>
                  <p:cNvSpPr/>
                  <p:nvPr userDrawn="1"/>
                </p:nvSpPr>
                <p:spPr>
                  <a:xfrm>
                    <a:off x="8292764" y="4483662"/>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4BBCE"/>
                  </a:solidFill>
                  <a:ln w="2339" cap="flat">
                    <a:noFill/>
                    <a:prstDash val="solid"/>
                    <a:miter/>
                  </a:ln>
                </p:spPr>
                <p:txBody>
                  <a:bodyPr rtlCol="0" anchor="ctr"/>
                  <a:lstStyle/>
                  <a:p>
                    <a:endParaRPr lang="en-US" sz="2400"/>
                  </a:p>
                </p:txBody>
              </p:sp>
              <p:sp>
                <p:nvSpPr>
                  <p:cNvPr id="552" name="Freeform: Shape 551">
                    <a:extLst>
                      <a:ext uri="{FF2B5EF4-FFF2-40B4-BE49-F238E27FC236}">
                        <a16:creationId xmlns:a16="http://schemas.microsoft.com/office/drawing/2014/main" id="{341ED33A-C153-42C5-279E-5548A11B1341}"/>
                      </a:ext>
                    </a:extLst>
                  </p:cNvPr>
                  <p:cNvSpPr/>
                  <p:nvPr userDrawn="1"/>
                </p:nvSpPr>
                <p:spPr>
                  <a:xfrm>
                    <a:off x="8292203" y="448375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30"/>
                          <a:pt x="42097" y="21037"/>
                        </a:cubicBezTo>
                        <a:close/>
                      </a:path>
                    </a:pathLst>
                  </a:custGeom>
                  <a:solidFill>
                    <a:srgbClr val="B4BBCE"/>
                  </a:solidFill>
                  <a:ln w="2339" cap="flat">
                    <a:noFill/>
                    <a:prstDash val="solid"/>
                    <a:miter/>
                  </a:ln>
                </p:spPr>
                <p:txBody>
                  <a:bodyPr rtlCol="0" anchor="ctr"/>
                  <a:lstStyle/>
                  <a:p>
                    <a:endParaRPr lang="en-US" sz="2400"/>
                  </a:p>
                </p:txBody>
              </p:sp>
              <p:sp>
                <p:nvSpPr>
                  <p:cNvPr id="553" name="Freeform: Shape 552">
                    <a:extLst>
                      <a:ext uri="{FF2B5EF4-FFF2-40B4-BE49-F238E27FC236}">
                        <a16:creationId xmlns:a16="http://schemas.microsoft.com/office/drawing/2014/main" id="{CA2A9195-F684-06B7-8DE9-8FD9B72C30CB}"/>
                      </a:ext>
                    </a:extLst>
                  </p:cNvPr>
                  <p:cNvSpPr/>
                  <p:nvPr userDrawn="1"/>
                </p:nvSpPr>
                <p:spPr>
                  <a:xfrm>
                    <a:off x="8291641" y="4483850"/>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30"/>
                          <a:pt x="42097" y="21037"/>
                        </a:cubicBezTo>
                        <a:close/>
                      </a:path>
                    </a:pathLst>
                  </a:custGeom>
                  <a:solidFill>
                    <a:srgbClr val="B4BBCE"/>
                  </a:solidFill>
                  <a:ln w="2339" cap="flat">
                    <a:noFill/>
                    <a:prstDash val="solid"/>
                    <a:miter/>
                  </a:ln>
                </p:spPr>
                <p:txBody>
                  <a:bodyPr rtlCol="0" anchor="ctr"/>
                  <a:lstStyle/>
                  <a:p>
                    <a:endParaRPr lang="en-US" sz="2400"/>
                  </a:p>
                </p:txBody>
              </p:sp>
              <p:sp>
                <p:nvSpPr>
                  <p:cNvPr id="554" name="Freeform: Shape 553">
                    <a:extLst>
                      <a:ext uri="{FF2B5EF4-FFF2-40B4-BE49-F238E27FC236}">
                        <a16:creationId xmlns:a16="http://schemas.microsoft.com/office/drawing/2014/main" id="{63BC266C-DF1C-5B41-4B80-61A51711DD77}"/>
                      </a:ext>
                    </a:extLst>
                  </p:cNvPr>
                  <p:cNvSpPr/>
                  <p:nvPr userDrawn="1"/>
                </p:nvSpPr>
                <p:spPr>
                  <a:xfrm>
                    <a:off x="8291080" y="448396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B5BBCE"/>
                  </a:solidFill>
                  <a:ln w="2339" cap="flat">
                    <a:noFill/>
                    <a:prstDash val="solid"/>
                    <a:miter/>
                  </a:ln>
                </p:spPr>
                <p:txBody>
                  <a:bodyPr rtlCol="0" anchor="ctr"/>
                  <a:lstStyle/>
                  <a:p>
                    <a:endParaRPr lang="en-US" sz="2400"/>
                  </a:p>
                </p:txBody>
              </p:sp>
              <p:sp>
                <p:nvSpPr>
                  <p:cNvPr id="555" name="Freeform: Shape 554">
                    <a:extLst>
                      <a:ext uri="{FF2B5EF4-FFF2-40B4-BE49-F238E27FC236}">
                        <a16:creationId xmlns:a16="http://schemas.microsoft.com/office/drawing/2014/main" id="{C2D7EA7F-7827-758C-8DA8-BF12360C41A1}"/>
                      </a:ext>
                    </a:extLst>
                  </p:cNvPr>
                  <p:cNvSpPr/>
                  <p:nvPr userDrawn="1"/>
                </p:nvSpPr>
                <p:spPr>
                  <a:xfrm>
                    <a:off x="8290518" y="4484060"/>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B5BCCF"/>
                  </a:solidFill>
                  <a:ln w="2339" cap="flat">
                    <a:noFill/>
                    <a:prstDash val="solid"/>
                    <a:miter/>
                  </a:ln>
                </p:spPr>
                <p:txBody>
                  <a:bodyPr rtlCol="0" anchor="ctr"/>
                  <a:lstStyle/>
                  <a:p>
                    <a:endParaRPr lang="en-US" sz="2400"/>
                  </a:p>
                </p:txBody>
              </p:sp>
              <p:sp>
                <p:nvSpPr>
                  <p:cNvPr id="556" name="Freeform: Shape 555">
                    <a:extLst>
                      <a:ext uri="{FF2B5EF4-FFF2-40B4-BE49-F238E27FC236}">
                        <a16:creationId xmlns:a16="http://schemas.microsoft.com/office/drawing/2014/main" id="{6CBDC93A-B767-7F38-446D-C199E52E8285}"/>
                      </a:ext>
                    </a:extLst>
                  </p:cNvPr>
                  <p:cNvSpPr/>
                  <p:nvPr userDrawn="1"/>
                </p:nvSpPr>
                <p:spPr>
                  <a:xfrm>
                    <a:off x="8289956" y="448415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5BCCF"/>
                  </a:solidFill>
                  <a:ln w="2339" cap="flat">
                    <a:noFill/>
                    <a:prstDash val="solid"/>
                    <a:miter/>
                  </a:ln>
                </p:spPr>
                <p:txBody>
                  <a:bodyPr rtlCol="0" anchor="ctr"/>
                  <a:lstStyle/>
                  <a:p>
                    <a:endParaRPr lang="en-US" sz="2400"/>
                  </a:p>
                </p:txBody>
              </p:sp>
              <p:sp>
                <p:nvSpPr>
                  <p:cNvPr id="557" name="Freeform: Shape 556">
                    <a:extLst>
                      <a:ext uri="{FF2B5EF4-FFF2-40B4-BE49-F238E27FC236}">
                        <a16:creationId xmlns:a16="http://schemas.microsoft.com/office/drawing/2014/main" id="{FBBB510B-997D-CA38-399C-EB220FACA636}"/>
                      </a:ext>
                    </a:extLst>
                  </p:cNvPr>
                  <p:cNvSpPr/>
                  <p:nvPr userDrawn="1"/>
                </p:nvSpPr>
                <p:spPr>
                  <a:xfrm>
                    <a:off x="8289418" y="4484247"/>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B6BCCF"/>
                  </a:solidFill>
                  <a:ln w="2339" cap="flat">
                    <a:noFill/>
                    <a:prstDash val="solid"/>
                    <a:miter/>
                  </a:ln>
                </p:spPr>
                <p:txBody>
                  <a:bodyPr rtlCol="0" anchor="ctr"/>
                  <a:lstStyle/>
                  <a:p>
                    <a:endParaRPr lang="en-US" sz="2400"/>
                  </a:p>
                </p:txBody>
              </p:sp>
              <p:sp>
                <p:nvSpPr>
                  <p:cNvPr id="558" name="Freeform: Shape 557">
                    <a:extLst>
                      <a:ext uri="{FF2B5EF4-FFF2-40B4-BE49-F238E27FC236}">
                        <a16:creationId xmlns:a16="http://schemas.microsoft.com/office/drawing/2014/main" id="{17DB02A7-CF03-57B2-E6CD-3BC014FA734D}"/>
                      </a:ext>
                    </a:extLst>
                  </p:cNvPr>
                  <p:cNvSpPr/>
                  <p:nvPr userDrawn="1"/>
                </p:nvSpPr>
                <p:spPr>
                  <a:xfrm>
                    <a:off x="8288857" y="448436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6BCCF"/>
                  </a:solidFill>
                  <a:ln w="2339" cap="flat">
                    <a:noFill/>
                    <a:prstDash val="solid"/>
                    <a:miter/>
                  </a:ln>
                </p:spPr>
                <p:txBody>
                  <a:bodyPr rtlCol="0" anchor="ctr"/>
                  <a:lstStyle/>
                  <a:p>
                    <a:endParaRPr lang="en-US" sz="2400"/>
                  </a:p>
                </p:txBody>
              </p:sp>
              <p:sp>
                <p:nvSpPr>
                  <p:cNvPr id="559" name="Freeform: Shape 558">
                    <a:extLst>
                      <a:ext uri="{FF2B5EF4-FFF2-40B4-BE49-F238E27FC236}">
                        <a16:creationId xmlns:a16="http://schemas.microsoft.com/office/drawing/2014/main" id="{639941BD-8291-AC36-F857-8F055A8F72B5}"/>
                      </a:ext>
                    </a:extLst>
                  </p:cNvPr>
                  <p:cNvSpPr/>
                  <p:nvPr userDrawn="1"/>
                </p:nvSpPr>
                <p:spPr>
                  <a:xfrm>
                    <a:off x="8288295" y="4484458"/>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B6BDCF"/>
                  </a:solidFill>
                  <a:ln w="2339" cap="flat">
                    <a:noFill/>
                    <a:prstDash val="solid"/>
                    <a:miter/>
                  </a:ln>
                </p:spPr>
                <p:txBody>
                  <a:bodyPr rtlCol="0" anchor="ctr"/>
                  <a:lstStyle/>
                  <a:p>
                    <a:endParaRPr lang="en-US" sz="2400"/>
                  </a:p>
                </p:txBody>
              </p:sp>
              <p:sp>
                <p:nvSpPr>
                  <p:cNvPr id="560" name="Freeform: Shape 559">
                    <a:extLst>
                      <a:ext uri="{FF2B5EF4-FFF2-40B4-BE49-F238E27FC236}">
                        <a16:creationId xmlns:a16="http://schemas.microsoft.com/office/drawing/2014/main" id="{B4981F92-9C0A-2C29-2924-C473D48601CE}"/>
                      </a:ext>
                    </a:extLst>
                  </p:cNvPr>
                  <p:cNvSpPr/>
                  <p:nvPr userDrawn="1"/>
                </p:nvSpPr>
                <p:spPr>
                  <a:xfrm>
                    <a:off x="8287733" y="4484575"/>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7BDD0"/>
                  </a:solidFill>
                  <a:ln w="2339" cap="flat">
                    <a:noFill/>
                    <a:prstDash val="solid"/>
                    <a:miter/>
                  </a:ln>
                </p:spPr>
                <p:txBody>
                  <a:bodyPr rtlCol="0" anchor="ctr"/>
                  <a:lstStyle/>
                  <a:p>
                    <a:endParaRPr lang="en-US" sz="2400"/>
                  </a:p>
                </p:txBody>
              </p:sp>
              <p:sp>
                <p:nvSpPr>
                  <p:cNvPr id="561" name="Freeform: Shape 560">
                    <a:extLst>
                      <a:ext uri="{FF2B5EF4-FFF2-40B4-BE49-F238E27FC236}">
                        <a16:creationId xmlns:a16="http://schemas.microsoft.com/office/drawing/2014/main" id="{1D485A1C-D0F6-E21E-CA8A-86F3840B830C}"/>
                      </a:ext>
                    </a:extLst>
                  </p:cNvPr>
                  <p:cNvSpPr/>
                  <p:nvPr userDrawn="1"/>
                </p:nvSpPr>
                <p:spPr>
                  <a:xfrm>
                    <a:off x="8287172" y="4484669"/>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30"/>
                          <a:pt x="42097" y="21037"/>
                        </a:cubicBezTo>
                        <a:close/>
                      </a:path>
                    </a:pathLst>
                  </a:custGeom>
                  <a:solidFill>
                    <a:srgbClr val="B7BDD0"/>
                  </a:solidFill>
                  <a:ln w="2339" cap="flat">
                    <a:noFill/>
                    <a:prstDash val="solid"/>
                    <a:miter/>
                  </a:ln>
                </p:spPr>
                <p:txBody>
                  <a:bodyPr rtlCol="0" anchor="ctr"/>
                  <a:lstStyle/>
                  <a:p>
                    <a:endParaRPr lang="en-US" sz="2400"/>
                  </a:p>
                </p:txBody>
              </p:sp>
              <p:sp>
                <p:nvSpPr>
                  <p:cNvPr id="562" name="Freeform: Shape 561">
                    <a:extLst>
                      <a:ext uri="{FF2B5EF4-FFF2-40B4-BE49-F238E27FC236}">
                        <a16:creationId xmlns:a16="http://schemas.microsoft.com/office/drawing/2014/main" id="{7A0B8FF0-C7E1-C324-87E2-C9A4A0EB438D}"/>
                      </a:ext>
                    </a:extLst>
                  </p:cNvPr>
                  <p:cNvSpPr/>
                  <p:nvPr userDrawn="1"/>
                </p:nvSpPr>
                <p:spPr>
                  <a:xfrm>
                    <a:off x="8286634" y="448478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B7BED0"/>
                  </a:solidFill>
                  <a:ln w="2339" cap="flat">
                    <a:noFill/>
                    <a:prstDash val="solid"/>
                    <a:miter/>
                  </a:ln>
                </p:spPr>
                <p:txBody>
                  <a:bodyPr rtlCol="0" anchor="ctr"/>
                  <a:lstStyle/>
                  <a:p>
                    <a:endParaRPr lang="en-US" sz="2400"/>
                  </a:p>
                </p:txBody>
              </p:sp>
              <p:sp>
                <p:nvSpPr>
                  <p:cNvPr id="563" name="Freeform: Shape 562">
                    <a:extLst>
                      <a:ext uri="{FF2B5EF4-FFF2-40B4-BE49-F238E27FC236}">
                        <a16:creationId xmlns:a16="http://schemas.microsoft.com/office/drawing/2014/main" id="{CBAC1B17-4A8E-3584-929A-A4E6C9D3A42D}"/>
                      </a:ext>
                    </a:extLst>
                  </p:cNvPr>
                  <p:cNvSpPr/>
                  <p:nvPr userDrawn="1"/>
                </p:nvSpPr>
                <p:spPr>
                  <a:xfrm>
                    <a:off x="8286072" y="4484902"/>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7BED0"/>
                  </a:solidFill>
                  <a:ln w="2339" cap="flat">
                    <a:noFill/>
                    <a:prstDash val="solid"/>
                    <a:miter/>
                  </a:ln>
                </p:spPr>
                <p:txBody>
                  <a:bodyPr rtlCol="0" anchor="ctr"/>
                  <a:lstStyle/>
                  <a:p>
                    <a:endParaRPr lang="en-US" sz="2400"/>
                  </a:p>
                </p:txBody>
              </p:sp>
              <p:sp>
                <p:nvSpPr>
                  <p:cNvPr id="564" name="Freeform: Shape 563">
                    <a:extLst>
                      <a:ext uri="{FF2B5EF4-FFF2-40B4-BE49-F238E27FC236}">
                        <a16:creationId xmlns:a16="http://schemas.microsoft.com/office/drawing/2014/main" id="{91CE72E5-26C2-CA25-2381-31A6F68C4AA9}"/>
                      </a:ext>
                    </a:extLst>
                  </p:cNvPr>
                  <p:cNvSpPr/>
                  <p:nvPr userDrawn="1"/>
                </p:nvSpPr>
                <p:spPr>
                  <a:xfrm>
                    <a:off x="8285510" y="448499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B8BED0"/>
                  </a:solidFill>
                  <a:ln w="2339" cap="flat">
                    <a:noFill/>
                    <a:prstDash val="solid"/>
                    <a:miter/>
                  </a:ln>
                </p:spPr>
                <p:txBody>
                  <a:bodyPr rtlCol="0" anchor="ctr"/>
                  <a:lstStyle/>
                  <a:p>
                    <a:endParaRPr lang="en-US" sz="2400"/>
                  </a:p>
                </p:txBody>
              </p:sp>
              <p:sp>
                <p:nvSpPr>
                  <p:cNvPr id="565" name="Freeform: Shape 564">
                    <a:extLst>
                      <a:ext uri="{FF2B5EF4-FFF2-40B4-BE49-F238E27FC236}">
                        <a16:creationId xmlns:a16="http://schemas.microsoft.com/office/drawing/2014/main" id="{72AA7686-A11E-51F6-ADB1-157BA5B8A620}"/>
                      </a:ext>
                    </a:extLst>
                  </p:cNvPr>
                  <p:cNvSpPr/>
                  <p:nvPr userDrawn="1"/>
                </p:nvSpPr>
                <p:spPr>
                  <a:xfrm>
                    <a:off x="8284972" y="4485113"/>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B8BED1"/>
                  </a:solidFill>
                  <a:ln w="2339" cap="flat">
                    <a:noFill/>
                    <a:prstDash val="solid"/>
                    <a:miter/>
                  </a:ln>
                </p:spPr>
                <p:txBody>
                  <a:bodyPr rtlCol="0" anchor="ctr"/>
                  <a:lstStyle/>
                  <a:p>
                    <a:endParaRPr lang="en-US" sz="2400"/>
                  </a:p>
                </p:txBody>
              </p:sp>
              <p:sp>
                <p:nvSpPr>
                  <p:cNvPr id="566" name="Freeform: Shape 565">
                    <a:extLst>
                      <a:ext uri="{FF2B5EF4-FFF2-40B4-BE49-F238E27FC236}">
                        <a16:creationId xmlns:a16="http://schemas.microsoft.com/office/drawing/2014/main" id="{CF7822AD-3ED9-4E22-2FA9-25C23FA61A77}"/>
                      </a:ext>
                    </a:extLst>
                  </p:cNvPr>
                  <p:cNvSpPr/>
                  <p:nvPr userDrawn="1"/>
                </p:nvSpPr>
                <p:spPr>
                  <a:xfrm>
                    <a:off x="8284411" y="4485230"/>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B8BFD1"/>
                  </a:solidFill>
                  <a:ln w="2339" cap="flat">
                    <a:noFill/>
                    <a:prstDash val="solid"/>
                    <a:miter/>
                  </a:ln>
                </p:spPr>
                <p:txBody>
                  <a:bodyPr rtlCol="0" anchor="ctr"/>
                  <a:lstStyle/>
                  <a:p>
                    <a:endParaRPr lang="en-US" sz="2400"/>
                  </a:p>
                </p:txBody>
              </p:sp>
              <p:sp>
                <p:nvSpPr>
                  <p:cNvPr id="567" name="Freeform: Shape 566">
                    <a:extLst>
                      <a:ext uri="{FF2B5EF4-FFF2-40B4-BE49-F238E27FC236}">
                        <a16:creationId xmlns:a16="http://schemas.microsoft.com/office/drawing/2014/main" id="{B1AB7A82-31C3-AE3F-9F9A-E38632A628D1}"/>
                      </a:ext>
                    </a:extLst>
                  </p:cNvPr>
                  <p:cNvSpPr/>
                  <p:nvPr userDrawn="1"/>
                </p:nvSpPr>
                <p:spPr>
                  <a:xfrm>
                    <a:off x="8283849" y="4485347"/>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B9BFD1"/>
                  </a:solidFill>
                  <a:ln w="2339" cap="flat">
                    <a:noFill/>
                    <a:prstDash val="solid"/>
                    <a:miter/>
                  </a:ln>
                </p:spPr>
                <p:txBody>
                  <a:bodyPr rtlCol="0" anchor="ctr"/>
                  <a:lstStyle/>
                  <a:p>
                    <a:endParaRPr lang="en-US" sz="2400"/>
                  </a:p>
                </p:txBody>
              </p:sp>
              <p:sp>
                <p:nvSpPr>
                  <p:cNvPr id="568" name="Freeform: Shape 567">
                    <a:extLst>
                      <a:ext uri="{FF2B5EF4-FFF2-40B4-BE49-F238E27FC236}">
                        <a16:creationId xmlns:a16="http://schemas.microsoft.com/office/drawing/2014/main" id="{D502EF6C-6E3C-2ACF-F860-40EB6547DE30}"/>
                      </a:ext>
                    </a:extLst>
                  </p:cNvPr>
                  <p:cNvSpPr/>
                  <p:nvPr userDrawn="1"/>
                </p:nvSpPr>
                <p:spPr>
                  <a:xfrm>
                    <a:off x="8283311" y="448546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9BFD1"/>
                  </a:solidFill>
                  <a:ln w="2339" cap="flat">
                    <a:noFill/>
                    <a:prstDash val="solid"/>
                    <a:miter/>
                  </a:ln>
                </p:spPr>
                <p:txBody>
                  <a:bodyPr rtlCol="0" anchor="ctr"/>
                  <a:lstStyle/>
                  <a:p>
                    <a:endParaRPr lang="en-US" sz="2400"/>
                  </a:p>
                </p:txBody>
              </p:sp>
              <p:sp>
                <p:nvSpPr>
                  <p:cNvPr id="569" name="Freeform: Shape 568">
                    <a:extLst>
                      <a:ext uri="{FF2B5EF4-FFF2-40B4-BE49-F238E27FC236}">
                        <a16:creationId xmlns:a16="http://schemas.microsoft.com/office/drawing/2014/main" id="{F86C6450-836D-36F4-1F59-399A5C21C47F}"/>
                      </a:ext>
                    </a:extLst>
                  </p:cNvPr>
                  <p:cNvSpPr/>
                  <p:nvPr userDrawn="1"/>
                </p:nvSpPr>
                <p:spPr>
                  <a:xfrm>
                    <a:off x="8282749" y="4485581"/>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9C0D1"/>
                  </a:solidFill>
                  <a:ln w="2339" cap="flat">
                    <a:noFill/>
                    <a:prstDash val="solid"/>
                    <a:miter/>
                  </a:ln>
                </p:spPr>
                <p:txBody>
                  <a:bodyPr rtlCol="0" anchor="ctr"/>
                  <a:lstStyle/>
                  <a:p>
                    <a:endParaRPr lang="en-US" sz="2400"/>
                  </a:p>
                </p:txBody>
              </p:sp>
              <p:sp>
                <p:nvSpPr>
                  <p:cNvPr id="570" name="Freeform: Shape 569">
                    <a:extLst>
                      <a:ext uri="{FF2B5EF4-FFF2-40B4-BE49-F238E27FC236}">
                        <a16:creationId xmlns:a16="http://schemas.microsoft.com/office/drawing/2014/main" id="{AA0AFC2F-72F5-AF62-E684-576D16A518D2}"/>
                      </a:ext>
                    </a:extLst>
                  </p:cNvPr>
                  <p:cNvSpPr/>
                  <p:nvPr userDrawn="1"/>
                </p:nvSpPr>
                <p:spPr>
                  <a:xfrm>
                    <a:off x="8282211" y="4485698"/>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AC0D2"/>
                  </a:solidFill>
                  <a:ln w="2339" cap="flat">
                    <a:noFill/>
                    <a:prstDash val="solid"/>
                    <a:miter/>
                  </a:ln>
                </p:spPr>
                <p:txBody>
                  <a:bodyPr rtlCol="0" anchor="ctr"/>
                  <a:lstStyle/>
                  <a:p>
                    <a:endParaRPr lang="en-US" sz="2400"/>
                  </a:p>
                </p:txBody>
              </p:sp>
              <p:sp>
                <p:nvSpPr>
                  <p:cNvPr id="571" name="Freeform: Shape 570">
                    <a:extLst>
                      <a:ext uri="{FF2B5EF4-FFF2-40B4-BE49-F238E27FC236}">
                        <a16:creationId xmlns:a16="http://schemas.microsoft.com/office/drawing/2014/main" id="{BBCCF037-FD30-2658-86A2-20B0BA988986}"/>
                      </a:ext>
                    </a:extLst>
                  </p:cNvPr>
                  <p:cNvSpPr/>
                  <p:nvPr userDrawn="1"/>
                </p:nvSpPr>
                <p:spPr>
                  <a:xfrm>
                    <a:off x="8281649" y="4485815"/>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BAC0D2"/>
                  </a:solidFill>
                  <a:ln w="2339" cap="flat">
                    <a:noFill/>
                    <a:prstDash val="solid"/>
                    <a:miter/>
                  </a:ln>
                </p:spPr>
                <p:txBody>
                  <a:bodyPr rtlCol="0" anchor="ctr"/>
                  <a:lstStyle/>
                  <a:p>
                    <a:endParaRPr lang="en-US" sz="2400"/>
                  </a:p>
                </p:txBody>
              </p:sp>
              <p:sp>
                <p:nvSpPr>
                  <p:cNvPr id="572" name="Freeform: Shape 571">
                    <a:extLst>
                      <a:ext uri="{FF2B5EF4-FFF2-40B4-BE49-F238E27FC236}">
                        <a16:creationId xmlns:a16="http://schemas.microsoft.com/office/drawing/2014/main" id="{0B51688E-3DB8-EE10-B06C-B6D3BCBCEA0A}"/>
                      </a:ext>
                    </a:extLst>
                  </p:cNvPr>
                  <p:cNvSpPr/>
                  <p:nvPr userDrawn="1"/>
                </p:nvSpPr>
                <p:spPr>
                  <a:xfrm>
                    <a:off x="8281111" y="4485932"/>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BAC0D2"/>
                  </a:solidFill>
                  <a:ln w="2339" cap="flat">
                    <a:noFill/>
                    <a:prstDash val="solid"/>
                    <a:miter/>
                  </a:ln>
                </p:spPr>
                <p:txBody>
                  <a:bodyPr rtlCol="0" anchor="ctr"/>
                  <a:lstStyle/>
                  <a:p>
                    <a:endParaRPr lang="en-US" sz="2400"/>
                  </a:p>
                </p:txBody>
              </p:sp>
              <p:sp>
                <p:nvSpPr>
                  <p:cNvPr id="573" name="Freeform: Shape 572">
                    <a:extLst>
                      <a:ext uri="{FF2B5EF4-FFF2-40B4-BE49-F238E27FC236}">
                        <a16:creationId xmlns:a16="http://schemas.microsoft.com/office/drawing/2014/main" id="{97E39509-A3BF-B3B3-5A40-5917F5B36BC9}"/>
                      </a:ext>
                    </a:extLst>
                  </p:cNvPr>
                  <p:cNvSpPr/>
                  <p:nvPr userDrawn="1"/>
                </p:nvSpPr>
                <p:spPr>
                  <a:xfrm>
                    <a:off x="8280550" y="4486049"/>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AC1D2"/>
                  </a:solidFill>
                  <a:ln w="2339" cap="flat">
                    <a:noFill/>
                    <a:prstDash val="solid"/>
                    <a:miter/>
                  </a:ln>
                </p:spPr>
                <p:txBody>
                  <a:bodyPr rtlCol="0" anchor="ctr"/>
                  <a:lstStyle/>
                  <a:p>
                    <a:endParaRPr lang="en-US" sz="2400"/>
                  </a:p>
                </p:txBody>
              </p:sp>
              <p:sp>
                <p:nvSpPr>
                  <p:cNvPr id="574" name="Freeform: Shape 573">
                    <a:extLst>
                      <a:ext uri="{FF2B5EF4-FFF2-40B4-BE49-F238E27FC236}">
                        <a16:creationId xmlns:a16="http://schemas.microsoft.com/office/drawing/2014/main" id="{23F00E1E-43BA-8CB6-12EC-2D96A9343CF7}"/>
                      </a:ext>
                    </a:extLst>
                  </p:cNvPr>
                  <p:cNvSpPr/>
                  <p:nvPr userDrawn="1"/>
                </p:nvSpPr>
                <p:spPr>
                  <a:xfrm>
                    <a:off x="8280011" y="448616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BBC1D2"/>
                  </a:solidFill>
                  <a:ln w="2339" cap="flat">
                    <a:noFill/>
                    <a:prstDash val="solid"/>
                    <a:miter/>
                  </a:ln>
                </p:spPr>
                <p:txBody>
                  <a:bodyPr rtlCol="0" anchor="ctr"/>
                  <a:lstStyle/>
                  <a:p>
                    <a:endParaRPr lang="en-US" sz="2400"/>
                  </a:p>
                </p:txBody>
              </p:sp>
              <p:sp>
                <p:nvSpPr>
                  <p:cNvPr id="575" name="Freeform: Shape 574">
                    <a:extLst>
                      <a:ext uri="{FF2B5EF4-FFF2-40B4-BE49-F238E27FC236}">
                        <a16:creationId xmlns:a16="http://schemas.microsoft.com/office/drawing/2014/main" id="{39CA249B-13D5-8A44-EEE8-06CE02A629F4}"/>
                      </a:ext>
                    </a:extLst>
                  </p:cNvPr>
                  <p:cNvSpPr/>
                  <p:nvPr userDrawn="1"/>
                </p:nvSpPr>
                <p:spPr>
                  <a:xfrm>
                    <a:off x="8279473" y="448630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BC1D3"/>
                  </a:solidFill>
                  <a:ln w="2339" cap="flat">
                    <a:noFill/>
                    <a:prstDash val="solid"/>
                    <a:miter/>
                  </a:ln>
                </p:spPr>
                <p:txBody>
                  <a:bodyPr rtlCol="0" anchor="ctr"/>
                  <a:lstStyle/>
                  <a:p>
                    <a:endParaRPr lang="en-US" sz="2400"/>
                  </a:p>
                </p:txBody>
              </p:sp>
              <p:sp>
                <p:nvSpPr>
                  <p:cNvPr id="576" name="Freeform: Shape 575">
                    <a:extLst>
                      <a:ext uri="{FF2B5EF4-FFF2-40B4-BE49-F238E27FC236}">
                        <a16:creationId xmlns:a16="http://schemas.microsoft.com/office/drawing/2014/main" id="{741C38C8-0045-0502-79C5-6AACA05858E0}"/>
                      </a:ext>
                    </a:extLst>
                  </p:cNvPr>
                  <p:cNvSpPr/>
                  <p:nvPr userDrawn="1"/>
                </p:nvSpPr>
                <p:spPr>
                  <a:xfrm>
                    <a:off x="8278912" y="448642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BC1D3"/>
                  </a:solidFill>
                  <a:ln w="2339" cap="flat">
                    <a:noFill/>
                    <a:prstDash val="solid"/>
                    <a:miter/>
                  </a:ln>
                </p:spPr>
                <p:txBody>
                  <a:bodyPr rtlCol="0" anchor="ctr"/>
                  <a:lstStyle/>
                  <a:p>
                    <a:endParaRPr lang="en-US" sz="2400"/>
                  </a:p>
                </p:txBody>
              </p:sp>
              <p:sp>
                <p:nvSpPr>
                  <p:cNvPr id="577" name="Freeform: Shape 576">
                    <a:extLst>
                      <a:ext uri="{FF2B5EF4-FFF2-40B4-BE49-F238E27FC236}">
                        <a16:creationId xmlns:a16="http://schemas.microsoft.com/office/drawing/2014/main" id="{51744ECB-A52D-C617-D92D-7BD0CD79AF8C}"/>
                      </a:ext>
                    </a:extLst>
                  </p:cNvPr>
                  <p:cNvSpPr/>
                  <p:nvPr userDrawn="1"/>
                </p:nvSpPr>
                <p:spPr>
                  <a:xfrm>
                    <a:off x="8278373" y="4486541"/>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BCC2D3"/>
                  </a:solidFill>
                  <a:ln w="2339" cap="flat">
                    <a:noFill/>
                    <a:prstDash val="solid"/>
                    <a:miter/>
                  </a:ln>
                </p:spPr>
                <p:txBody>
                  <a:bodyPr rtlCol="0" anchor="ctr"/>
                  <a:lstStyle/>
                  <a:p>
                    <a:endParaRPr lang="en-US" sz="2400"/>
                  </a:p>
                </p:txBody>
              </p:sp>
              <p:sp>
                <p:nvSpPr>
                  <p:cNvPr id="578" name="Freeform: Shape 577">
                    <a:extLst>
                      <a:ext uri="{FF2B5EF4-FFF2-40B4-BE49-F238E27FC236}">
                        <a16:creationId xmlns:a16="http://schemas.microsoft.com/office/drawing/2014/main" id="{699C1A7C-6DE7-20C2-61F9-3D8C92A60DA4}"/>
                      </a:ext>
                    </a:extLst>
                  </p:cNvPr>
                  <p:cNvSpPr/>
                  <p:nvPr userDrawn="1"/>
                </p:nvSpPr>
                <p:spPr>
                  <a:xfrm>
                    <a:off x="8277835" y="4486681"/>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CC2D3"/>
                  </a:solidFill>
                  <a:ln w="2339" cap="flat">
                    <a:noFill/>
                    <a:prstDash val="solid"/>
                    <a:miter/>
                  </a:ln>
                </p:spPr>
                <p:txBody>
                  <a:bodyPr rtlCol="0" anchor="ctr"/>
                  <a:lstStyle/>
                  <a:p>
                    <a:endParaRPr lang="en-US" sz="2400"/>
                  </a:p>
                </p:txBody>
              </p:sp>
              <p:sp>
                <p:nvSpPr>
                  <p:cNvPr id="579" name="Freeform: Shape 578">
                    <a:extLst>
                      <a:ext uri="{FF2B5EF4-FFF2-40B4-BE49-F238E27FC236}">
                        <a16:creationId xmlns:a16="http://schemas.microsoft.com/office/drawing/2014/main" id="{78AF436A-5AD1-F5DE-19E5-058E04D62537}"/>
                      </a:ext>
                    </a:extLst>
                  </p:cNvPr>
                  <p:cNvSpPr/>
                  <p:nvPr userDrawn="1"/>
                </p:nvSpPr>
                <p:spPr>
                  <a:xfrm>
                    <a:off x="8277297" y="4486798"/>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BCC2D3"/>
                  </a:solidFill>
                  <a:ln w="2339" cap="flat">
                    <a:noFill/>
                    <a:prstDash val="solid"/>
                    <a:miter/>
                  </a:ln>
                </p:spPr>
                <p:txBody>
                  <a:bodyPr rtlCol="0" anchor="ctr"/>
                  <a:lstStyle/>
                  <a:p>
                    <a:endParaRPr lang="en-US" sz="2400"/>
                  </a:p>
                </p:txBody>
              </p:sp>
              <p:sp>
                <p:nvSpPr>
                  <p:cNvPr id="580" name="Freeform: Shape 579">
                    <a:extLst>
                      <a:ext uri="{FF2B5EF4-FFF2-40B4-BE49-F238E27FC236}">
                        <a16:creationId xmlns:a16="http://schemas.microsoft.com/office/drawing/2014/main" id="{BF78983B-C045-A7B0-CF7B-6FA6BBCDD141}"/>
                      </a:ext>
                    </a:extLst>
                  </p:cNvPr>
                  <p:cNvSpPr/>
                  <p:nvPr userDrawn="1"/>
                </p:nvSpPr>
                <p:spPr>
                  <a:xfrm>
                    <a:off x="8276759" y="4486938"/>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DC3D4"/>
                  </a:solidFill>
                  <a:ln w="2339" cap="flat">
                    <a:noFill/>
                    <a:prstDash val="solid"/>
                    <a:miter/>
                  </a:ln>
                </p:spPr>
                <p:txBody>
                  <a:bodyPr rtlCol="0" anchor="ctr"/>
                  <a:lstStyle/>
                  <a:p>
                    <a:endParaRPr lang="en-US" sz="2400"/>
                  </a:p>
                </p:txBody>
              </p:sp>
              <p:sp>
                <p:nvSpPr>
                  <p:cNvPr id="581" name="Freeform: Shape 580">
                    <a:extLst>
                      <a:ext uri="{FF2B5EF4-FFF2-40B4-BE49-F238E27FC236}">
                        <a16:creationId xmlns:a16="http://schemas.microsoft.com/office/drawing/2014/main" id="{BFC6465A-270F-B844-099D-6E154F40FBB0}"/>
                      </a:ext>
                    </a:extLst>
                  </p:cNvPr>
                  <p:cNvSpPr/>
                  <p:nvPr userDrawn="1"/>
                </p:nvSpPr>
                <p:spPr>
                  <a:xfrm>
                    <a:off x="8276197" y="4487055"/>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30"/>
                          <a:pt x="42097" y="21037"/>
                        </a:cubicBezTo>
                        <a:close/>
                      </a:path>
                    </a:pathLst>
                  </a:custGeom>
                  <a:solidFill>
                    <a:srgbClr val="BDC3D4"/>
                  </a:solidFill>
                  <a:ln w="2339" cap="flat">
                    <a:noFill/>
                    <a:prstDash val="solid"/>
                    <a:miter/>
                  </a:ln>
                </p:spPr>
                <p:txBody>
                  <a:bodyPr rtlCol="0" anchor="ctr"/>
                  <a:lstStyle/>
                  <a:p>
                    <a:endParaRPr lang="en-US" sz="2400"/>
                  </a:p>
                </p:txBody>
              </p:sp>
              <p:sp>
                <p:nvSpPr>
                  <p:cNvPr id="582" name="Freeform: Shape 581">
                    <a:extLst>
                      <a:ext uri="{FF2B5EF4-FFF2-40B4-BE49-F238E27FC236}">
                        <a16:creationId xmlns:a16="http://schemas.microsoft.com/office/drawing/2014/main" id="{B07BD104-172F-2DB4-B3DB-C527E46980ED}"/>
                      </a:ext>
                    </a:extLst>
                  </p:cNvPr>
                  <p:cNvSpPr/>
                  <p:nvPr userDrawn="1"/>
                </p:nvSpPr>
                <p:spPr>
                  <a:xfrm>
                    <a:off x="8275659" y="448719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DC3D4"/>
                  </a:solidFill>
                  <a:ln w="2339" cap="flat">
                    <a:noFill/>
                    <a:prstDash val="solid"/>
                    <a:miter/>
                  </a:ln>
                </p:spPr>
                <p:txBody>
                  <a:bodyPr rtlCol="0" anchor="ctr"/>
                  <a:lstStyle/>
                  <a:p>
                    <a:endParaRPr lang="en-US" sz="2400"/>
                  </a:p>
                </p:txBody>
              </p:sp>
              <p:sp>
                <p:nvSpPr>
                  <p:cNvPr id="583" name="Freeform: Shape 582">
                    <a:extLst>
                      <a:ext uri="{FF2B5EF4-FFF2-40B4-BE49-F238E27FC236}">
                        <a16:creationId xmlns:a16="http://schemas.microsoft.com/office/drawing/2014/main" id="{A029DD17-D9BD-A9A4-17DA-F9C977404512}"/>
                      </a:ext>
                    </a:extLst>
                  </p:cNvPr>
                  <p:cNvSpPr/>
                  <p:nvPr userDrawn="1"/>
                </p:nvSpPr>
                <p:spPr>
                  <a:xfrm>
                    <a:off x="8275121" y="448733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BEC3D4"/>
                  </a:solidFill>
                  <a:ln w="2339" cap="flat">
                    <a:noFill/>
                    <a:prstDash val="solid"/>
                    <a:miter/>
                  </a:ln>
                </p:spPr>
                <p:txBody>
                  <a:bodyPr rtlCol="0" anchor="ctr"/>
                  <a:lstStyle/>
                  <a:p>
                    <a:endParaRPr lang="en-US" sz="2400"/>
                  </a:p>
                </p:txBody>
              </p:sp>
              <p:sp>
                <p:nvSpPr>
                  <p:cNvPr id="584" name="Freeform: Shape 583">
                    <a:extLst>
                      <a:ext uri="{FF2B5EF4-FFF2-40B4-BE49-F238E27FC236}">
                        <a16:creationId xmlns:a16="http://schemas.microsoft.com/office/drawing/2014/main" id="{1AB148F4-6C5A-3B19-F788-6F977D6567A4}"/>
                      </a:ext>
                    </a:extLst>
                  </p:cNvPr>
                  <p:cNvSpPr/>
                  <p:nvPr userDrawn="1"/>
                </p:nvSpPr>
                <p:spPr>
                  <a:xfrm>
                    <a:off x="8274583" y="4487453"/>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30"/>
                          <a:pt x="42097" y="21037"/>
                        </a:cubicBezTo>
                        <a:close/>
                      </a:path>
                    </a:pathLst>
                  </a:custGeom>
                  <a:solidFill>
                    <a:srgbClr val="BEC4D4"/>
                  </a:solidFill>
                  <a:ln w="2339" cap="flat">
                    <a:noFill/>
                    <a:prstDash val="solid"/>
                    <a:miter/>
                  </a:ln>
                </p:spPr>
                <p:txBody>
                  <a:bodyPr rtlCol="0" anchor="ctr"/>
                  <a:lstStyle/>
                  <a:p>
                    <a:endParaRPr lang="en-US" sz="2400"/>
                  </a:p>
                </p:txBody>
              </p:sp>
              <p:sp>
                <p:nvSpPr>
                  <p:cNvPr id="585" name="Freeform: Shape 584">
                    <a:extLst>
                      <a:ext uri="{FF2B5EF4-FFF2-40B4-BE49-F238E27FC236}">
                        <a16:creationId xmlns:a16="http://schemas.microsoft.com/office/drawing/2014/main" id="{B41393FC-E2A4-0536-06CF-9AE9626AD687}"/>
                      </a:ext>
                    </a:extLst>
                  </p:cNvPr>
                  <p:cNvSpPr/>
                  <p:nvPr userDrawn="1"/>
                </p:nvSpPr>
                <p:spPr>
                  <a:xfrm>
                    <a:off x="8274044" y="448759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EC4D5"/>
                  </a:solidFill>
                  <a:ln w="2339" cap="flat">
                    <a:noFill/>
                    <a:prstDash val="solid"/>
                    <a:miter/>
                  </a:ln>
                </p:spPr>
                <p:txBody>
                  <a:bodyPr rtlCol="0" anchor="ctr"/>
                  <a:lstStyle/>
                  <a:p>
                    <a:endParaRPr lang="en-US" sz="2400"/>
                  </a:p>
                </p:txBody>
              </p:sp>
              <p:sp>
                <p:nvSpPr>
                  <p:cNvPr id="586" name="Freeform: Shape 585">
                    <a:extLst>
                      <a:ext uri="{FF2B5EF4-FFF2-40B4-BE49-F238E27FC236}">
                        <a16:creationId xmlns:a16="http://schemas.microsoft.com/office/drawing/2014/main" id="{89A21DEC-FA96-B13B-CCF0-B4432975494F}"/>
                      </a:ext>
                    </a:extLst>
                  </p:cNvPr>
                  <p:cNvSpPr/>
                  <p:nvPr userDrawn="1"/>
                </p:nvSpPr>
                <p:spPr>
                  <a:xfrm>
                    <a:off x="8273506" y="448773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EC4D5"/>
                  </a:solidFill>
                  <a:ln w="2339" cap="flat">
                    <a:noFill/>
                    <a:prstDash val="solid"/>
                    <a:miter/>
                  </a:ln>
                </p:spPr>
                <p:txBody>
                  <a:bodyPr rtlCol="0" anchor="ctr"/>
                  <a:lstStyle/>
                  <a:p>
                    <a:endParaRPr lang="en-US" sz="2400"/>
                  </a:p>
                </p:txBody>
              </p:sp>
              <p:sp>
                <p:nvSpPr>
                  <p:cNvPr id="587" name="Freeform: Shape 586">
                    <a:extLst>
                      <a:ext uri="{FF2B5EF4-FFF2-40B4-BE49-F238E27FC236}">
                        <a16:creationId xmlns:a16="http://schemas.microsoft.com/office/drawing/2014/main" id="{BF272FDB-F669-C459-7740-D76703EDCA20}"/>
                      </a:ext>
                    </a:extLst>
                  </p:cNvPr>
                  <p:cNvSpPr/>
                  <p:nvPr userDrawn="1"/>
                </p:nvSpPr>
                <p:spPr>
                  <a:xfrm>
                    <a:off x="8272991" y="448787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FC5D5"/>
                  </a:solidFill>
                  <a:ln w="2339" cap="flat">
                    <a:noFill/>
                    <a:prstDash val="solid"/>
                    <a:miter/>
                  </a:ln>
                </p:spPr>
                <p:txBody>
                  <a:bodyPr rtlCol="0" anchor="ctr"/>
                  <a:lstStyle/>
                  <a:p>
                    <a:endParaRPr lang="en-US" sz="2400"/>
                  </a:p>
                </p:txBody>
              </p:sp>
              <p:sp>
                <p:nvSpPr>
                  <p:cNvPr id="588" name="Freeform: Shape 587">
                    <a:extLst>
                      <a:ext uri="{FF2B5EF4-FFF2-40B4-BE49-F238E27FC236}">
                        <a16:creationId xmlns:a16="http://schemas.microsoft.com/office/drawing/2014/main" id="{FFBA45C8-B6F0-AD7D-3735-755DECB9B456}"/>
                      </a:ext>
                    </a:extLst>
                  </p:cNvPr>
                  <p:cNvSpPr/>
                  <p:nvPr userDrawn="1"/>
                </p:nvSpPr>
                <p:spPr>
                  <a:xfrm>
                    <a:off x="8272453" y="4488015"/>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FC5D5"/>
                  </a:solidFill>
                  <a:ln w="2339" cap="flat">
                    <a:noFill/>
                    <a:prstDash val="solid"/>
                    <a:miter/>
                  </a:ln>
                </p:spPr>
                <p:txBody>
                  <a:bodyPr rtlCol="0" anchor="ctr"/>
                  <a:lstStyle/>
                  <a:p>
                    <a:endParaRPr lang="en-US" sz="2400"/>
                  </a:p>
                </p:txBody>
              </p:sp>
              <p:sp>
                <p:nvSpPr>
                  <p:cNvPr id="589" name="Freeform: Shape 588">
                    <a:extLst>
                      <a:ext uri="{FF2B5EF4-FFF2-40B4-BE49-F238E27FC236}">
                        <a16:creationId xmlns:a16="http://schemas.microsoft.com/office/drawing/2014/main" id="{29E6BD77-25F6-182E-7C27-7113A3DD940D}"/>
                      </a:ext>
                    </a:extLst>
                  </p:cNvPr>
                  <p:cNvSpPr/>
                  <p:nvPr userDrawn="1"/>
                </p:nvSpPr>
                <p:spPr>
                  <a:xfrm>
                    <a:off x="8271915" y="4488155"/>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FC5D5"/>
                  </a:solidFill>
                  <a:ln w="2339" cap="flat">
                    <a:noFill/>
                    <a:prstDash val="solid"/>
                    <a:miter/>
                  </a:ln>
                </p:spPr>
                <p:txBody>
                  <a:bodyPr rtlCol="0" anchor="ctr"/>
                  <a:lstStyle/>
                  <a:p>
                    <a:endParaRPr lang="en-US" sz="2400"/>
                  </a:p>
                </p:txBody>
              </p:sp>
              <p:sp>
                <p:nvSpPr>
                  <p:cNvPr id="590" name="Freeform: Shape 589">
                    <a:extLst>
                      <a:ext uri="{FF2B5EF4-FFF2-40B4-BE49-F238E27FC236}">
                        <a16:creationId xmlns:a16="http://schemas.microsoft.com/office/drawing/2014/main" id="{CA282874-A1FC-A092-4031-9635AD1C394D}"/>
                      </a:ext>
                    </a:extLst>
                  </p:cNvPr>
                  <p:cNvSpPr/>
                  <p:nvPr userDrawn="1"/>
                </p:nvSpPr>
                <p:spPr>
                  <a:xfrm>
                    <a:off x="8271377" y="448829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C0C5D6"/>
                  </a:solidFill>
                  <a:ln w="2339" cap="flat">
                    <a:noFill/>
                    <a:prstDash val="solid"/>
                    <a:miter/>
                  </a:ln>
                </p:spPr>
                <p:txBody>
                  <a:bodyPr rtlCol="0" anchor="ctr"/>
                  <a:lstStyle/>
                  <a:p>
                    <a:endParaRPr lang="en-US" sz="2400"/>
                  </a:p>
                </p:txBody>
              </p:sp>
              <p:sp>
                <p:nvSpPr>
                  <p:cNvPr id="591" name="Freeform: Shape 590">
                    <a:extLst>
                      <a:ext uri="{FF2B5EF4-FFF2-40B4-BE49-F238E27FC236}">
                        <a16:creationId xmlns:a16="http://schemas.microsoft.com/office/drawing/2014/main" id="{AD4E8AEA-320E-44B1-DAB0-E4E032600B68}"/>
                      </a:ext>
                    </a:extLst>
                  </p:cNvPr>
                  <p:cNvSpPr/>
                  <p:nvPr userDrawn="1"/>
                </p:nvSpPr>
                <p:spPr>
                  <a:xfrm>
                    <a:off x="8270862" y="448843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C0C6D6"/>
                  </a:solidFill>
                  <a:ln w="2339" cap="flat">
                    <a:noFill/>
                    <a:prstDash val="solid"/>
                    <a:miter/>
                  </a:ln>
                </p:spPr>
                <p:txBody>
                  <a:bodyPr rtlCol="0" anchor="ctr"/>
                  <a:lstStyle/>
                  <a:p>
                    <a:endParaRPr lang="en-US" sz="2400"/>
                  </a:p>
                </p:txBody>
              </p:sp>
              <p:sp>
                <p:nvSpPr>
                  <p:cNvPr id="592" name="Freeform: Shape 591">
                    <a:extLst>
                      <a:ext uri="{FF2B5EF4-FFF2-40B4-BE49-F238E27FC236}">
                        <a16:creationId xmlns:a16="http://schemas.microsoft.com/office/drawing/2014/main" id="{CE56B401-6D94-0221-F6BB-B8F5D887EE56}"/>
                      </a:ext>
                    </a:extLst>
                  </p:cNvPr>
                  <p:cNvSpPr/>
                  <p:nvPr userDrawn="1"/>
                </p:nvSpPr>
                <p:spPr>
                  <a:xfrm>
                    <a:off x="8270324" y="448857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C0C6D6"/>
                  </a:solidFill>
                  <a:ln w="2339" cap="flat">
                    <a:noFill/>
                    <a:prstDash val="solid"/>
                    <a:miter/>
                  </a:ln>
                </p:spPr>
                <p:txBody>
                  <a:bodyPr rtlCol="0" anchor="ctr"/>
                  <a:lstStyle/>
                  <a:p>
                    <a:endParaRPr lang="en-US" sz="2400"/>
                  </a:p>
                </p:txBody>
              </p:sp>
              <p:sp>
                <p:nvSpPr>
                  <p:cNvPr id="593" name="Freeform: Shape 592">
                    <a:extLst>
                      <a:ext uri="{FF2B5EF4-FFF2-40B4-BE49-F238E27FC236}">
                        <a16:creationId xmlns:a16="http://schemas.microsoft.com/office/drawing/2014/main" id="{70737F38-03E5-6233-ABFD-75037A69D95B}"/>
                      </a:ext>
                    </a:extLst>
                  </p:cNvPr>
                  <p:cNvSpPr/>
                  <p:nvPr userDrawn="1"/>
                </p:nvSpPr>
                <p:spPr>
                  <a:xfrm>
                    <a:off x="8269786" y="4488717"/>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C1C6D6"/>
                  </a:solidFill>
                  <a:ln w="2339" cap="flat">
                    <a:noFill/>
                    <a:prstDash val="solid"/>
                    <a:miter/>
                  </a:ln>
                </p:spPr>
                <p:txBody>
                  <a:bodyPr rtlCol="0" anchor="ctr"/>
                  <a:lstStyle/>
                  <a:p>
                    <a:endParaRPr lang="en-US" sz="2400"/>
                  </a:p>
                </p:txBody>
              </p:sp>
              <p:sp>
                <p:nvSpPr>
                  <p:cNvPr id="594" name="Freeform: Shape 593">
                    <a:extLst>
                      <a:ext uri="{FF2B5EF4-FFF2-40B4-BE49-F238E27FC236}">
                        <a16:creationId xmlns:a16="http://schemas.microsoft.com/office/drawing/2014/main" id="{0A3B5F06-04FA-D886-E0D6-51E3B5B58C51}"/>
                      </a:ext>
                    </a:extLst>
                  </p:cNvPr>
                  <p:cNvSpPr/>
                  <p:nvPr userDrawn="1"/>
                </p:nvSpPr>
                <p:spPr>
                  <a:xfrm>
                    <a:off x="8269271" y="4488857"/>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C1C6D6"/>
                  </a:solidFill>
                  <a:ln w="2339" cap="flat">
                    <a:noFill/>
                    <a:prstDash val="solid"/>
                    <a:miter/>
                  </a:ln>
                </p:spPr>
                <p:txBody>
                  <a:bodyPr rtlCol="0" anchor="ctr"/>
                  <a:lstStyle/>
                  <a:p>
                    <a:endParaRPr lang="en-US" sz="2400"/>
                  </a:p>
                </p:txBody>
              </p:sp>
              <p:sp>
                <p:nvSpPr>
                  <p:cNvPr id="595" name="Freeform: Shape 594">
                    <a:extLst>
                      <a:ext uri="{FF2B5EF4-FFF2-40B4-BE49-F238E27FC236}">
                        <a16:creationId xmlns:a16="http://schemas.microsoft.com/office/drawing/2014/main" id="{54D6B4C1-ACF0-F75B-ABEB-16B3305BA469}"/>
                      </a:ext>
                    </a:extLst>
                  </p:cNvPr>
                  <p:cNvSpPr/>
                  <p:nvPr userDrawn="1"/>
                </p:nvSpPr>
                <p:spPr>
                  <a:xfrm>
                    <a:off x="8268733" y="4489021"/>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C1C7D7"/>
                  </a:solidFill>
                  <a:ln w="2339" cap="flat">
                    <a:noFill/>
                    <a:prstDash val="solid"/>
                    <a:miter/>
                  </a:ln>
                </p:spPr>
                <p:txBody>
                  <a:bodyPr rtlCol="0" anchor="ctr"/>
                  <a:lstStyle/>
                  <a:p>
                    <a:endParaRPr lang="en-US" sz="2400"/>
                  </a:p>
                </p:txBody>
              </p:sp>
              <p:sp>
                <p:nvSpPr>
                  <p:cNvPr id="596" name="Freeform: Shape 595">
                    <a:extLst>
                      <a:ext uri="{FF2B5EF4-FFF2-40B4-BE49-F238E27FC236}">
                        <a16:creationId xmlns:a16="http://schemas.microsoft.com/office/drawing/2014/main" id="{08939685-CC31-E01A-F8C7-64E62F1581C5}"/>
                      </a:ext>
                    </a:extLst>
                  </p:cNvPr>
                  <p:cNvSpPr/>
                  <p:nvPr userDrawn="1"/>
                </p:nvSpPr>
                <p:spPr>
                  <a:xfrm>
                    <a:off x="8268218" y="4489161"/>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C2C7D7"/>
                  </a:solidFill>
                  <a:ln w="2339" cap="flat">
                    <a:noFill/>
                    <a:prstDash val="solid"/>
                    <a:miter/>
                  </a:ln>
                </p:spPr>
                <p:txBody>
                  <a:bodyPr rtlCol="0" anchor="ctr"/>
                  <a:lstStyle/>
                  <a:p>
                    <a:endParaRPr lang="en-US" sz="2400"/>
                  </a:p>
                </p:txBody>
              </p:sp>
              <p:sp>
                <p:nvSpPr>
                  <p:cNvPr id="597" name="Freeform: Shape 596">
                    <a:extLst>
                      <a:ext uri="{FF2B5EF4-FFF2-40B4-BE49-F238E27FC236}">
                        <a16:creationId xmlns:a16="http://schemas.microsoft.com/office/drawing/2014/main" id="{7F041C8C-F365-7FF2-F3D5-DDC957DC6322}"/>
                      </a:ext>
                    </a:extLst>
                  </p:cNvPr>
                  <p:cNvSpPr/>
                  <p:nvPr userDrawn="1"/>
                </p:nvSpPr>
                <p:spPr>
                  <a:xfrm>
                    <a:off x="8267680" y="4489302"/>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C2C7D7"/>
                  </a:solidFill>
                  <a:ln w="2339" cap="flat">
                    <a:noFill/>
                    <a:prstDash val="solid"/>
                    <a:miter/>
                  </a:ln>
                </p:spPr>
                <p:txBody>
                  <a:bodyPr rtlCol="0" anchor="ctr"/>
                  <a:lstStyle/>
                  <a:p>
                    <a:endParaRPr lang="en-US" sz="2400"/>
                  </a:p>
                </p:txBody>
              </p:sp>
              <p:sp>
                <p:nvSpPr>
                  <p:cNvPr id="598" name="Freeform: Shape 597">
                    <a:extLst>
                      <a:ext uri="{FF2B5EF4-FFF2-40B4-BE49-F238E27FC236}">
                        <a16:creationId xmlns:a16="http://schemas.microsoft.com/office/drawing/2014/main" id="{25BAEDDC-91AF-35FF-E556-3808DAE4D9A3}"/>
                      </a:ext>
                    </a:extLst>
                  </p:cNvPr>
                  <p:cNvSpPr/>
                  <p:nvPr userDrawn="1"/>
                </p:nvSpPr>
                <p:spPr>
                  <a:xfrm>
                    <a:off x="8267165" y="448946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C2C8D7"/>
                  </a:solidFill>
                  <a:ln w="2339" cap="flat">
                    <a:noFill/>
                    <a:prstDash val="solid"/>
                    <a:miter/>
                  </a:ln>
                </p:spPr>
                <p:txBody>
                  <a:bodyPr rtlCol="0" anchor="ctr"/>
                  <a:lstStyle/>
                  <a:p>
                    <a:endParaRPr lang="en-US" sz="2400"/>
                  </a:p>
                </p:txBody>
              </p:sp>
              <p:sp>
                <p:nvSpPr>
                  <p:cNvPr id="599" name="Freeform: Shape 598">
                    <a:extLst>
                      <a:ext uri="{FF2B5EF4-FFF2-40B4-BE49-F238E27FC236}">
                        <a16:creationId xmlns:a16="http://schemas.microsoft.com/office/drawing/2014/main" id="{483C69ED-03A0-8FA7-B8E8-FF8C7EBFA957}"/>
                      </a:ext>
                    </a:extLst>
                  </p:cNvPr>
                  <p:cNvSpPr/>
                  <p:nvPr userDrawn="1"/>
                </p:nvSpPr>
                <p:spPr>
                  <a:xfrm>
                    <a:off x="8266650" y="448960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C2C8D7"/>
                  </a:solidFill>
                  <a:ln w="2339" cap="flat">
                    <a:noFill/>
                    <a:prstDash val="solid"/>
                    <a:miter/>
                  </a:ln>
                </p:spPr>
                <p:txBody>
                  <a:bodyPr rtlCol="0" anchor="ctr"/>
                  <a:lstStyle/>
                  <a:p>
                    <a:endParaRPr lang="en-US" sz="2400"/>
                  </a:p>
                </p:txBody>
              </p:sp>
              <p:sp>
                <p:nvSpPr>
                  <p:cNvPr id="600" name="Freeform: Shape 599">
                    <a:extLst>
                      <a:ext uri="{FF2B5EF4-FFF2-40B4-BE49-F238E27FC236}">
                        <a16:creationId xmlns:a16="http://schemas.microsoft.com/office/drawing/2014/main" id="{295D27D2-8B8D-0174-4F4E-C743D026697E}"/>
                      </a:ext>
                    </a:extLst>
                  </p:cNvPr>
                  <p:cNvSpPr/>
                  <p:nvPr userDrawn="1"/>
                </p:nvSpPr>
                <p:spPr>
                  <a:xfrm>
                    <a:off x="8266112" y="4489770"/>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C3C8D8"/>
                  </a:solidFill>
                  <a:ln w="2339" cap="flat">
                    <a:noFill/>
                    <a:prstDash val="solid"/>
                    <a:miter/>
                  </a:ln>
                </p:spPr>
                <p:txBody>
                  <a:bodyPr rtlCol="0" anchor="ctr"/>
                  <a:lstStyle/>
                  <a:p>
                    <a:endParaRPr lang="en-US" sz="2400"/>
                  </a:p>
                </p:txBody>
              </p:sp>
              <p:sp>
                <p:nvSpPr>
                  <p:cNvPr id="601" name="Freeform: Shape 600">
                    <a:extLst>
                      <a:ext uri="{FF2B5EF4-FFF2-40B4-BE49-F238E27FC236}">
                        <a16:creationId xmlns:a16="http://schemas.microsoft.com/office/drawing/2014/main" id="{029ED290-F2B8-3BDA-2F4E-160AC9B8F227}"/>
                      </a:ext>
                    </a:extLst>
                  </p:cNvPr>
                  <p:cNvSpPr/>
                  <p:nvPr userDrawn="1"/>
                </p:nvSpPr>
                <p:spPr>
                  <a:xfrm>
                    <a:off x="8265597" y="4489910"/>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C3C8D8"/>
                  </a:solidFill>
                  <a:ln w="2339" cap="flat">
                    <a:noFill/>
                    <a:prstDash val="solid"/>
                    <a:miter/>
                  </a:ln>
                </p:spPr>
                <p:txBody>
                  <a:bodyPr rtlCol="0" anchor="ctr"/>
                  <a:lstStyle/>
                  <a:p>
                    <a:endParaRPr lang="en-US" sz="2400"/>
                  </a:p>
                </p:txBody>
              </p:sp>
              <p:sp>
                <p:nvSpPr>
                  <p:cNvPr id="602" name="Freeform: Shape 601">
                    <a:extLst>
                      <a:ext uri="{FF2B5EF4-FFF2-40B4-BE49-F238E27FC236}">
                        <a16:creationId xmlns:a16="http://schemas.microsoft.com/office/drawing/2014/main" id="{3DE11477-E5C7-BF06-88C8-1EEF373280C8}"/>
                      </a:ext>
                    </a:extLst>
                  </p:cNvPr>
                  <p:cNvSpPr/>
                  <p:nvPr userDrawn="1"/>
                </p:nvSpPr>
                <p:spPr>
                  <a:xfrm>
                    <a:off x="8265082" y="449007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C3C9D8"/>
                  </a:solidFill>
                  <a:ln w="2339" cap="flat">
                    <a:noFill/>
                    <a:prstDash val="solid"/>
                    <a:miter/>
                  </a:ln>
                </p:spPr>
                <p:txBody>
                  <a:bodyPr rtlCol="0" anchor="ctr"/>
                  <a:lstStyle/>
                  <a:p>
                    <a:endParaRPr lang="en-US" sz="2400"/>
                  </a:p>
                </p:txBody>
              </p:sp>
              <p:sp>
                <p:nvSpPr>
                  <p:cNvPr id="603" name="Freeform: Shape 602">
                    <a:extLst>
                      <a:ext uri="{FF2B5EF4-FFF2-40B4-BE49-F238E27FC236}">
                        <a16:creationId xmlns:a16="http://schemas.microsoft.com/office/drawing/2014/main" id="{EEBECE3D-22BF-7646-CBB4-DD9A97F9C44B}"/>
                      </a:ext>
                    </a:extLst>
                  </p:cNvPr>
                  <p:cNvSpPr/>
                  <p:nvPr userDrawn="1"/>
                </p:nvSpPr>
                <p:spPr>
                  <a:xfrm>
                    <a:off x="8264567" y="449021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C4C9D8"/>
                  </a:solidFill>
                  <a:ln w="2339" cap="flat">
                    <a:noFill/>
                    <a:prstDash val="solid"/>
                    <a:miter/>
                  </a:ln>
                </p:spPr>
                <p:txBody>
                  <a:bodyPr rtlCol="0" anchor="ctr"/>
                  <a:lstStyle/>
                  <a:p>
                    <a:endParaRPr lang="en-US" sz="2400"/>
                  </a:p>
                </p:txBody>
              </p:sp>
              <p:sp>
                <p:nvSpPr>
                  <p:cNvPr id="604" name="Freeform: Shape 603">
                    <a:extLst>
                      <a:ext uri="{FF2B5EF4-FFF2-40B4-BE49-F238E27FC236}">
                        <a16:creationId xmlns:a16="http://schemas.microsoft.com/office/drawing/2014/main" id="{5DB1BC50-86D9-9505-1418-D96286AF2440}"/>
                      </a:ext>
                    </a:extLst>
                  </p:cNvPr>
                  <p:cNvSpPr/>
                  <p:nvPr userDrawn="1"/>
                </p:nvSpPr>
                <p:spPr>
                  <a:xfrm>
                    <a:off x="8264052" y="4490378"/>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C4C9D8"/>
                  </a:solidFill>
                  <a:ln w="2339" cap="flat">
                    <a:noFill/>
                    <a:prstDash val="solid"/>
                    <a:miter/>
                  </a:ln>
                </p:spPr>
                <p:txBody>
                  <a:bodyPr rtlCol="0" anchor="ctr"/>
                  <a:lstStyle/>
                  <a:p>
                    <a:endParaRPr lang="en-US" sz="2400"/>
                  </a:p>
                </p:txBody>
              </p:sp>
              <p:sp>
                <p:nvSpPr>
                  <p:cNvPr id="605" name="Freeform: Shape 604">
                    <a:extLst>
                      <a:ext uri="{FF2B5EF4-FFF2-40B4-BE49-F238E27FC236}">
                        <a16:creationId xmlns:a16="http://schemas.microsoft.com/office/drawing/2014/main" id="{A387A617-C2BD-5DC5-F76C-9588C37B6A20}"/>
                      </a:ext>
                    </a:extLst>
                  </p:cNvPr>
                  <p:cNvSpPr/>
                  <p:nvPr userDrawn="1"/>
                </p:nvSpPr>
                <p:spPr>
                  <a:xfrm>
                    <a:off x="8263538" y="4490542"/>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C4CAD9"/>
                  </a:solidFill>
                  <a:ln w="2339" cap="flat">
                    <a:noFill/>
                    <a:prstDash val="solid"/>
                    <a:miter/>
                  </a:ln>
                </p:spPr>
                <p:txBody>
                  <a:bodyPr rtlCol="0" anchor="ctr"/>
                  <a:lstStyle/>
                  <a:p>
                    <a:endParaRPr lang="en-US" sz="2400"/>
                  </a:p>
                </p:txBody>
              </p:sp>
              <p:sp>
                <p:nvSpPr>
                  <p:cNvPr id="606" name="Freeform: Shape 605">
                    <a:extLst>
                      <a:ext uri="{FF2B5EF4-FFF2-40B4-BE49-F238E27FC236}">
                        <a16:creationId xmlns:a16="http://schemas.microsoft.com/office/drawing/2014/main" id="{D32C9375-F559-7FC2-409C-ECAEB432A6B1}"/>
                      </a:ext>
                    </a:extLst>
                  </p:cNvPr>
                  <p:cNvSpPr/>
                  <p:nvPr userDrawn="1"/>
                </p:nvSpPr>
                <p:spPr>
                  <a:xfrm>
                    <a:off x="8263023" y="449070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C5CAD9"/>
                  </a:solidFill>
                  <a:ln w="2339" cap="flat">
                    <a:noFill/>
                    <a:prstDash val="solid"/>
                    <a:miter/>
                  </a:ln>
                </p:spPr>
                <p:txBody>
                  <a:bodyPr rtlCol="0" anchor="ctr"/>
                  <a:lstStyle/>
                  <a:p>
                    <a:endParaRPr lang="en-US" sz="2400"/>
                  </a:p>
                </p:txBody>
              </p:sp>
              <p:sp>
                <p:nvSpPr>
                  <p:cNvPr id="607" name="Freeform: Shape 606">
                    <a:extLst>
                      <a:ext uri="{FF2B5EF4-FFF2-40B4-BE49-F238E27FC236}">
                        <a16:creationId xmlns:a16="http://schemas.microsoft.com/office/drawing/2014/main" id="{6E927559-7058-01C8-7524-42FFF7C77CC1}"/>
                      </a:ext>
                    </a:extLst>
                  </p:cNvPr>
                  <p:cNvSpPr/>
                  <p:nvPr userDrawn="1"/>
                </p:nvSpPr>
                <p:spPr>
                  <a:xfrm>
                    <a:off x="8262508" y="449082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C5CAD9"/>
                  </a:solidFill>
                  <a:ln w="2339" cap="flat">
                    <a:noFill/>
                    <a:prstDash val="solid"/>
                    <a:miter/>
                  </a:ln>
                </p:spPr>
                <p:txBody>
                  <a:bodyPr rtlCol="0" anchor="ctr"/>
                  <a:lstStyle/>
                  <a:p>
                    <a:endParaRPr lang="en-US" sz="2400"/>
                  </a:p>
                </p:txBody>
              </p:sp>
              <p:sp>
                <p:nvSpPr>
                  <p:cNvPr id="608" name="Freeform: Shape 607">
                    <a:extLst>
                      <a:ext uri="{FF2B5EF4-FFF2-40B4-BE49-F238E27FC236}">
                        <a16:creationId xmlns:a16="http://schemas.microsoft.com/office/drawing/2014/main" id="{3CEFEC5B-CBB6-3C5B-F8F5-214CECA34055}"/>
                      </a:ext>
                    </a:extLst>
                  </p:cNvPr>
                  <p:cNvSpPr/>
                  <p:nvPr userDrawn="1"/>
                </p:nvSpPr>
                <p:spPr>
                  <a:xfrm>
                    <a:off x="8261993" y="449098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C5CAD9"/>
                  </a:solidFill>
                  <a:ln w="2339" cap="flat">
                    <a:noFill/>
                    <a:prstDash val="solid"/>
                    <a:miter/>
                  </a:ln>
                </p:spPr>
                <p:txBody>
                  <a:bodyPr rtlCol="0" anchor="ctr"/>
                  <a:lstStyle/>
                  <a:p>
                    <a:endParaRPr lang="en-US" sz="2400"/>
                  </a:p>
                </p:txBody>
              </p:sp>
              <p:sp>
                <p:nvSpPr>
                  <p:cNvPr id="609" name="Freeform: Shape 608">
                    <a:extLst>
                      <a:ext uri="{FF2B5EF4-FFF2-40B4-BE49-F238E27FC236}">
                        <a16:creationId xmlns:a16="http://schemas.microsoft.com/office/drawing/2014/main" id="{B0A0D05C-E365-BD12-86CB-5271BF59B270}"/>
                      </a:ext>
                    </a:extLst>
                  </p:cNvPr>
                  <p:cNvSpPr/>
                  <p:nvPr userDrawn="1"/>
                </p:nvSpPr>
                <p:spPr>
                  <a:xfrm>
                    <a:off x="8261478" y="449115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C5CBD9"/>
                  </a:solidFill>
                  <a:ln w="2339" cap="flat">
                    <a:noFill/>
                    <a:prstDash val="solid"/>
                    <a:miter/>
                  </a:ln>
                </p:spPr>
                <p:txBody>
                  <a:bodyPr rtlCol="0" anchor="ctr"/>
                  <a:lstStyle/>
                  <a:p>
                    <a:endParaRPr lang="en-US" sz="2400"/>
                  </a:p>
                </p:txBody>
              </p:sp>
              <p:sp>
                <p:nvSpPr>
                  <p:cNvPr id="610" name="Freeform: Shape 609">
                    <a:extLst>
                      <a:ext uri="{FF2B5EF4-FFF2-40B4-BE49-F238E27FC236}">
                        <a16:creationId xmlns:a16="http://schemas.microsoft.com/office/drawing/2014/main" id="{9C3F06C7-7DA1-89C0-2025-81D757A01897}"/>
                      </a:ext>
                    </a:extLst>
                  </p:cNvPr>
                  <p:cNvSpPr/>
                  <p:nvPr userDrawn="1"/>
                </p:nvSpPr>
                <p:spPr>
                  <a:xfrm>
                    <a:off x="8260964" y="449131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C6CBDA"/>
                  </a:solidFill>
                  <a:ln w="2339" cap="flat">
                    <a:noFill/>
                    <a:prstDash val="solid"/>
                    <a:miter/>
                  </a:ln>
                </p:spPr>
                <p:txBody>
                  <a:bodyPr rtlCol="0" anchor="ctr"/>
                  <a:lstStyle/>
                  <a:p>
                    <a:endParaRPr lang="en-US" sz="2400"/>
                  </a:p>
                </p:txBody>
              </p:sp>
              <p:sp>
                <p:nvSpPr>
                  <p:cNvPr id="611" name="Freeform: Shape 610">
                    <a:extLst>
                      <a:ext uri="{FF2B5EF4-FFF2-40B4-BE49-F238E27FC236}">
                        <a16:creationId xmlns:a16="http://schemas.microsoft.com/office/drawing/2014/main" id="{C0B12F52-535A-B191-E799-EA284E732CF7}"/>
                      </a:ext>
                    </a:extLst>
                  </p:cNvPr>
                  <p:cNvSpPr/>
                  <p:nvPr userDrawn="1"/>
                </p:nvSpPr>
                <p:spPr>
                  <a:xfrm>
                    <a:off x="8260472" y="449147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C6CBDA"/>
                  </a:solidFill>
                  <a:ln w="2339" cap="flat">
                    <a:noFill/>
                    <a:prstDash val="solid"/>
                    <a:miter/>
                  </a:ln>
                </p:spPr>
                <p:txBody>
                  <a:bodyPr rtlCol="0" anchor="ctr"/>
                  <a:lstStyle/>
                  <a:p>
                    <a:endParaRPr lang="en-US" sz="2400"/>
                  </a:p>
                </p:txBody>
              </p:sp>
              <p:sp>
                <p:nvSpPr>
                  <p:cNvPr id="612" name="Freeform: Shape 611">
                    <a:extLst>
                      <a:ext uri="{FF2B5EF4-FFF2-40B4-BE49-F238E27FC236}">
                        <a16:creationId xmlns:a16="http://schemas.microsoft.com/office/drawing/2014/main" id="{09ED0A07-D865-060D-6AF9-F2C564A61836}"/>
                      </a:ext>
                    </a:extLst>
                  </p:cNvPr>
                  <p:cNvSpPr/>
                  <p:nvPr userDrawn="1"/>
                </p:nvSpPr>
                <p:spPr>
                  <a:xfrm>
                    <a:off x="8259957" y="449164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C6CBDA"/>
                  </a:solidFill>
                  <a:ln w="2339" cap="flat">
                    <a:noFill/>
                    <a:prstDash val="solid"/>
                    <a:miter/>
                  </a:ln>
                </p:spPr>
                <p:txBody>
                  <a:bodyPr rtlCol="0" anchor="ctr"/>
                  <a:lstStyle/>
                  <a:p>
                    <a:endParaRPr lang="en-US" sz="2400"/>
                  </a:p>
                </p:txBody>
              </p:sp>
              <p:sp>
                <p:nvSpPr>
                  <p:cNvPr id="613" name="Freeform: Shape 612">
                    <a:extLst>
                      <a:ext uri="{FF2B5EF4-FFF2-40B4-BE49-F238E27FC236}">
                        <a16:creationId xmlns:a16="http://schemas.microsoft.com/office/drawing/2014/main" id="{A0680B7A-C294-D878-33F5-48284B56511D}"/>
                      </a:ext>
                    </a:extLst>
                  </p:cNvPr>
                  <p:cNvSpPr/>
                  <p:nvPr userDrawn="1"/>
                </p:nvSpPr>
                <p:spPr>
                  <a:xfrm>
                    <a:off x="8259443" y="449180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C7CCDA"/>
                  </a:solidFill>
                  <a:ln w="2339" cap="flat">
                    <a:noFill/>
                    <a:prstDash val="solid"/>
                    <a:miter/>
                  </a:ln>
                </p:spPr>
                <p:txBody>
                  <a:bodyPr rtlCol="0" anchor="ctr"/>
                  <a:lstStyle/>
                  <a:p>
                    <a:endParaRPr lang="en-US" sz="2400"/>
                  </a:p>
                </p:txBody>
              </p:sp>
              <p:sp>
                <p:nvSpPr>
                  <p:cNvPr id="614" name="Freeform: Shape 613">
                    <a:extLst>
                      <a:ext uri="{FF2B5EF4-FFF2-40B4-BE49-F238E27FC236}">
                        <a16:creationId xmlns:a16="http://schemas.microsoft.com/office/drawing/2014/main" id="{8922E4F7-FDF8-A423-4E4B-B9CAD4FFA441}"/>
                      </a:ext>
                    </a:extLst>
                  </p:cNvPr>
                  <p:cNvSpPr/>
                  <p:nvPr userDrawn="1"/>
                </p:nvSpPr>
                <p:spPr>
                  <a:xfrm>
                    <a:off x="8258951" y="449196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C7CCDA"/>
                  </a:solidFill>
                  <a:ln w="2339" cap="flat">
                    <a:noFill/>
                    <a:prstDash val="solid"/>
                    <a:miter/>
                  </a:ln>
                </p:spPr>
                <p:txBody>
                  <a:bodyPr rtlCol="0" anchor="ctr"/>
                  <a:lstStyle/>
                  <a:p>
                    <a:endParaRPr lang="en-US" sz="2400"/>
                  </a:p>
                </p:txBody>
              </p:sp>
              <p:sp>
                <p:nvSpPr>
                  <p:cNvPr id="615" name="Freeform: Shape 614">
                    <a:extLst>
                      <a:ext uri="{FF2B5EF4-FFF2-40B4-BE49-F238E27FC236}">
                        <a16:creationId xmlns:a16="http://schemas.microsoft.com/office/drawing/2014/main" id="{71B14718-A887-5576-DF4C-5756F614F041}"/>
                      </a:ext>
                    </a:extLst>
                  </p:cNvPr>
                  <p:cNvSpPr/>
                  <p:nvPr userDrawn="1"/>
                </p:nvSpPr>
                <p:spPr>
                  <a:xfrm>
                    <a:off x="8258436" y="449215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C7CCDB"/>
                  </a:solidFill>
                  <a:ln w="2339" cap="flat">
                    <a:noFill/>
                    <a:prstDash val="solid"/>
                    <a:miter/>
                  </a:ln>
                </p:spPr>
                <p:txBody>
                  <a:bodyPr rtlCol="0" anchor="ctr"/>
                  <a:lstStyle/>
                  <a:p>
                    <a:endParaRPr lang="en-US" sz="2400"/>
                  </a:p>
                </p:txBody>
              </p:sp>
              <p:sp>
                <p:nvSpPr>
                  <p:cNvPr id="616" name="Freeform: Shape 615">
                    <a:extLst>
                      <a:ext uri="{FF2B5EF4-FFF2-40B4-BE49-F238E27FC236}">
                        <a16:creationId xmlns:a16="http://schemas.microsoft.com/office/drawing/2014/main" id="{C300A191-3753-0DED-70F1-DEB5C79D865C}"/>
                      </a:ext>
                    </a:extLst>
                  </p:cNvPr>
                  <p:cNvSpPr/>
                  <p:nvPr userDrawn="1"/>
                </p:nvSpPr>
                <p:spPr>
                  <a:xfrm>
                    <a:off x="8257945" y="449232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8CDDB"/>
                  </a:solidFill>
                  <a:ln w="2339" cap="flat">
                    <a:noFill/>
                    <a:prstDash val="solid"/>
                    <a:miter/>
                  </a:ln>
                </p:spPr>
                <p:txBody>
                  <a:bodyPr rtlCol="0" anchor="ctr"/>
                  <a:lstStyle/>
                  <a:p>
                    <a:endParaRPr lang="en-US" sz="2400"/>
                  </a:p>
                </p:txBody>
              </p:sp>
              <p:sp>
                <p:nvSpPr>
                  <p:cNvPr id="617" name="Freeform: Shape 616">
                    <a:extLst>
                      <a:ext uri="{FF2B5EF4-FFF2-40B4-BE49-F238E27FC236}">
                        <a16:creationId xmlns:a16="http://schemas.microsoft.com/office/drawing/2014/main" id="{BB4115A7-A5F9-F3B7-ED51-416AD00773FC}"/>
                      </a:ext>
                    </a:extLst>
                  </p:cNvPr>
                  <p:cNvSpPr/>
                  <p:nvPr userDrawn="1"/>
                </p:nvSpPr>
                <p:spPr>
                  <a:xfrm>
                    <a:off x="8257430" y="449248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C8CDDB"/>
                  </a:solidFill>
                  <a:ln w="2339" cap="flat">
                    <a:noFill/>
                    <a:prstDash val="solid"/>
                    <a:miter/>
                  </a:ln>
                </p:spPr>
                <p:txBody>
                  <a:bodyPr rtlCol="0" anchor="ctr"/>
                  <a:lstStyle/>
                  <a:p>
                    <a:endParaRPr lang="en-US" sz="2400"/>
                  </a:p>
                </p:txBody>
              </p:sp>
              <p:sp>
                <p:nvSpPr>
                  <p:cNvPr id="618" name="Freeform: Shape 617">
                    <a:extLst>
                      <a:ext uri="{FF2B5EF4-FFF2-40B4-BE49-F238E27FC236}">
                        <a16:creationId xmlns:a16="http://schemas.microsoft.com/office/drawing/2014/main" id="{A12434B4-7FE5-991E-A8A3-76C82733C66D}"/>
                      </a:ext>
                    </a:extLst>
                  </p:cNvPr>
                  <p:cNvSpPr/>
                  <p:nvPr userDrawn="1"/>
                </p:nvSpPr>
                <p:spPr>
                  <a:xfrm>
                    <a:off x="8256939" y="449264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C8CDDB"/>
                  </a:solidFill>
                  <a:ln w="2339" cap="flat">
                    <a:noFill/>
                    <a:prstDash val="solid"/>
                    <a:miter/>
                  </a:ln>
                </p:spPr>
                <p:txBody>
                  <a:bodyPr rtlCol="0" anchor="ctr"/>
                  <a:lstStyle/>
                  <a:p>
                    <a:endParaRPr lang="en-US" sz="2400"/>
                  </a:p>
                </p:txBody>
              </p:sp>
              <p:sp>
                <p:nvSpPr>
                  <p:cNvPr id="619" name="Freeform: Shape 618">
                    <a:extLst>
                      <a:ext uri="{FF2B5EF4-FFF2-40B4-BE49-F238E27FC236}">
                        <a16:creationId xmlns:a16="http://schemas.microsoft.com/office/drawing/2014/main" id="{57DC57EC-C6BC-46EE-6FD5-A5041FA9CF7D}"/>
                      </a:ext>
                    </a:extLst>
                  </p:cNvPr>
                  <p:cNvSpPr/>
                  <p:nvPr userDrawn="1"/>
                </p:nvSpPr>
                <p:spPr>
                  <a:xfrm>
                    <a:off x="8256447" y="449283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9CDDB"/>
                  </a:solidFill>
                  <a:ln w="2339" cap="flat">
                    <a:noFill/>
                    <a:prstDash val="solid"/>
                    <a:miter/>
                  </a:ln>
                </p:spPr>
                <p:txBody>
                  <a:bodyPr rtlCol="0" anchor="ctr"/>
                  <a:lstStyle/>
                  <a:p>
                    <a:endParaRPr lang="en-US" sz="2400"/>
                  </a:p>
                </p:txBody>
              </p:sp>
              <p:sp>
                <p:nvSpPr>
                  <p:cNvPr id="620" name="Freeform: Shape 619">
                    <a:extLst>
                      <a:ext uri="{FF2B5EF4-FFF2-40B4-BE49-F238E27FC236}">
                        <a16:creationId xmlns:a16="http://schemas.microsoft.com/office/drawing/2014/main" id="{54FD676A-0853-9BBD-8642-B1A7FA12DF03}"/>
                      </a:ext>
                    </a:extLst>
                  </p:cNvPr>
                  <p:cNvSpPr/>
                  <p:nvPr userDrawn="1"/>
                </p:nvSpPr>
                <p:spPr>
                  <a:xfrm>
                    <a:off x="8255956" y="449299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C9CEDC"/>
                  </a:solidFill>
                  <a:ln w="2339" cap="flat">
                    <a:noFill/>
                    <a:prstDash val="solid"/>
                    <a:miter/>
                  </a:ln>
                </p:spPr>
                <p:txBody>
                  <a:bodyPr rtlCol="0" anchor="ctr"/>
                  <a:lstStyle/>
                  <a:p>
                    <a:endParaRPr lang="en-US" sz="2400"/>
                  </a:p>
                </p:txBody>
              </p:sp>
              <p:sp>
                <p:nvSpPr>
                  <p:cNvPr id="621" name="Freeform: Shape 620">
                    <a:extLst>
                      <a:ext uri="{FF2B5EF4-FFF2-40B4-BE49-F238E27FC236}">
                        <a16:creationId xmlns:a16="http://schemas.microsoft.com/office/drawing/2014/main" id="{7450E40D-05FF-FF73-ECA6-484AD3B48A7D}"/>
                      </a:ext>
                    </a:extLst>
                  </p:cNvPr>
                  <p:cNvSpPr/>
                  <p:nvPr userDrawn="1"/>
                </p:nvSpPr>
                <p:spPr>
                  <a:xfrm>
                    <a:off x="8255465" y="449318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9CEDC"/>
                  </a:solidFill>
                  <a:ln w="2339" cap="flat">
                    <a:noFill/>
                    <a:prstDash val="solid"/>
                    <a:miter/>
                  </a:ln>
                </p:spPr>
                <p:txBody>
                  <a:bodyPr rtlCol="0" anchor="ctr"/>
                  <a:lstStyle/>
                  <a:p>
                    <a:endParaRPr lang="en-US" sz="2400"/>
                  </a:p>
                </p:txBody>
              </p:sp>
              <p:sp>
                <p:nvSpPr>
                  <p:cNvPr id="622" name="Freeform: Shape 621">
                    <a:extLst>
                      <a:ext uri="{FF2B5EF4-FFF2-40B4-BE49-F238E27FC236}">
                        <a16:creationId xmlns:a16="http://schemas.microsoft.com/office/drawing/2014/main" id="{D62885F4-1394-D702-0446-609E9D2A505F}"/>
                      </a:ext>
                    </a:extLst>
                  </p:cNvPr>
                  <p:cNvSpPr/>
                  <p:nvPr userDrawn="1"/>
                </p:nvSpPr>
                <p:spPr>
                  <a:xfrm>
                    <a:off x="8254950" y="449335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C9CEDC"/>
                  </a:solidFill>
                  <a:ln w="2339" cap="flat">
                    <a:noFill/>
                    <a:prstDash val="solid"/>
                    <a:miter/>
                  </a:ln>
                </p:spPr>
                <p:txBody>
                  <a:bodyPr rtlCol="0" anchor="ctr"/>
                  <a:lstStyle/>
                  <a:p>
                    <a:endParaRPr lang="en-US" sz="2400"/>
                  </a:p>
                </p:txBody>
              </p:sp>
              <p:sp>
                <p:nvSpPr>
                  <p:cNvPr id="623" name="Freeform: Shape 622">
                    <a:extLst>
                      <a:ext uri="{FF2B5EF4-FFF2-40B4-BE49-F238E27FC236}">
                        <a16:creationId xmlns:a16="http://schemas.microsoft.com/office/drawing/2014/main" id="{1838C8D6-BCB1-BAA3-7754-786F22963AFA}"/>
                      </a:ext>
                    </a:extLst>
                  </p:cNvPr>
                  <p:cNvSpPr/>
                  <p:nvPr userDrawn="1"/>
                </p:nvSpPr>
                <p:spPr>
                  <a:xfrm>
                    <a:off x="8254458" y="449353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CACFDC"/>
                  </a:solidFill>
                  <a:ln w="2339" cap="flat">
                    <a:noFill/>
                    <a:prstDash val="solid"/>
                    <a:miter/>
                  </a:ln>
                </p:spPr>
                <p:txBody>
                  <a:bodyPr rtlCol="0" anchor="ctr"/>
                  <a:lstStyle/>
                  <a:p>
                    <a:endParaRPr lang="en-US" sz="2400"/>
                  </a:p>
                </p:txBody>
              </p:sp>
              <p:sp>
                <p:nvSpPr>
                  <p:cNvPr id="624" name="Freeform: Shape 623">
                    <a:extLst>
                      <a:ext uri="{FF2B5EF4-FFF2-40B4-BE49-F238E27FC236}">
                        <a16:creationId xmlns:a16="http://schemas.microsoft.com/office/drawing/2014/main" id="{37D454F1-05B3-E40C-87F1-3FD5AEE60793}"/>
                      </a:ext>
                    </a:extLst>
                  </p:cNvPr>
                  <p:cNvSpPr/>
                  <p:nvPr userDrawn="1"/>
                </p:nvSpPr>
                <p:spPr>
                  <a:xfrm>
                    <a:off x="8253967" y="449370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CACFDC"/>
                  </a:solidFill>
                  <a:ln w="2339" cap="flat">
                    <a:noFill/>
                    <a:prstDash val="solid"/>
                    <a:miter/>
                  </a:ln>
                </p:spPr>
                <p:txBody>
                  <a:bodyPr rtlCol="0" anchor="ctr"/>
                  <a:lstStyle/>
                  <a:p>
                    <a:endParaRPr lang="en-US" sz="2400"/>
                  </a:p>
                </p:txBody>
              </p:sp>
              <p:sp>
                <p:nvSpPr>
                  <p:cNvPr id="625" name="Freeform: Shape 624">
                    <a:extLst>
                      <a:ext uri="{FF2B5EF4-FFF2-40B4-BE49-F238E27FC236}">
                        <a16:creationId xmlns:a16="http://schemas.microsoft.com/office/drawing/2014/main" id="{22239771-8E14-B591-ACA5-8A388E7D9924}"/>
                      </a:ext>
                    </a:extLst>
                  </p:cNvPr>
                  <p:cNvSpPr/>
                  <p:nvPr userDrawn="1"/>
                </p:nvSpPr>
                <p:spPr>
                  <a:xfrm>
                    <a:off x="8253499" y="449388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ACFDD"/>
                  </a:solidFill>
                  <a:ln w="2339" cap="flat">
                    <a:noFill/>
                    <a:prstDash val="solid"/>
                    <a:miter/>
                  </a:ln>
                </p:spPr>
                <p:txBody>
                  <a:bodyPr rtlCol="0" anchor="ctr"/>
                  <a:lstStyle/>
                  <a:p>
                    <a:endParaRPr lang="en-US" sz="2400"/>
                  </a:p>
                </p:txBody>
              </p:sp>
              <p:sp>
                <p:nvSpPr>
                  <p:cNvPr id="626" name="Freeform: Shape 625">
                    <a:extLst>
                      <a:ext uri="{FF2B5EF4-FFF2-40B4-BE49-F238E27FC236}">
                        <a16:creationId xmlns:a16="http://schemas.microsoft.com/office/drawing/2014/main" id="{CD1ABAF4-2129-1B83-FFBA-C97F63315D81}"/>
                      </a:ext>
                    </a:extLst>
                  </p:cNvPr>
                  <p:cNvSpPr/>
                  <p:nvPr userDrawn="1"/>
                </p:nvSpPr>
                <p:spPr>
                  <a:xfrm>
                    <a:off x="8253008" y="449407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BCFDD"/>
                  </a:solidFill>
                  <a:ln w="2339" cap="flat">
                    <a:noFill/>
                    <a:prstDash val="solid"/>
                    <a:miter/>
                  </a:ln>
                </p:spPr>
                <p:txBody>
                  <a:bodyPr rtlCol="0" anchor="ctr"/>
                  <a:lstStyle/>
                  <a:p>
                    <a:endParaRPr lang="en-US" sz="2400"/>
                  </a:p>
                </p:txBody>
              </p:sp>
              <p:sp>
                <p:nvSpPr>
                  <p:cNvPr id="627" name="Freeform: Shape 626">
                    <a:extLst>
                      <a:ext uri="{FF2B5EF4-FFF2-40B4-BE49-F238E27FC236}">
                        <a16:creationId xmlns:a16="http://schemas.microsoft.com/office/drawing/2014/main" id="{733CBBB0-38C5-978A-99E8-CBF8B249190C}"/>
                      </a:ext>
                    </a:extLst>
                  </p:cNvPr>
                  <p:cNvSpPr/>
                  <p:nvPr userDrawn="1"/>
                </p:nvSpPr>
                <p:spPr>
                  <a:xfrm>
                    <a:off x="8252516" y="449423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CBD0DD"/>
                  </a:solidFill>
                  <a:ln w="2339" cap="flat">
                    <a:noFill/>
                    <a:prstDash val="solid"/>
                    <a:miter/>
                  </a:ln>
                </p:spPr>
                <p:txBody>
                  <a:bodyPr rtlCol="0" anchor="ctr"/>
                  <a:lstStyle/>
                  <a:p>
                    <a:endParaRPr lang="en-US" sz="2400"/>
                  </a:p>
                </p:txBody>
              </p:sp>
              <p:sp>
                <p:nvSpPr>
                  <p:cNvPr id="628" name="Freeform: Shape 627">
                    <a:extLst>
                      <a:ext uri="{FF2B5EF4-FFF2-40B4-BE49-F238E27FC236}">
                        <a16:creationId xmlns:a16="http://schemas.microsoft.com/office/drawing/2014/main" id="{4B7347EF-259A-E39E-7147-66F4C52B06C5}"/>
                      </a:ext>
                    </a:extLst>
                  </p:cNvPr>
                  <p:cNvSpPr/>
                  <p:nvPr userDrawn="1"/>
                </p:nvSpPr>
                <p:spPr>
                  <a:xfrm>
                    <a:off x="8252025" y="449442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CBD0DD"/>
                  </a:solidFill>
                  <a:ln w="2339" cap="flat">
                    <a:noFill/>
                    <a:prstDash val="solid"/>
                    <a:miter/>
                  </a:ln>
                </p:spPr>
                <p:txBody>
                  <a:bodyPr rtlCol="0" anchor="ctr"/>
                  <a:lstStyle/>
                  <a:p>
                    <a:endParaRPr lang="en-US" sz="2400"/>
                  </a:p>
                </p:txBody>
              </p:sp>
              <p:sp>
                <p:nvSpPr>
                  <p:cNvPr id="629" name="Freeform: Shape 628">
                    <a:extLst>
                      <a:ext uri="{FF2B5EF4-FFF2-40B4-BE49-F238E27FC236}">
                        <a16:creationId xmlns:a16="http://schemas.microsoft.com/office/drawing/2014/main" id="{78EA3BA1-7B75-8FE2-75EE-10172A128632}"/>
                      </a:ext>
                    </a:extLst>
                  </p:cNvPr>
                  <p:cNvSpPr/>
                  <p:nvPr userDrawn="1"/>
                </p:nvSpPr>
                <p:spPr>
                  <a:xfrm>
                    <a:off x="8251557" y="449461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CD0DD"/>
                  </a:solidFill>
                  <a:ln w="2339" cap="flat">
                    <a:noFill/>
                    <a:prstDash val="solid"/>
                    <a:miter/>
                  </a:ln>
                </p:spPr>
                <p:txBody>
                  <a:bodyPr rtlCol="0" anchor="ctr"/>
                  <a:lstStyle/>
                  <a:p>
                    <a:endParaRPr lang="en-US" sz="2400"/>
                  </a:p>
                </p:txBody>
              </p:sp>
              <p:sp>
                <p:nvSpPr>
                  <p:cNvPr id="630" name="Freeform: Shape 629">
                    <a:extLst>
                      <a:ext uri="{FF2B5EF4-FFF2-40B4-BE49-F238E27FC236}">
                        <a16:creationId xmlns:a16="http://schemas.microsoft.com/office/drawing/2014/main" id="{A8498297-63E6-DBF0-D8C0-689DBD479E8B}"/>
                      </a:ext>
                    </a:extLst>
                  </p:cNvPr>
                  <p:cNvSpPr/>
                  <p:nvPr userDrawn="1"/>
                </p:nvSpPr>
                <p:spPr>
                  <a:xfrm>
                    <a:off x="8251065" y="449480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CD0DE"/>
                  </a:solidFill>
                  <a:ln w="2339" cap="flat">
                    <a:noFill/>
                    <a:prstDash val="solid"/>
                    <a:miter/>
                  </a:ln>
                </p:spPr>
                <p:txBody>
                  <a:bodyPr rtlCol="0" anchor="ctr"/>
                  <a:lstStyle/>
                  <a:p>
                    <a:endParaRPr lang="en-US" sz="2400"/>
                  </a:p>
                </p:txBody>
              </p:sp>
              <p:sp>
                <p:nvSpPr>
                  <p:cNvPr id="631" name="Freeform: Shape 630">
                    <a:extLst>
                      <a:ext uri="{FF2B5EF4-FFF2-40B4-BE49-F238E27FC236}">
                        <a16:creationId xmlns:a16="http://schemas.microsoft.com/office/drawing/2014/main" id="{22EBEC67-E503-86A2-E40C-43D18F0B8A40}"/>
                      </a:ext>
                    </a:extLst>
                  </p:cNvPr>
                  <p:cNvSpPr/>
                  <p:nvPr userDrawn="1"/>
                </p:nvSpPr>
                <p:spPr>
                  <a:xfrm>
                    <a:off x="8250574" y="449498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CCD1DE"/>
                  </a:solidFill>
                  <a:ln w="2339" cap="flat">
                    <a:noFill/>
                    <a:prstDash val="solid"/>
                    <a:miter/>
                  </a:ln>
                </p:spPr>
                <p:txBody>
                  <a:bodyPr rtlCol="0" anchor="ctr"/>
                  <a:lstStyle/>
                  <a:p>
                    <a:endParaRPr lang="en-US" sz="2400"/>
                  </a:p>
                </p:txBody>
              </p:sp>
              <p:sp>
                <p:nvSpPr>
                  <p:cNvPr id="632" name="Freeform: Shape 631">
                    <a:extLst>
                      <a:ext uri="{FF2B5EF4-FFF2-40B4-BE49-F238E27FC236}">
                        <a16:creationId xmlns:a16="http://schemas.microsoft.com/office/drawing/2014/main" id="{29F53596-6F54-0653-B888-7186DD1879E4}"/>
                      </a:ext>
                    </a:extLst>
                  </p:cNvPr>
                  <p:cNvSpPr/>
                  <p:nvPr userDrawn="1"/>
                </p:nvSpPr>
                <p:spPr>
                  <a:xfrm>
                    <a:off x="8250106" y="449517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DD1DE"/>
                  </a:solidFill>
                  <a:ln w="2339" cap="flat">
                    <a:noFill/>
                    <a:prstDash val="solid"/>
                    <a:miter/>
                  </a:ln>
                </p:spPr>
                <p:txBody>
                  <a:bodyPr rtlCol="0" anchor="ctr"/>
                  <a:lstStyle/>
                  <a:p>
                    <a:endParaRPr lang="en-US" sz="2400"/>
                  </a:p>
                </p:txBody>
              </p:sp>
              <p:sp>
                <p:nvSpPr>
                  <p:cNvPr id="633" name="Freeform: Shape 632">
                    <a:extLst>
                      <a:ext uri="{FF2B5EF4-FFF2-40B4-BE49-F238E27FC236}">
                        <a16:creationId xmlns:a16="http://schemas.microsoft.com/office/drawing/2014/main" id="{08193A3C-8206-9028-4810-43E23DACCC2D}"/>
                      </a:ext>
                    </a:extLst>
                  </p:cNvPr>
                  <p:cNvSpPr/>
                  <p:nvPr userDrawn="1"/>
                </p:nvSpPr>
                <p:spPr>
                  <a:xfrm>
                    <a:off x="8249638" y="449533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CDD1DE"/>
                  </a:solidFill>
                  <a:ln w="2339" cap="flat">
                    <a:noFill/>
                    <a:prstDash val="solid"/>
                    <a:miter/>
                  </a:ln>
                </p:spPr>
                <p:txBody>
                  <a:bodyPr rtlCol="0" anchor="ctr"/>
                  <a:lstStyle/>
                  <a:p>
                    <a:endParaRPr lang="en-US" sz="2400"/>
                  </a:p>
                </p:txBody>
              </p:sp>
              <p:sp>
                <p:nvSpPr>
                  <p:cNvPr id="634" name="Freeform: Shape 633">
                    <a:extLst>
                      <a:ext uri="{FF2B5EF4-FFF2-40B4-BE49-F238E27FC236}">
                        <a16:creationId xmlns:a16="http://schemas.microsoft.com/office/drawing/2014/main" id="{50FE1AD5-3EF9-F5C5-1259-A747D22F133F}"/>
                      </a:ext>
                    </a:extLst>
                  </p:cNvPr>
                  <p:cNvSpPr/>
                  <p:nvPr userDrawn="1"/>
                </p:nvSpPr>
                <p:spPr>
                  <a:xfrm>
                    <a:off x="8249147" y="449555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CDD2DE"/>
                  </a:solidFill>
                  <a:ln w="2339" cap="flat">
                    <a:noFill/>
                    <a:prstDash val="solid"/>
                    <a:miter/>
                  </a:ln>
                </p:spPr>
                <p:txBody>
                  <a:bodyPr rtlCol="0" anchor="ctr"/>
                  <a:lstStyle/>
                  <a:p>
                    <a:endParaRPr lang="en-US" sz="2400"/>
                  </a:p>
                </p:txBody>
              </p:sp>
              <p:sp>
                <p:nvSpPr>
                  <p:cNvPr id="635" name="Freeform: Shape 634">
                    <a:extLst>
                      <a:ext uri="{FF2B5EF4-FFF2-40B4-BE49-F238E27FC236}">
                        <a16:creationId xmlns:a16="http://schemas.microsoft.com/office/drawing/2014/main" id="{89D84B4D-E6D8-FE8C-05E9-6FF4E83D67F3}"/>
                      </a:ext>
                    </a:extLst>
                  </p:cNvPr>
                  <p:cNvSpPr/>
                  <p:nvPr userDrawn="1"/>
                </p:nvSpPr>
                <p:spPr>
                  <a:xfrm>
                    <a:off x="8248679" y="449573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DD2DF"/>
                  </a:solidFill>
                  <a:ln w="2339" cap="flat">
                    <a:noFill/>
                    <a:prstDash val="solid"/>
                    <a:miter/>
                  </a:ln>
                </p:spPr>
                <p:txBody>
                  <a:bodyPr rtlCol="0" anchor="ctr"/>
                  <a:lstStyle/>
                  <a:p>
                    <a:endParaRPr lang="en-US" sz="2400"/>
                  </a:p>
                </p:txBody>
              </p:sp>
              <p:sp>
                <p:nvSpPr>
                  <p:cNvPr id="636" name="Freeform: Shape 635">
                    <a:extLst>
                      <a:ext uri="{FF2B5EF4-FFF2-40B4-BE49-F238E27FC236}">
                        <a16:creationId xmlns:a16="http://schemas.microsoft.com/office/drawing/2014/main" id="{248CF6FB-0F4C-93AF-8264-2847C56BA5FD}"/>
                      </a:ext>
                    </a:extLst>
                  </p:cNvPr>
                  <p:cNvSpPr/>
                  <p:nvPr userDrawn="1"/>
                </p:nvSpPr>
                <p:spPr>
                  <a:xfrm>
                    <a:off x="8248211" y="449592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ED2DF"/>
                  </a:solidFill>
                  <a:ln w="2339" cap="flat">
                    <a:noFill/>
                    <a:prstDash val="solid"/>
                    <a:miter/>
                  </a:ln>
                </p:spPr>
                <p:txBody>
                  <a:bodyPr rtlCol="0" anchor="ctr"/>
                  <a:lstStyle/>
                  <a:p>
                    <a:endParaRPr lang="en-US" sz="2400"/>
                  </a:p>
                </p:txBody>
              </p:sp>
              <p:sp>
                <p:nvSpPr>
                  <p:cNvPr id="637" name="Freeform: Shape 636">
                    <a:extLst>
                      <a:ext uri="{FF2B5EF4-FFF2-40B4-BE49-F238E27FC236}">
                        <a16:creationId xmlns:a16="http://schemas.microsoft.com/office/drawing/2014/main" id="{710C9674-95DF-5E05-5641-D2056C750E2B}"/>
                      </a:ext>
                    </a:extLst>
                  </p:cNvPr>
                  <p:cNvSpPr/>
                  <p:nvPr userDrawn="1"/>
                </p:nvSpPr>
                <p:spPr>
                  <a:xfrm>
                    <a:off x="8247743" y="449611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ED2DF"/>
                  </a:solidFill>
                  <a:ln w="2339" cap="flat">
                    <a:noFill/>
                    <a:prstDash val="solid"/>
                    <a:miter/>
                  </a:ln>
                </p:spPr>
                <p:txBody>
                  <a:bodyPr rtlCol="0" anchor="ctr"/>
                  <a:lstStyle/>
                  <a:p>
                    <a:endParaRPr lang="en-US" sz="2400"/>
                  </a:p>
                </p:txBody>
              </p:sp>
              <p:sp>
                <p:nvSpPr>
                  <p:cNvPr id="638" name="Freeform: Shape 637">
                    <a:extLst>
                      <a:ext uri="{FF2B5EF4-FFF2-40B4-BE49-F238E27FC236}">
                        <a16:creationId xmlns:a16="http://schemas.microsoft.com/office/drawing/2014/main" id="{B630E2D4-BE22-FF96-D4A0-9710E279875D}"/>
                      </a:ext>
                    </a:extLst>
                  </p:cNvPr>
                  <p:cNvSpPr/>
                  <p:nvPr userDrawn="1"/>
                </p:nvSpPr>
                <p:spPr>
                  <a:xfrm>
                    <a:off x="8247275" y="449629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ED3DF"/>
                  </a:solidFill>
                  <a:ln w="2339" cap="flat">
                    <a:noFill/>
                    <a:prstDash val="solid"/>
                    <a:miter/>
                  </a:ln>
                </p:spPr>
                <p:txBody>
                  <a:bodyPr rtlCol="0" anchor="ctr"/>
                  <a:lstStyle/>
                  <a:p>
                    <a:endParaRPr lang="en-US" sz="2400"/>
                  </a:p>
                </p:txBody>
              </p:sp>
              <p:sp>
                <p:nvSpPr>
                  <p:cNvPr id="639" name="Freeform: Shape 638">
                    <a:extLst>
                      <a:ext uri="{FF2B5EF4-FFF2-40B4-BE49-F238E27FC236}">
                        <a16:creationId xmlns:a16="http://schemas.microsoft.com/office/drawing/2014/main" id="{BF8AC1D8-5138-C822-764C-B7BA4A790FCE}"/>
                      </a:ext>
                    </a:extLst>
                  </p:cNvPr>
                  <p:cNvSpPr/>
                  <p:nvPr userDrawn="1"/>
                </p:nvSpPr>
                <p:spPr>
                  <a:xfrm>
                    <a:off x="8246807" y="449648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CFD3DF"/>
                  </a:solidFill>
                  <a:ln w="2339" cap="flat">
                    <a:noFill/>
                    <a:prstDash val="solid"/>
                    <a:miter/>
                  </a:ln>
                </p:spPr>
                <p:txBody>
                  <a:bodyPr rtlCol="0" anchor="ctr"/>
                  <a:lstStyle/>
                  <a:p>
                    <a:endParaRPr lang="en-US" sz="2400"/>
                  </a:p>
                </p:txBody>
              </p:sp>
              <p:sp>
                <p:nvSpPr>
                  <p:cNvPr id="640" name="Freeform: Shape 639">
                    <a:extLst>
                      <a:ext uri="{FF2B5EF4-FFF2-40B4-BE49-F238E27FC236}">
                        <a16:creationId xmlns:a16="http://schemas.microsoft.com/office/drawing/2014/main" id="{08CE36D7-D47D-84C6-1F69-9720976C107A}"/>
                      </a:ext>
                    </a:extLst>
                  </p:cNvPr>
                  <p:cNvSpPr/>
                  <p:nvPr userDrawn="1"/>
                </p:nvSpPr>
                <p:spPr>
                  <a:xfrm>
                    <a:off x="8246339" y="449667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CFD3E0"/>
                  </a:solidFill>
                  <a:ln w="2339" cap="flat">
                    <a:noFill/>
                    <a:prstDash val="solid"/>
                    <a:miter/>
                  </a:ln>
                </p:spPr>
                <p:txBody>
                  <a:bodyPr rtlCol="0" anchor="ctr"/>
                  <a:lstStyle/>
                  <a:p>
                    <a:endParaRPr lang="en-US" sz="2400"/>
                  </a:p>
                </p:txBody>
              </p:sp>
              <p:sp>
                <p:nvSpPr>
                  <p:cNvPr id="641" name="Freeform: Shape 640">
                    <a:extLst>
                      <a:ext uri="{FF2B5EF4-FFF2-40B4-BE49-F238E27FC236}">
                        <a16:creationId xmlns:a16="http://schemas.microsoft.com/office/drawing/2014/main" id="{4C694BA1-2CD2-8A97-3CA3-49822FB7641C}"/>
                      </a:ext>
                    </a:extLst>
                  </p:cNvPr>
                  <p:cNvSpPr/>
                  <p:nvPr userDrawn="1"/>
                </p:nvSpPr>
                <p:spPr>
                  <a:xfrm>
                    <a:off x="8245871" y="449688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FD4E0"/>
                  </a:solidFill>
                  <a:ln w="2339" cap="flat">
                    <a:noFill/>
                    <a:prstDash val="solid"/>
                    <a:miter/>
                  </a:ln>
                </p:spPr>
                <p:txBody>
                  <a:bodyPr rtlCol="0" anchor="ctr"/>
                  <a:lstStyle/>
                  <a:p>
                    <a:endParaRPr lang="en-US" sz="2400"/>
                  </a:p>
                </p:txBody>
              </p:sp>
              <p:sp>
                <p:nvSpPr>
                  <p:cNvPr id="642" name="Freeform: Shape 641">
                    <a:extLst>
                      <a:ext uri="{FF2B5EF4-FFF2-40B4-BE49-F238E27FC236}">
                        <a16:creationId xmlns:a16="http://schemas.microsoft.com/office/drawing/2014/main" id="{B3FF489F-73C4-6C18-FEBC-9EA8BA6B0721}"/>
                      </a:ext>
                    </a:extLst>
                  </p:cNvPr>
                  <p:cNvSpPr/>
                  <p:nvPr userDrawn="1"/>
                </p:nvSpPr>
                <p:spPr>
                  <a:xfrm>
                    <a:off x="8245403" y="449707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0D4E0"/>
                  </a:solidFill>
                  <a:ln w="2339" cap="flat">
                    <a:noFill/>
                    <a:prstDash val="solid"/>
                    <a:miter/>
                  </a:ln>
                </p:spPr>
                <p:txBody>
                  <a:bodyPr rtlCol="0" anchor="ctr"/>
                  <a:lstStyle/>
                  <a:p>
                    <a:endParaRPr lang="en-US" sz="2400"/>
                  </a:p>
                </p:txBody>
              </p:sp>
              <p:sp>
                <p:nvSpPr>
                  <p:cNvPr id="643" name="Freeform: Shape 642">
                    <a:extLst>
                      <a:ext uri="{FF2B5EF4-FFF2-40B4-BE49-F238E27FC236}">
                        <a16:creationId xmlns:a16="http://schemas.microsoft.com/office/drawing/2014/main" id="{7E10DE55-9A8D-749F-45FD-B3AC1B409E27}"/>
                      </a:ext>
                    </a:extLst>
                  </p:cNvPr>
                  <p:cNvSpPr/>
                  <p:nvPr userDrawn="1"/>
                </p:nvSpPr>
                <p:spPr>
                  <a:xfrm>
                    <a:off x="8244935" y="449728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0D4E0"/>
                  </a:solidFill>
                  <a:ln w="2339" cap="flat">
                    <a:noFill/>
                    <a:prstDash val="solid"/>
                    <a:miter/>
                  </a:ln>
                </p:spPr>
                <p:txBody>
                  <a:bodyPr rtlCol="0" anchor="ctr"/>
                  <a:lstStyle/>
                  <a:p>
                    <a:endParaRPr lang="en-US" sz="2400"/>
                  </a:p>
                </p:txBody>
              </p:sp>
              <p:sp>
                <p:nvSpPr>
                  <p:cNvPr id="644" name="Freeform: Shape 643">
                    <a:extLst>
                      <a:ext uri="{FF2B5EF4-FFF2-40B4-BE49-F238E27FC236}">
                        <a16:creationId xmlns:a16="http://schemas.microsoft.com/office/drawing/2014/main" id="{F2AC34BC-C26C-2124-175C-98024B807AEA}"/>
                      </a:ext>
                    </a:extLst>
                  </p:cNvPr>
                  <p:cNvSpPr/>
                  <p:nvPr userDrawn="1"/>
                </p:nvSpPr>
                <p:spPr>
                  <a:xfrm>
                    <a:off x="8244490" y="449746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0D4E0"/>
                  </a:solidFill>
                  <a:ln w="2339" cap="flat">
                    <a:noFill/>
                    <a:prstDash val="solid"/>
                    <a:miter/>
                  </a:ln>
                </p:spPr>
                <p:txBody>
                  <a:bodyPr rtlCol="0" anchor="ctr"/>
                  <a:lstStyle/>
                  <a:p>
                    <a:endParaRPr lang="en-US" sz="2400"/>
                  </a:p>
                </p:txBody>
              </p:sp>
              <p:sp>
                <p:nvSpPr>
                  <p:cNvPr id="645" name="Freeform: Shape 644">
                    <a:extLst>
                      <a:ext uri="{FF2B5EF4-FFF2-40B4-BE49-F238E27FC236}">
                        <a16:creationId xmlns:a16="http://schemas.microsoft.com/office/drawing/2014/main" id="{85155C0B-564D-65EE-B384-079A10E036D2}"/>
                      </a:ext>
                    </a:extLst>
                  </p:cNvPr>
                  <p:cNvSpPr/>
                  <p:nvPr userDrawn="1"/>
                </p:nvSpPr>
                <p:spPr>
                  <a:xfrm>
                    <a:off x="8244022" y="449765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54"/>
                          <a:pt x="42097" y="21060"/>
                        </a:cubicBezTo>
                        <a:close/>
                      </a:path>
                    </a:pathLst>
                  </a:custGeom>
                  <a:solidFill>
                    <a:srgbClr val="D1D5E1"/>
                  </a:solidFill>
                  <a:ln w="2339" cap="flat">
                    <a:noFill/>
                    <a:prstDash val="solid"/>
                    <a:miter/>
                  </a:ln>
                </p:spPr>
                <p:txBody>
                  <a:bodyPr rtlCol="0" anchor="ctr"/>
                  <a:lstStyle/>
                  <a:p>
                    <a:endParaRPr lang="en-US" sz="2400"/>
                  </a:p>
                </p:txBody>
              </p:sp>
              <p:sp>
                <p:nvSpPr>
                  <p:cNvPr id="646" name="Freeform: Shape 645">
                    <a:extLst>
                      <a:ext uri="{FF2B5EF4-FFF2-40B4-BE49-F238E27FC236}">
                        <a16:creationId xmlns:a16="http://schemas.microsoft.com/office/drawing/2014/main" id="{C8F143AD-8EBE-EDDC-0288-F9516D917C80}"/>
                      </a:ext>
                    </a:extLst>
                  </p:cNvPr>
                  <p:cNvSpPr/>
                  <p:nvPr userDrawn="1"/>
                </p:nvSpPr>
                <p:spPr>
                  <a:xfrm>
                    <a:off x="8243577" y="449786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1D5E1"/>
                  </a:solidFill>
                  <a:ln w="2339" cap="flat">
                    <a:noFill/>
                    <a:prstDash val="solid"/>
                    <a:miter/>
                  </a:ln>
                </p:spPr>
                <p:txBody>
                  <a:bodyPr rtlCol="0" anchor="ctr"/>
                  <a:lstStyle/>
                  <a:p>
                    <a:endParaRPr lang="en-US" sz="2400"/>
                  </a:p>
                </p:txBody>
              </p:sp>
              <p:sp>
                <p:nvSpPr>
                  <p:cNvPr id="647" name="Freeform: Shape 646">
                    <a:extLst>
                      <a:ext uri="{FF2B5EF4-FFF2-40B4-BE49-F238E27FC236}">
                        <a16:creationId xmlns:a16="http://schemas.microsoft.com/office/drawing/2014/main" id="{20737FEC-C3B6-4B65-4EF2-B2622DBDD8B3}"/>
                      </a:ext>
                    </a:extLst>
                  </p:cNvPr>
                  <p:cNvSpPr/>
                  <p:nvPr userDrawn="1"/>
                </p:nvSpPr>
                <p:spPr>
                  <a:xfrm>
                    <a:off x="8243109" y="449807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1D5E1"/>
                  </a:solidFill>
                  <a:ln w="2339" cap="flat">
                    <a:noFill/>
                    <a:prstDash val="solid"/>
                    <a:miter/>
                  </a:ln>
                </p:spPr>
                <p:txBody>
                  <a:bodyPr rtlCol="0" anchor="ctr"/>
                  <a:lstStyle/>
                  <a:p>
                    <a:endParaRPr lang="en-US" sz="2400"/>
                  </a:p>
                </p:txBody>
              </p:sp>
              <p:sp>
                <p:nvSpPr>
                  <p:cNvPr id="648" name="Freeform: Shape 647">
                    <a:extLst>
                      <a:ext uri="{FF2B5EF4-FFF2-40B4-BE49-F238E27FC236}">
                        <a16:creationId xmlns:a16="http://schemas.microsoft.com/office/drawing/2014/main" id="{8061C05B-4D4B-F4ED-7843-5FA5B6A1007C}"/>
                      </a:ext>
                    </a:extLst>
                  </p:cNvPr>
                  <p:cNvSpPr/>
                  <p:nvPr userDrawn="1"/>
                </p:nvSpPr>
                <p:spPr>
                  <a:xfrm>
                    <a:off x="8242665" y="449826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1D6E1"/>
                  </a:solidFill>
                  <a:ln w="2339" cap="flat">
                    <a:noFill/>
                    <a:prstDash val="solid"/>
                    <a:miter/>
                  </a:ln>
                </p:spPr>
                <p:txBody>
                  <a:bodyPr rtlCol="0" anchor="ctr"/>
                  <a:lstStyle/>
                  <a:p>
                    <a:endParaRPr lang="en-US" sz="2400"/>
                  </a:p>
                </p:txBody>
              </p:sp>
              <p:sp>
                <p:nvSpPr>
                  <p:cNvPr id="649" name="Freeform: Shape 648">
                    <a:extLst>
                      <a:ext uri="{FF2B5EF4-FFF2-40B4-BE49-F238E27FC236}">
                        <a16:creationId xmlns:a16="http://schemas.microsoft.com/office/drawing/2014/main" id="{47023DDE-BFC3-D94C-90C1-48BD9EDFDAFC}"/>
                      </a:ext>
                    </a:extLst>
                  </p:cNvPr>
                  <p:cNvSpPr/>
                  <p:nvPr userDrawn="1"/>
                </p:nvSpPr>
                <p:spPr>
                  <a:xfrm>
                    <a:off x="8242220" y="449847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2D6E1"/>
                  </a:solidFill>
                  <a:ln w="2339" cap="flat">
                    <a:noFill/>
                    <a:prstDash val="solid"/>
                    <a:miter/>
                  </a:ln>
                </p:spPr>
                <p:txBody>
                  <a:bodyPr rtlCol="0" anchor="ctr"/>
                  <a:lstStyle/>
                  <a:p>
                    <a:endParaRPr lang="en-US" sz="2400"/>
                  </a:p>
                </p:txBody>
              </p:sp>
              <p:sp>
                <p:nvSpPr>
                  <p:cNvPr id="650" name="Freeform: Shape 649">
                    <a:extLst>
                      <a:ext uri="{FF2B5EF4-FFF2-40B4-BE49-F238E27FC236}">
                        <a16:creationId xmlns:a16="http://schemas.microsoft.com/office/drawing/2014/main" id="{3303DA0A-F67B-70C1-5288-E3504E3906F5}"/>
                      </a:ext>
                    </a:extLst>
                  </p:cNvPr>
                  <p:cNvSpPr/>
                  <p:nvPr userDrawn="1"/>
                </p:nvSpPr>
                <p:spPr>
                  <a:xfrm>
                    <a:off x="8241776" y="449866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D2D6E2"/>
                  </a:solidFill>
                  <a:ln w="2339" cap="flat">
                    <a:noFill/>
                    <a:prstDash val="solid"/>
                    <a:miter/>
                  </a:ln>
                </p:spPr>
                <p:txBody>
                  <a:bodyPr rtlCol="0" anchor="ctr"/>
                  <a:lstStyle/>
                  <a:p>
                    <a:endParaRPr lang="en-US" sz="2400"/>
                  </a:p>
                </p:txBody>
              </p:sp>
              <p:sp>
                <p:nvSpPr>
                  <p:cNvPr id="651" name="Freeform: Shape 650">
                    <a:extLst>
                      <a:ext uri="{FF2B5EF4-FFF2-40B4-BE49-F238E27FC236}">
                        <a16:creationId xmlns:a16="http://schemas.microsoft.com/office/drawing/2014/main" id="{2E30EC6F-9157-5232-F54B-04F683A3B98E}"/>
                      </a:ext>
                    </a:extLst>
                  </p:cNvPr>
                  <p:cNvSpPr/>
                  <p:nvPr userDrawn="1"/>
                </p:nvSpPr>
                <p:spPr>
                  <a:xfrm>
                    <a:off x="8241308" y="449887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D2D6E2"/>
                  </a:solidFill>
                  <a:ln w="2339" cap="flat">
                    <a:noFill/>
                    <a:prstDash val="solid"/>
                    <a:miter/>
                  </a:ln>
                </p:spPr>
                <p:txBody>
                  <a:bodyPr rtlCol="0" anchor="ctr"/>
                  <a:lstStyle/>
                  <a:p>
                    <a:endParaRPr lang="en-US" sz="2400"/>
                  </a:p>
                </p:txBody>
              </p:sp>
              <p:sp>
                <p:nvSpPr>
                  <p:cNvPr id="652" name="Freeform: Shape 651">
                    <a:extLst>
                      <a:ext uri="{FF2B5EF4-FFF2-40B4-BE49-F238E27FC236}">
                        <a16:creationId xmlns:a16="http://schemas.microsoft.com/office/drawing/2014/main" id="{12F0BA98-DB56-53FC-C0C4-797E396F42C6}"/>
                      </a:ext>
                    </a:extLst>
                  </p:cNvPr>
                  <p:cNvSpPr/>
                  <p:nvPr userDrawn="1"/>
                </p:nvSpPr>
                <p:spPr>
                  <a:xfrm>
                    <a:off x="8240863" y="449908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3D7E2"/>
                  </a:solidFill>
                  <a:ln w="2339" cap="flat">
                    <a:noFill/>
                    <a:prstDash val="solid"/>
                    <a:miter/>
                  </a:ln>
                </p:spPr>
                <p:txBody>
                  <a:bodyPr rtlCol="0" anchor="ctr"/>
                  <a:lstStyle/>
                  <a:p>
                    <a:endParaRPr lang="en-US" sz="2400"/>
                  </a:p>
                </p:txBody>
              </p:sp>
              <p:sp>
                <p:nvSpPr>
                  <p:cNvPr id="653" name="Freeform: Shape 652">
                    <a:extLst>
                      <a:ext uri="{FF2B5EF4-FFF2-40B4-BE49-F238E27FC236}">
                        <a16:creationId xmlns:a16="http://schemas.microsoft.com/office/drawing/2014/main" id="{925AC1CC-8232-5FCB-0118-21217C25A1B6}"/>
                      </a:ext>
                    </a:extLst>
                  </p:cNvPr>
                  <p:cNvSpPr/>
                  <p:nvPr userDrawn="1"/>
                </p:nvSpPr>
                <p:spPr>
                  <a:xfrm>
                    <a:off x="8240418" y="449929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3D7E2"/>
                  </a:solidFill>
                  <a:ln w="2339" cap="flat">
                    <a:noFill/>
                    <a:prstDash val="solid"/>
                    <a:miter/>
                  </a:ln>
                </p:spPr>
                <p:txBody>
                  <a:bodyPr rtlCol="0" anchor="ctr"/>
                  <a:lstStyle/>
                  <a:p>
                    <a:endParaRPr lang="en-US" sz="2400"/>
                  </a:p>
                </p:txBody>
              </p:sp>
              <p:sp>
                <p:nvSpPr>
                  <p:cNvPr id="654" name="Freeform: Shape 653">
                    <a:extLst>
                      <a:ext uri="{FF2B5EF4-FFF2-40B4-BE49-F238E27FC236}">
                        <a16:creationId xmlns:a16="http://schemas.microsoft.com/office/drawing/2014/main" id="{96D53BCA-81E1-8CA8-E242-A2757490FD89}"/>
                      </a:ext>
                    </a:extLst>
                  </p:cNvPr>
                  <p:cNvSpPr/>
                  <p:nvPr userDrawn="1"/>
                </p:nvSpPr>
                <p:spPr>
                  <a:xfrm>
                    <a:off x="8239997" y="449950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3D7E2"/>
                  </a:solidFill>
                  <a:ln w="2339" cap="flat">
                    <a:noFill/>
                    <a:prstDash val="solid"/>
                    <a:miter/>
                  </a:ln>
                </p:spPr>
                <p:txBody>
                  <a:bodyPr rtlCol="0" anchor="ctr"/>
                  <a:lstStyle/>
                  <a:p>
                    <a:endParaRPr lang="en-US" sz="2400"/>
                  </a:p>
                </p:txBody>
              </p:sp>
              <p:sp>
                <p:nvSpPr>
                  <p:cNvPr id="655" name="Freeform: Shape 654">
                    <a:extLst>
                      <a:ext uri="{FF2B5EF4-FFF2-40B4-BE49-F238E27FC236}">
                        <a16:creationId xmlns:a16="http://schemas.microsoft.com/office/drawing/2014/main" id="{4C5D06A8-DA0F-330F-D240-1877DDCAD384}"/>
                      </a:ext>
                    </a:extLst>
                  </p:cNvPr>
                  <p:cNvSpPr/>
                  <p:nvPr userDrawn="1"/>
                </p:nvSpPr>
                <p:spPr>
                  <a:xfrm>
                    <a:off x="8239552" y="449971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4D7E3"/>
                  </a:solidFill>
                  <a:ln w="2339" cap="flat">
                    <a:noFill/>
                    <a:prstDash val="solid"/>
                    <a:miter/>
                  </a:ln>
                </p:spPr>
                <p:txBody>
                  <a:bodyPr rtlCol="0" anchor="ctr"/>
                  <a:lstStyle/>
                  <a:p>
                    <a:endParaRPr lang="en-US" sz="2400"/>
                  </a:p>
                </p:txBody>
              </p:sp>
              <p:sp>
                <p:nvSpPr>
                  <p:cNvPr id="656" name="Freeform: Shape 655">
                    <a:extLst>
                      <a:ext uri="{FF2B5EF4-FFF2-40B4-BE49-F238E27FC236}">
                        <a16:creationId xmlns:a16="http://schemas.microsoft.com/office/drawing/2014/main" id="{E8917F63-8123-1D09-CE30-C22B79617EE8}"/>
                      </a:ext>
                    </a:extLst>
                  </p:cNvPr>
                  <p:cNvSpPr/>
                  <p:nvPr userDrawn="1"/>
                </p:nvSpPr>
                <p:spPr>
                  <a:xfrm>
                    <a:off x="8239108" y="449990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D4D8E3"/>
                  </a:solidFill>
                  <a:ln w="2339" cap="flat">
                    <a:noFill/>
                    <a:prstDash val="solid"/>
                    <a:miter/>
                  </a:ln>
                </p:spPr>
                <p:txBody>
                  <a:bodyPr rtlCol="0" anchor="ctr"/>
                  <a:lstStyle/>
                  <a:p>
                    <a:endParaRPr lang="en-US" sz="2400"/>
                  </a:p>
                </p:txBody>
              </p:sp>
              <p:sp>
                <p:nvSpPr>
                  <p:cNvPr id="657" name="Freeform: Shape 656">
                    <a:extLst>
                      <a:ext uri="{FF2B5EF4-FFF2-40B4-BE49-F238E27FC236}">
                        <a16:creationId xmlns:a16="http://schemas.microsoft.com/office/drawing/2014/main" id="{B439CB0D-B42F-C713-BABA-D1AC3D9E3BC4}"/>
                      </a:ext>
                    </a:extLst>
                  </p:cNvPr>
                  <p:cNvSpPr/>
                  <p:nvPr userDrawn="1"/>
                </p:nvSpPr>
                <p:spPr>
                  <a:xfrm>
                    <a:off x="8238663" y="450011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54"/>
                          <a:pt x="42097" y="21060"/>
                        </a:cubicBezTo>
                        <a:close/>
                      </a:path>
                    </a:pathLst>
                  </a:custGeom>
                  <a:solidFill>
                    <a:srgbClr val="D4D8E3"/>
                  </a:solidFill>
                  <a:ln w="2339" cap="flat">
                    <a:noFill/>
                    <a:prstDash val="solid"/>
                    <a:miter/>
                  </a:ln>
                </p:spPr>
                <p:txBody>
                  <a:bodyPr rtlCol="0" anchor="ctr"/>
                  <a:lstStyle/>
                  <a:p>
                    <a:endParaRPr lang="en-US" sz="2400"/>
                  </a:p>
                </p:txBody>
              </p:sp>
              <p:sp>
                <p:nvSpPr>
                  <p:cNvPr id="658" name="Freeform: Shape 657">
                    <a:extLst>
                      <a:ext uri="{FF2B5EF4-FFF2-40B4-BE49-F238E27FC236}">
                        <a16:creationId xmlns:a16="http://schemas.microsoft.com/office/drawing/2014/main" id="{2180C730-0E69-5ADA-25EC-9C151F70D55E}"/>
                      </a:ext>
                    </a:extLst>
                  </p:cNvPr>
                  <p:cNvSpPr/>
                  <p:nvPr userDrawn="1"/>
                </p:nvSpPr>
                <p:spPr>
                  <a:xfrm>
                    <a:off x="8238242" y="450032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D4D8E3"/>
                  </a:solidFill>
                  <a:ln w="2339" cap="flat">
                    <a:noFill/>
                    <a:prstDash val="solid"/>
                    <a:miter/>
                  </a:ln>
                </p:spPr>
                <p:txBody>
                  <a:bodyPr rtlCol="0" anchor="ctr"/>
                  <a:lstStyle/>
                  <a:p>
                    <a:endParaRPr lang="en-US" sz="2400"/>
                  </a:p>
                </p:txBody>
              </p:sp>
              <p:sp>
                <p:nvSpPr>
                  <p:cNvPr id="659" name="Freeform: Shape 658">
                    <a:extLst>
                      <a:ext uri="{FF2B5EF4-FFF2-40B4-BE49-F238E27FC236}">
                        <a16:creationId xmlns:a16="http://schemas.microsoft.com/office/drawing/2014/main" id="{ABA8C9E2-6400-155F-9787-64D65FC9F97F}"/>
                      </a:ext>
                    </a:extLst>
                  </p:cNvPr>
                  <p:cNvSpPr/>
                  <p:nvPr userDrawn="1"/>
                </p:nvSpPr>
                <p:spPr>
                  <a:xfrm>
                    <a:off x="8237797" y="450053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54"/>
                          <a:pt x="42097" y="21060"/>
                        </a:cubicBezTo>
                        <a:close/>
                      </a:path>
                    </a:pathLst>
                  </a:custGeom>
                  <a:solidFill>
                    <a:srgbClr val="D5D9E3"/>
                  </a:solidFill>
                  <a:ln w="2339" cap="flat">
                    <a:noFill/>
                    <a:prstDash val="solid"/>
                    <a:miter/>
                  </a:ln>
                </p:spPr>
                <p:txBody>
                  <a:bodyPr rtlCol="0" anchor="ctr"/>
                  <a:lstStyle/>
                  <a:p>
                    <a:endParaRPr lang="en-US" sz="2400"/>
                  </a:p>
                </p:txBody>
              </p:sp>
              <p:sp>
                <p:nvSpPr>
                  <p:cNvPr id="660" name="Freeform: Shape 659">
                    <a:extLst>
                      <a:ext uri="{FF2B5EF4-FFF2-40B4-BE49-F238E27FC236}">
                        <a16:creationId xmlns:a16="http://schemas.microsoft.com/office/drawing/2014/main" id="{57EACA58-2410-8D92-6FCD-385F78C762EC}"/>
                      </a:ext>
                    </a:extLst>
                  </p:cNvPr>
                  <p:cNvSpPr/>
                  <p:nvPr userDrawn="1"/>
                </p:nvSpPr>
                <p:spPr>
                  <a:xfrm>
                    <a:off x="8237376" y="450076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5D9E4"/>
                  </a:solidFill>
                  <a:ln w="2339" cap="flat">
                    <a:noFill/>
                    <a:prstDash val="solid"/>
                    <a:miter/>
                  </a:ln>
                </p:spPr>
                <p:txBody>
                  <a:bodyPr rtlCol="0" anchor="ctr"/>
                  <a:lstStyle/>
                  <a:p>
                    <a:endParaRPr lang="en-US" sz="2400"/>
                  </a:p>
                </p:txBody>
              </p:sp>
              <p:sp>
                <p:nvSpPr>
                  <p:cNvPr id="661" name="Freeform: Shape 660">
                    <a:extLst>
                      <a:ext uri="{FF2B5EF4-FFF2-40B4-BE49-F238E27FC236}">
                        <a16:creationId xmlns:a16="http://schemas.microsoft.com/office/drawing/2014/main" id="{7E7942C5-3924-CFAC-C72A-6222F004DEAD}"/>
                      </a:ext>
                    </a:extLst>
                  </p:cNvPr>
                  <p:cNvSpPr/>
                  <p:nvPr userDrawn="1"/>
                </p:nvSpPr>
                <p:spPr>
                  <a:xfrm>
                    <a:off x="8236932" y="450097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5D9E4"/>
                  </a:solidFill>
                  <a:ln w="2339" cap="flat">
                    <a:noFill/>
                    <a:prstDash val="solid"/>
                    <a:miter/>
                  </a:ln>
                </p:spPr>
                <p:txBody>
                  <a:bodyPr rtlCol="0" anchor="ctr"/>
                  <a:lstStyle/>
                  <a:p>
                    <a:endParaRPr lang="en-US" sz="2400"/>
                  </a:p>
                </p:txBody>
              </p:sp>
              <p:sp>
                <p:nvSpPr>
                  <p:cNvPr id="662" name="Freeform: Shape 661">
                    <a:extLst>
                      <a:ext uri="{FF2B5EF4-FFF2-40B4-BE49-F238E27FC236}">
                        <a16:creationId xmlns:a16="http://schemas.microsoft.com/office/drawing/2014/main" id="{8DB49B85-1AE5-F80E-7723-688D2C9B82CE}"/>
                      </a:ext>
                    </a:extLst>
                  </p:cNvPr>
                  <p:cNvSpPr/>
                  <p:nvPr userDrawn="1"/>
                </p:nvSpPr>
                <p:spPr>
                  <a:xfrm>
                    <a:off x="8236510" y="450118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6D9E4"/>
                  </a:solidFill>
                  <a:ln w="2339" cap="flat">
                    <a:noFill/>
                    <a:prstDash val="solid"/>
                    <a:miter/>
                  </a:ln>
                </p:spPr>
                <p:txBody>
                  <a:bodyPr rtlCol="0" anchor="ctr"/>
                  <a:lstStyle/>
                  <a:p>
                    <a:endParaRPr lang="en-US" sz="2400"/>
                  </a:p>
                </p:txBody>
              </p:sp>
              <p:sp>
                <p:nvSpPr>
                  <p:cNvPr id="663" name="Freeform: Shape 662">
                    <a:extLst>
                      <a:ext uri="{FF2B5EF4-FFF2-40B4-BE49-F238E27FC236}">
                        <a16:creationId xmlns:a16="http://schemas.microsoft.com/office/drawing/2014/main" id="{17F09ABA-68FB-BDE1-08F7-7851B3C611A1}"/>
                      </a:ext>
                    </a:extLst>
                  </p:cNvPr>
                  <p:cNvSpPr/>
                  <p:nvPr userDrawn="1"/>
                </p:nvSpPr>
                <p:spPr>
                  <a:xfrm>
                    <a:off x="8236089" y="450140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6DAE4"/>
                  </a:solidFill>
                  <a:ln w="2339" cap="flat">
                    <a:noFill/>
                    <a:prstDash val="solid"/>
                    <a:miter/>
                  </a:ln>
                </p:spPr>
                <p:txBody>
                  <a:bodyPr rtlCol="0" anchor="ctr"/>
                  <a:lstStyle/>
                  <a:p>
                    <a:endParaRPr lang="en-US" sz="2400"/>
                  </a:p>
                </p:txBody>
              </p:sp>
              <p:sp>
                <p:nvSpPr>
                  <p:cNvPr id="664" name="Freeform: Shape 663">
                    <a:extLst>
                      <a:ext uri="{FF2B5EF4-FFF2-40B4-BE49-F238E27FC236}">
                        <a16:creationId xmlns:a16="http://schemas.microsoft.com/office/drawing/2014/main" id="{1CB444DB-F768-65F1-69FC-FD51C9E69E81}"/>
                      </a:ext>
                    </a:extLst>
                  </p:cNvPr>
                  <p:cNvSpPr/>
                  <p:nvPr userDrawn="1"/>
                </p:nvSpPr>
                <p:spPr>
                  <a:xfrm>
                    <a:off x="8235668" y="450161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6DAE4"/>
                  </a:solidFill>
                  <a:ln w="2339" cap="flat">
                    <a:noFill/>
                    <a:prstDash val="solid"/>
                    <a:miter/>
                  </a:ln>
                </p:spPr>
                <p:txBody>
                  <a:bodyPr rtlCol="0" anchor="ctr"/>
                  <a:lstStyle/>
                  <a:p>
                    <a:endParaRPr lang="en-US" sz="2400"/>
                  </a:p>
                </p:txBody>
              </p:sp>
              <p:sp>
                <p:nvSpPr>
                  <p:cNvPr id="665" name="Freeform: Shape 664">
                    <a:extLst>
                      <a:ext uri="{FF2B5EF4-FFF2-40B4-BE49-F238E27FC236}">
                        <a16:creationId xmlns:a16="http://schemas.microsoft.com/office/drawing/2014/main" id="{8ED12C53-C062-C37E-FC15-E6BBE20633C5}"/>
                      </a:ext>
                    </a:extLst>
                  </p:cNvPr>
                  <p:cNvSpPr/>
                  <p:nvPr userDrawn="1"/>
                </p:nvSpPr>
                <p:spPr>
                  <a:xfrm>
                    <a:off x="8235247" y="450184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7DAE5"/>
                  </a:solidFill>
                  <a:ln w="2339" cap="flat">
                    <a:noFill/>
                    <a:prstDash val="solid"/>
                    <a:miter/>
                  </a:ln>
                </p:spPr>
                <p:txBody>
                  <a:bodyPr rtlCol="0" anchor="ctr"/>
                  <a:lstStyle/>
                  <a:p>
                    <a:endParaRPr lang="en-US" sz="2400"/>
                  </a:p>
                </p:txBody>
              </p:sp>
              <p:sp>
                <p:nvSpPr>
                  <p:cNvPr id="666" name="Freeform: Shape 665">
                    <a:extLst>
                      <a:ext uri="{FF2B5EF4-FFF2-40B4-BE49-F238E27FC236}">
                        <a16:creationId xmlns:a16="http://schemas.microsoft.com/office/drawing/2014/main" id="{722E0FFD-F99B-8096-A555-C06A7E4F91D7}"/>
                      </a:ext>
                    </a:extLst>
                  </p:cNvPr>
                  <p:cNvSpPr/>
                  <p:nvPr userDrawn="1"/>
                </p:nvSpPr>
                <p:spPr>
                  <a:xfrm>
                    <a:off x="8234826" y="450205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7DBE5"/>
                  </a:solidFill>
                  <a:ln w="2339" cap="flat">
                    <a:noFill/>
                    <a:prstDash val="solid"/>
                    <a:miter/>
                  </a:ln>
                </p:spPr>
                <p:txBody>
                  <a:bodyPr rtlCol="0" anchor="ctr"/>
                  <a:lstStyle/>
                  <a:p>
                    <a:endParaRPr lang="en-US" sz="2400"/>
                  </a:p>
                </p:txBody>
              </p:sp>
              <p:sp>
                <p:nvSpPr>
                  <p:cNvPr id="667" name="Freeform: Shape 666">
                    <a:extLst>
                      <a:ext uri="{FF2B5EF4-FFF2-40B4-BE49-F238E27FC236}">
                        <a16:creationId xmlns:a16="http://schemas.microsoft.com/office/drawing/2014/main" id="{2BA9600B-4E7C-FFCA-45BF-3129C0A242F0}"/>
                      </a:ext>
                    </a:extLst>
                  </p:cNvPr>
                  <p:cNvSpPr/>
                  <p:nvPr userDrawn="1"/>
                </p:nvSpPr>
                <p:spPr>
                  <a:xfrm>
                    <a:off x="8234404" y="450226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D7DBE5"/>
                  </a:solidFill>
                  <a:ln w="2339" cap="flat">
                    <a:noFill/>
                    <a:prstDash val="solid"/>
                    <a:miter/>
                  </a:ln>
                </p:spPr>
                <p:txBody>
                  <a:bodyPr rtlCol="0" anchor="ctr"/>
                  <a:lstStyle/>
                  <a:p>
                    <a:endParaRPr lang="en-US" sz="2400"/>
                  </a:p>
                </p:txBody>
              </p:sp>
              <p:sp>
                <p:nvSpPr>
                  <p:cNvPr id="668" name="Freeform: Shape 667">
                    <a:extLst>
                      <a:ext uri="{FF2B5EF4-FFF2-40B4-BE49-F238E27FC236}">
                        <a16:creationId xmlns:a16="http://schemas.microsoft.com/office/drawing/2014/main" id="{EAD42298-2F99-7AE9-A777-07BD70A0DDC3}"/>
                      </a:ext>
                    </a:extLst>
                  </p:cNvPr>
                  <p:cNvSpPr/>
                  <p:nvPr userDrawn="1"/>
                </p:nvSpPr>
                <p:spPr>
                  <a:xfrm>
                    <a:off x="8233983" y="450249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8DBE5"/>
                  </a:solidFill>
                  <a:ln w="2339" cap="flat">
                    <a:noFill/>
                    <a:prstDash val="solid"/>
                    <a:miter/>
                  </a:ln>
                </p:spPr>
                <p:txBody>
                  <a:bodyPr rtlCol="0" anchor="ctr"/>
                  <a:lstStyle/>
                  <a:p>
                    <a:endParaRPr lang="en-US" sz="2400"/>
                  </a:p>
                </p:txBody>
              </p:sp>
              <p:sp>
                <p:nvSpPr>
                  <p:cNvPr id="669" name="Freeform: Shape 668">
                    <a:extLst>
                      <a:ext uri="{FF2B5EF4-FFF2-40B4-BE49-F238E27FC236}">
                        <a16:creationId xmlns:a16="http://schemas.microsoft.com/office/drawing/2014/main" id="{128BC310-A570-D1A5-4A98-D65112E03387}"/>
                      </a:ext>
                    </a:extLst>
                  </p:cNvPr>
                  <p:cNvSpPr/>
                  <p:nvPr userDrawn="1"/>
                </p:nvSpPr>
                <p:spPr>
                  <a:xfrm>
                    <a:off x="8233585" y="450271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8DBE5"/>
                  </a:solidFill>
                  <a:ln w="2339" cap="flat">
                    <a:noFill/>
                    <a:prstDash val="solid"/>
                    <a:miter/>
                  </a:ln>
                </p:spPr>
                <p:txBody>
                  <a:bodyPr rtlCol="0" anchor="ctr"/>
                  <a:lstStyle/>
                  <a:p>
                    <a:endParaRPr lang="en-US" sz="2400"/>
                  </a:p>
                </p:txBody>
              </p:sp>
              <p:sp>
                <p:nvSpPr>
                  <p:cNvPr id="670" name="Freeform: Shape 669">
                    <a:extLst>
                      <a:ext uri="{FF2B5EF4-FFF2-40B4-BE49-F238E27FC236}">
                        <a16:creationId xmlns:a16="http://schemas.microsoft.com/office/drawing/2014/main" id="{0A0273A2-BCF9-B35C-66B6-B7AB896BB46C}"/>
                      </a:ext>
                    </a:extLst>
                  </p:cNvPr>
                  <p:cNvSpPr/>
                  <p:nvPr userDrawn="1"/>
                </p:nvSpPr>
                <p:spPr>
                  <a:xfrm>
                    <a:off x="8233164" y="450292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54"/>
                          <a:pt x="42097" y="21060"/>
                        </a:cubicBezTo>
                        <a:close/>
                      </a:path>
                    </a:pathLst>
                  </a:custGeom>
                  <a:solidFill>
                    <a:srgbClr val="D8DCE6"/>
                  </a:solidFill>
                  <a:ln w="2339" cap="flat">
                    <a:noFill/>
                    <a:prstDash val="solid"/>
                    <a:miter/>
                  </a:ln>
                </p:spPr>
                <p:txBody>
                  <a:bodyPr rtlCol="0" anchor="ctr"/>
                  <a:lstStyle/>
                  <a:p>
                    <a:endParaRPr lang="en-US" sz="2400"/>
                  </a:p>
                </p:txBody>
              </p:sp>
              <p:sp>
                <p:nvSpPr>
                  <p:cNvPr id="671" name="Freeform: Shape 670">
                    <a:extLst>
                      <a:ext uri="{FF2B5EF4-FFF2-40B4-BE49-F238E27FC236}">
                        <a16:creationId xmlns:a16="http://schemas.microsoft.com/office/drawing/2014/main" id="{2C502DDF-8257-5C47-D7A8-A47B9F56148C}"/>
                      </a:ext>
                    </a:extLst>
                  </p:cNvPr>
                  <p:cNvSpPr/>
                  <p:nvPr userDrawn="1"/>
                </p:nvSpPr>
                <p:spPr>
                  <a:xfrm>
                    <a:off x="8232766" y="450315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8DCE6"/>
                  </a:solidFill>
                  <a:ln w="2339" cap="flat">
                    <a:noFill/>
                    <a:prstDash val="solid"/>
                    <a:miter/>
                  </a:ln>
                </p:spPr>
                <p:txBody>
                  <a:bodyPr rtlCol="0" anchor="ctr"/>
                  <a:lstStyle/>
                  <a:p>
                    <a:endParaRPr lang="en-US" sz="2400"/>
                  </a:p>
                </p:txBody>
              </p:sp>
              <p:sp>
                <p:nvSpPr>
                  <p:cNvPr id="672" name="Freeform: Shape 671">
                    <a:extLst>
                      <a:ext uri="{FF2B5EF4-FFF2-40B4-BE49-F238E27FC236}">
                        <a16:creationId xmlns:a16="http://schemas.microsoft.com/office/drawing/2014/main" id="{1302409E-27B7-5266-A0FC-0B35E3F992BC}"/>
                      </a:ext>
                    </a:extLst>
                  </p:cNvPr>
                  <p:cNvSpPr/>
                  <p:nvPr userDrawn="1"/>
                </p:nvSpPr>
                <p:spPr>
                  <a:xfrm>
                    <a:off x="8232345" y="450338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9DCE6"/>
                  </a:solidFill>
                  <a:ln w="2339" cap="flat">
                    <a:noFill/>
                    <a:prstDash val="solid"/>
                    <a:miter/>
                  </a:ln>
                </p:spPr>
                <p:txBody>
                  <a:bodyPr rtlCol="0" anchor="ctr"/>
                  <a:lstStyle/>
                  <a:p>
                    <a:endParaRPr lang="en-US" sz="2400"/>
                  </a:p>
                </p:txBody>
              </p:sp>
              <p:sp>
                <p:nvSpPr>
                  <p:cNvPr id="673" name="Freeform: Shape 672">
                    <a:extLst>
                      <a:ext uri="{FF2B5EF4-FFF2-40B4-BE49-F238E27FC236}">
                        <a16:creationId xmlns:a16="http://schemas.microsoft.com/office/drawing/2014/main" id="{457BEA28-7287-A7D4-3DED-12DBD67D0B69}"/>
                      </a:ext>
                    </a:extLst>
                  </p:cNvPr>
                  <p:cNvSpPr/>
                  <p:nvPr userDrawn="1"/>
                </p:nvSpPr>
                <p:spPr>
                  <a:xfrm>
                    <a:off x="8231947" y="450359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9DCE6"/>
                  </a:solidFill>
                  <a:ln w="2339" cap="flat">
                    <a:noFill/>
                    <a:prstDash val="solid"/>
                    <a:miter/>
                  </a:ln>
                </p:spPr>
                <p:txBody>
                  <a:bodyPr rtlCol="0" anchor="ctr"/>
                  <a:lstStyle/>
                  <a:p>
                    <a:endParaRPr lang="en-US" sz="2400"/>
                  </a:p>
                </p:txBody>
              </p:sp>
              <p:sp>
                <p:nvSpPr>
                  <p:cNvPr id="674" name="Freeform: Shape 673">
                    <a:extLst>
                      <a:ext uri="{FF2B5EF4-FFF2-40B4-BE49-F238E27FC236}">
                        <a16:creationId xmlns:a16="http://schemas.microsoft.com/office/drawing/2014/main" id="{27E3455F-E8A3-0E88-C6DC-FB59D6B840EE}"/>
                      </a:ext>
                    </a:extLst>
                  </p:cNvPr>
                  <p:cNvSpPr/>
                  <p:nvPr userDrawn="1"/>
                </p:nvSpPr>
                <p:spPr>
                  <a:xfrm>
                    <a:off x="8231550" y="450383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9DDE6"/>
                  </a:solidFill>
                  <a:ln w="2339" cap="flat">
                    <a:noFill/>
                    <a:prstDash val="solid"/>
                    <a:miter/>
                  </a:ln>
                </p:spPr>
                <p:txBody>
                  <a:bodyPr rtlCol="0" anchor="ctr"/>
                  <a:lstStyle/>
                  <a:p>
                    <a:endParaRPr lang="en-US" sz="2400"/>
                  </a:p>
                </p:txBody>
              </p:sp>
              <p:sp>
                <p:nvSpPr>
                  <p:cNvPr id="675" name="Freeform: Shape 674">
                    <a:extLst>
                      <a:ext uri="{FF2B5EF4-FFF2-40B4-BE49-F238E27FC236}">
                        <a16:creationId xmlns:a16="http://schemas.microsoft.com/office/drawing/2014/main" id="{28BC0240-A859-9C5A-597B-0532851CFACB}"/>
                      </a:ext>
                    </a:extLst>
                  </p:cNvPr>
                  <p:cNvSpPr/>
                  <p:nvPr userDrawn="1"/>
                </p:nvSpPr>
                <p:spPr>
                  <a:xfrm>
                    <a:off x="8231152" y="450404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ADDE7"/>
                  </a:solidFill>
                  <a:ln w="2339" cap="flat">
                    <a:noFill/>
                    <a:prstDash val="solid"/>
                    <a:miter/>
                  </a:ln>
                </p:spPr>
                <p:txBody>
                  <a:bodyPr rtlCol="0" anchor="ctr"/>
                  <a:lstStyle/>
                  <a:p>
                    <a:endParaRPr lang="en-US" sz="2400"/>
                  </a:p>
                </p:txBody>
              </p:sp>
              <p:sp>
                <p:nvSpPr>
                  <p:cNvPr id="676" name="Freeform: Shape 675">
                    <a:extLst>
                      <a:ext uri="{FF2B5EF4-FFF2-40B4-BE49-F238E27FC236}">
                        <a16:creationId xmlns:a16="http://schemas.microsoft.com/office/drawing/2014/main" id="{7A578C52-2D13-1CC4-3245-2C51A14876BB}"/>
                      </a:ext>
                    </a:extLst>
                  </p:cNvPr>
                  <p:cNvSpPr/>
                  <p:nvPr userDrawn="1"/>
                </p:nvSpPr>
                <p:spPr>
                  <a:xfrm>
                    <a:off x="8230731" y="450427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ADDE7"/>
                  </a:solidFill>
                  <a:ln w="2339" cap="flat">
                    <a:noFill/>
                    <a:prstDash val="solid"/>
                    <a:miter/>
                  </a:ln>
                </p:spPr>
                <p:txBody>
                  <a:bodyPr rtlCol="0" anchor="ctr"/>
                  <a:lstStyle/>
                  <a:p>
                    <a:endParaRPr lang="en-US" sz="2400"/>
                  </a:p>
                </p:txBody>
              </p:sp>
              <p:sp>
                <p:nvSpPr>
                  <p:cNvPr id="677" name="Freeform: Shape 676">
                    <a:extLst>
                      <a:ext uri="{FF2B5EF4-FFF2-40B4-BE49-F238E27FC236}">
                        <a16:creationId xmlns:a16="http://schemas.microsoft.com/office/drawing/2014/main" id="{17010E2B-EECE-D08F-CB21-56D279A2C9C9}"/>
                      </a:ext>
                    </a:extLst>
                  </p:cNvPr>
                  <p:cNvSpPr/>
                  <p:nvPr userDrawn="1"/>
                </p:nvSpPr>
                <p:spPr>
                  <a:xfrm>
                    <a:off x="8230333" y="450451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ADEE7"/>
                  </a:solidFill>
                  <a:ln w="2339" cap="flat">
                    <a:noFill/>
                    <a:prstDash val="solid"/>
                    <a:miter/>
                  </a:ln>
                </p:spPr>
                <p:txBody>
                  <a:bodyPr rtlCol="0" anchor="ctr"/>
                  <a:lstStyle/>
                  <a:p>
                    <a:endParaRPr lang="en-US" sz="2400"/>
                  </a:p>
                </p:txBody>
              </p:sp>
              <p:sp>
                <p:nvSpPr>
                  <p:cNvPr id="678" name="Freeform: Shape 677">
                    <a:extLst>
                      <a:ext uri="{FF2B5EF4-FFF2-40B4-BE49-F238E27FC236}">
                        <a16:creationId xmlns:a16="http://schemas.microsoft.com/office/drawing/2014/main" id="{579E52C7-9B13-6A99-9E8A-B17A792F0DE5}"/>
                      </a:ext>
                    </a:extLst>
                  </p:cNvPr>
                  <p:cNvSpPr/>
                  <p:nvPr userDrawn="1"/>
                </p:nvSpPr>
                <p:spPr>
                  <a:xfrm>
                    <a:off x="8229958" y="450474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BDEE7"/>
                  </a:solidFill>
                  <a:ln w="2339" cap="flat">
                    <a:noFill/>
                    <a:prstDash val="solid"/>
                    <a:miter/>
                  </a:ln>
                </p:spPr>
                <p:txBody>
                  <a:bodyPr rtlCol="0" anchor="ctr"/>
                  <a:lstStyle/>
                  <a:p>
                    <a:endParaRPr lang="en-US" sz="2400"/>
                  </a:p>
                </p:txBody>
              </p:sp>
              <p:sp>
                <p:nvSpPr>
                  <p:cNvPr id="679" name="Freeform: Shape 678">
                    <a:extLst>
                      <a:ext uri="{FF2B5EF4-FFF2-40B4-BE49-F238E27FC236}">
                        <a16:creationId xmlns:a16="http://schemas.microsoft.com/office/drawing/2014/main" id="{E121E40F-1B26-6555-004C-7B0BFB7D015F}"/>
                      </a:ext>
                    </a:extLst>
                  </p:cNvPr>
                  <p:cNvSpPr/>
                  <p:nvPr userDrawn="1"/>
                </p:nvSpPr>
                <p:spPr>
                  <a:xfrm>
                    <a:off x="8229561" y="450495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BDEE7"/>
                  </a:solidFill>
                  <a:ln w="2339" cap="flat">
                    <a:noFill/>
                    <a:prstDash val="solid"/>
                    <a:miter/>
                  </a:ln>
                </p:spPr>
                <p:txBody>
                  <a:bodyPr rtlCol="0" anchor="ctr"/>
                  <a:lstStyle/>
                  <a:p>
                    <a:endParaRPr lang="en-US" sz="2400"/>
                  </a:p>
                </p:txBody>
              </p:sp>
              <p:sp>
                <p:nvSpPr>
                  <p:cNvPr id="680" name="Freeform: Shape 679">
                    <a:extLst>
                      <a:ext uri="{FF2B5EF4-FFF2-40B4-BE49-F238E27FC236}">
                        <a16:creationId xmlns:a16="http://schemas.microsoft.com/office/drawing/2014/main" id="{D2AC5DD9-5134-E44C-90E3-B9D878C450EB}"/>
                      </a:ext>
                    </a:extLst>
                  </p:cNvPr>
                  <p:cNvSpPr/>
                  <p:nvPr userDrawn="1"/>
                </p:nvSpPr>
                <p:spPr>
                  <a:xfrm>
                    <a:off x="8229163" y="450519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BDEE8"/>
                  </a:solidFill>
                  <a:ln w="2339" cap="flat">
                    <a:noFill/>
                    <a:prstDash val="solid"/>
                    <a:miter/>
                  </a:ln>
                </p:spPr>
                <p:txBody>
                  <a:bodyPr rtlCol="0" anchor="ctr"/>
                  <a:lstStyle/>
                  <a:p>
                    <a:endParaRPr lang="en-US" sz="2400"/>
                  </a:p>
                </p:txBody>
              </p:sp>
              <p:sp>
                <p:nvSpPr>
                  <p:cNvPr id="681" name="Freeform: Shape 680">
                    <a:extLst>
                      <a:ext uri="{FF2B5EF4-FFF2-40B4-BE49-F238E27FC236}">
                        <a16:creationId xmlns:a16="http://schemas.microsoft.com/office/drawing/2014/main" id="{EDEE694F-B73B-CE96-B547-F2B699D09F54}"/>
                      </a:ext>
                    </a:extLst>
                  </p:cNvPr>
                  <p:cNvSpPr/>
                  <p:nvPr userDrawn="1"/>
                </p:nvSpPr>
                <p:spPr>
                  <a:xfrm>
                    <a:off x="8228765" y="450542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CDFE8"/>
                  </a:solidFill>
                  <a:ln w="2339" cap="flat">
                    <a:noFill/>
                    <a:prstDash val="solid"/>
                    <a:miter/>
                  </a:ln>
                </p:spPr>
                <p:txBody>
                  <a:bodyPr rtlCol="0" anchor="ctr"/>
                  <a:lstStyle/>
                  <a:p>
                    <a:endParaRPr lang="en-US" sz="2400"/>
                  </a:p>
                </p:txBody>
              </p:sp>
              <p:sp>
                <p:nvSpPr>
                  <p:cNvPr id="682" name="Freeform: Shape 681">
                    <a:extLst>
                      <a:ext uri="{FF2B5EF4-FFF2-40B4-BE49-F238E27FC236}">
                        <a16:creationId xmlns:a16="http://schemas.microsoft.com/office/drawing/2014/main" id="{49A79477-F2D8-3AFA-58A5-BCF03F401402}"/>
                      </a:ext>
                    </a:extLst>
                  </p:cNvPr>
                  <p:cNvSpPr/>
                  <p:nvPr userDrawn="1"/>
                </p:nvSpPr>
                <p:spPr>
                  <a:xfrm>
                    <a:off x="8228391" y="450565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CDFE8"/>
                  </a:solidFill>
                  <a:ln w="2339" cap="flat">
                    <a:noFill/>
                    <a:prstDash val="solid"/>
                    <a:miter/>
                  </a:ln>
                </p:spPr>
                <p:txBody>
                  <a:bodyPr rtlCol="0" anchor="ctr"/>
                  <a:lstStyle/>
                  <a:p>
                    <a:endParaRPr lang="en-US" sz="2400"/>
                  </a:p>
                </p:txBody>
              </p:sp>
              <p:sp>
                <p:nvSpPr>
                  <p:cNvPr id="683" name="Freeform: Shape 682">
                    <a:extLst>
                      <a:ext uri="{FF2B5EF4-FFF2-40B4-BE49-F238E27FC236}">
                        <a16:creationId xmlns:a16="http://schemas.microsoft.com/office/drawing/2014/main" id="{F9BFF842-E039-34F0-2614-D189FCB821EE}"/>
                      </a:ext>
                    </a:extLst>
                  </p:cNvPr>
                  <p:cNvSpPr/>
                  <p:nvPr userDrawn="1"/>
                </p:nvSpPr>
                <p:spPr>
                  <a:xfrm>
                    <a:off x="8227993" y="450589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CDFE8"/>
                  </a:solidFill>
                  <a:ln w="2339" cap="flat">
                    <a:noFill/>
                    <a:prstDash val="solid"/>
                    <a:miter/>
                  </a:ln>
                </p:spPr>
                <p:txBody>
                  <a:bodyPr rtlCol="0" anchor="ctr"/>
                  <a:lstStyle/>
                  <a:p>
                    <a:endParaRPr lang="en-US" sz="2400"/>
                  </a:p>
                </p:txBody>
              </p:sp>
              <p:sp>
                <p:nvSpPr>
                  <p:cNvPr id="684" name="Freeform: Shape 683">
                    <a:extLst>
                      <a:ext uri="{FF2B5EF4-FFF2-40B4-BE49-F238E27FC236}">
                        <a16:creationId xmlns:a16="http://schemas.microsoft.com/office/drawing/2014/main" id="{6071860C-180A-1285-1F74-FBC9CBB67447}"/>
                      </a:ext>
                    </a:extLst>
                  </p:cNvPr>
                  <p:cNvSpPr/>
                  <p:nvPr userDrawn="1"/>
                </p:nvSpPr>
                <p:spPr>
                  <a:xfrm>
                    <a:off x="8227618" y="450612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CE0E8"/>
                  </a:solidFill>
                  <a:ln w="2339" cap="flat">
                    <a:noFill/>
                    <a:prstDash val="solid"/>
                    <a:miter/>
                  </a:ln>
                </p:spPr>
                <p:txBody>
                  <a:bodyPr rtlCol="0" anchor="ctr"/>
                  <a:lstStyle/>
                  <a:p>
                    <a:endParaRPr lang="en-US" sz="2400"/>
                  </a:p>
                </p:txBody>
              </p:sp>
              <p:sp>
                <p:nvSpPr>
                  <p:cNvPr id="685" name="Freeform: Shape 684">
                    <a:extLst>
                      <a:ext uri="{FF2B5EF4-FFF2-40B4-BE49-F238E27FC236}">
                        <a16:creationId xmlns:a16="http://schemas.microsoft.com/office/drawing/2014/main" id="{86D9907C-F2B0-ACC0-578C-0891DCB317E9}"/>
                      </a:ext>
                    </a:extLst>
                  </p:cNvPr>
                  <p:cNvSpPr/>
                  <p:nvPr userDrawn="1"/>
                </p:nvSpPr>
                <p:spPr>
                  <a:xfrm>
                    <a:off x="8227244" y="450636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DE0E9"/>
                  </a:solidFill>
                  <a:ln w="2339" cap="flat">
                    <a:noFill/>
                    <a:prstDash val="solid"/>
                    <a:miter/>
                  </a:ln>
                </p:spPr>
                <p:txBody>
                  <a:bodyPr rtlCol="0" anchor="ctr"/>
                  <a:lstStyle/>
                  <a:p>
                    <a:endParaRPr lang="en-US" sz="2400"/>
                  </a:p>
                </p:txBody>
              </p:sp>
              <p:sp>
                <p:nvSpPr>
                  <p:cNvPr id="686" name="Freeform: Shape 685">
                    <a:extLst>
                      <a:ext uri="{FF2B5EF4-FFF2-40B4-BE49-F238E27FC236}">
                        <a16:creationId xmlns:a16="http://schemas.microsoft.com/office/drawing/2014/main" id="{0924933F-7EA3-BF80-A043-D415589B66FC}"/>
                      </a:ext>
                    </a:extLst>
                  </p:cNvPr>
                  <p:cNvSpPr/>
                  <p:nvPr userDrawn="1"/>
                </p:nvSpPr>
                <p:spPr>
                  <a:xfrm>
                    <a:off x="8226870" y="450659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DE0E9"/>
                  </a:solidFill>
                  <a:ln w="2339" cap="flat">
                    <a:noFill/>
                    <a:prstDash val="solid"/>
                    <a:miter/>
                  </a:ln>
                </p:spPr>
                <p:txBody>
                  <a:bodyPr rtlCol="0" anchor="ctr"/>
                  <a:lstStyle/>
                  <a:p>
                    <a:endParaRPr lang="en-US" sz="2400"/>
                  </a:p>
                </p:txBody>
              </p:sp>
              <p:sp>
                <p:nvSpPr>
                  <p:cNvPr id="687" name="Freeform: Shape 686">
                    <a:extLst>
                      <a:ext uri="{FF2B5EF4-FFF2-40B4-BE49-F238E27FC236}">
                        <a16:creationId xmlns:a16="http://schemas.microsoft.com/office/drawing/2014/main" id="{CBCC6E50-B74A-3D9F-CCF4-579201008631}"/>
                      </a:ext>
                    </a:extLst>
                  </p:cNvPr>
                  <p:cNvSpPr/>
                  <p:nvPr userDrawn="1"/>
                </p:nvSpPr>
                <p:spPr>
                  <a:xfrm>
                    <a:off x="8226495" y="450682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DE0E9"/>
                  </a:solidFill>
                  <a:ln w="2339" cap="flat">
                    <a:noFill/>
                    <a:prstDash val="solid"/>
                    <a:miter/>
                  </a:ln>
                </p:spPr>
                <p:txBody>
                  <a:bodyPr rtlCol="0" anchor="ctr"/>
                  <a:lstStyle/>
                  <a:p>
                    <a:endParaRPr lang="en-US" sz="2400"/>
                  </a:p>
                </p:txBody>
              </p:sp>
              <p:sp>
                <p:nvSpPr>
                  <p:cNvPr id="688" name="Freeform: Shape 687">
                    <a:extLst>
                      <a:ext uri="{FF2B5EF4-FFF2-40B4-BE49-F238E27FC236}">
                        <a16:creationId xmlns:a16="http://schemas.microsoft.com/office/drawing/2014/main" id="{FD8B06B4-0F85-0D60-4604-8A3AC41BE8C9}"/>
                      </a:ext>
                    </a:extLst>
                  </p:cNvPr>
                  <p:cNvSpPr/>
                  <p:nvPr userDrawn="1"/>
                </p:nvSpPr>
                <p:spPr>
                  <a:xfrm>
                    <a:off x="8226121" y="450706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EE1E9"/>
                  </a:solidFill>
                  <a:ln w="2339" cap="flat">
                    <a:noFill/>
                    <a:prstDash val="solid"/>
                    <a:miter/>
                  </a:ln>
                </p:spPr>
                <p:txBody>
                  <a:bodyPr rtlCol="0" anchor="ctr"/>
                  <a:lstStyle/>
                  <a:p>
                    <a:endParaRPr lang="en-US" sz="2400"/>
                  </a:p>
                </p:txBody>
              </p:sp>
              <p:sp>
                <p:nvSpPr>
                  <p:cNvPr id="689" name="Freeform: Shape 688">
                    <a:extLst>
                      <a:ext uri="{FF2B5EF4-FFF2-40B4-BE49-F238E27FC236}">
                        <a16:creationId xmlns:a16="http://schemas.microsoft.com/office/drawing/2014/main" id="{41CAEBA4-9421-8377-BCE0-4D96F44D3A4B}"/>
                      </a:ext>
                    </a:extLst>
                  </p:cNvPr>
                  <p:cNvSpPr/>
                  <p:nvPr userDrawn="1"/>
                </p:nvSpPr>
                <p:spPr>
                  <a:xfrm>
                    <a:off x="8225746" y="450729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EE1E9"/>
                  </a:solidFill>
                  <a:ln w="2339" cap="flat">
                    <a:noFill/>
                    <a:prstDash val="solid"/>
                    <a:miter/>
                  </a:ln>
                </p:spPr>
                <p:txBody>
                  <a:bodyPr rtlCol="0" anchor="ctr"/>
                  <a:lstStyle/>
                  <a:p>
                    <a:endParaRPr lang="en-US" sz="2400"/>
                  </a:p>
                </p:txBody>
              </p:sp>
              <p:sp>
                <p:nvSpPr>
                  <p:cNvPr id="690" name="Freeform: Shape 689">
                    <a:extLst>
                      <a:ext uri="{FF2B5EF4-FFF2-40B4-BE49-F238E27FC236}">
                        <a16:creationId xmlns:a16="http://schemas.microsoft.com/office/drawing/2014/main" id="{116AE617-FE88-5210-4A09-C22C4417B137}"/>
                      </a:ext>
                    </a:extLst>
                  </p:cNvPr>
                  <p:cNvSpPr/>
                  <p:nvPr userDrawn="1"/>
                </p:nvSpPr>
                <p:spPr>
                  <a:xfrm>
                    <a:off x="8225372" y="450755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EE1EA"/>
                  </a:solidFill>
                  <a:ln w="2339" cap="flat">
                    <a:noFill/>
                    <a:prstDash val="solid"/>
                    <a:miter/>
                  </a:ln>
                </p:spPr>
                <p:txBody>
                  <a:bodyPr rtlCol="0" anchor="ctr"/>
                  <a:lstStyle/>
                  <a:p>
                    <a:endParaRPr lang="en-US" sz="2400"/>
                  </a:p>
                </p:txBody>
              </p:sp>
              <p:sp>
                <p:nvSpPr>
                  <p:cNvPr id="691" name="Freeform: Shape 690">
                    <a:extLst>
                      <a:ext uri="{FF2B5EF4-FFF2-40B4-BE49-F238E27FC236}">
                        <a16:creationId xmlns:a16="http://schemas.microsoft.com/office/drawing/2014/main" id="{3F202EBD-EB8E-10EF-C5EF-DCC442136CFA}"/>
                      </a:ext>
                    </a:extLst>
                  </p:cNvPr>
                  <p:cNvSpPr/>
                  <p:nvPr userDrawn="1"/>
                </p:nvSpPr>
                <p:spPr>
                  <a:xfrm>
                    <a:off x="8224998" y="450778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FE1EA"/>
                  </a:solidFill>
                  <a:ln w="2339" cap="flat">
                    <a:noFill/>
                    <a:prstDash val="solid"/>
                    <a:miter/>
                  </a:ln>
                </p:spPr>
                <p:txBody>
                  <a:bodyPr rtlCol="0" anchor="ctr"/>
                  <a:lstStyle/>
                  <a:p>
                    <a:endParaRPr lang="en-US" sz="2400"/>
                  </a:p>
                </p:txBody>
              </p:sp>
              <p:sp>
                <p:nvSpPr>
                  <p:cNvPr id="692" name="Freeform: Shape 691">
                    <a:extLst>
                      <a:ext uri="{FF2B5EF4-FFF2-40B4-BE49-F238E27FC236}">
                        <a16:creationId xmlns:a16="http://schemas.microsoft.com/office/drawing/2014/main" id="{6572F741-834E-451B-6CB8-161A6FC8D0E8}"/>
                      </a:ext>
                    </a:extLst>
                  </p:cNvPr>
                  <p:cNvSpPr/>
                  <p:nvPr userDrawn="1"/>
                </p:nvSpPr>
                <p:spPr>
                  <a:xfrm>
                    <a:off x="8224647" y="450802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FE2EA"/>
                  </a:solidFill>
                  <a:ln w="2339" cap="flat">
                    <a:noFill/>
                    <a:prstDash val="solid"/>
                    <a:miter/>
                  </a:ln>
                </p:spPr>
                <p:txBody>
                  <a:bodyPr rtlCol="0" anchor="ctr"/>
                  <a:lstStyle/>
                  <a:p>
                    <a:endParaRPr lang="en-US" sz="2400"/>
                  </a:p>
                </p:txBody>
              </p:sp>
              <p:sp>
                <p:nvSpPr>
                  <p:cNvPr id="693" name="Freeform: Shape 692">
                    <a:extLst>
                      <a:ext uri="{FF2B5EF4-FFF2-40B4-BE49-F238E27FC236}">
                        <a16:creationId xmlns:a16="http://schemas.microsoft.com/office/drawing/2014/main" id="{27C7F04F-3A8F-ADF6-D5E1-889FAB9D7A3D}"/>
                      </a:ext>
                    </a:extLst>
                  </p:cNvPr>
                  <p:cNvSpPr/>
                  <p:nvPr userDrawn="1"/>
                </p:nvSpPr>
                <p:spPr>
                  <a:xfrm>
                    <a:off x="8224272" y="450825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DFE2EA"/>
                  </a:solidFill>
                  <a:ln w="2339" cap="flat">
                    <a:noFill/>
                    <a:prstDash val="solid"/>
                    <a:miter/>
                  </a:ln>
                </p:spPr>
                <p:txBody>
                  <a:bodyPr rtlCol="0" anchor="ctr"/>
                  <a:lstStyle/>
                  <a:p>
                    <a:endParaRPr lang="en-US" sz="2400"/>
                  </a:p>
                </p:txBody>
              </p:sp>
              <p:sp>
                <p:nvSpPr>
                  <p:cNvPr id="694" name="Freeform: Shape 693">
                    <a:extLst>
                      <a:ext uri="{FF2B5EF4-FFF2-40B4-BE49-F238E27FC236}">
                        <a16:creationId xmlns:a16="http://schemas.microsoft.com/office/drawing/2014/main" id="{B71129C5-47E8-0FBC-FC82-0E8CAD006A9D}"/>
                      </a:ext>
                    </a:extLst>
                  </p:cNvPr>
                  <p:cNvSpPr/>
                  <p:nvPr userDrawn="1"/>
                </p:nvSpPr>
                <p:spPr>
                  <a:xfrm>
                    <a:off x="8223921" y="450851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FE2EA"/>
                  </a:solidFill>
                  <a:ln w="2339" cap="flat">
                    <a:noFill/>
                    <a:prstDash val="solid"/>
                    <a:miter/>
                  </a:ln>
                </p:spPr>
                <p:txBody>
                  <a:bodyPr rtlCol="0" anchor="ctr"/>
                  <a:lstStyle/>
                  <a:p>
                    <a:endParaRPr lang="en-US" sz="2400"/>
                  </a:p>
                </p:txBody>
              </p:sp>
              <p:sp>
                <p:nvSpPr>
                  <p:cNvPr id="695" name="Freeform: Shape 694">
                    <a:extLst>
                      <a:ext uri="{FF2B5EF4-FFF2-40B4-BE49-F238E27FC236}">
                        <a16:creationId xmlns:a16="http://schemas.microsoft.com/office/drawing/2014/main" id="{1DC50917-144B-0C07-43A1-006A999881AD}"/>
                      </a:ext>
                    </a:extLst>
                  </p:cNvPr>
                  <p:cNvSpPr/>
                  <p:nvPr userDrawn="1"/>
                </p:nvSpPr>
                <p:spPr>
                  <a:xfrm>
                    <a:off x="8223570" y="450874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0E3EB"/>
                  </a:solidFill>
                  <a:ln w="2339" cap="flat">
                    <a:noFill/>
                    <a:prstDash val="solid"/>
                    <a:miter/>
                  </a:ln>
                </p:spPr>
                <p:txBody>
                  <a:bodyPr rtlCol="0" anchor="ctr"/>
                  <a:lstStyle/>
                  <a:p>
                    <a:endParaRPr lang="en-US" sz="2400"/>
                  </a:p>
                </p:txBody>
              </p:sp>
              <p:sp>
                <p:nvSpPr>
                  <p:cNvPr id="696" name="Freeform: Shape 695">
                    <a:extLst>
                      <a:ext uri="{FF2B5EF4-FFF2-40B4-BE49-F238E27FC236}">
                        <a16:creationId xmlns:a16="http://schemas.microsoft.com/office/drawing/2014/main" id="{B73FEF94-4ED6-3CE4-6156-9690CEAF3A9E}"/>
                      </a:ext>
                    </a:extLst>
                  </p:cNvPr>
                  <p:cNvSpPr/>
                  <p:nvPr userDrawn="1"/>
                </p:nvSpPr>
                <p:spPr>
                  <a:xfrm>
                    <a:off x="8223196" y="450898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54"/>
                          <a:pt x="42097" y="21060"/>
                        </a:cubicBezTo>
                        <a:close/>
                      </a:path>
                    </a:pathLst>
                  </a:custGeom>
                  <a:solidFill>
                    <a:srgbClr val="E0E3EB"/>
                  </a:solidFill>
                  <a:ln w="2339" cap="flat">
                    <a:noFill/>
                    <a:prstDash val="solid"/>
                    <a:miter/>
                  </a:ln>
                </p:spPr>
                <p:txBody>
                  <a:bodyPr rtlCol="0" anchor="ctr"/>
                  <a:lstStyle/>
                  <a:p>
                    <a:endParaRPr lang="en-US" sz="2400"/>
                  </a:p>
                </p:txBody>
              </p:sp>
              <p:sp>
                <p:nvSpPr>
                  <p:cNvPr id="697" name="Freeform: Shape 696">
                    <a:extLst>
                      <a:ext uri="{FF2B5EF4-FFF2-40B4-BE49-F238E27FC236}">
                        <a16:creationId xmlns:a16="http://schemas.microsoft.com/office/drawing/2014/main" id="{724C5B1E-D5FD-0CED-4B92-77753B01463C}"/>
                      </a:ext>
                    </a:extLst>
                  </p:cNvPr>
                  <p:cNvSpPr/>
                  <p:nvPr userDrawn="1"/>
                </p:nvSpPr>
                <p:spPr>
                  <a:xfrm>
                    <a:off x="8222845" y="450923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0E3EB"/>
                  </a:solidFill>
                  <a:ln w="2339" cap="flat">
                    <a:noFill/>
                    <a:prstDash val="solid"/>
                    <a:miter/>
                  </a:ln>
                </p:spPr>
                <p:txBody>
                  <a:bodyPr rtlCol="0" anchor="ctr"/>
                  <a:lstStyle/>
                  <a:p>
                    <a:endParaRPr lang="en-US" sz="2400"/>
                  </a:p>
                </p:txBody>
              </p:sp>
              <p:sp>
                <p:nvSpPr>
                  <p:cNvPr id="698" name="Freeform: Shape 697">
                    <a:extLst>
                      <a:ext uri="{FF2B5EF4-FFF2-40B4-BE49-F238E27FC236}">
                        <a16:creationId xmlns:a16="http://schemas.microsoft.com/office/drawing/2014/main" id="{D6685779-9E1E-4013-8EDD-671D4B1450B2}"/>
                      </a:ext>
                    </a:extLst>
                  </p:cNvPr>
                  <p:cNvSpPr/>
                  <p:nvPr userDrawn="1"/>
                </p:nvSpPr>
                <p:spPr>
                  <a:xfrm>
                    <a:off x="8222494" y="450947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1E3EB"/>
                  </a:solidFill>
                  <a:ln w="2339" cap="flat">
                    <a:noFill/>
                    <a:prstDash val="solid"/>
                    <a:miter/>
                  </a:ln>
                </p:spPr>
                <p:txBody>
                  <a:bodyPr rtlCol="0" anchor="ctr"/>
                  <a:lstStyle/>
                  <a:p>
                    <a:endParaRPr lang="en-US" sz="2400"/>
                  </a:p>
                </p:txBody>
              </p:sp>
              <p:sp>
                <p:nvSpPr>
                  <p:cNvPr id="699" name="Freeform: Shape 698">
                    <a:extLst>
                      <a:ext uri="{FF2B5EF4-FFF2-40B4-BE49-F238E27FC236}">
                        <a16:creationId xmlns:a16="http://schemas.microsoft.com/office/drawing/2014/main" id="{BA0C2D05-8F1E-BFB6-1481-E55EFFE221A9}"/>
                      </a:ext>
                    </a:extLst>
                  </p:cNvPr>
                  <p:cNvSpPr/>
                  <p:nvPr userDrawn="1"/>
                </p:nvSpPr>
                <p:spPr>
                  <a:xfrm>
                    <a:off x="8222166" y="450973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1E4EB"/>
                  </a:solidFill>
                  <a:ln w="2339" cap="flat">
                    <a:noFill/>
                    <a:prstDash val="solid"/>
                    <a:miter/>
                  </a:ln>
                </p:spPr>
                <p:txBody>
                  <a:bodyPr rtlCol="0" anchor="ctr"/>
                  <a:lstStyle/>
                  <a:p>
                    <a:endParaRPr lang="en-US" sz="2400"/>
                  </a:p>
                </p:txBody>
              </p:sp>
              <p:sp>
                <p:nvSpPr>
                  <p:cNvPr id="700" name="Freeform: Shape 699">
                    <a:extLst>
                      <a:ext uri="{FF2B5EF4-FFF2-40B4-BE49-F238E27FC236}">
                        <a16:creationId xmlns:a16="http://schemas.microsoft.com/office/drawing/2014/main" id="{6C93E986-EDD7-D80E-717C-FFE75461BF78}"/>
                      </a:ext>
                    </a:extLst>
                  </p:cNvPr>
                  <p:cNvSpPr/>
                  <p:nvPr userDrawn="1"/>
                </p:nvSpPr>
                <p:spPr>
                  <a:xfrm>
                    <a:off x="8221815" y="450996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E1E4EC"/>
                  </a:solidFill>
                  <a:ln w="2339" cap="flat">
                    <a:noFill/>
                    <a:prstDash val="solid"/>
                    <a:miter/>
                  </a:ln>
                </p:spPr>
                <p:txBody>
                  <a:bodyPr rtlCol="0" anchor="ctr"/>
                  <a:lstStyle/>
                  <a:p>
                    <a:endParaRPr lang="en-US" sz="2400"/>
                  </a:p>
                </p:txBody>
              </p:sp>
              <p:sp>
                <p:nvSpPr>
                  <p:cNvPr id="701" name="Freeform: Shape 700">
                    <a:extLst>
                      <a:ext uri="{FF2B5EF4-FFF2-40B4-BE49-F238E27FC236}">
                        <a16:creationId xmlns:a16="http://schemas.microsoft.com/office/drawing/2014/main" id="{AC67D884-0C00-45C8-350A-9BC81D1166B0}"/>
                      </a:ext>
                    </a:extLst>
                  </p:cNvPr>
                  <p:cNvSpPr/>
                  <p:nvPr userDrawn="1"/>
                </p:nvSpPr>
                <p:spPr>
                  <a:xfrm>
                    <a:off x="8221464" y="451022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2E4EC"/>
                  </a:solidFill>
                  <a:ln w="2339" cap="flat">
                    <a:noFill/>
                    <a:prstDash val="solid"/>
                    <a:miter/>
                  </a:ln>
                </p:spPr>
                <p:txBody>
                  <a:bodyPr rtlCol="0" anchor="ctr"/>
                  <a:lstStyle/>
                  <a:p>
                    <a:endParaRPr lang="en-US" sz="2400"/>
                  </a:p>
                </p:txBody>
              </p:sp>
              <p:sp>
                <p:nvSpPr>
                  <p:cNvPr id="702" name="Freeform: Shape 701">
                    <a:extLst>
                      <a:ext uri="{FF2B5EF4-FFF2-40B4-BE49-F238E27FC236}">
                        <a16:creationId xmlns:a16="http://schemas.microsoft.com/office/drawing/2014/main" id="{257F51C0-BB05-5C03-215A-65DBF1A5C9E2}"/>
                      </a:ext>
                    </a:extLst>
                  </p:cNvPr>
                  <p:cNvSpPr/>
                  <p:nvPr userDrawn="1"/>
                </p:nvSpPr>
                <p:spPr>
                  <a:xfrm>
                    <a:off x="8221113" y="451047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2E5EC"/>
                  </a:solidFill>
                  <a:ln w="2339" cap="flat">
                    <a:noFill/>
                    <a:prstDash val="solid"/>
                    <a:miter/>
                  </a:ln>
                </p:spPr>
                <p:txBody>
                  <a:bodyPr rtlCol="0" anchor="ctr"/>
                  <a:lstStyle/>
                  <a:p>
                    <a:endParaRPr lang="en-US" sz="2400"/>
                  </a:p>
                </p:txBody>
              </p:sp>
              <p:sp>
                <p:nvSpPr>
                  <p:cNvPr id="703" name="Freeform: Shape 702">
                    <a:extLst>
                      <a:ext uri="{FF2B5EF4-FFF2-40B4-BE49-F238E27FC236}">
                        <a16:creationId xmlns:a16="http://schemas.microsoft.com/office/drawing/2014/main" id="{9B6805BA-DDC1-23DF-84B7-0C44E8A941BF}"/>
                      </a:ext>
                    </a:extLst>
                  </p:cNvPr>
                  <p:cNvSpPr/>
                  <p:nvPr userDrawn="1"/>
                </p:nvSpPr>
                <p:spPr>
                  <a:xfrm>
                    <a:off x="8220786" y="451071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2E5EC"/>
                  </a:solidFill>
                  <a:ln w="2339" cap="flat">
                    <a:noFill/>
                    <a:prstDash val="solid"/>
                    <a:miter/>
                  </a:ln>
                </p:spPr>
                <p:txBody>
                  <a:bodyPr rtlCol="0" anchor="ctr"/>
                  <a:lstStyle/>
                  <a:p>
                    <a:endParaRPr lang="en-US" sz="2400"/>
                  </a:p>
                </p:txBody>
              </p:sp>
              <p:sp>
                <p:nvSpPr>
                  <p:cNvPr id="704" name="Freeform: Shape 703">
                    <a:extLst>
                      <a:ext uri="{FF2B5EF4-FFF2-40B4-BE49-F238E27FC236}">
                        <a16:creationId xmlns:a16="http://schemas.microsoft.com/office/drawing/2014/main" id="{09A91D92-DFAF-D550-B303-652B00A8D7C3}"/>
                      </a:ext>
                    </a:extLst>
                  </p:cNvPr>
                  <p:cNvSpPr/>
                  <p:nvPr userDrawn="1"/>
                </p:nvSpPr>
                <p:spPr>
                  <a:xfrm>
                    <a:off x="8220458" y="451097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3E5EC"/>
                  </a:solidFill>
                  <a:ln w="2339" cap="flat">
                    <a:noFill/>
                    <a:prstDash val="solid"/>
                    <a:miter/>
                  </a:ln>
                </p:spPr>
                <p:txBody>
                  <a:bodyPr rtlCol="0" anchor="ctr"/>
                  <a:lstStyle/>
                  <a:p>
                    <a:endParaRPr lang="en-US" sz="2400"/>
                  </a:p>
                </p:txBody>
              </p:sp>
              <p:sp>
                <p:nvSpPr>
                  <p:cNvPr id="705" name="Freeform: Shape 704">
                    <a:extLst>
                      <a:ext uri="{FF2B5EF4-FFF2-40B4-BE49-F238E27FC236}">
                        <a16:creationId xmlns:a16="http://schemas.microsoft.com/office/drawing/2014/main" id="{42D678D0-BDB0-F2C6-0345-0E4615C1FA27}"/>
                      </a:ext>
                    </a:extLst>
                  </p:cNvPr>
                  <p:cNvSpPr/>
                  <p:nvPr userDrawn="1"/>
                </p:nvSpPr>
                <p:spPr>
                  <a:xfrm>
                    <a:off x="8220107" y="451122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3E5ED"/>
                  </a:solidFill>
                  <a:ln w="2339" cap="flat">
                    <a:noFill/>
                    <a:prstDash val="solid"/>
                    <a:miter/>
                  </a:ln>
                </p:spPr>
                <p:txBody>
                  <a:bodyPr rtlCol="0" anchor="ctr"/>
                  <a:lstStyle/>
                  <a:p>
                    <a:endParaRPr lang="en-US" sz="2400"/>
                  </a:p>
                </p:txBody>
              </p:sp>
              <p:sp>
                <p:nvSpPr>
                  <p:cNvPr id="706" name="Freeform: Shape 705">
                    <a:extLst>
                      <a:ext uri="{FF2B5EF4-FFF2-40B4-BE49-F238E27FC236}">
                        <a16:creationId xmlns:a16="http://schemas.microsoft.com/office/drawing/2014/main" id="{384351D3-3FFE-7D65-ECA0-E74BA75A924C}"/>
                      </a:ext>
                    </a:extLst>
                  </p:cNvPr>
                  <p:cNvSpPr/>
                  <p:nvPr userDrawn="1"/>
                </p:nvSpPr>
                <p:spPr>
                  <a:xfrm>
                    <a:off x="8219779" y="451146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3E6ED"/>
                  </a:solidFill>
                  <a:ln w="2339" cap="flat">
                    <a:noFill/>
                    <a:prstDash val="solid"/>
                    <a:miter/>
                  </a:ln>
                </p:spPr>
                <p:txBody>
                  <a:bodyPr rtlCol="0" anchor="ctr"/>
                  <a:lstStyle/>
                  <a:p>
                    <a:endParaRPr lang="en-US" sz="2400"/>
                  </a:p>
                </p:txBody>
              </p:sp>
              <p:sp>
                <p:nvSpPr>
                  <p:cNvPr id="707" name="Freeform: Shape 706">
                    <a:extLst>
                      <a:ext uri="{FF2B5EF4-FFF2-40B4-BE49-F238E27FC236}">
                        <a16:creationId xmlns:a16="http://schemas.microsoft.com/office/drawing/2014/main" id="{F81BD2D1-6965-A2D6-6BDB-9E88DA802E09}"/>
                      </a:ext>
                    </a:extLst>
                  </p:cNvPr>
                  <p:cNvSpPr/>
                  <p:nvPr userDrawn="1"/>
                </p:nvSpPr>
                <p:spPr>
                  <a:xfrm>
                    <a:off x="8219452" y="451171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3E6ED"/>
                  </a:solidFill>
                  <a:ln w="2339" cap="flat">
                    <a:noFill/>
                    <a:prstDash val="solid"/>
                    <a:miter/>
                  </a:ln>
                </p:spPr>
                <p:txBody>
                  <a:bodyPr rtlCol="0" anchor="ctr"/>
                  <a:lstStyle/>
                  <a:p>
                    <a:endParaRPr lang="en-US" sz="2400"/>
                  </a:p>
                </p:txBody>
              </p:sp>
              <p:sp>
                <p:nvSpPr>
                  <p:cNvPr id="708" name="Freeform: Shape 707">
                    <a:extLst>
                      <a:ext uri="{FF2B5EF4-FFF2-40B4-BE49-F238E27FC236}">
                        <a16:creationId xmlns:a16="http://schemas.microsoft.com/office/drawing/2014/main" id="{20056DDD-6C1D-9C75-94D7-B430F8DC85F8}"/>
                      </a:ext>
                    </a:extLst>
                  </p:cNvPr>
                  <p:cNvSpPr/>
                  <p:nvPr userDrawn="1"/>
                </p:nvSpPr>
                <p:spPr>
                  <a:xfrm>
                    <a:off x="8219124" y="451197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4E6ED"/>
                  </a:solidFill>
                  <a:ln w="2339" cap="flat">
                    <a:noFill/>
                    <a:prstDash val="solid"/>
                    <a:miter/>
                  </a:ln>
                </p:spPr>
                <p:txBody>
                  <a:bodyPr rtlCol="0" anchor="ctr"/>
                  <a:lstStyle/>
                  <a:p>
                    <a:endParaRPr lang="en-US" sz="2400"/>
                  </a:p>
                </p:txBody>
              </p:sp>
              <p:sp>
                <p:nvSpPr>
                  <p:cNvPr id="709" name="Freeform: Shape 708">
                    <a:extLst>
                      <a:ext uri="{FF2B5EF4-FFF2-40B4-BE49-F238E27FC236}">
                        <a16:creationId xmlns:a16="http://schemas.microsoft.com/office/drawing/2014/main" id="{BE9F9AB2-79C0-9381-5B4D-36A55CB05AB5}"/>
                      </a:ext>
                    </a:extLst>
                  </p:cNvPr>
                  <p:cNvSpPr/>
                  <p:nvPr userDrawn="1"/>
                </p:nvSpPr>
                <p:spPr>
                  <a:xfrm>
                    <a:off x="8218797" y="451223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4E6ED"/>
                  </a:solidFill>
                  <a:ln w="2339" cap="flat">
                    <a:noFill/>
                    <a:prstDash val="solid"/>
                    <a:miter/>
                  </a:ln>
                </p:spPr>
                <p:txBody>
                  <a:bodyPr rtlCol="0" anchor="ctr"/>
                  <a:lstStyle/>
                  <a:p>
                    <a:endParaRPr lang="en-US" sz="2400"/>
                  </a:p>
                </p:txBody>
              </p:sp>
              <p:sp>
                <p:nvSpPr>
                  <p:cNvPr id="710" name="Freeform: Shape 709">
                    <a:extLst>
                      <a:ext uri="{FF2B5EF4-FFF2-40B4-BE49-F238E27FC236}">
                        <a16:creationId xmlns:a16="http://schemas.microsoft.com/office/drawing/2014/main" id="{9D7D7694-D1F6-4403-E681-3C20BA9CE0D4}"/>
                      </a:ext>
                    </a:extLst>
                  </p:cNvPr>
                  <p:cNvSpPr/>
                  <p:nvPr userDrawn="1"/>
                </p:nvSpPr>
                <p:spPr>
                  <a:xfrm>
                    <a:off x="8218492" y="451249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4E7EE"/>
                  </a:solidFill>
                  <a:ln w="2339" cap="flat">
                    <a:noFill/>
                    <a:prstDash val="solid"/>
                    <a:miter/>
                  </a:ln>
                </p:spPr>
                <p:txBody>
                  <a:bodyPr rtlCol="0" anchor="ctr"/>
                  <a:lstStyle/>
                  <a:p>
                    <a:endParaRPr lang="en-US" sz="2400"/>
                  </a:p>
                </p:txBody>
              </p:sp>
              <p:sp>
                <p:nvSpPr>
                  <p:cNvPr id="711" name="Freeform: Shape 710">
                    <a:extLst>
                      <a:ext uri="{FF2B5EF4-FFF2-40B4-BE49-F238E27FC236}">
                        <a16:creationId xmlns:a16="http://schemas.microsoft.com/office/drawing/2014/main" id="{9B5CDE67-028B-180A-0713-8FB8841516C2}"/>
                      </a:ext>
                    </a:extLst>
                  </p:cNvPr>
                  <p:cNvSpPr/>
                  <p:nvPr userDrawn="1"/>
                </p:nvSpPr>
                <p:spPr>
                  <a:xfrm>
                    <a:off x="8218165" y="451274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5E7EE"/>
                  </a:solidFill>
                  <a:ln w="2339" cap="flat">
                    <a:noFill/>
                    <a:prstDash val="solid"/>
                    <a:miter/>
                  </a:ln>
                </p:spPr>
                <p:txBody>
                  <a:bodyPr rtlCol="0" anchor="ctr"/>
                  <a:lstStyle/>
                  <a:p>
                    <a:endParaRPr lang="en-US" sz="2400"/>
                  </a:p>
                </p:txBody>
              </p:sp>
              <p:sp>
                <p:nvSpPr>
                  <p:cNvPr id="712" name="Freeform: Shape 711">
                    <a:extLst>
                      <a:ext uri="{FF2B5EF4-FFF2-40B4-BE49-F238E27FC236}">
                        <a16:creationId xmlns:a16="http://schemas.microsoft.com/office/drawing/2014/main" id="{D71D966A-88E9-8084-3FE9-BCEECA04A69C}"/>
                      </a:ext>
                    </a:extLst>
                  </p:cNvPr>
                  <p:cNvSpPr/>
                  <p:nvPr userDrawn="1"/>
                </p:nvSpPr>
                <p:spPr>
                  <a:xfrm>
                    <a:off x="8217837" y="451300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5E7EE"/>
                  </a:solidFill>
                  <a:ln w="2339" cap="flat">
                    <a:noFill/>
                    <a:prstDash val="solid"/>
                    <a:miter/>
                  </a:ln>
                </p:spPr>
                <p:txBody>
                  <a:bodyPr rtlCol="0" anchor="ctr"/>
                  <a:lstStyle/>
                  <a:p>
                    <a:endParaRPr lang="en-US" sz="2400"/>
                  </a:p>
                </p:txBody>
              </p:sp>
              <p:sp>
                <p:nvSpPr>
                  <p:cNvPr id="713" name="Freeform: Shape 712">
                    <a:extLst>
                      <a:ext uri="{FF2B5EF4-FFF2-40B4-BE49-F238E27FC236}">
                        <a16:creationId xmlns:a16="http://schemas.microsoft.com/office/drawing/2014/main" id="{6B039D51-53B1-6EF9-287A-F2F0FE47F4F4}"/>
                      </a:ext>
                    </a:extLst>
                  </p:cNvPr>
                  <p:cNvSpPr/>
                  <p:nvPr userDrawn="1"/>
                </p:nvSpPr>
                <p:spPr>
                  <a:xfrm>
                    <a:off x="8217533" y="451326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5E8EE"/>
                  </a:solidFill>
                  <a:ln w="2339" cap="flat">
                    <a:noFill/>
                    <a:prstDash val="solid"/>
                    <a:miter/>
                  </a:ln>
                </p:spPr>
                <p:txBody>
                  <a:bodyPr rtlCol="0" anchor="ctr"/>
                  <a:lstStyle/>
                  <a:p>
                    <a:endParaRPr lang="en-US" sz="2400"/>
                  </a:p>
                </p:txBody>
              </p:sp>
              <p:sp>
                <p:nvSpPr>
                  <p:cNvPr id="714" name="Freeform: Shape 713">
                    <a:extLst>
                      <a:ext uri="{FF2B5EF4-FFF2-40B4-BE49-F238E27FC236}">
                        <a16:creationId xmlns:a16="http://schemas.microsoft.com/office/drawing/2014/main" id="{AD3558CE-EC06-B6BB-5A0B-666C3860D4BC}"/>
                      </a:ext>
                    </a:extLst>
                  </p:cNvPr>
                  <p:cNvSpPr/>
                  <p:nvPr userDrawn="1"/>
                </p:nvSpPr>
                <p:spPr>
                  <a:xfrm>
                    <a:off x="8217112" y="451359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6E8EE"/>
                  </a:solidFill>
                  <a:ln w="2339" cap="flat">
                    <a:noFill/>
                    <a:prstDash val="solid"/>
                    <a:miter/>
                  </a:ln>
                </p:spPr>
                <p:txBody>
                  <a:bodyPr rtlCol="0" anchor="ctr"/>
                  <a:lstStyle/>
                  <a:p>
                    <a:endParaRPr lang="en-US" sz="2400"/>
                  </a:p>
                </p:txBody>
              </p:sp>
              <p:sp>
                <p:nvSpPr>
                  <p:cNvPr id="715" name="Freeform: Shape 714">
                    <a:extLst>
                      <a:ext uri="{FF2B5EF4-FFF2-40B4-BE49-F238E27FC236}">
                        <a16:creationId xmlns:a16="http://schemas.microsoft.com/office/drawing/2014/main" id="{05A13242-A1B4-7FAA-3A78-C5DF470A9DB9}"/>
                      </a:ext>
                    </a:extLst>
                  </p:cNvPr>
                  <p:cNvSpPr/>
                  <p:nvPr userDrawn="1"/>
                </p:nvSpPr>
                <p:spPr>
                  <a:xfrm>
                    <a:off x="8216620" y="451401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6E8EF"/>
                  </a:solidFill>
                  <a:ln w="2339" cap="flat">
                    <a:noFill/>
                    <a:prstDash val="solid"/>
                    <a:miter/>
                  </a:ln>
                </p:spPr>
                <p:txBody>
                  <a:bodyPr rtlCol="0" anchor="ctr"/>
                  <a:lstStyle/>
                  <a:p>
                    <a:endParaRPr lang="en-US" sz="2400"/>
                  </a:p>
                </p:txBody>
              </p:sp>
              <p:sp>
                <p:nvSpPr>
                  <p:cNvPr id="716" name="Freeform: Shape 715">
                    <a:extLst>
                      <a:ext uri="{FF2B5EF4-FFF2-40B4-BE49-F238E27FC236}">
                        <a16:creationId xmlns:a16="http://schemas.microsoft.com/office/drawing/2014/main" id="{B6DF12CB-A161-45E5-CC24-59BAF90E1363}"/>
                      </a:ext>
                    </a:extLst>
                  </p:cNvPr>
                  <p:cNvSpPr/>
                  <p:nvPr userDrawn="1"/>
                </p:nvSpPr>
                <p:spPr>
                  <a:xfrm>
                    <a:off x="8216152" y="451441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6E8EF"/>
                  </a:solidFill>
                  <a:ln w="2339" cap="flat">
                    <a:noFill/>
                    <a:prstDash val="solid"/>
                    <a:miter/>
                  </a:ln>
                </p:spPr>
                <p:txBody>
                  <a:bodyPr rtlCol="0" anchor="ctr"/>
                  <a:lstStyle/>
                  <a:p>
                    <a:endParaRPr lang="en-US" sz="2400"/>
                  </a:p>
                </p:txBody>
              </p:sp>
              <p:sp>
                <p:nvSpPr>
                  <p:cNvPr id="717" name="Freeform: Shape 716">
                    <a:extLst>
                      <a:ext uri="{FF2B5EF4-FFF2-40B4-BE49-F238E27FC236}">
                        <a16:creationId xmlns:a16="http://schemas.microsoft.com/office/drawing/2014/main" id="{3CF734BA-B7F8-C318-1BED-CB5E42C4EFA9}"/>
                      </a:ext>
                    </a:extLst>
                  </p:cNvPr>
                  <p:cNvSpPr/>
                  <p:nvPr userDrawn="1"/>
                </p:nvSpPr>
                <p:spPr>
                  <a:xfrm>
                    <a:off x="8215684" y="451480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7E9EF"/>
                  </a:solidFill>
                  <a:ln w="2339" cap="flat">
                    <a:noFill/>
                    <a:prstDash val="solid"/>
                    <a:miter/>
                  </a:ln>
                </p:spPr>
                <p:txBody>
                  <a:bodyPr rtlCol="0" anchor="ctr"/>
                  <a:lstStyle/>
                  <a:p>
                    <a:endParaRPr lang="en-US" sz="2400"/>
                  </a:p>
                </p:txBody>
              </p:sp>
              <p:sp>
                <p:nvSpPr>
                  <p:cNvPr id="718" name="Freeform: Shape 717">
                    <a:extLst>
                      <a:ext uri="{FF2B5EF4-FFF2-40B4-BE49-F238E27FC236}">
                        <a16:creationId xmlns:a16="http://schemas.microsoft.com/office/drawing/2014/main" id="{5B2500D6-6E29-D596-39B8-207ED88FD786}"/>
                      </a:ext>
                    </a:extLst>
                  </p:cNvPr>
                  <p:cNvSpPr/>
                  <p:nvPr userDrawn="1"/>
                </p:nvSpPr>
                <p:spPr>
                  <a:xfrm>
                    <a:off x="8215193" y="451522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7E9EF"/>
                  </a:solidFill>
                  <a:ln w="2339" cap="flat">
                    <a:noFill/>
                    <a:prstDash val="solid"/>
                    <a:miter/>
                  </a:ln>
                </p:spPr>
                <p:txBody>
                  <a:bodyPr rtlCol="0" anchor="ctr"/>
                  <a:lstStyle/>
                  <a:p>
                    <a:endParaRPr lang="en-US" sz="2400"/>
                  </a:p>
                </p:txBody>
              </p:sp>
              <p:sp>
                <p:nvSpPr>
                  <p:cNvPr id="719" name="Freeform: Shape 718">
                    <a:extLst>
                      <a:ext uri="{FF2B5EF4-FFF2-40B4-BE49-F238E27FC236}">
                        <a16:creationId xmlns:a16="http://schemas.microsoft.com/office/drawing/2014/main" id="{2C81E99E-1A51-F229-0C45-A638E18308E4}"/>
                      </a:ext>
                    </a:extLst>
                  </p:cNvPr>
                  <p:cNvSpPr/>
                  <p:nvPr userDrawn="1"/>
                </p:nvSpPr>
                <p:spPr>
                  <a:xfrm>
                    <a:off x="8214725" y="451562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7E9EF"/>
                  </a:solidFill>
                  <a:ln w="2339" cap="flat">
                    <a:noFill/>
                    <a:prstDash val="solid"/>
                    <a:miter/>
                  </a:ln>
                </p:spPr>
                <p:txBody>
                  <a:bodyPr rtlCol="0" anchor="ctr"/>
                  <a:lstStyle/>
                  <a:p>
                    <a:endParaRPr lang="en-US" sz="2400"/>
                  </a:p>
                </p:txBody>
              </p:sp>
              <p:sp>
                <p:nvSpPr>
                  <p:cNvPr id="720" name="Freeform: Shape 719">
                    <a:extLst>
                      <a:ext uri="{FF2B5EF4-FFF2-40B4-BE49-F238E27FC236}">
                        <a16:creationId xmlns:a16="http://schemas.microsoft.com/office/drawing/2014/main" id="{530440E6-BA60-13D8-753A-0961975F099F}"/>
                      </a:ext>
                    </a:extLst>
                  </p:cNvPr>
                  <p:cNvSpPr/>
                  <p:nvPr userDrawn="1"/>
                </p:nvSpPr>
                <p:spPr>
                  <a:xfrm>
                    <a:off x="8214280" y="451604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7EAF0"/>
                  </a:solidFill>
                  <a:ln w="2339" cap="flat">
                    <a:noFill/>
                    <a:prstDash val="solid"/>
                    <a:miter/>
                  </a:ln>
                </p:spPr>
                <p:txBody>
                  <a:bodyPr rtlCol="0" anchor="ctr"/>
                  <a:lstStyle/>
                  <a:p>
                    <a:endParaRPr lang="en-US" sz="2400"/>
                  </a:p>
                </p:txBody>
              </p:sp>
              <p:sp>
                <p:nvSpPr>
                  <p:cNvPr id="721" name="Freeform: Shape 720">
                    <a:extLst>
                      <a:ext uri="{FF2B5EF4-FFF2-40B4-BE49-F238E27FC236}">
                        <a16:creationId xmlns:a16="http://schemas.microsoft.com/office/drawing/2014/main" id="{0123F08A-C621-3F23-46BA-C7CF6689B775}"/>
                      </a:ext>
                    </a:extLst>
                  </p:cNvPr>
                  <p:cNvSpPr/>
                  <p:nvPr userDrawn="1"/>
                </p:nvSpPr>
                <p:spPr>
                  <a:xfrm>
                    <a:off x="8213812" y="451646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8EAF0"/>
                  </a:solidFill>
                  <a:ln w="2339" cap="flat">
                    <a:noFill/>
                    <a:prstDash val="solid"/>
                    <a:miter/>
                  </a:ln>
                </p:spPr>
                <p:txBody>
                  <a:bodyPr rtlCol="0" anchor="ctr"/>
                  <a:lstStyle/>
                  <a:p>
                    <a:endParaRPr lang="en-US" sz="2400"/>
                  </a:p>
                </p:txBody>
              </p:sp>
              <p:sp>
                <p:nvSpPr>
                  <p:cNvPr id="722" name="Freeform: Shape 721">
                    <a:extLst>
                      <a:ext uri="{FF2B5EF4-FFF2-40B4-BE49-F238E27FC236}">
                        <a16:creationId xmlns:a16="http://schemas.microsoft.com/office/drawing/2014/main" id="{ECE64344-7315-EF3B-D964-D5553E0C82D8}"/>
                      </a:ext>
                    </a:extLst>
                  </p:cNvPr>
                  <p:cNvSpPr/>
                  <p:nvPr userDrawn="1"/>
                </p:nvSpPr>
                <p:spPr>
                  <a:xfrm>
                    <a:off x="8213368" y="451686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8EAF0"/>
                  </a:solidFill>
                  <a:ln w="2339" cap="flat">
                    <a:noFill/>
                    <a:prstDash val="solid"/>
                    <a:miter/>
                  </a:ln>
                </p:spPr>
                <p:txBody>
                  <a:bodyPr rtlCol="0" anchor="ctr"/>
                  <a:lstStyle/>
                  <a:p>
                    <a:endParaRPr lang="en-US" sz="2400"/>
                  </a:p>
                </p:txBody>
              </p:sp>
              <p:sp>
                <p:nvSpPr>
                  <p:cNvPr id="723" name="Freeform: Shape 722">
                    <a:extLst>
                      <a:ext uri="{FF2B5EF4-FFF2-40B4-BE49-F238E27FC236}">
                        <a16:creationId xmlns:a16="http://schemas.microsoft.com/office/drawing/2014/main" id="{8DD7F0DC-8E6C-F0A9-A256-AD96FE461221}"/>
                      </a:ext>
                    </a:extLst>
                  </p:cNvPr>
                  <p:cNvSpPr/>
                  <p:nvPr userDrawn="1"/>
                </p:nvSpPr>
                <p:spPr>
                  <a:xfrm>
                    <a:off x="8212923" y="451728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8EAF0"/>
                  </a:solidFill>
                  <a:ln w="2339" cap="flat">
                    <a:noFill/>
                    <a:prstDash val="solid"/>
                    <a:miter/>
                  </a:ln>
                </p:spPr>
                <p:txBody>
                  <a:bodyPr rtlCol="0" anchor="ctr"/>
                  <a:lstStyle/>
                  <a:p>
                    <a:endParaRPr lang="en-US" sz="2400"/>
                  </a:p>
                </p:txBody>
              </p:sp>
              <p:sp>
                <p:nvSpPr>
                  <p:cNvPr id="724" name="Freeform: Shape 723">
                    <a:extLst>
                      <a:ext uri="{FF2B5EF4-FFF2-40B4-BE49-F238E27FC236}">
                        <a16:creationId xmlns:a16="http://schemas.microsoft.com/office/drawing/2014/main" id="{02799B33-F3B7-DB87-CD26-8F9E67AFA7B1}"/>
                      </a:ext>
                    </a:extLst>
                  </p:cNvPr>
                  <p:cNvSpPr/>
                  <p:nvPr userDrawn="1"/>
                </p:nvSpPr>
                <p:spPr>
                  <a:xfrm>
                    <a:off x="8212478" y="451768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9EBF0"/>
                  </a:solidFill>
                  <a:ln w="2339" cap="flat">
                    <a:noFill/>
                    <a:prstDash val="solid"/>
                    <a:miter/>
                  </a:ln>
                </p:spPr>
                <p:txBody>
                  <a:bodyPr rtlCol="0" anchor="ctr"/>
                  <a:lstStyle/>
                  <a:p>
                    <a:endParaRPr lang="en-US" sz="2400"/>
                  </a:p>
                </p:txBody>
              </p:sp>
              <p:sp>
                <p:nvSpPr>
                  <p:cNvPr id="725" name="Freeform: Shape 724">
                    <a:extLst>
                      <a:ext uri="{FF2B5EF4-FFF2-40B4-BE49-F238E27FC236}">
                        <a16:creationId xmlns:a16="http://schemas.microsoft.com/office/drawing/2014/main" id="{AA391193-096F-D02B-BF81-A55EAEA88B73}"/>
                      </a:ext>
                    </a:extLst>
                  </p:cNvPr>
                  <p:cNvSpPr/>
                  <p:nvPr userDrawn="1"/>
                </p:nvSpPr>
                <p:spPr>
                  <a:xfrm>
                    <a:off x="8212057" y="451810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9EBF1"/>
                  </a:solidFill>
                  <a:ln w="2339" cap="flat">
                    <a:noFill/>
                    <a:prstDash val="solid"/>
                    <a:miter/>
                  </a:ln>
                </p:spPr>
                <p:txBody>
                  <a:bodyPr rtlCol="0" anchor="ctr"/>
                  <a:lstStyle/>
                  <a:p>
                    <a:endParaRPr lang="en-US" sz="2400"/>
                  </a:p>
                </p:txBody>
              </p:sp>
              <p:sp>
                <p:nvSpPr>
                  <p:cNvPr id="726" name="Freeform: Shape 725">
                    <a:extLst>
                      <a:ext uri="{FF2B5EF4-FFF2-40B4-BE49-F238E27FC236}">
                        <a16:creationId xmlns:a16="http://schemas.microsoft.com/office/drawing/2014/main" id="{B4EE2041-9F77-F493-89A4-620EDEB72431}"/>
                      </a:ext>
                    </a:extLst>
                  </p:cNvPr>
                  <p:cNvSpPr/>
                  <p:nvPr userDrawn="1"/>
                </p:nvSpPr>
                <p:spPr>
                  <a:xfrm>
                    <a:off x="8211613" y="451852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9EBF1"/>
                  </a:solidFill>
                  <a:ln w="2339" cap="flat">
                    <a:noFill/>
                    <a:prstDash val="solid"/>
                    <a:miter/>
                  </a:ln>
                </p:spPr>
                <p:txBody>
                  <a:bodyPr rtlCol="0" anchor="ctr"/>
                  <a:lstStyle/>
                  <a:p>
                    <a:endParaRPr lang="en-US" sz="2400"/>
                  </a:p>
                </p:txBody>
              </p:sp>
              <p:sp>
                <p:nvSpPr>
                  <p:cNvPr id="727" name="Freeform: Shape 726">
                    <a:extLst>
                      <a:ext uri="{FF2B5EF4-FFF2-40B4-BE49-F238E27FC236}">
                        <a16:creationId xmlns:a16="http://schemas.microsoft.com/office/drawing/2014/main" id="{37B18D5B-6B0A-6D3D-7DA0-D57DCAB38B12}"/>
                      </a:ext>
                    </a:extLst>
                  </p:cNvPr>
                  <p:cNvSpPr/>
                  <p:nvPr userDrawn="1"/>
                </p:nvSpPr>
                <p:spPr>
                  <a:xfrm>
                    <a:off x="8211191" y="451892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AECF1"/>
                  </a:solidFill>
                  <a:ln w="2339" cap="flat">
                    <a:noFill/>
                    <a:prstDash val="solid"/>
                    <a:miter/>
                  </a:ln>
                </p:spPr>
                <p:txBody>
                  <a:bodyPr rtlCol="0" anchor="ctr"/>
                  <a:lstStyle/>
                  <a:p>
                    <a:endParaRPr lang="en-US" sz="2400"/>
                  </a:p>
                </p:txBody>
              </p:sp>
              <p:sp>
                <p:nvSpPr>
                  <p:cNvPr id="728" name="Freeform: Shape 727">
                    <a:extLst>
                      <a:ext uri="{FF2B5EF4-FFF2-40B4-BE49-F238E27FC236}">
                        <a16:creationId xmlns:a16="http://schemas.microsoft.com/office/drawing/2014/main" id="{87D64452-E02A-9E79-7FFA-C86CFA9444DB}"/>
                      </a:ext>
                    </a:extLst>
                  </p:cNvPr>
                  <p:cNvSpPr/>
                  <p:nvPr userDrawn="1"/>
                </p:nvSpPr>
                <p:spPr>
                  <a:xfrm>
                    <a:off x="8210770" y="451934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AECF1"/>
                  </a:solidFill>
                  <a:ln w="2339" cap="flat">
                    <a:noFill/>
                    <a:prstDash val="solid"/>
                    <a:miter/>
                  </a:ln>
                </p:spPr>
                <p:txBody>
                  <a:bodyPr rtlCol="0" anchor="ctr"/>
                  <a:lstStyle/>
                  <a:p>
                    <a:endParaRPr lang="en-US" sz="2400"/>
                  </a:p>
                </p:txBody>
              </p:sp>
              <p:sp>
                <p:nvSpPr>
                  <p:cNvPr id="729" name="Freeform: Shape 728">
                    <a:extLst>
                      <a:ext uri="{FF2B5EF4-FFF2-40B4-BE49-F238E27FC236}">
                        <a16:creationId xmlns:a16="http://schemas.microsoft.com/office/drawing/2014/main" id="{E145CCFF-900A-6B2A-A199-FB3F2E61251D}"/>
                      </a:ext>
                    </a:extLst>
                  </p:cNvPr>
                  <p:cNvSpPr/>
                  <p:nvPr userDrawn="1"/>
                </p:nvSpPr>
                <p:spPr>
                  <a:xfrm>
                    <a:off x="8210372" y="451976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AECF1"/>
                  </a:solidFill>
                  <a:ln w="2339" cap="flat">
                    <a:noFill/>
                    <a:prstDash val="solid"/>
                    <a:miter/>
                  </a:ln>
                </p:spPr>
                <p:txBody>
                  <a:bodyPr rtlCol="0" anchor="ctr"/>
                  <a:lstStyle/>
                  <a:p>
                    <a:endParaRPr lang="en-US" sz="2400"/>
                  </a:p>
                </p:txBody>
              </p:sp>
              <p:sp>
                <p:nvSpPr>
                  <p:cNvPr id="730" name="Freeform: Shape 729">
                    <a:extLst>
                      <a:ext uri="{FF2B5EF4-FFF2-40B4-BE49-F238E27FC236}">
                        <a16:creationId xmlns:a16="http://schemas.microsoft.com/office/drawing/2014/main" id="{62BD698B-E009-1594-DD53-E8341C50B74A}"/>
                      </a:ext>
                    </a:extLst>
                  </p:cNvPr>
                  <p:cNvSpPr/>
                  <p:nvPr userDrawn="1"/>
                </p:nvSpPr>
                <p:spPr>
                  <a:xfrm>
                    <a:off x="8209951" y="452016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54"/>
                          <a:pt x="42097" y="21060"/>
                        </a:cubicBezTo>
                        <a:close/>
                      </a:path>
                    </a:pathLst>
                  </a:custGeom>
                  <a:solidFill>
                    <a:srgbClr val="EBECF2"/>
                  </a:solidFill>
                  <a:ln w="2339" cap="flat">
                    <a:noFill/>
                    <a:prstDash val="solid"/>
                    <a:miter/>
                  </a:ln>
                </p:spPr>
                <p:txBody>
                  <a:bodyPr rtlCol="0" anchor="ctr"/>
                  <a:lstStyle/>
                  <a:p>
                    <a:endParaRPr lang="en-US" sz="2400"/>
                  </a:p>
                </p:txBody>
              </p:sp>
              <p:sp>
                <p:nvSpPr>
                  <p:cNvPr id="731" name="Freeform: Shape 730">
                    <a:extLst>
                      <a:ext uri="{FF2B5EF4-FFF2-40B4-BE49-F238E27FC236}">
                        <a16:creationId xmlns:a16="http://schemas.microsoft.com/office/drawing/2014/main" id="{1E06039E-A563-065F-A90F-DE323F97AB68}"/>
                      </a:ext>
                    </a:extLst>
                  </p:cNvPr>
                  <p:cNvSpPr/>
                  <p:nvPr userDrawn="1"/>
                </p:nvSpPr>
                <p:spPr>
                  <a:xfrm>
                    <a:off x="8209553" y="452058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BEDF2"/>
                  </a:solidFill>
                  <a:ln w="2339" cap="flat">
                    <a:noFill/>
                    <a:prstDash val="solid"/>
                    <a:miter/>
                  </a:ln>
                </p:spPr>
                <p:txBody>
                  <a:bodyPr rtlCol="0" anchor="ctr"/>
                  <a:lstStyle/>
                  <a:p>
                    <a:endParaRPr lang="en-US" sz="2400"/>
                  </a:p>
                </p:txBody>
              </p:sp>
              <p:sp>
                <p:nvSpPr>
                  <p:cNvPr id="732" name="Freeform: Shape 731">
                    <a:extLst>
                      <a:ext uri="{FF2B5EF4-FFF2-40B4-BE49-F238E27FC236}">
                        <a16:creationId xmlns:a16="http://schemas.microsoft.com/office/drawing/2014/main" id="{ADD63904-A1C1-C692-D58C-C18B504DE8C8}"/>
                      </a:ext>
                    </a:extLst>
                  </p:cNvPr>
                  <p:cNvSpPr/>
                  <p:nvPr userDrawn="1"/>
                </p:nvSpPr>
                <p:spPr>
                  <a:xfrm>
                    <a:off x="8209156" y="452100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BEDF2"/>
                  </a:solidFill>
                  <a:ln w="2339" cap="flat">
                    <a:noFill/>
                    <a:prstDash val="solid"/>
                    <a:miter/>
                  </a:ln>
                </p:spPr>
                <p:txBody>
                  <a:bodyPr rtlCol="0" anchor="ctr"/>
                  <a:lstStyle/>
                  <a:p>
                    <a:endParaRPr lang="en-US" sz="2400"/>
                  </a:p>
                </p:txBody>
              </p:sp>
              <p:sp>
                <p:nvSpPr>
                  <p:cNvPr id="733" name="Freeform: Shape 732">
                    <a:extLst>
                      <a:ext uri="{FF2B5EF4-FFF2-40B4-BE49-F238E27FC236}">
                        <a16:creationId xmlns:a16="http://schemas.microsoft.com/office/drawing/2014/main" id="{7902C7FE-9241-C5B2-6307-4F792DB625FF}"/>
                      </a:ext>
                    </a:extLst>
                  </p:cNvPr>
                  <p:cNvSpPr/>
                  <p:nvPr userDrawn="1"/>
                </p:nvSpPr>
                <p:spPr>
                  <a:xfrm>
                    <a:off x="8208758" y="452143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BEDF2"/>
                  </a:solidFill>
                  <a:ln w="2339" cap="flat">
                    <a:noFill/>
                    <a:prstDash val="solid"/>
                    <a:miter/>
                  </a:ln>
                </p:spPr>
                <p:txBody>
                  <a:bodyPr rtlCol="0" anchor="ctr"/>
                  <a:lstStyle/>
                  <a:p>
                    <a:endParaRPr lang="en-US" sz="2400"/>
                  </a:p>
                </p:txBody>
              </p:sp>
              <p:sp>
                <p:nvSpPr>
                  <p:cNvPr id="734" name="Freeform: Shape 733">
                    <a:extLst>
                      <a:ext uri="{FF2B5EF4-FFF2-40B4-BE49-F238E27FC236}">
                        <a16:creationId xmlns:a16="http://schemas.microsoft.com/office/drawing/2014/main" id="{E9B67C76-8BCA-29C0-7260-DB52318BCA00}"/>
                      </a:ext>
                    </a:extLst>
                  </p:cNvPr>
                  <p:cNvSpPr/>
                  <p:nvPr userDrawn="1"/>
                </p:nvSpPr>
                <p:spPr>
                  <a:xfrm>
                    <a:off x="8208383" y="452185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CEDF2"/>
                  </a:solidFill>
                  <a:ln w="2339" cap="flat">
                    <a:noFill/>
                    <a:prstDash val="solid"/>
                    <a:miter/>
                  </a:ln>
                </p:spPr>
                <p:txBody>
                  <a:bodyPr rtlCol="0" anchor="ctr"/>
                  <a:lstStyle/>
                  <a:p>
                    <a:endParaRPr lang="en-US" sz="2400"/>
                  </a:p>
                </p:txBody>
              </p:sp>
              <p:sp>
                <p:nvSpPr>
                  <p:cNvPr id="735" name="Freeform: Shape 734">
                    <a:extLst>
                      <a:ext uri="{FF2B5EF4-FFF2-40B4-BE49-F238E27FC236}">
                        <a16:creationId xmlns:a16="http://schemas.microsoft.com/office/drawing/2014/main" id="{B4E29558-4157-0CAB-6BDC-5D74960F2450}"/>
                      </a:ext>
                    </a:extLst>
                  </p:cNvPr>
                  <p:cNvSpPr/>
                  <p:nvPr userDrawn="1"/>
                </p:nvSpPr>
                <p:spPr>
                  <a:xfrm>
                    <a:off x="8207986" y="452224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CEEF3"/>
                  </a:solidFill>
                  <a:ln w="2339" cap="flat">
                    <a:noFill/>
                    <a:prstDash val="solid"/>
                    <a:miter/>
                  </a:ln>
                </p:spPr>
                <p:txBody>
                  <a:bodyPr rtlCol="0" anchor="ctr"/>
                  <a:lstStyle/>
                  <a:p>
                    <a:endParaRPr lang="en-US" sz="2400"/>
                  </a:p>
                </p:txBody>
              </p:sp>
              <p:sp>
                <p:nvSpPr>
                  <p:cNvPr id="736" name="Freeform: Shape 735">
                    <a:extLst>
                      <a:ext uri="{FF2B5EF4-FFF2-40B4-BE49-F238E27FC236}">
                        <a16:creationId xmlns:a16="http://schemas.microsoft.com/office/drawing/2014/main" id="{78F014BB-FB9B-1B27-CA88-87B56740613E}"/>
                      </a:ext>
                    </a:extLst>
                  </p:cNvPr>
                  <p:cNvSpPr/>
                  <p:nvPr userDrawn="1"/>
                </p:nvSpPr>
                <p:spPr>
                  <a:xfrm>
                    <a:off x="8207611" y="452267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CEEF3"/>
                  </a:solidFill>
                  <a:ln w="2339" cap="flat">
                    <a:noFill/>
                    <a:prstDash val="solid"/>
                    <a:miter/>
                  </a:ln>
                </p:spPr>
                <p:txBody>
                  <a:bodyPr rtlCol="0" anchor="ctr"/>
                  <a:lstStyle/>
                  <a:p>
                    <a:endParaRPr lang="en-US" sz="2400"/>
                  </a:p>
                </p:txBody>
              </p:sp>
              <p:sp>
                <p:nvSpPr>
                  <p:cNvPr id="737" name="Freeform: Shape 736">
                    <a:extLst>
                      <a:ext uri="{FF2B5EF4-FFF2-40B4-BE49-F238E27FC236}">
                        <a16:creationId xmlns:a16="http://schemas.microsoft.com/office/drawing/2014/main" id="{07B646DA-86F7-1C53-A4AC-33A48F96AD4C}"/>
                      </a:ext>
                    </a:extLst>
                  </p:cNvPr>
                  <p:cNvSpPr/>
                  <p:nvPr userDrawn="1"/>
                </p:nvSpPr>
                <p:spPr>
                  <a:xfrm>
                    <a:off x="8207237" y="452309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DEEF3"/>
                  </a:solidFill>
                  <a:ln w="2339" cap="flat">
                    <a:noFill/>
                    <a:prstDash val="solid"/>
                    <a:miter/>
                  </a:ln>
                </p:spPr>
                <p:txBody>
                  <a:bodyPr rtlCol="0" anchor="ctr"/>
                  <a:lstStyle/>
                  <a:p>
                    <a:endParaRPr lang="en-US" sz="2400"/>
                  </a:p>
                </p:txBody>
              </p:sp>
              <p:sp>
                <p:nvSpPr>
                  <p:cNvPr id="738" name="Freeform: Shape 737">
                    <a:extLst>
                      <a:ext uri="{FF2B5EF4-FFF2-40B4-BE49-F238E27FC236}">
                        <a16:creationId xmlns:a16="http://schemas.microsoft.com/office/drawing/2014/main" id="{105E8AFB-2F94-64D9-2972-A5E9EF14EC54}"/>
                      </a:ext>
                    </a:extLst>
                  </p:cNvPr>
                  <p:cNvSpPr/>
                  <p:nvPr userDrawn="1"/>
                </p:nvSpPr>
                <p:spPr>
                  <a:xfrm>
                    <a:off x="8206886" y="452351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DEFF3"/>
                  </a:solidFill>
                  <a:ln w="2339" cap="flat">
                    <a:noFill/>
                    <a:prstDash val="solid"/>
                    <a:miter/>
                  </a:ln>
                </p:spPr>
                <p:txBody>
                  <a:bodyPr rtlCol="0" anchor="ctr"/>
                  <a:lstStyle/>
                  <a:p>
                    <a:endParaRPr lang="en-US" sz="2400"/>
                  </a:p>
                </p:txBody>
              </p:sp>
              <p:sp>
                <p:nvSpPr>
                  <p:cNvPr id="739" name="Freeform: Shape 738">
                    <a:extLst>
                      <a:ext uri="{FF2B5EF4-FFF2-40B4-BE49-F238E27FC236}">
                        <a16:creationId xmlns:a16="http://schemas.microsoft.com/office/drawing/2014/main" id="{6430BE3E-6714-854C-CF7D-196AEBB95E74}"/>
                      </a:ext>
                    </a:extLst>
                  </p:cNvPr>
                  <p:cNvSpPr/>
                  <p:nvPr userDrawn="1"/>
                </p:nvSpPr>
                <p:spPr>
                  <a:xfrm>
                    <a:off x="8206511" y="452393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DEFF3"/>
                  </a:solidFill>
                  <a:ln w="2339" cap="flat">
                    <a:noFill/>
                    <a:prstDash val="solid"/>
                    <a:miter/>
                  </a:ln>
                </p:spPr>
                <p:txBody>
                  <a:bodyPr rtlCol="0" anchor="ctr"/>
                  <a:lstStyle/>
                  <a:p>
                    <a:endParaRPr lang="en-US" sz="2400"/>
                  </a:p>
                </p:txBody>
              </p:sp>
              <p:sp>
                <p:nvSpPr>
                  <p:cNvPr id="740" name="Freeform: Shape 739">
                    <a:extLst>
                      <a:ext uri="{FF2B5EF4-FFF2-40B4-BE49-F238E27FC236}">
                        <a16:creationId xmlns:a16="http://schemas.microsoft.com/office/drawing/2014/main" id="{BABEE50B-0E2F-1F6A-2B70-A07757019066}"/>
                      </a:ext>
                    </a:extLst>
                  </p:cNvPr>
                  <p:cNvSpPr/>
                  <p:nvPr userDrawn="1"/>
                </p:nvSpPr>
                <p:spPr>
                  <a:xfrm>
                    <a:off x="8206160" y="452435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EEFF4"/>
                  </a:solidFill>
                  <a:ln w="2339" cap="flat">
                    <a:noFill/>
                    <a:prstDash val="solid"/>
                    <a:miter/>
                  </a:ln>
                </p:spPr>
                <p:txBody>
                  <a:bodyPr rtlCol="0" anchor="ctr"/>
                  <a:lstStyle/>
                  <a:p>
                    <a:endParaRPr lang="en-US" sz="2400"/>
                  </a:p>
                </p:txBody>
              </p:sp>
              <p:sp>
                <p:nvSpPr>
                  <p:cNvPr id="741" name="Freeform: Shape 740">
                    <a:extLst>
                      <a:ext uri="{FF2B5EF4-FFF2-40B4-BE49-F238E27FC236}">
                        <a16:creationId xmlns:a16="http://schemas.microsoft.com/office/drawing/2014/main" id="{4E89E0F4-30B0-F826-48A0-DA5C0431CD73}"/>
                      </a:ext>
                    </a:extLst>
                  </p:cNvPr>
                  <p:cNvSpPr/>
                  <p:nvPr userDrawn="1"/>
                </p:nvSpPr>
                <p:spPr>
                  <a:xfrm>
                    <a:off x="8205809" y="452477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EEFF4"/>
                  </a:solidFill>
                  <a:ln w="2339" cap="flat">
                    <a:noFill/>
                    <a:prstDash val="solid"/>
                    <a:miter/>
                  </a:ln>
                </p:spPr>
                <p:txBody>
                  <a:bodyPr rtlCol="0" anchor="ctr"/>
                  <a:lstStyle/>
                  <a:p>
                    <a:endParaRPr lang="en-US" sz="2400"/>
                  </a:p>
                </p:txBody>
              </p:sp>
              <p:sp>
                <p:nvSpPr>
                  <p:cNvPr id="742" name="Freeform: Shape 741">
                    <a:extLst>
                      <a:ext uri="{FF2B5EF4-FFF2-40B4-BE49-F238E27FC236}">
                        <a16:creationId xmlns:a16="http://schemas.microsoft.com/office/drawing/2014/main" id="{DF335933-9DEB-525A-1F19-6B76D501B1AD}"/>
                      </a:ext>
                    </a:extLst>
                  </p:cNvPr>
                  <p:cNvSpPr/>
                  <p:nvPr userDrawn="1"/>
                </p:nvSpPr>
                <p:spPr>
                  <a:xfrm>
                    <a:off x="8205458" y="452519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EF0F4"/>
                  </a:solidFill>
                  <a:ln w="2339" cap="flat">
                    <a:noFill/>
                    <a:prstDash val="solid"/>
                    <a:miter/>
                  </a:ln>
                </p:spPr>
                <p:txBody>
                  <a:bodyPr rtlCol="0" anchor="ctr"/>
                  <a:lstStyle/>
                  <a:p>
                    <a:endParaRPr lang="en-US" sz="2400"/>
                  </a:p>
                </p:txBody>
              </p:sp>
              <p:sp>
                <p:nvSpPr>
                  <p:cNvPr id="743" name="Freeform: Shape 742">
                    <a:extLst>
                      <a:ext uri="{FF2B5EF4-FFF2-40B4-BE49-F238E27FC236}">
                        <a16:creationId xmlns:a16="http://schemas.microsoft.com/office/drawing/2014/main" id="{AFFBEF0F-0583-396A-F5A5-9E884E366A5D}"/>
                      </a:ext>
                    </a:extLst>
                  </p:cNvPr>
                  <p:cNvSpPr/>
                  <p:nvPr userDrawn="1"/>
                </p:nvSpPr>
                <p:spPr>
                  <a:xfrm>
                    <a:off x="8205131" y="452559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EF0F4"/>
                  </a:solidFill>
                  <a:ln w="2339" cap="flat">
                    <a:noFill/>
                    <a:prstDash val="solid"/>
                    <a:miter/>
                  </a:ln>
                </p:spPr>
                <p:txBody>
                  <a:bodyPr rtlCol="0" anchor="ctr"/>
                  <a:lstStyle/>
                  <a:p>
                    <a:endParaRPr lang="en-US" sz="2400"/>
                  </a:p>
                </p:txBody>
              </p:sp>
              <p:sp>
                <p:nvSpPr>
                  <p:cNvPr id="744" name="Freeform: Shape 743">
                    <a:extLst>
                      <a:ext uri="{FF2B5EF4-FFF2-40B4-BE49-F238E27FC236}">
                        <a16:creationId xmlns:a16="http://schemas.microsoft.com/office/drawing/2014/main" id="{964FF648-190F-E01F-80A9-49F560F99386}"/>
                      </a:ext>
                    </a:extLst>
                  </p:cNvPr>
                  <p:cNvSpPr/>
                  <p:nvPr userDrawn="1"/>
                </p:nvSpPr>
                <p:spPr>
                  <a:xfrm>
                    <a:off x="8204803" y="452601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FF0F4"/>
                  </a:solidFill>
                  <a:ln w="2339" cap="flat">
                    <a:noFill/>
                    <a:prstDash val="solid"/>
                    <a:miter/>
                  </a:ln>
                </p:spPr>
                <p:txBody>
                  <a:bodyPr rtlCol="0" anchor="ctr"/>
                  <a:lstStyle/>
                  <a:p>
                    <a:endParaRPr lang="en-US" sz="2400"/>
                  </a:p>
                </p:txBody>
              </p:sp>
              <p:sp>
                <p:nvSpPr>
                  <p:cNvPr id="745" name="Freeform: Shape 744">
                    <a:extLst>
                      <a:ext uri="{FF2B5EF4-FFF2-40B4-BE49-F238E27FC236}">
                        <a16:creationId xmlns:a16="http://schemas.microsoft.com/office/drawing/2014/main" id="{00B4C766-B083-5485-56A9-0BDB227B0FF0}"/>
                      </a:ext>
                    </a:extLst>
                  </p:cNvPr>
                  <p:cNvSpPr/>
                  <p:nvPr userDrawn="1"/>
                </p:nvSpPr>
                <p:spPr>
                  <a:xfrm>
                    <a:off x="8204476" y="452643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FF1F5"/>
                  </a:solidFill>
                  <a:ln w="2339" cap="flat">
                    <a:noFill/>
                    <a:prstDash val="solid"/>
                    <a:miter/>
                  </a:ln>
                </p:spPr>
                <p:txBody>
                  <a:bodyPr rtlCol="0" anchor="ctr"/>
                  <a:lstStyle/>
                  <a:p>
                    <a:endParaRPr lang="en-US" sz="2400"/>
                  </a:p>
                </p:txBody>
              </p:sp>
              <p:sp>
                <p:nvSpPr>
                  <p:cNvPr id="746" name="Freeform: Shape 745">
                    <a:extLst>
                      <a:ext uri="{FF2B5EF4-FFF2-40B4-BE49-F238E27FC236}">
                        <a16:creationId xmlns:a16="http://schemas.microsoft.com/office/drawing/2014/main" id="{73CB966D-B422-3E72-85DE-30C373313CCE}"/>
                      </a:ext>
                    </a:extLst>
                  </p:cNvPr>
                  <p:cNvSpPr/>
                  <p:nvPr userDrawn="1"/>
                </p:nvSpPr>
                <p:spPr>
                  <a:xfrm>
                    <a:off x="8204148" y="452685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FF1F5"/>
                  </a:solidFill>
                  <a:ln w="2339" cap="flat">
                    <a:noFill/>
                    <a:prstDash val="solid"/>
                    <a:miter/>
                  </a:ln>
                </p:spPr>
                <p:txBody>
                  <a:bodyPr rtlCol="0" anchor="ctr"/>
                  <a:lstStyle/>
                  <a:p>
                    <a:endParaRPr lang="en-US" sz="2400"/>
                  </a:p>
                </p:txBody>
              </p:sp>
              <p:sp>
                <p:nvSpPr>
                  <p:cNvPr id="747" name="Freeform: Shape 746">
                    <a:extLst>
                      <a:ext uri="{FF2B5EF4-FFF2-40B4-BE49-F238E27FC236}">
                        <a16:creationId xmlns:a16="http://schemas.microsoft.com/office/drawing/2014/main" id="{567C6D6A-97DD-6430-DD81-3BAF22295BF5}"/>
                      </a:ext>
                    </a:extLst>
                  </p:cNvPr>
                  <p:cNvSpPr/>
                  <p:nvPr userDrawn="1"/>
                </p:nvSpPr>
                <p:spPr>
                  <a:xfrm>
                    <a:off x="8203820" y="452728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F0F1F5"/>
                  </a:solidFill>
                  <a:ln w="2339" cap="flat">
                    <a:noFill/>
                    <a:prstDash val="solid"/>
                    <a:miter/>
                  </a:ln>
                </p:spPr>
                <p:txBody>
                  <a:bodyPr rtlCol="0" anchor="ctr"/>
                  <a:lstStyle/>
                  <a:p>
                    <a:endParaRPr lang="en-US" sz="2400"/>
                  </a:p>
                </p:txBody>
              </p:sp>
              <p:sp>
                <p:nvSpPr>
                  <p:cNvPr id="748" name="Freeform: Shape 747">
                    <a:extLst>
                      <a:ext uri="{FF2B5EF4-FFF2-40B4-BE49-F238E27FC236}">
                        <a16:creationId xmlns:a16="http://schemas.microsoft.com/office/drawing/2014/main" id="{1DE7A111-336B-7EE2-0719-7091F0278DAB}"/>
                      </a:ext>
                    </a:extLst>
                  </p:cNvPr>
                  <p:cNvSpPr/>
                  <p:nvPr userDrawn="1"/>
                </p:nvSpPr>
                <p:spPr>
                  <a:xfrm>
                    <a:off x="8203516" y="452770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F0F1F5"/>
                  </a:solidFill>
                  <a:ln w="2339" cap="flat">
                    <a:noFill/>
                    <a:prstDash val="solid"/>
                    <a:miter/>
                  </a:ln>
                </p:spPr>
                <p:txBody>
                  <a:bodyPr rtlCol="0" anchor="ctr"/>
                  <a:lstStyle/>
                  <a:p>
                    <a:endParaRPr lang="en-US" sz="2400"/>
                  </a:p>
                </p:txBody>
              </p:sp>
              <p:sp>
                <p:nvSpPr>
                  <p:cNvPr id="749" name="Freeform: Shape 748">
                    <a:extLst>
                      <a:ext uri="{FF2B5EF4-FFF2-40B4-BE49-F238E27FC236}">
                        <a16:creationId xmlns:a16="http://schemas.microsoft.com/office/drawing/2014/main" id="{177EAFD7-77BE-7E3E-6516-D51F3139428F}"/>
                      </a:ext>
                    </a:extLst>
                  </p:cNvPr>
                  <p:cNvSpPr/>
                  <p:nvPr userDrawn="1"/>
                </p:nvSpPr>
                <p:spPr>
                  <a:xfrm>
                    <a:off x="8203212" y="452812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F0F2F5"/>
                  </a:solidFill>
                  <a:ln w="2339" cap="flat">
                    <a:noFill/>
                    <a:prstDash val="solid"/>
                    <a:miter/>
                  </a:ln>
                </p:spPr>
                <p:txBody>
                  <a:bodyPr rtlCol="0" anchor="ctr"/>
                  <a:lstStyle/>
                  <a:p>
                    <a:endParaRPr lang="en-US" sz="2400"/>
                  </a:p>
                </p:txBody>
              </p:sp>
              <p:sp>
                <p:nvSpPr>
                  <p:cNvPr id="750" name="Freeform: Shape 749">
                    <a:extLst>
                      <a:ext uri="{FF2B5EF4-FFF2-40B4-BE49-F238E27FC236}">
                        <a16:creationId xmlns:a16="http://schemas.microsoft.com/office/drawing/2014/main" id="{B99D53CD-7F38-929D-CB4E-F0B6AD369E28}"/>
                      </a:ext>
                    </a:extLst>
                  </p:cNvPr>
                  <p:cNvSpPr/>
                  <p:nvPr userDrawn="1"/>
                </p:nvSpPr>
                <p:spPr>
                  <a:xfrm>
                    <a:off x="8202908" y="452854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F1F2F6"/>
                  </a:solidFill>
                  <a:ln w="2339" cap="flat">
                    <a:noFill/>
                    <a:prstDash val="solid"/>
                    <a:miter/>
                  </a:ln>
                </p:spPr>
                <p:txBody>
                  <a:bodyPr rtlCol="0" anchor="ctr"/>
                  <a:lstStyle/>
                  <a:p>
                    <a:endParaRPr lang="en-US" sz="2400"/>
                  </a:p>
                </p:txBody>
              </p:sp>
              <p:sp>
                <p:nvSpPr>
                  <p:cNvPr id="751" name="Freeform: Shape 750">
                    <a:extLst>
                      <a:ext uri="{FF2B5EF4-FFF2-40B4-BE49-F238E27FC236}">
                        <a16:creationId xmlns:a16="http://schemas.microsoft.com/office/drawing/2014/main" id="{164A020F-3DE2-B857-B3A4-A291E1DDF3ED}"/>
                      </a:ext>
                    </a:extLst>
                  </p:cNvPr>
                  <p:cNvSpPr/>
                  <p:nvPr userDrawn="1"/>
                </p:nvSpPr>
                <p:spPr>
                  <a:xfrm>
                    <a:off x="8202604" y="452896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F1F2F6"/>
                  </a:solidFill>
                  <a:ln w="2339" cap="flat">
                    <a:noFill/>
                    <a:prstDash val="solid"/>
                    <a:miter/>
                  </a:ln>
                </p:spPr>
                <p:txBody>
                  <a:bodyPr rtlCol="0" anchor="ctr"/>
                  <a:lstStyle/>
                  <a:p>
                    <a:endParaRPr lang="en-US" sz="2400"/>
                  </a:p>
                </p:txBody>
              </p:sp>
              <p:sp>
                <p:nvSpPr>
                  <p:cNvPr id="752" name="Freeform: Shape 751">
                    <a:extLst>
                      <a:ext uri="{FF2B5EF4-FFF2-40B4-BE49-F238E27FC236}">
                        <a16:creationId xmlns:a16="http://schemas.microsoft.com/office/drawing/2014/main" id="{719FCA96-471F-E4A8-9082-3ACC5C0A9243}"/>
                      </a:ext>
                    </a:extLst>
                  </p:cNvPr>
                  <p:cNvSpPr/>
                  <p:nvPr userDrawn="1"/>
                </p:nvSpPr>
                <p:spPr>
                  <a:xfrm>
                    <a:off x="8202323" y="452938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F1F2F6"/>
                  </a:solidFill>
                  <a:ln w="2339" cap="flat">
                    <a:noFill/>
                    <a:prstDash val="solid"/>
                    <a:miter/>
                  </a:ln>
                </p:spPr>
                <p:txBody>
                  <a:bodyPr rtlCol="0" anchor="ctr"/>
                  <a:lstStyle/>
                  <a:p>
                    <a:endParaRPr lang="en-US" sz="2400"/>
                  </a:p>
                </p:txBody>
              </p:sp>
              <p:sp>
                <p:nvSpPr>
                  <p:cNvPr id="753" name="Freeform: Shape 752">
                    <a:extLst>
                      <a:ext uri="{FF2B5EF4-FFF2-40B4-BE49-F238E27FC236}">
                        <a16:creationId xmlns:a16="http://schemas.microsoft.com/office/drawing/2014/main" id="{ABBA4913-6AA9-EDD6-1E34-4E9A04E38133}"/>
                      </a:ext>
                    </a:extLst>
                  </p:cNvPr>
                  <p:cNvSpPr/>
                  <p:nvPr userDrawn="1"/>
                </p:nvSpPr>
                <p:spPr>
                  <a:xfrm>
                    <a:off x="8202042" y="452980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F2F3F6"/>
                  </a:solidFill>
                  <a:ln w="2339" cap="flat">
                    <a:noFill/>
                    <a:prstDash val="solid"/>
                    <a:miter/>
                  </a:ln>
                </p:spPr>
                <p:txBody>
                  <a:bodyPr rtlCol="0" anchor="ctr"/>
                  <a:lstStyle/>
                  <a:p>
                    <a:endParaRPr lang="en-US" sz="2400"/>
                  </a:p>
                </p:txBody>
              </p:sp>
              <p:sp>
                <p:nvSpPr>
                  <p:cNvPr id="754" name="Freeform: Shape 753">
                    <a:extLst>
                      <a:ext uri="{FF2B5EF4-FFF2-40B4-BE49-F238E27FC236}">
                        <a16:creationId xmlns:a16="http://schemas.microsoft.com/office/drawing/2014/main" id="{171A6663-CFC7-280B-91DB-87EDC478A75A}"/>
                      </a:ext>
                    </a:extLst>
                  </p:cNvPr>
                  <p:cNvSpPr/>
                  <p:nvPr userDrawn="1"/>
                </p:nvSpPr>
                <p:spPr>
                  <a:xfrm>
                    <a:off x="8201761" y="453022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F2F3F6"/>
                  </a:solidFill>
                  <a:ln w="2339" cap="flat">
                    <a:noFill/>
                    <a:prstDash val="solid"/>
                    <a:miter/>
                  </a:ln>
                </p:spPr>
                <p:txBody>
                  <a:bodyPr rtlCol="0" anchor="ctr"/>
                  <a:lstStyle/>
                  <a:p>
                    <a:endParaRPr lang="en-US" sz="2400"/>
                  </a:p>
                </p:txBody>
              </p:sp>
              <p:sp>
                <p:nvSpPr>
                  <p:cNvPr id="755" name="Freeform: Shape 754">
                    <a:extLst>
                      <a:ext uri="{FF2B5EF4-FFF2-40B4-BE49-F238E27FC236}">
                        <a16:creationId xmlns:a16="http://schemas.microsoft.com/office/drawing/2014/main" id="{00103581-97B6-5C11-7ABA-274DF3305F53}"/>
                      </a:ext>
                    </a:extLst>
                  </p:cNvPr>
                  <p:cNvSpPr/>
                  <p:nvPr userDrawn="1"/>
                </p:nvSpPr>
                <p:spPr>
                  <a:xfrm>
                    <a:off x="8201480" y="453065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F2F3F7"/>
                  </a:solidFill>
                  <a:ln w="2339" cap="flat">
                    <a:noFill/>
                    <a:prstDash val="solid"/>
                    <a:miter/>
                  </a:ln>
                </p:spPr>
                <p:txBody>
                  <a:bodyPr rtlCol="0" anchor="ctr"/>
                  <a:lstStyle/>
                  <a:p>
                    <a:endParaRPr lang="en-US" sz="2400"/>
                  </a:p>
                </p:txBody>
              </p:sp>
              <p:sp>
                <p:nvSpPr>
                  <p:cNvPr id="756" name="Freeform: Shape 755">
                    <a:extLst>
                      <a:ext uri="{FF2B5EF4-FFF2-40B4-BE49-F238E27FC236}">
                        <a16:creationId xmlns:a16="http://schemas.microsoft.com/office/drawing/2014/main" id="{148C5644-7908-1428-396B-FE9816FBADF7}"/>
                      </a:ext>
                    </a:extLst>
                  </p:cNvPr>
                  <p:cNvSpPr/>
                  <p:nvPr userDrawn="1"/>
                </p:nvSpPr>
                <p:spPr>
                  <a:xfrm>
                    <a:off x="8201223" y="453107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F2F4F7"/>
                  </a:solidFill>
                  <a:ln w="2339" cap="flat">
                    <a:noFill/>
                    <a:prstDash val="solid"/>
                    <a:miter/>
                  </a:ln>
                </p:spPr>
                <p:txBody>
                  <a:bodyPr rtlCol="0" anchor="ctr"/>
                  <a:lstStyle/>
                  <a:p>
                    <a:endParaRPr lang="en-US" sz="2400"/>
                  </a:p>
                </p:txBody>
              </p:sp>
              <p:sp>
                <p:nvSpPr>
                  <p:cNvPr id="757" name="Freeform: Shape 756">
                    <a:extLst>
                      <a:ext uri="{FF2B5EF4-FFF2-40B4-BE49-F238E27FC236}">
                        <a16:creationId xmlns:a16="http://schemas.microsoft.com/office/drawing/2014/main" id="{81A2FE6D-AA64-4D92-DF30-492D85ED508C}"/>
                      </a:ext>
                    </a:extLst>
                  </p:cNvPr>
                  <p:cNvSpPr/>
                  <p:nvPr userDrawn="1"/>
                </p:nvSpPr>
                <p:spPr>
                  <a:xfrm>
                    <a:off x="8200966" y="4531492"/>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3F4F7"/>
                  </a:solidFill>
                  <a:ln w="2339" cap="flat">
                    <a:noFill/>
                    <a:prstDash val="solid"/>
                    <a:miter/>
                  </a:ln>
                </p:spPr>
                <p:txBody>
                  <a:bodyPr rtlCol="0" anchor="ctr"/>
                  <a:lstStyle/>
                  <a:p>
                    <a:endParaRPr lang="en-US" sz="2400"/>
                  </a:p>
                </p:txBody>
              </p:sp>
              <p:sp>
                <p:nvSpPr>
                  <p:cNvPr id="758" name="Freeform: Shape 757">
                    <a:extLst>
                      <a:ext uri="{FF2B5EF4-FFF2-40B4-BE49-F238E27FC236}">
                        <a16:creationId xmlns:a16="http://schemas.microsoft.com/office/drawing/2014/main" id="{5040D10C-3134-A1F8-D47A-3275858AE233}"/>
                      </a:ext>
                    </a:extLst>
                  </p:cNvPr>
                  <p:cNvSpPr/>
                  <p:nvPr userDrawn="1"/>
                </p:nvSpPr>
                <p:spPr>
                  <a:xfrm>
                    <a:off x="8200708" y="4531913"/>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3F4F7"/>
                  </a:solidFill>
                  <a:ln w="2339" cap="flat">
                    <a:noFill/>
                    <a:prstDash val="solid"/>
                    <a:miter/>
                  </a:ln>
                </p:spPr>
                <p:txBody>
                  <a:bodyPr rtlCol="0" anchor="ctr"/>
                  <a:lstStyle/>
                  <a:p>
                    <a:endParaRPr lang="en-US" sz="2400"/>
                  </a:p>
                </p:txBody>
              </p:sp>
              <p:sp>
                <p:nvSpPr>
                  <p:cNvPr id="759" name="Freeform: Shape 758">
                    <a:extLst>
                      <a:ext uri="{FF2B5EF4-FFF2-40B4-BE49-F238E27FC236}">
                        <a16:creationId xmlns:a16="http://schemas.microsoft.com/office/drawing/2014/main" id="{C4D8C040-48AF-90FB-C35E-524E6A068D2F}"/>
                      </a:ext>
                    </a:extLst>
                  </p:cNvPr>
                  <p:cNvSpPr/>
                  <p:nvPr userDrawn="1"/>
                </p:nvSpPr>
                <p:spPr>
                  <a:xfrm>
                    <a:off x="8200474" y="4532335"/>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3F4F7"/>
                  </a:solidFill>
                  <a:ln w="2339" cap="flat">
                    <a:noFill/>
                    <a:prstDash val="solid"/>
                    <a:miter/>
                  </a:ln>
                </p:spPr>
                <p:txBody>
                  <a:bodyPr rtlCol="0" anchor="ctr"/>
                  <a:lstStyle/>
                  <a:p>
                    <a:endParaRPr lang="en-US" sz="2400"/>
                  </a:p>
                </p:txBody>
              </p:sp>
              <p:sp>
                <p:nvSpPr>
                  <p:cNvPr id="760" name="Freeform: Shape 759">
                    <a:extLst>
                      <a:ext uri="{FF2B5EF4-FFF2-40B4-BE49-F238E27FC236}">
                        <a16:creationId xmlns:a16="http://schemas.microsoft.com/office/drawing/2014/main" id="{241F8E9C-9B9B-6C9E-55B1-74F00F0D1FD0}"/>
                      </a:ext>
                    </a:extLst>
                  </p:cNvPr>
                  <p:cNvSpPr/>
                  <p:nvPr userDrawn="1"/>
                </p:nvSpPr>
                <p:spPr>
                  <a:xfrm>
                    <a:off x="8200217" y="4532756"/>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4F5F8"/>
                  </a:solidFill>
                  <a:ln w="2339" cap="flat">
                    <a:noFill/>
                    <a:prstDash val="solid"/>
                    <a:miter/>
                  </a:ln>
                </p:spPr>
                <p:txBody>
                  <a:bodyPr rtlCol="0" anchor="ctr"/>
                  <a:lstStyle/>
                  <a:p>
                    <a:endParaRPr lang="en-US" sz="2400"/>
                  </a:p>
                </p:txBody>
              </p:sp>
              <p:sp>
                <p:nvSpPr>
                  <p:cNvPr id="761" name="Freeform: Shape 760">
                    <a:extLst>
                      <a:ext uri="{FF2B5EF4-FFF2-40B4-BE49-F238E27FC236}">
                        <a16:creationId xmlns:a16="http://schemas.microsoft.com/office/drawing/2014/main" id="{3600960D-55DD-D942-EDD4-C5ED50231E97}"/>
                      </a:ext>
                    </a:extLst>
                  </p:cNvPr>
                  <p:cNvSpPr/>
                  <p:nvPr userDrawn="1"/>
                </p:nvSpPr>
                <p:spPr>
                  <a:xfrm>
                    <a:off x="8199983" y="4533177"/>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4F5F8"/>
                  </a:solidFill>
                  <a:ln w="2339" cap="flat">
                    <a:noFill/>
                    <a:prstDash val="solid"/>
                    <a:miter/>
                  </a:ln>
                </p:spPr>
                <p:txBody>
                  <a:bodyPr rtlCol="0" anchor="ctr"/>
                  <a:lstStyle/>
                  <a:p>
                    <a:endParaRPr lang="en-US" sz="2400"/>
                  </a:p>
                </p:txBody>
              </p:sp>
              <p:sp>
                <p:nvSpPr>
                  <p:cNvPr id="762" name="Freeform: Shape 761">
                    <a:extLst>
                      <a:ext uri="{FF2B5EF4-FFF2-40B4-BE49-F238E27FC236}">
                        <a16:creationId xmlns:a16="http://schemas.microsoft.com/office/drawing/2014/main" id="{FEADE57B-965E-7D4D-A799-1D12DA348D1F}"/>
                      </a:ext>
                    </a:extLst>
                  </p:cNvPr>
                  <p:cNvSpPr/>
                  <p:nvPr userDrawn="1"/>
                </p:nvSpPr>
                <p:spPr>
                  <a:xfrm>
                    <a:off x="8199749" y="4533598"/>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4F5F8"/>
                  </a:solidFill>
                  <a:ln w="2339" cap="flat">
                    <a:noFill/>
                    <a:prstDash val="solid"/>
                    <a:miter/>
                  </a:ln>
                </p:spPr>
                <p:txBody>
                  <a:bodyPr rtlCol="0" anchor="ctr"/>
                  <a:lstStyle/>
                  <a:p>
                    <a:endParaRPr lang="en-US" sz="2400"/>
                  </a:p>
                </p:txBody>
              </p:sp>
              <p:sp>
                <p:nvSpPr>
                  <p:cNvPr id="763" name="Freeform: Shape 762">
                    <a:extLst>
                      <a:ext uri="{FF2B5EF4-FFF2-40B4-BE49-F238E27FC236}">
                        <a16:creationId xmlns:a16="http://schemas.microsoft.com/office/drawing/2014/main" id="{9B9E1BC2-3F88-DD81-63C5-77EB25F71D29}"/>
                      </a:ext>
                    </a:extLst>
                  </p:cNvPr>
                  <p:cNvSpPr/>
                  <p:nvPr userDrawn="1"/>
                </p:nvSpPr>
                <p:spPr>
                  <a:xfrm>
                    <a:off x="8199515" y="4534019"/>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5F6F8"/>
                  </a:solidFill>
                  <a:ln w="2339" cap="flat">
                    <a:noFill/>
                    <a:prstDash val="solid"/>
                    <a:miter/>
                  </a:ln>
                </p:spPr>
                <p:txBody>
                  <a:bodyPr rtlCol="0" anchor="ctr"/>
                  <a:lstStyle/>
                  <a:p>
                    <a:endParaRPr lang="en-US" sz="2400"/>
                  </a:p>
                </p:txBody>
              </p:sp>
              <p:sp>
                <p:nvSpPr>
                  <p:cNvPr id="764" name="Freeform: Shape 763">
                    <a:extLst>
                      <a:ext uri="{FF2B5EF4-FFF2-40B4-BE49-F238E27FC236}">
                        <a16:creationId xmlns:a16="http://schemas.microsoft.com/office/drawing/2014/main" id="{4A353150-94AF-561D-8678-2A150291810D}"/>
                      </a:ext>
                    </a:extLst>
                  </p:cNvPr>
                  <p:cNvSpPr/>
                  <p:nvPr userDrawn="1"/>
                </p:nvSpPr>
                <p:spPr>
                  <a:xfrm>
                    <a:off x="8199281" y="4534441"/>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5F6F8"/>
                  </a:solidFill>
                  <a:ln w="2339" cap="flat">
                    <a:noFill/>
                    <a:prstDash val="solid"/>
                    <a:miter/>
                  </a:ln>
                </p:spPr>
                <p:txBody>
                  <a:bodyPr rtlCol="0" anchor="ctr"/>
                  <a:lstStyle/>
                  <a:p>
                    <a:endParaRPr lang="en-US" sz="2400"/>
                  </a:p>
                </p:txBody>
              </p:sp>
              <p:sp>
                <p:nvSpPr>
                  <p:cNvPr id="765" name="Freeform: Shape 764">
                    <a:extLst>
                      <a:ext uri="{FF2B5EF4-FFF2-40B4-BE49-F238E27FC236}">
                        <a16:creationId xmlns:a16="http://schemas.microsoft.com/office/drawing/2014/main" id="{520D25E5-65AF-1E79-90AF-E21114B4F380}"/>
                      </a:ext>
                    </a:extLst>
                  </p:cNvPr>
                  <p:cNvSpPr/>
                  <p:nvPr userDrawn="1"/>
                </p:nvSpPr>
                <p:spPr>
                  <a:xfrm>
                    <a:off x="8199070" y="4534838"/>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23"/>
                          <a:pt x="42074" y="9430"/>
                          <a:pt x="42074" y="21060"/>
                        </a:cubicBezTo>
                        <a:close/>
                      </a:path>
                    </a:pathLst>
                  </a:custGeom>
                  <a:solidFill>
                    <a:srgbClr val="F5F6F9"/>
                  </a:solidFill>
                  <a:ln w="2339" cap="flat">
                    <a:noFill/>
                    <a:prstDash val="solid"/>
                    <a:miter/>
                  </a:ln>
                </p:spPr>
                <p:txBody>
                  <a:bodyPr rtlCol="0" anchor="ctr"/>
                  <a:lstStyle/>
                  <a:p>
                    <a:endParaRPr lang="en-US" sz="2400"/>
                  </a:p>
                </p:txBody>
              </p:sp>
              <p:sp>
                <p:nvSpPr>
                  <p:cNvPr id="766" name="Freeform: Shape 765">
                    <a:extLst>
                      <a:ext uri="{FF2B5EF4-FFF2-40B4-BE49-F238E27FC236}">
                        <a16:creationId xmlns:a16="http://schemas.microsoft.com/office/drawing/2014/main" id="{F7EAC157-9DF1-B8DC-025E-51C0F889DE75}"/>
                      </a:ext>
                    </a:extLst>
                  </p:cNvPr>
                  <p:cNvSpPr/>
                  <p:nvPr userDrawn="1"/>
                </p:nvSpPr>
                <p:spPr>
                  <a:xfrm>
                    <a:off x="8198860" y="4535260"/>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23"/>
                          <a:pt x="42074" y="9430"/>
                          <a:pt x="42074" y="21060"/>
                        </a:cubicBezTo>
                        <a:close/>
                      </a:path>
                    </a:pathLst>
                  </a:custGeom>
                  <a:solidFill>
                    <a:srgbClr val="F6F6F9"/>
                  </a:solidFill>
                  <a:ln w="2339" cap="flat">
                    <a:noFill/>
                    <a:prstDash val="solid"/>
                    <a:miter/>
                  </a:ln>
                </p:spPr>
                <p:txBody>
                  <a:bodyPr rtlCol="0" anchor="ctr"/>
                  <a:lstStyle/>
                  <a:p>
                    <a:endParaRPr lang="en-US" sz="2400"/>
                  </a:p>
                </p:txBody>
              </p:sp>
              <p:sp>
                <p:nvSpPr>
                  <p:cNvPr id="767" name="Freeform: Shape 766">
                    <a:extLst>
                      <a:ext uri="{FF2B5EF4-FFF2-40B4-BE49-F238E27FC236}">
                        <a16:creationId xmlns:a16="http://schemas.microsoft.com/office/drawing/2014/main" id="{E2593326-1E22-87FC-F40C-1AA7E74DD935}"/>
                      </a:ext>
                    </a:extLst>
                  </p:cNvPr>
                  <p:cNvSpPr/>
                  <p:nvPr userDrawn="1"/>
                </p:nvSpPr>
                <p:spPr>
                  <a:xfrm>
                    <a:off x="8198649" y="4535681"/>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23"/>
                          <a:pt x="42074" y="9430"/>
                          <a:pt x="42074" y="21060"/>
                        </a:cubicBezTo>
                        <a:close/>
                      </a:path>
                    </a:pathLst>
                  </a:custGeom>
                  <a:solidFill>
                    <a:srgbClr val="F6F7F9"/>
                  </a:solidFill>
                  <a:ln w="2339" cap="flat">
                    <a:noFill/>
                    <a:prstDash val="solid"/>
                    <a:miter/>
                  </a:ln>
                </p:spPr>
                <p:txBody>
                  <a:bodyPr rtlCol="0" anchor="ctr"/>
                  <a:lstStyle/>
                  <a:p>
                    <a:endParaRPr lang="en-US" sz="2400"/>
                  </a:p>
                </p:txBody>
              </p:sp>
              <p:sp>
                <p:nvSpPr>
                  <p:cNvPr id="768" name="Freeform: Shape 767">
                    <a:extLst>
                      <a:ext uri="{FF2B5EF4-FFF2-40B4-BE49-F238E27FC236}">
                        <a16:creationId xmlns:a16="http://schemas.microsoft.com/office/drawing/2014/main" id="{C3AE38FA-48FD-CD52-A78C-9745E303DB4A}"/>
                      </a:ext>
                    </a:extLst>
                  </p:cNvPr>
                  <p:cNvSpPr/>
                  <p:nvPr userDrawn="1"/>
                </p:nvSpPr>
                <p:spPr>
                  <a:xfrm>
                    <a:off x="8198438" y="4536102"/>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23"/>
                          <a:pt x="42074" y="9430"/>
                          <a:pt x="42074" y="21060"/>
                        </a:cubicBezTo>
                        <a:close/>
                      </a:path>
                    </a:pathLst>
                  </a:custGeom>
                  <a:solidFill>
                    <a:srgbClr val="F6F7F9"/>
                  </a:solidFill>
                  <a:ln w="2339" cap="flat">
                    <a:noFill/>
                    <a:prstDash val="solid"/>
                    <a:miter/>
                  </a:ln>
                </p:spPr>
                <p:txBody>
                  <a:bodyPr rtlCol="0" anchor="ctr"/>
                  <a:lstStyle/>
                  <a:p>
                    <a:endParaRPr lang="en-US" sz="2400"/>
                  </a:p>
                </p:txBody>
              </p:sp>
              <p:sp>
                <p:nvSpPr>
                  <p:cNvPr id="769" name="Freeform: Shape 768">
                    <a:extLst>
                      <a:ext uri="{FF2B5EF4-FFF2-40B4-BE49-F238E27FC236}">
                        <a16:creationId xmlns:a16="http://schemas.microsoft.com/office/drawing/2014/main" id="{9C1F9F00-85F9-B821-FD3F-C7C4DB53B9A4}"/>
                      </a:ext>
                    </a:extLst>
                  </p:cNvPr>
                  <p:cNvSpPr/>
                  <p:nvPr userDrawn="1"/>
                </p:nvSpPr>
                <p:spPr>
                  <a:xfrm>
                    <a:off x="8198251" y="4536523"/>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6F7F9"/>
                  </a:solidFill>
                  <a:ln w="2339" cap="flat">
                    <a:noFill/>
                    <a:prstDash val="solid"/>
                    <a:miter/>
                  </a:ln>
                </p:spPr>
                <p:txBody>
                  <a:bodyPr rtlCol="0" anchor="ctr"/>
                  <a:lstStyle/>
                  <a:p>
                    <a:endParaRPr lang="en-US" sz="2400"/>
                  </a:p>
                </p:txBody>
              </p:sp>
              <p:sp>
                <p:nvSpPr>
                  <p:cNvPr id="770" name="Freeform: Shape 769">
                    <a:extLst>
                      <a:ext uri="{FF2B5EF4-FFF2-40B4-BE49-F238E27FC236}">
                        <a16:creationId xmlns:a16="http://schemas.microsoft.com/office/drawing/2014/main" id="{4E09F77E-A3A3-E178-4A4C-52A3FD8926D4}"/>
                      </a:ext>
                    </a:extLst>
                  </p:cNvPr>
                  <p:cNvSpPr/>
                  <p:nvPr userDrawn="1"/>
                </p:nvSpPr>
                <p:spPr>
                  <a:xfrm>
                    <a:off x="8198064" y="4536945"/>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7F7FA"/>
                  </a:solidFill>
                  <a:ln w="2339" cap="flat">
                    <a:noFill/>
                    <a:prstDash val="solid"/>
                    <a:miter/>
                  </a:ln>
                </p:spPr>
                <p:txBody>
                  <a:bodyPr rtlCol="0" anchor="ctr"/>
                  <a:lstStyle/>
                  <a:p>
                    <a:endParaRPr lang="en-US" sz="2400"/>
                  </a:p>
                </p:txBody>
              </p:sp>
              <p:sp>
                <p:nvSpPr>
                  <p:cNvPr id="771" name="Freeform: Shape 770">
                    <a:extLst>
                      <a:ext uri="{FF2B5EF4-FFF2-40B4-BE49-F238E27FC236}">
                        <a16:creationId xmlns:a16="http://schemas.microsoft.com/office/drawing/2014/main" id="{F85CEDBB-C700-2911-1079-1761FD6A52AB}"/>
                      </a:ext>
                    </a:extLst>
                  </p:cNvPr>
                  <p:cNvSpPr/>
                  <p:nvPr userDrawn="1"/>
                </p:nvSpPr>
                <p:spPr>
                  <a:xfrm>
                    <a:off x="8197877" y="4537366"/>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7F8FA"/>
                  </a:solidFill>
                  <a:ln w="2339" cap="flat">
                    <a:noFill/>
                    <a:prstDash val="solid"/>
                    <a:miter/>
                  </a:ln>
                </p:spPr>
                <p:txBody>
                  <a:bodyPr rtlCol="0" anchor="ctr"/>
                  <a:lstStyle/>
                  <a:p>
                    <a:endParaRPr lang="en-US" sz="2400"/>
                  </a:p>
                </p:txBody>
              </p:sp>
              <p:sp>
                <p:nvSpPr>
                  <p:cNvPr id="772" name="Freeform: Shape 771">
                    <a:extLst>
                      <a:ext uri="{FF2B5EF4-FFF2-40B4-BE49-F238E27FC236}">
                        <a16:creationId xmlns:a16="http://schemas.microsoft.com/office/drawing/2014/main" id="{260329DF-77F3-316E-A46D-7AAFF787BFB7}"/>
                      </a:ext>
                    </a:extLst>
                  </p:cNvPr>
                  <p:cNvSpPr/>
                  <p:nvPr userDrawn="1"/>
                </p:nvSpPr>
                <p:spPr>
                  <a:xfrm>
                    <a:off x="8197690" y="4537787"/>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7F8FA"/>
                  </a:solidFill>
                  <a:ln w="2339" cap="flat">
                    <a:noFill/>
                    <a:prstDash val="solid"/>
                    <a:miter/>
                  </a:ln>
                </p:spPr>
                <p:txBody>
                  <a:bodyPr rtlCol="0" anchor="ctr"/>
                  <a:lstStyle/>
                  <a:p>
                    <a:endParaRPr lang="en-US" sz="2400"/>
                  </a:p>
                </p:txBody>
              </p:sp>
              <p:sp>
                <p:nvSpPr>
                  <p:cNvPr id="773" name="Freeform: Shape 772">
                    <a:extLst>
                      <a:ext uri="{FF2B5EF4-FFF2-40B4-BE49-F238E27FC236}">
                        <a16:creationId xmlns:a16="http://schemas.microsoft.com/office/drawing/2014/main" id="{9DDAEABC-58DA-852B-1259-FA359C1F02AD}"/>
                      </a:ext>
                    </a:extLst>
                  </p:cNvPr>
                  <p:cNvSpPr/>
                  <p:nvPr userDrawn="1"/>
                </p:nvSpPr>
                <p:spPr>
                  <a:xfrm>
                    <a:off x="8197526" y="4538208"/>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8F8FA"/>
                  </a:solidFill>
                  <a:ln w="2339" cap="flat">
                    <a:noFill/>
                    <a:prstDash val="solid"/>
                    <a:miter/>
                  </a:ln>
                </p:spPr>
                <p:txBody>
                  <a:bodyPr rtlCol="0" anchor="ctr"/>
                  <a:lstStyle/>
                  <a:p>
                    <a:endParaRPr lang="en-US" sz="2400"/>
                  </a:p>
                </p:txBody>
              </p:sp>
              <p:sp>
                <p:nvSpPr>
                  <p:cNvPr id="774" name="Freeform: Shape 773">
                    <a:extLst>
                      <a:ext uri="{FF2B5EF4-FFF2-40B4-BE49-F238E27FC236}">
                        <a16:creationId xmlns:a16="http://schemas.microsoft.com/office/drawing/2014/main" id="{E64DCFFD-6783-FC7F-FD2C-996B9A320A4A}"/>
                      </a:ext>
                    </a:extLst>
                  </p:cNvPr>
                  <p:cNvSpPr/>
                  <p:nvPr userDrawn="1"/>
                </p:nvSpPr>
                <p:spPr>
                  <a:xfrm>
                    <a:off x="8197362" y="4538629"/>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8F9FA"/>
                  </a:solidFill>
                  <a:ln w="2339" cap="flat">
                    <a:noFill/>
                    <a:prstDash val="solid"/>
                    <a:miter/>
                  </a:ln>
                </p:spPr>
                <p:txBody>
                  <a:bodyPr rtlCol="0" anchor="ctr"/>
                  <a:lstStyle/>
                  <a:p>
                    <a:endParaRPr lang="en-US" sz="2400"/>
                  </a:p>
                </p:txBody>
              </p:sp>
              <p:sp>
                <p:nvSpPr>
                  <p:cNvPr id="775" name="Freeform: Shape 774">
                    <a:extLst>
                      <a:ext uri="{FF2B5EF4-FFF2-40B4-BE49-F238E27FC236}">
                        <a16:creationId xmlns:a16="http://schemas.microsoft.com/office/drawing/2014/main" id="{B273A2CB-1471-1D08-CF6F-F5430B62F764}"/>
                      </a:ext>
                    </a:extLst>
                  </p:cNvPr>
                  <p:cNvSpPr/>
                  <p:nvPr userDrawn="1"/>
                </p:nvSpPr>
                <p:spPr>
                  <a:xfrm>
                    <a:off x="8197198" y="4539027"/>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23"/>
                          <a:pt x="42074" y="9430"/>
                          <a:pt x="42074" y="21060"/>
                        </a:cubicBezTo>
                        <a:close/>
                      </a:path>
                    </a:pathLst>
                  </a:custGeom>
                  <a:solidFill>
                    <a:srgbClr val="F8F9FB"/>
                  </a:solidFill>
                  <a:ln w="2339" cap="flat">
                    <a:noFill/>
                    <a:prstDash val="solid"/>
                    <a:miter/>
                  </a:ln>
                </p:spPr>
                <p:txBody>
                  <a:bodyPr rtlCol="0" anchor="ctr"/>
                  <a:lstStyle/>
                  <a:p>
                    <a:endParaRPr lang="en-US" sz="2400"/>
                  </a:p>
                </p:txBody>
              </p:sp>
              <p:sp>
                <p:nvSpPr>
                  <p:cNvPr id="776" name="Freeform: Shape 775">
                    <a:extLst>
                      <a:ext uri="{FF2B5EF4-FFF2-40B4-BE49-F238E27FC236}">
                        <a16:creationId xmlns:a16="http://schemas.microsoft.com/office/drawing/2014/main" id="{61EA3DAF-DE29-14B9-8C85-AF439357F687}"/>
                      </a:ext>
                    </a:extLst>
                  </p:cNvPr>
                  <p:cNvSpPr/>
                  <p:nvPr userDrawn="1"/>
                </p:nvSpPr>
                <p:spPr>
                  <a:xfrm>
                    <a:off x="8197034" y="4539448"/>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23"/>
                          <a:pt x="42074" y="9430"/>
                          <a:pt x="42074" y="21060"/>
                        </a:cubicBezTo>
                        <a:close/>
                      </a:path>
                    </a:pathLst>
                  </a:custGeom>
                  <a:solidFill>
                    <a:srgbClr val="F9F9FB"/>
                  </a:solidFill>
                  <a:ln w="2339" cap="flat">
                    <a:noFill/>
                    <a:prstDash val="solid"/>
                    <a:miter/>
                  </a:ln>
                </p:spPr>
                <p:txBody>
                  <a:bodyPr rtlCol="0" anchor="ctr"/>
                  <a:lstStyle/>
                  <a:p>
                    <a:endParaRPr lang="en-US" sz="2400"/>
                  </a:p>
                </p:txBody>
              </p:sp>
              <p:sp>
                <p:nvSpPr>
                  <p:cNvPr id="777" name="Freeform: Shape 776">
                    <a:extLst>
                      <a:ext uri="{FF2B5EF4-FFF2-40B4-BE49-F238E27FC236}">
                        <a16:creationId xmlns:a16="http://schemas.microsoft.com/office/drawing/2014/main" id="{AC1C32A9-30AE-D1BC-B27E-7A5CD65E9B32}"/>
                      </a:ext>
                    </a:extLst>
                  </p:cNvPr>
                  <p:cNvSpPr/>
                  <p:nvPr userDrawn="1"/>
                </p:nvSpPr>
                <p:spPr>
                  <a:xfrm>
                    <a:off x="8196871" y="4539870"/>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9F9FB"/>
                  </a:solidFill>
                  <a:ln w="2339" cap="flat">
                    <a:noFill/>
                    <a:prstDash val="solid"/>
                    <a:miter/>
                  </a:ln>
                </p:spPr>
                <p:txBody>
                  <a:bodyPr rtlCol="0" anchor="ctr"/>
                  <a:lstStyle/>
                  <a:p>
                    <a:endParaRPr lang="en-US" sz="2400"/>
                  </a:p>
                </p:txBody>
              </p:sp>
              <p:sp>
                <p:nvSpPr>
                  <p:cNvPr id="778" name="Freeform: Shape 777">
                    <a:extLst>
                      <a:ext uri="{FF2B5EF4-FFF2-40B4-BE49-F238E27FC236}">
                        <a16:creationId xmlns:a16="http://schemas.microsoft.com/office/drawing/2014/main" id="{5DBC0E52-C0E4-5EB8-A59D-2456F8712018}"/>
                      </a:ext>
                    </a:extLst>
                  </p:cNvPr>
                  <p:cNvSpPr/>
                  <p:nvPr userDrawn="1"/>
                </p:nvSpPr>
                <p:spPr>
                  <a:xfrm>
                    <a:off x="8196730" y="4540291"/>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9FAFB"/>
                  </a:solidFill>
                  <a:ln w="2339" cap="flat">
                    <a:noFill/>
                    <a:prstDash val="solid"/>
                    <a:miter/>
                  </a:ln>
                </p:spPr>
                <p:txBody>
                  <a:bodyPr rtlCol="0" anchor="ctr"/>
                  <a:lstStyle/>
                  <a:p>
                    <a:endParaRPr lang="en-US" sz="2400"/>
                  </a:p>
                </p:txBody>
              </p:sp>
              <p:sp>
                <p:nvSpPr>
                  <p:cNvPr id="779" name="Freeform: Shape 778">
                    <a:extLst>
                      <a:ext uri="{FF2B5EF4-FFF2-40B4-BE49-F238E27FC236}">
                        <a16:creationId xmlns:a16="http://schemas.microsoft.com/office/drawing/2014/main" id="{895483E8-FCEB-2C4C-D9FC-CFA72085F206}"/>
                      </a:ext>
                    </a:extLst>
                  </p:cNvPr>
                  <p:cNvSpPr/>
                  <p:nvPr userDrawn="1"/>
                </p:nvSpPr>
                <p:spPr>
                  <a:xfrm>
                    <a:off x="8196590" y="4540712"/>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9FAFB"/>
                  </a:solidFill>
                  <a:ln w="2339" cap="flat">
                    <a:noFill/>
                    <a:prstDash val="solid"/>
                    <a:miter/>
                  </a:ln>
                </p:spPr>
                <p:txBody>
                  <a:bodyPr rtlCol="0" anchor="ctr"/>
                  <a:lstStyle/>
                  <a:p>
                    <a:endParaRPr lang="en-US" sz="2400"/>
                  </a:p>
                </p:txBody>
              </p:sp>
              <p:sp>
                <p:nvSpPr>
                  <p:cNvPr id="780" name="Freeform: Shape 779">
                    <a:extLst>
                      <a:ext uri="{FF2B5EF4-FFF2-40B4-BE49-F238E27FC236}">
                        <a16:creationId xmlns:a16="http://schemas.microsoft.com/office/drawing/2014/main" id="{4F66D95D-80DB-7F7F-790B-78C4BD734941}"/>
                      </a:ext>
                    </a:extLst>
                  </p:cNvPr>
                  <p:cNvSpPr/>
                  <p:nvPr userDrawn="1"/>
                </p:nvSpPr>
                <p:spPr>
                  <a:xfrm>
                    <a:off x="8196449" y="4541133"/>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07"/>
                          <a:pt x="42074" y="21060"/>
                        </a:cubicBezTo>
                        <a:close/>
                      </a:path>
                    </a:pathLst>
                  </a:custGeom>
                  <a:solidFill>
                    <a:srgbClr val="FAFAFC"/>
                  </a:solidFill>
                  <a:ln w="2339" cap="flat">
                    <a:noFill/>
                    <a:prstDash val="solid"/>
                    <a:miter/>
                  </a:ln>
                </p:spPr>
                <p:txBody>
                  <a:bodyPr rtlCol="0" anchor="ctr"/>
                  <a:lstStyle/>
                  <a:p>
                    <a:endParaRPr lang="en-US" sz="2400"/>
                  </a:p>
                </p:txBody>
              </p:sp>
              <p:sp>
                <p:nvSpPr>
                  <p:cNvPr id="781" name="Freeform: Shape 780">
                    <a:extLst>
                      <a:ext uri="{FF2B5EF4-FFF2-40B4-BE49-F238E27FC236}">
                        <a16:creationId xmlns:a16="http://schemas.microsoft.com/office/drawing/2014/main" id="{7DC62FA3-0157-F14A-4E75-9DF8D4F3C991}"/>
                      </a:ext>
                    </a:extLst>
                  </p:cNvPr>
                  <p:cNvSpPr/>
                  <p:nvPr userDrawn="1"/>
                </p:nvSpPr>
                <p:spPr>
                  <a:xfrm>
                    <a:off x="8196332" y="4541531"/>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23"/>
                          <a:pt x="42074" y="9430"/>
                          <a:pt x="42074" y="21060"/>
                        </a:cubicBezTo>
                        <a:close/>
                      </a:path>
                    </a:pathLst>
                  </a:custGeom>
                  <a:solidFill>
                    <a:srgbClr val="FAFBFC"/>
                  </a:solidFill>
                  <a:ln w="2339" cap="flat">
                    <a:noFill/>
                    <a:prstDash val="solid"/>
                    <a:miter/>
                  </a:ln>
                </p:spPr>
                <p:txBody>
                  <a:bodyPr rtlCol="0" anchor="ctr"/>
                  <a:lstStyle/>
                  <a:p>
                    <a:endParaRPr lang="en-US" sz="2400"/>
                  </a:p>
                </p:txBody>
              </p:sp>
              <p:sp>
                <p:nvSpPr>
                  <p:cNvPr id="782" name="Freeform: Shape 781">
                    <a:extLst>
                      <a:ext uri="{FF2B5EF4-FFF2-40B4-BE49-F238E27FC236}">
                        <a16:creationId xmlns:a16="http://schemas.microsoft.com/office/drawing/2014/main" id="{99B6A069-1075-DD91-6AF4-A99123EB8138}"/>
                      </a:ext>
                    </a:extLst>
                  </p:cNvPr>
                  <p:cNvSpPr/>
                  <p:nvPr userDrawn="1"/>
                </p:nvSpPr>
                <p:spPr>
                  <a:xfrm>
                    <a:off x="8196215" y="4541952"/>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AFBFC"/>
                  </a:solidFill>
                  <a:ln w="2339" cap="flat">
                    <a:noFill/>
                    <a:prstDash val="solid"/>
                    <a:miter/>
                  </a:ln>
                </p:spPr>
                <p:txBody>
                  <a:bodyPr rtlCol="0" anchor="ctr"/>
                  <a:lstStyle/>
                  <a:p>
                    <a:endParaRPr lang="en-US" sz="2400"/>
                  </a:p>
                </p:txBody>
              </p:sp>
              <p:sp>
                <p:nvSpPr>
                  <p:cNvPr id="783" name="Freeform: Shape 782">
                    <a:extLst>
                      <a:ext uri="{FF2B5EF4-FFF2-40B4-BE49-F238E27FC236}">
                        <a16:creationId xmlns:a16="http://schemas.microsoft.com/office/drawing/2014/main" id="{DDC37512-AC22-5F18-2500-DCB7D175D662}"/>
                      </a:ext>
                    </a:extLst>
                  </p:cNvPr>
                  <p:cNvSpPr/>
                  <p:nvPr userDrawn="1"/>
                </p:nvSpPr>
                <p:spPr>
                  <a:xfrm>
                    <a:off x="8196098" y="4542373"/>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BFBFC"/>
                  </a:solidFill>
                  <a:ln w="2339" cap="flat">
                    <a:noFill/>
                    <a:prstDash val="solid"/>
                    <a:miter/>
                  </a:ln>
                </p:spPr>
                <p:txBody>
                  <a:bodyPr rtlCol="0" anchor="ctr"/>
                  <a:lstStyle/>
                  <a:p>
                    <a:endParaRPr lang="en-US" sz="2400"/>
                  </a:p>
                </p:txBody>
              </p:sp>
              <p:sp>
                <p:nvSpPr>
                  <p:cNvPr id="784" name="Freeform: Shape 783">
                    <a:extLst>
                      <a:ext uri="{FF2B5EF4-FFF2-40B4-BE49-F238E27FC236}">
                        <a16:creationId xmlns:a16="http://schemas.microsoft.com/office/drawing/2014/main" id="{7628D5DD-0507-17AA-9222-AF25BDE88216}"/>
                      </a:ext>
                    </a:extLst>
                  </p:cNvPr>
                  <p:cNvSpPr/>
                  <p:nvPr userDrawn="1"/>
                </p:nvSpPr>
                <p:spPr>
                  <a:xfrm>
                    <a:off x="8195981" y="4542771"/>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23"/>
                          <a:pt x="42074" y="9430"/>
                          <a:pt x="42074" y="21060"/>
                        </a:cubicBezTo>
                        <a:close/>
                      </a:path>
                    </a:pathLst>
                  </a:custGeom>
                  <a:solidFill>
                    <a:srgbClr val="FBFBFC"/>
                  </a:solidFill>
                  <a:ln w="2339" cap="flat">
                    <a:noFill/>
                    <a:prstDash val="solid"/>
                    <a:miter/>
                  </a:ln>
                </p:spPr>
                <p:txBody>
                  <a:bodyPr rtlCol="0" anchor="ctr"/>
                  <a:lstStyle/>
                  <a:p>
                    <a:endParaRPr lang="en-US" sz="2400"/>
                  </a:p>
                </p:txBody>
              </p:sp>
              <p:sp>
                <p:nvSpPr>
                  <p:cNvPr id="785" name="Freeform: Shape 784">
                    <a:extLst>
                      <a:ext uri="{FF2B5EF4-FFF2-40B4-BE49-F238E27FC236}">
                        <a16:creationId xmlns:a16="http://schemas.microsoft.com/office/drawing/2014/main" id="{44312CD4-142B-A9A1-10F2-FAB0C78A6D00}"/>
                      </a:ext>
                    </a:extLst>
                  </p:cNvPr>
                  <p:cNvSpPr/>
                  <p:nvPr userDrawn="1"/>
                </p:nvSpPr>
                <p:spPr>
                  <a:xfrm>
                    <a:off x="8195864" y="4543192"/>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BFCFD"/>
                  </a:solidFill>
                  <a:ln w="2339" cap="flat">
                    <a:noFill/>
                    <a:prstDash val="solid"/>
                    <a:miter/>
                  </a:ln>
                </p:spPr>
                <p:txBody>
                  <a:bodyPr rtlCol="0" anchor="ctr"/>
                  <a:lstStyle/>
                  <a:p>
                    <a:endParaRPr lang="en-US" sz="2400"/>
                  </a:p>
                </p:txBody>
              </p:sp>
              <p:sp>
                <p:nvSpPr>
                  <p:cNvPr id="786" name="Freeform: Shape 785">
                    <a:extLst>
                      <a:ext uri="{FF2B5EF4-FFF2-40B4-BE49-F238E27FC236}">
                        <a16:creationId xmlns:a16="http://schemas.microsoft.com/office/drawing/2014/main" id="{BF2B258C-C495-3C7E-65BC-1C06AB3B5FA8}"/>
                      </a:ext>
                    </a:extLst>
                  </p:cNvPr>
                  <p:cNvSpPr/>
                  <p:nvPr userDrawn="1"/>
                </p:nvSpPr>
                <p:spPr>
                  <a:xfrm>
                    <a:off x="8195771" y="4543614"/>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CFCFD"/>
                  </a:solidFill>
                  <a:ln w="2339" cap="flat">
                    <a:noFill/>
                    <a:prstDash val="solid"/>
                    <a:miter/>
                  </a:ln>
                </p:spPr>
                <p:txBody>
                  <a:bodyPr rtlCol="0" anchor="ctr"/>
                  <a:lstStyle/>
                  <a:p>
                    <a:endParaRPr lang="en-US" sz="2400"/>
                  </a:p>
                </p:txBody>
              </p:sp>
              <p:sp>
                <p:nvSpPr>
                  <p:cNvPr id="787" name="Freeform: Shape 786">
                    <a:extLst>
                      <a:ext uri="{FF2B5EF4-FFF2-40B4-BE49-F238E27FC236}">
                        <a16:creationId xmlns:a16="http://schemas.microsoft.com/office/drawing/2014/main" id="{128662C9-1199-E5F6-DE12-C8EE5AE305BC}"/>
                      </a:ext>
                    </a:extLst>
                  </p:cNvPr>
                  <p:cNvSpPr/>
                  <p:nvPr userDrawn="1"/>
                </p:nvSpPr>
                <p:spPr>
                  <a:xfrm>
                    <a:off x="8195677" y="4544035"/>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07"/>
                          <a:pt x="42074" y="21060"/>
                        </a:cubicBezTo>
                        <a:close/>
                      </a:path>
                    </a:pathLst>
                  </a:custGeom>
                  <a:solidFill>
                    <a:srgbClr val="FCFCFD"/>
                  </a:solidFill>
                  <a:ln w="2339" cap="flat">
                    <a:noFill/>
                    <a:prstDash val="solid"/>
                    <a:miter/>
                  </a:ln>
                </p:spPr>
                <p:txBody>
                  <a:bodyPr rtlCol="0" anchor="ctr"/>
                  <a:lstStyle/>
                  <a:p>
                    <a:endParaRPr lang="en-US" sz="2400"/>
                  </a:p>
                </p:txBody>
              </p:sp>
              <p:sp>
                <p:nvSpPr>
                  <p:cNvPr id="788" name="Freeform: Shape 787">
                    <a:extLst>
                      <a:ext uri="{FF2B5EF4-FFF2-40B4-BE49-F238E27FC236}">
                        <a16:creationId xmlns:a16="http://schemas.microsoft.com/office/drawing/2014/main" id="{27741F1D-87ED-80FB-D398-DA9D4AF978FF}"/>
                      </a:ext>
                    </a:extLst>
                  </p:cNvPr>
                  <p:cNvSpPr/>
                  <p:nvPr userDrawn="1"/>
                </p:nvSpPr>
                <p:spPr>
                  <a:xfrm>
                    <a:off x="8195584" y="4544433"/>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CFCFD"/>
                  </a:solidFill>
                  <a:ln w="2339" cap="flat">
                    <a:noFill/>
                    <a:prstDash val="solid"/>
                    <a:miter/>
                  </a:ln>
                </p:spPr>
                <p:txBody>
                  <a:bodyPr rtlCol="0" anchor="ctr"/>
                  <a:lstStyle/>
                  <a:p>
                    <a:endParaRPr lang="en-US" sz="2400"/>
                  </a:p>
                </p:txBody>
              </p:sp>
              <p:sp>
                <p:nvSpPr>
                  <p:cNvPr id="789" name="Freeform: Shape 788">
                    <a:extLst>
                      <a:ext uri="{FF2B5EF4-FFF2-40B4-BE49-F238E27FC236}">
                        <a16:creationId xmlns:a16="http://schemas.microsoft.com/office/drawing/2014/main" id="{E730A6D6-4F58-B26F-1FB4-C23A2945B5AB}"/>
                      </a:ext>
                    </a:extLst>
                  </p:cNvPr>
                  <p:cNvSpPr/>
                  <p:nvPr userDrawn="1"/>
                </p:nvSpPr>
                <p:spPr>
                  <a:xfrm>
                    <a:off x="8195490" y="4544854"/>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DFDFD"/>
                  </a:solidFill>
                  <a:ln w="2339" cap="flat">
                    <a:noFill/>
                    <a:prstDash val="solid"/>
                    <a:miter/>
                  </a:ln>
                </p:spPr>
                <p:txBody>
                  <a:bodyPr rtlCol="0" anchor="ctr"/>
                  <a:lstStyle/>
                  <a:p>
                    <a:endParaRPr lang="en-US" sz="2400"/>
                  </a:p>
                </p:txBody>
              </p:sp>
              <p:sp>
                <p:nvSpPr>
                  <p:cNvPr id="790" name="Freeform: Shape 789">
                    <a:extLst>
                      <a:ext uri="{FF2B5EF4-FFF2-40B4-BE49-F238E27FC236}">
                        <a16:creationId xmlns:a16="http://schemas.microsoft.com/office/drawing/2014/main" id="{68259089-61B5-BB40-535E-BBD2D9B0696E}"/>
                      </a:ext>
                    </a:extLst>
                  </p:cNvPr>
                  <p:cNvSpPr/>
                  <p:nvPr userDrawn="1"/>
                </p:nvSpPr>
                <p:spPr>
                  <a:xfrm>
                    <a:off x="8195420" y="4545252"/>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23"/>
                          <a:pt x="42074" y="9430"/>
                          <a:pt x="42074" y="21060"/>
                        </a:cubicBezTo>
                        <a:close/>
                      </a:path>
                    </a:pathLst>
                  </a:custGeom>
                  <a:solidFill>
                    <a:srgbClr val="FDFDFE"/>
                  </a:solidFill>
                  <a:ln w="2339" cap="flat">
                    <a:noFill/>
                    <a:prstDash val="solid"/>
                    <a:miter/>
                  </a:ln>
                </p:spPr>
                <p:txBody>
                  <a:bodyPr rtlCol="0" anchor="ctr"/>
                  <a:lstStyle/>
                  <a:p>
                    <a:endParaRPr lang="en-US" sz="2400"/>
                  </a:p>
                </p:txBody>
              </p:sp>
              <p:sp>
                <p:nvSpPr>
                  <p:cNvPr id="791" name="Freeform: Shape 790">
                    <a:extLst>
                      <a:ext uri="{FF2B5EF4-FFF2-40B4-BE49-F238E27FC236}">
                        <a16:creationId xmlns:a16="http://schemas.microsoft.com/office/drawing/2014/main" id="{D1AB3285-EBD5-D9DF-5986-8FAAB1322376}"/>
                      </a:ext>
                    </a:extLst>
                  </p:cNvPr>
                  <p:cNvSpPr/>
                  <p:nvPr userDrawn="1"/>
                </p:nvSpPr>
                <p:spPr>
                  <a:xfrm>
                    <a:off x="8195350" y="4545673"/>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DFDFE"/>
                  </a:solidFill>
                  <a:ln w="2339" cap="flat">
                    <a:noFill/>
                    <a:prstDash val="solid"/>
                    <a:miter/>
                  </a:ln>
                </p:spPr>
                <p:txBody>
                  <a:bodyPr rtlCol="0" anchor="ctr"/>
                  <a:lstStyle/>
                  <a:p>
                    <a:endParaRPr lang="en-US" sz="2400"/>
                  </a:p>
                </p:txBody>
              </p:sp>
              <p:sp>
                <p:nvSpPr>
                  <p:cNvPr id="792" name="Freeform: Shape 791">
                    <a:extLst>
                      <a:ext uri="{FF2B5EF4-FFF2-40B4-BE49-F238E27FC236}">
                        <a16:creationId xmlns:a16="http://schemas.microsoft.com/office/drawing/2014/main" id="{FFB86897-0B8F-6244-A2B9-F96181AA9222}"/>
                      </a:ext>
                    </a:extLst>
                  </p:cNvPr>
                  <p:cNvSpPr/>
                  <p:nvPr userDrawn="1"/>
                </p:nvSpPr>
                <p:spPr>
                  <a:xfrm>
                    <a:off x="8195279" y="4546071"/>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23"/>
                          <a:pt x="42074" y="9430"/>
                          <a:pt x="42074" y="21060"/>
                        </a:cubicBezTo>
                        <a:close/>
                      </a:path>
                    </a:pathLst>
                  </a:custGeom>
                  <a:solidFill>
                    <a:srgbClr val="FDFEFE"/>
                  </a:solidFill>
                  <a:ln w="2339" cap="flat">
                    <a:noFill/>
                    <a:prstDash val="solid"/>
                    <a:miter/>
                  </a:ln>
                </p:spPr>
                <p:txBody>
                  <a:bodyPr rtlCol="0" anchor="ctr"/>
                  <a:lstStyle/>
                  <a:p>
                    <a:endParaRPr lang="en-US" sz="2400"/>
                  </a:p>
                </p:txBody>
              </p:sp>
              <p:sp>
                <p:nvSpPr>
                  <p:cNvPr id="793" name="Freeform: Shape 792">
                    <a:extLst>
                      <a:ext uri="{FF2B5EF4-FFF2-40B4-BE49-F238E27FC236}">
                        <a16:creationId xmlns:a16="http://schemas.microsoft.com/office/drawing/2014/main" id="{C8CADA43-38A7-FEED-4B0F-A5E7EE2CC868}"/>
                      </a:ext>
                    </a:extLst>
                  </p:cNvPr>
                  <p:cNvSpPr/>
                  <p:nvPr userDrawn="1"/>
                </p:nvSpPr>
                <p:spPr>
                  <a:xfrm>
                    <a:off x="8195233" y="4546492"/>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EFEFE"/>
                  </a:solidFill>
                  <a:ln w="2339" cap="flat">
                    <a:noFill/>
                    <a:prstDash val="solid"/>
                    <a:miter/>
                  </a:ln>
                </p:spPr>
                <p:txBody>
                  <a:bodyPr rtlCol="0" anchor="ctr"/>
                  <a:lstStyle/>
                  <a:p>
                    <a:endParaRPr lang="en-US" sz="2400"/>
                  </a:p>
                </p:txBody>
              </p:sp>
              <p:sp>
                <p:nvSpPr>
                  <p:cNvPr id="794" name="Freeform: Shape 793">
                    <a:extLst>
                      <a:ext uri="{FF2B5EF4-FFF2-40B4-BE49-F238E27FC236}">
                        <a16:creationId xmlns:a16="http://schemas.microsoft.com/office/drawing/2014/main" id="{C5B888CC-9BE6-AD6D-1BC2-E54C9AED0EDE}"/>
                      </a:ext>
                    </a:extLst>
                  </p:cNvPr>
                  <p:cNvSpPr/>
                  <p:nvPr userDrawn="1"/>
                </p:nvSpPr>
                <p:spPr>
                  <a:xfrm>
                    <a:off x="8195162" y="4546890"/>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23"/>
                          <a:pt x="42074" y="9430"/>
                          <a:pt x="42074" y="21060"/>
                        </a:cubicBezTo>
                        <a:close/>
                      </a:path>
                    </a:pathLst>
                  </a:custGeom>
                  <a:solidFill>
                    <a:srgbClr val="FEFEFE"/>
                  </a:solidFill>
                  <a:ln w="2339" cap="flat">
                    <a:noFill/>
                    <a:prstDash val="solid"/>
                    <a:miter/>
                  </a:ln>
                </p:spPr>
                <p:txBody>
                  <a:bodyPr rtlCol="0" anchor="ctr"/>
                  <a:lstStyle/>
                  <a:p>
                    <a:endParaRPr lang="en-US" sz="2400"/>
                  </a:p>
                </p:txBody>
              </p:sp>
              <p:sp>
                <p:nvSpPr>
                  <p:cNvPr id="795" name="Freeform: Shape 794">
                    <a:extLst>
                      <a:ext uri="{FF2B5EF4-FFF2-40B4-BE49-F238E27FC236}">
                        <a16:creationId xmlns:a16="http://schemas.microsoft.com/office/drawing/2014/main" id="{0D2A4F54-FFFE-7280-B4FD-0DED9E738478}"/>
                      </a:ext>
                    </a:extLst>
                  </p:cNvPr>
                  <p:cNvSpPr/>
                  <p:nvPr userDrawn="1"/>
                </p:nvSpPr>
                <p:spPr>
                  <a:xfrm>
                    <a:off x="8195116" y="4547311"/>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EFEFF"/>
                  </a:solidFill>
                  <a:ln w="2339" cap="flat">
                    <a:noFill/>
                    <a:prstDash val="solid"/>
                    <a:miter/>
                  </a:ln>
                </p:spPr>
                <p:txBody>
                  <a:bodyPr rtlCol="0" anchor="ctr"/>
                  <a:lstStyle/>
                  <a:p>
                    <a:endParaRPr lang="en-US" sz="2400"/>
                  </a:p>
                </p:txBody>
              </p:sp>
              <p:sp>
                <p:nvSpPr>
                  <p:cNvPr id="796" name="Freeform: Shape 795">
                    <a:extLst>
                      <a:ext uri="{FF2B5EF4-FFF2-40B4-BE49-F238E27FC236}">
                        <a16:creationId xmlns:a16="http://schemas.microsoft.com/office/drawing/2014/main" id="{94108A76-BB67-DD4E-E8E7-9BB6B3DF6626}"/>
                      </a:ext>
                    </a:extLst>
                  </p:cNvPr>
                  <p:cNvSpPr/>
                  <p:nvPr userDrawn="1"/>
                </p:nvSpPr>
                <p:spPr>
                  <a:xfrm>
                    <a:off x="8195069" y="4547709"/>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23"/>
                          <a:pt x="42074" y="9430"/>
                          <a:pt x="42074" y="21060"/>
                        </a:cubicBezTo>
                        <a:close/>
                      </a:path>
                    </a:pathLst>
                  </a:custGeom>
                  <a:solidFill>
                    <a:srgbClr val="FFFFFF"/>
                  </a:solidFill>
                  <a:ln w="2339" cap="flat">
                    <a:noFill/>
                    <a:prstDash val="solid"/>
                    <a:miter/>
                  </a:ln>
                </p:spPr>
                <p:txBody>
                  <a:bodyPr rtlCol="0" anchor="ctr"/>
                  <a:lstStyle/>
                  <a:p>
                    <a:endParaRPr lang="en-US" sz="2400"/>
                  </a:p>
                </p:txBody>
              </p:sp>
              <p:sp>
                <p:nvSpPr>
                  <p:cNvPr id="797" name="Freeform: Shape 796">
                    <a:extLst>
                      <a:ext uri="{FF2B5EF4-FFF2-40B4-BE49-F238E27FC236}">
                        <a16:creationId xmlns:a16="http://schemas.microsoft.com/office/drawing/2014/main" id="{32343370-D8A6-368C-45D2-8CFF6B95A804}"/>
                      </a:ext>
                    </a:extLst>
                  </p:cNvPr>
                  <p:cNvSpPr/>
                  <p:nvPr userDrawn="1"/>
                </p:nvSpPr>
                <p:spPr>
                  <a:xfrm>
                    <a:off x="8195045" y="4548130"/>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FFFFF"/>
                  </a:solidFill>
                  <a:ln w="2339" cap="flat">
                    <a:noFill/>
                    <a:prstDash val="solid"/>
                    <a:miter/>
                  </a:ln>
                </p:spPr>
                <p:txBody>
                  <a:bodyPr rtlCol="0" anchor="ctr"/>
                  <a:lstStyle/>
                  <a:p>
                    <a:endParaRPr lang="en-US" sz="2400"/>
                  </a:p>
                </p:txBody>
              </p:sp>
            </p:grpSp>
            <p:grpSp>
              <p:nvGrpSpPr>
                <p:cNvPr id="798" name="Graphic 4">
                  <a:extLst>
                    <a:ext uri="{FF2B5EF4-FFF2-40B4-BE49-F238E27FC236}">
                      <a16:creationId xmlns:a16="http://schemas.microsoft.com/office/drawing/2014/main" id="{49498D74-2319-C3AA-1A1F-A570ED918020}"/>
                    </a:ext>
                  </a:extLst>
                </p:cNvPr>
                <p:cNvGrpSpPr/>
                <p:nvPr userDrawn="1"/>
              </p:nvGrpSpPr>
              <p:grpSpPr>
                <a:xfrm>
                  <a:off x="8382317" y="4482867"/>
                  <a:ext cx="144917" cy="107360"/>
                  <a:chOff x="8382317" y="4482867"/>
                  <a:chExt cx="144917" cy="107359"/>
                </a:xfrm>
              </p:grpSpPr>
              <p:sp>
                <p:nvSpPr>
                  <p:cNvPr id="799" name="Freeform: Shape 798">
                    <a:extLst>
                      <a:ext uri="{FF2B5EF4-FFF2-40B4-BE49-F238E27FC236}">
                        <a16:creationId xmlns:a16="http://schemas.microsoft.com/office/drawing/2014/main" id="{ED981670-0184-7700-BB91-53B97CEE0F22}"/>
                      </a:ext>
                    </a:extLst>
                  </p:cNvPr>
                  <p:cNvSpPr/>
                  <p:nvPr userDrawn="1"/>
                </p:nvSpPr>
                <p:spPr>
                  <a:xfrm>
                    <a:off x="8382317" y="4482867"/>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1B8CC"/>
                  </a:solidFill>
                  <a:ln w="2339" cap="flat">
                    <a:noFill/>
                    <a:prstDash val="solid"/>
                    <a:miter/>
                  </a:ln>
                </p:spPr>
                <p:txBody>
                  <a:bodyPr rtlCol="0" anchor="ctr"/>
                  <a:lstStyle/>
                  <a:p>
                    <a:endParaRPr lang="en-US" sz="2400"/>
                  </a:p>
                </p:txBody>
              </p:sp>
              <p:sp>
                <p:nvSpPr>
                  <p:cNvPr id="800" name="Freeform: Shape 799">
                    <a:extLst>
                      <a:ext uri="{FF2B5EF4-FFF2-40B4-BE49-F238E27FC236}">
                        <a16:creationId xmlns:a16="http://schemas.microsoft.com/office/drawing/2014/main" id="{AFCD6D97-A79B-04DA-23CA-1EA93533E7F5}"/>
                      </a:ext>
                    </a:extLst>
                  </p:cNvPr>
                  <p:cNvSpPr/>
                  <p:nvPr userDrawn="1"/>
                </p:nvSpPr>
                <p:spPr>
                  <a:xfrm>
                    <a:off x="8382902" y="4482937"/>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0"/>
                          <a:pt x="0" y="9430"/>
                          <a:pt x="0" y="21037"/>
                        </a:cubicBezTo>
                        <a:close/>
                      </a:path>
                    </a:pathLst>
                  </a:custGeom>
                  <a:solidFill>
                    <a:srgbClr val="B1B8CC"/>
                  </a:solidFill>
                  <a:ln w="2339" cap="flat">
                    <a:noFill/>
                    <a:prstDash val="solid"/>
                    <a:miter/>
                  </a:ln>
                </p:spPr>
                <p:txBody>
                  <a:bodyPr rtlCol="0" anchor="ctr"/>
                  <a:lstStyle/>
                  <a:p>
                    <a:endParaRPr lang="en-US" sz="2400"/>
                  </a:p>
                </p:txBody>
              </p:sp>
              <p:sp>
                <p:nvSpPr>
                  <p:cNvPr id="801" name="Freeform: Shape 800">
                    <a:extLst>
                      <a:ext uri="{FF2B5EF4-FFF2-40B4-BE49-F238E27FC236}">
                        <a16:creationId xmlns:a16="http://schemas.microsoft.com/office/drawing/2014/main" id="{A743CDEC-67F4-3441-2DFE-279E91FAD764}"/>
                      </a:ext>
                    </a:extLst>
                  </p:cNvPr>
                  <p:cNvSpPr/>
                  <p:nvPr userDrawn="1"/>
                </p:nvSpPr>
                <p:spPr>
                  <a:xfrm>
                    <a:off x="8383464" y="4483031"/>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0"/>
                          <a:pt x="0" y="9407"/>
                          <a:pt x="0" y="21037"/>
                        </a:cubicBezTo>
                        <a:close/>
                      </a:path>
                    </a:pathLst>
                  </a:custGeom>
                  <a:solidFill>
                    <a:srgbClr val="B2B9CC"/>
                  </a:solidFill>
                  <a:ln w="2339" cap="flat">
                    <a:noFill/>
                    <a:prstDash val="solid"/>
                    <a:miter/>
                  </a:ln>
                </p:spPr>
                <p:txBody>
                  <a:bodyPr rtlCol="0" anchor="ctr"/>
                  <a:lstStyle/>
                  <a:p>
                    <a:endParaRPr lang="en-US" sz="2400"/>
                  </a:p>
                </p:txBody>
              </p:sp>
              <p:sp>
                <p:nvSpPr>
                  <p:cNvPr id="802" name="Freeform: Shape 801">
                    <a:extLst>
                      <a:ext uri="{FF2B5EF4-FFF2-40B4-BE49-F238E27FC236}">
                        <a16:creationId xmlns:a16="http://schemas.microsoft.com/office/drawing/2014/main" id="{2603FD01-BD6E-D78B-D332-F1BAB32D2458}"/>
                      </a:ext>
                    </a:extLst>
                  </p:cNvPr>
                  <p:cNvSpPr/>
                  <p:nvPr userDrawn="1"/>
                </p:nvSpPr>
                <p:spPr>
                  <a:xfrm>
                    <a:off x="8384025" y="448312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2B9CD"/>
                  </a:solidFill>
                  <a:ln w="2339" cap="flat">
                    <a:noFill/>
                    <a:prstDash val="solid"/>
                    <a:miter/>
                  </a:ln>
                </p:spPr>
                <p:txBody>
                  <a:bodyPr rtlCol="0" anchor="ctr"/>
                  <a:lstStyle/>
                  <a:p>
                    <a:endParaRPr lang="en-US" sz="2400"/>
                  </a:p>
                </p:txBody>
              </p:sp>
              <p:sp>
                <p:nvSpPr>
                  <p:cNvPr id="803" name="Freeform: Shape 802">
                    <a:extLst>
                      <a:ext uri="{FF2B5EF4-FFF2-40B4-BE49-F238E27FC236}">
                        <a16:creationId xmlns:a16="http://schemas.microsoft.com/office/drawing/2014/main" id="{C5B4CED5-AC2F-87AD-A39F-0BDECFF309E2}"/>
                      </a:ext>
                    </a:extLst>
                  </p:cNvPr>
                  <p:cNvSpPr/>
                  <p:nvPr userDrawn="1"/>
                </p:nvSpPr>
                <p:spPr>
                  <a:xfrm>
                    <a:off x="8384587" y="4483218"/>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2B9CD"/>
                  </a:solidFill>
                  <a:ln w="2339" cap="flat">
                    <a:noFill/>
                    <a:prstDash val="solid"/>
                    <a:miter/>
                  </a:ln>
                </p:spPr>
                <p:txBody>
                  <a:bodyPr rtlCol="0" anchor="ctr"/>
                  <a:lstStyle/>
                  <a:p>
                    <a:endParaRPr lang="en-US" sz="2400"/>
                  </a:p>
                </p:txBody>
              </p:sp>
              <p:sp>
                <p:nvSpPr>
                  <p:cNvPr id="804" name="Freeform: Shape 803">
                    <a:extLst>
                      <a:ext uri="{FF2B5EF4-FFF2-40B4-BE49-F238E27FC236}">
                        <a16:creationId xmlns:a16="http://schemas.microsoft.com/office/drawing/2014/main" id="{CAEC5832-65AC-06B3-CA58-C6252632C95F}"/>
                      </a:ext>
                    </a:extLst>
                  </p:cNvPr>
                  <p:cNvSpPr/>
                  <p:nvPr userDrawn="1"/>
                </p:nvSpPr>
                <p:spPr>
                  <a:xfrm>
                    <a:off x="8385148" y="4483288"/>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B3B9CD"/>
                  </a:solidFill>
                  <a:ln w="2339" cap="flat">
                    <a:noFill/>
                    <a:prstDash val="solid"/>
                    <a:miter/>
                  </a:ln>
                </p:spPr>
                <p:txBody>
                  <a:bodyPr rtlCol="0" anchor="ctr"/>
                  <a:lstStyle/>
                  <a:p>
                    <a:endParaRPr lang="en-US" sz="2400"/>
                  </a:p>
                </p:txBody>
              </p:sp>
              <p:sp>
                <p:nvSpPr>
                  <p:cNvPr id="805" name="Freeform: Shape 804">
                    <a:extLst>
                      <a:ext uri="{FF2B5EF4-FFF2-40B4-BE49-F238E27FC236}">
                        <a16:creationId xmlns:a16="http://schemas.microsoft.com/office/drawing/2014/main" id="{B71FDBD8-6C93-FD72-06A0-63655161C631}"/>
                      </a:ext>
                    </a:extLst>
                  </p:cNvPr>
                  <p:cNvSpPr/>
                  <p:nvPr userDrawn="1"/>
                </p:nvSpPr>
                <p:spPr>
                  <a:xfrm>
                    <a:off x="8385710" y="4483382"/>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3BACD"/>
                  </a:solidFill>
                  <a:ln w="2339" cap="flat">
                    <a:noFill/>
                    <a:prstDash val="solid"/>
                    <a:miter/>
                  </a:ln>
                </p:spPr>
                <p:txBody>
                  <a:bodyPr rtlCol="0" anchor="ctr"/>
                  <a:lstStyle/>
                  <a:p>
                    <a:endParaRPr lang="en-US" sz="2400"/>
                  </a:p>
                </p:txBody>
              </p:sp>
              <p:sp>
                <p:nvSpPr>
                  <p:cNvPr id="806" name="Freeform: Shape 805">
                    <a:extLst>
                      <a:ext uri="{FF2B5EF4-FFF2-40B4-BE49-F238E27FC236}">
                        <a16:creationId xmlns:a16="http://schemas.microsoft.com/office/drawing/2014/main" id="{7FA4A341-1B3D-4B9D-C9A2-ECF23B873006}"/>
                      </a:ext>
                    </a:extLst>
                  </p:cNvPr>
                  <p:cNvSpPr/>
                  <p:nvPr userDrawn="1"/>
                </p:nvSpPr>
                <p:spPr>
                  <a:xfrm>
                    <a:off x="8386272" y="4483475"/>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3BACD"/>
                  </a:solidFill>
                  <a:ln w="2339" cap="flat">
                    <a:noFill/>
                    <a:prstDash val="solid"/>
                    <a:miter/>
                  </a:ln>
                </p:spPr>
                <p:txBody>
                  <a:bodyPr rtlCol="0" anchor="ctr"/>
                  <a:lstStyle/>
                  <a:p>
                    <a:endParaRPr lang="en-US" sz="2400"/>
                  </a:p>
                </p:txBody>
              </p:sp>
              <p:sp>
                <p:nvSpPr>
                  <p:cNvPr id="807" name="Freeform: Shape 806">
                    <a:extLst>
                      <a:ext uri="{FF2B5EF4-FFF2-40B4-BE49-F238E27FC236}">
                        <a16:creationId xmlns:a16="http://schemas.microsoft.com/office/drawing/2014/main" id="{907757A9-B29D-11C1-2F69-B5F02AF3991D}"/>
                      </a:ext>
                    </a:extLst>
                  </p:cNvPr>
                  <p:cNvSpPr/>
                  <p:nvPr userDrawn="1"/>
                </p:nvSpPr>
                <p:spPr>
                  <a:xfrm>
                    <a:off x="8386833" y="4483569"/>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3BACE"/>
                  </a:solidFill>
                  <a:ln w="2339" cap="flat">
                    <a:noFill/>
                    <a:prstDash val="solid"/>
                    <a:miter/>
                  </a:ln>
                </p:spPr>
                <p:txBody>
                  <a:bodyPr rtlCol="0" anchor="ctr"/>
                  <a:lstStyle/>
                  <a:p>
                    <a:endParaRPr lang="en-US" sz="2400"/>
                  </a:p>
                </p:txBody>
              </p:sp>
              <p:sp>
                <p:nvSpPr>
                  <p:cNvPr id="808" name="Freeform: Shape 807">
                    <a:extLst>
                      <a:ext uri="{FF2B5EF4-FFF2-40B4-BE49-F238E27FC236}">
                        <a16:creationId xmlns:a16="http://schemas.microsoft.com/office/drawing/2014/main" id="{25D3B317-3A83-47A3-833B-9DC216025290}"/>
                      </a:ext>
                    </a:extLst>
                  </p:cNvPr>
                  <p:cNvSpPr/>
                  <p:nvPr userDrawn="1"/>
                </p:nvSpPr>
                <p:spPr>
                  <a:xfrm>
                    <a:off x="8387395" y="4483662"/>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4BBCE"/>
                  </a:solidFill>
                  <a:ln w="2339" cap="flat">
                    <a:noFill/>
                    <a:prstDash val="solid"/>
                    <a:miter/>
                  </a:ln>
                </p:spPr>
                <p:txBody>
                  <a:bodyPr rtlCol="0" anchor="ctr"/>
                  <a:lstStyle/>
                  <a:p>
                    <a:endParaRPr lang="en-US" sz="2400"/>
                  </a:p>
                </p:txBody>
              </p:sp>
              <p:sp>
                <p:nvSpPr>
                  <p:cNvPr id="809" name="Freeform: Shape 808">
                    <a:extLst>
                      <a:ext uri="{FF2B5EF4-FFF2-40B4-BE49-F238E27FC236}">
                        <a16:creationId xmlns:a16="http://schemas.microsoft.com/office/drawing/2014/main" id="{C3C666BD-CB0F-7D1E-666B-E5E7A55FB1CB}"/>
                      </a:ext>
                    </a:extLst>
                  </p:cNvPr>
                  <p:cNvSpPr/>
                  <p:nvPr userDrawn="1"/>
                </p:nvSpPr>
                <p:spPr>
                  <a:xfrm>
                    <a:off x="8387956" y="448375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B4BBCE"/>
                  </a:solidFill>
                  <a:ln w="2339" cap="flat">
                    <a:noFill/>
                    <a:prstDash val="solid"/>
                    <a:miter/>
                  </a:ln>
                </p:spPr>
                <p:txBody>
                  <a:bodyPr rtlCol="0" anchor="ctr"/>
                  <a:lstStyle/>
                  <a:p>
                    <a:endParaRPr lang="en-US" sz="2400"/>
                  </a:p>
                </p:txBody>
              </p:sp>
              <p:sp>
                <p:nvSpPr>
                  <p:cNvPr id="810" name="Freeform: Shape 809">
                    <a:extLst>
                      <a:ext uri="{FF2B5EF4-FFF2-40B4-BE49-F238E27FC236}">
                        <a16:creationId xmlns:a16="http://schemas.microsoft.com/office/drawing/2014/main" id="{37A87CAF-D1AA-440B-8A47-1971216A4DDF}"/>
                      </a:ext>
                    </a:extLst>
                  </p:cNvPr>
                  <p:cNvSpPr/>
                  <p:nvPr userDrawn="1"/>
                </p:nvSpPr>
                <p:spPr>
                  <a:xfrm>
                    <a:off x="8388518" y="4483850"/>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B4BBCE"/>
                  </a:solidFill>
                  <a:ln w="2339" cap="flat">
                    <a:noFill/>
                    <a:prstDash val="solid"/>
                    <a:miter/>
                  </a:ln>
                </p:spPr>
                <p:txBody>
                  <a:bodyPr rtlCol="0" anchor="ctr"/>
                  <a:lstStyle/>
                  <a:p>
                    <a:endParaRPr lang="en-US" sz="2400"/>
                  </a:p>
                </p:txBody>
              </p:sp>
              <p:sp>
                <p:nvSpPr>
                  <p:cNvPr id="811" name="Freeform: Shape 810">
                    <a:extLst>
                      <a:ext uri="{FF2B5EF4-FFF2-40B4-BE49-F238E27FC236}">
                        <a16:creationId xmlns:a16="http://schemas.microsoft.com/office/drawing/2014/main" id="{AFD77177-AF02-C5BC-2635-01732B3AA46A}"/>
                      </a:ext>
                    </a:extLst>
                  </p:cNvPr>
                  <p:cNvSpPr/>
                  <p:nvPr userDrawn="1"/>
                </p:nvSpPr>
                <p:spPr>
                  <a:xfrm>
                    <a:off x="8389080" y="448396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5BBCE"/>
                  </a:solidFill>
                  <a:ln w="2339" cap="flat">
                    <a:noFill/>
                    <a:prstDash val="solid"/>
                    <a:miter/>
                  </a:ln>
                </p:spPr>
                <p:txBody>
                  <a:bodyPr rtlCol="0" anchor="ctr"/>
                  <a:lstStyle/>
                  <a:p>
                    <a:endParaRPr lang="en-US" sz="2400"/>
                  </a:p>
                </p:txBody>
              </p:sp>
              <p:sp>
                <p:nvSpPr>
                  <p:cNvPr id="812" name="Freeform: Shape 811">
                    <a:extLst>
                      <a:ext uri="{FF2B5EF4-FFF2-40B4-BE49-F238E27FC236}">
                        <a16:creationId xmlns:a16="http://schemas.microsoft.com/office/drawing/2014/main" id="{1E67FAE5-43C7-B346-5BFB-EB448F1FC87E}"/>
                      </a:ext>
                    </a:extLst>
                  </p:cNvPr>
                  <p:cNvSpPr/>
                  <p:nvPr userDrawn="1"/>
                </p:nvSpPr>
                <p:spPr>
                  <a:xfrm>
                    <a:off x="8389641" y="4484060"/>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5BCCF"/>
                  </a:solidFill>
                  <a:ln w="2339" cap="flat">
                    <a:noFill/>
                    <a:prstDash val="solid"/>
                    <a:miter/>
                  </a:ln>
                </p:spPr>
                <p:txBody>
                  <a:bodyPr rtlCol="0" anchor="ctr"/>
                  <a:lstStyle/>
                  <a:p>
                    <a:endParaRPr lang="en-US" sz="2400"/>
                  </a:p>
                </p:txBody>
              </p:sp>
              <p:sp>
                <p:nvSpPr>
                  <p:cNvPr id="813" name="Freeform: Shape 812">
                    <a:extLst>
                      <a:ext uri="{FF2B5EF4-FFF2-40B4-BE49-F238E27FC236}">
                        <a16:creationId xmlns:a16="http://schemas.microsoft.com/office/drawing/2014/main" id="{A4D46D91-55AF-0104-B25E-3211F1702156}"/>
                      </a:ext>
                    </a:extLst>
                  </p:cNvPr>
                  <p:cNvSpPr/>
                  <p:nvPr userDrawn="1"/>
                </p:nvSpPr>
                <p:spPr>
                  <a:xfrm>
                    <a:off x="8390203" y="448415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5BCCF"/>
                  </a:solidFill>
                  <a:ln w="2339" cap="flat">
                    <a:noFill/>
                    <a:prstDash val="solid"/>
                    <a:miter/>
                  </a:ln>
                </p:spPr>
                <p:txBody>
                  <a:bodyPr rtlCol="0" anchor="ctr"/>
                  <a:lstStyle/>
                  <a:p>
                    <a:endParaRPr lang="en-US" sz="2400"/>
                  </a:p>
                </p:txBody>
              </p:sp>
              <p:sp>
                <p:nvSpPr>
                  <p:cNvPr id="814" name="Freeform: Shape 813">
                    <a:extLst>
                      <a:ext uri="{FF2B5EF4-FFF2-40B4-BE49-F238E27FC236}">
                        <a16:creationId xmlns:a16="http://schemas.microsoft.com/office/drawing/2014/main" id="{96B013E7-75B3-858E-DE06-8C55F0263CD3}"/>
                      </a:ext>
                    </a:extLst>
                  </p:cNvPr>
                  <p:cNvSpPr/>
                  <p:nvPr userDrawn="1"/>
                </p:nvSpPr>
                <p:spPr>
                  <a:xfrm>
                    <a:off x="8390764" y="4484247"/>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B6BCCF"/>
                  </a:solidFill>
                  <a:ln w="2339" cap="flat">
                    <a:noFill/>
                    <a:prstDash val="solid"/>
                    <a:miter/>
                  </a:ln>
                </p:spPr>
                <p:txBody>
                  <a:bodyPr rtlCol="0" anchor="ctr"/>
                  <a:lstStyle/>
                  <a:p>
                    <a:endParaRPr lang="en-US" sz="2400"/>
                  </a:p>
                </p:txBody>
              </p:sp>
              <p:sp>
                <p:nvSpPr>
                  <p:cNvPr id="815" name="Freeform: Shape 814">
                    <a:extLst>
                      <a:ext uri="{FF2B5EF4-FFF2-40B4-BE49-F238E27FC236}">
                        <a16:creationId xmlns:a16="http://schemas.microsoft.com/office/drawing/2014/main" id="{A8AE9EBE-06C9-AA58-9693-C2B56F78E931}"/>
                      </a:ext>
                    </a:extLst>
                  </p:cNvPr>
                  <p:cNvSpPr/>
                  <p:nvPr userDrawn="1"/>
                </p:nvSpPr>
                <p:spPr>
                  <a:xfrm>
                    <a:off x="8391326" y="448436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6BCCF"/>
                  </a:solidFill>
                  <a:ln w="2339" cap="flat">
                    <a:noFill/>
                    <a:prstDash val="solid"/>
                    <a:miter/>
                  </a:ln>
                </p:spPr>
                <p:txBody>
                  <a:bodyPr rtlCol="0" anchor="ctr"/>
                  <a:lstStyle/>
                  <a:p>
                    <a:endParaRPr lang="en-US" sz="2400"/>
                  </a:p>
                </p:txBody>
              </p:sp>
              <p:sp>
                <p:nvSpPr>
                  <p:cNvPr id="816" name="Freeform: Shape 815">
                    <a:extLst>
                      <a:ext uri="{FF2B5EF4-FFF2-40B4-BE49-F238E27FC236}">
                        <a16:creationId xmlns:a16="http://schemas.microsoft.com/office/drawing/2014/main" id="{BFCD30C8-9835-07FA-7E0A-8093F88C3F67}"/>
                      </a:ext>
                    </a:extLst>
                  </p:cNvPr>
                  <p:cNvSpPr/>
                  <p:nvPr userDrawn="1"/>
                </p:nvSpPr>
                <p:spPr>
                  <a:xfrm>
                    <a:off x="8391888" y="4484458"/>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0"/>
                          <a:pt x="0" y="9430"/>
                          <a:pt x="0" y="21037"/>
                        </a:cubicBezTo>
                        <a:close/>
                      </a:path>
                    </a:pathLst>
                  </a:custGeom>
                  <a:solidFill>
                    <a:srgbClr val="B6BDCF"/>
                  </a:solidFill>
                  <a:ln w="2339" cap="flat">
                    <a:noFill/>
                    <a:prstDash val="solid"/>
                    <a:miter/>
                  </a:ln>
                </p:spPr>
                <p:txBody>
                  <a:bodyPr rtlCol="0" anchor="ctr"/>
                  <a:lstStyle/>
                  <a:p>
                    <a:endParaRPr lang="en-US" sz="2400"/>
                  </a:p>
                </p:txBody>
              </p:sp>
              <p:sp>
                <p:nvSpPr>
                  <p:cNvPr id="817" name="Freeform: Shape 816">
                    <a:extLst>
                      <a:ext uri="{FF2B5EF4-FFF2-40B4-BE49-F238E27FC236}">
                        <a16:creationId xmlns:a16="http://schemas.microsoft.com/office/drawing/2014/main" id="{6D01859F-E64F-AF73-0866-9BC07D131FCF}"/>
                      </a:ext>
                    </a:extLst>
                  </p:cNvPr>
                  <p:cNvSpPr/>
                  <p:nvPr userDrawn="1"/>
                </p:nvSpPr>
                <p:spPr>
                  <a:xfrm>
                    <a:off x="8392449" y="4484575"/>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23"/>
                          <a:pt x="0" y="9407"/>
                          <a:pt x="0" y="21037"/>
                        </a:cubicBezTo>
                        <a:close/>
                      </a:path>
                    </a:pathLst>
                  </a:custGeom>
                  <a:solidFill>
                    <a:srgbClr val="B7BDD0"/>
                  </a:solidFill>
                  <a:ln w="2339" cap="flat">
                    <a:noFill/>
                    <a:prstDash val="solid"/>
                    <a:miter/>
                  </a:ln>
                </p:spPr>
                <p:txBody>
                  <a:bodyPr rtlCol="0" anchor="ctr"/>
                  <a:lstStyle/>
                  <a:p>
                    <a:endParaRPr lang="en-US" sz="2400"/>
                  </a:p>
                </p:txBody>
              </p:sp>
              <p:sp>
                <p:nvSpPr>
                  <p:cNvPr id="818" name="Freeform: Shape 817">
                    <a:extLst>
                      <a:ext uri="{FF2B5EF4-FFF2-40B4-BE49-F238E27FC236}">
                        <a16:creationId xmlns:a16="http://schemas.microsoft.com/office/drawing/2014/main" id="{75FBFA9A-8FCD-D9C9-46E3-72D4A4F5AACA}"/>
                      </a:ext>
                    </a:extLst>
                  </p:cNvPr>
                  <p:cNvSpPr/>
                  <p:nvPr userDrawn="1"/>
                </p:nvSpPr>
                <p:spPr>
                  <a:xfrm>
                    <a:off x="8392987" y="4484669"/>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B7BDD0"/>
                  </a:solidFill>
                  <a:ln w="2339" cap="flat">
                    <a:noFill/>
                    <a:prstDash val="solid"/>
                    <a:miter/>
                  </a:ln>
                </p:spPr>
                <p:txBody>
                  <a:bodyPr rtlCol="0" anchor="ctr"/>
                  <a:lstStyle/>
                  <a:p>
                    <a:endParaRPr lang="en-US" sz="2400"/>
                  </a:p>
                </p:txBody>
              </p:sp>
              <p:sp>
                <p:nvSpPr>
                  <p:cNvPr id="819" name="Freeform: Shape 818">
                    <a:extLst>
                      <a:ext uri="{FF2B5EF4-FFF2-40B4-BE49-F238E27FC236}">
                        <a16:creationId xmlns:a16="http://schemas.microsoft.com/office/drawing/2014/main" id="{9E481C85-8E2E-F969-0175-1C3A5D6A5C6A}"/>
                      </a:ext>
                    </a:extLst>
                  </p:cNvPr>
                  <p:cNvSpPr/>
                  <p:nvPr userDrawn="1"/>
                </p:nvSpPr>
                <p:spPr>
                  <a:xfrm>
                    <a:off x="8393549" y="448478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7BED0"/>
                  </a:solidFill>
                  <a:ln w="2339" cap="flat">
                    <a:noFill/>
                    <a:prstDash val="solid"/>
                    <a:miter/>
                  </a:ln>
                </p:spPr>
                <p:txBody>
                  <a:bodyPr rtlCol="0" anchor="ctr"/>
                  <a:lstStyle/>
                  <a:p>
                    <a:endParaRPr lang="en-US" sz="2400"/>
                  </a:p>
                </p:txBody>
              </p:sp>
              <p:sp>
                <p:nvSpPr>
                  <p:cNvPr id="820" name="Freeform: Shape 819">
                    <a:extLst>
                      <a:ext uri="{FF2B5EF4-FFF2-40B4-BE49-F238E27FC236}">
                        <a16:creationId xmlns:a16="http://schemas.microsoft.com/office/drawing/2014/main" id="{8B0188C3-962F-ACA0-337A-FD574CDF28AA}"/>
                      </a:ext>
                    </a:extLst>
                  </p:cNvPr>
                  <p:cNvSpPr/>
                  <p:nvPr userDrawn="1"/>
                </p:nvSpPr>
                <p:spPr>
                  <a:xfrm>
                    <a:off x="8394111" y="4484902"/>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7BED0"/>
                  </a:solidFill>
                  <a:ln w="2339" cap="flat">
                    <a:noFill/>
                    <a:prstDash val="solid"/>
                    <a:miter/>
                  </a:ln>
                </p:spPr>
                <p:txBody>
                  <a:bodyPr rtlCol="0" anchor="ctr"/>
                  <a:lstStyle/>
                  <a:p>
                    <a:endParaRPr lang="en-US" sz="2400"/>
                  </a:p>
                </p:txBody>
              </p:sp>
              <p:sp>
                <p:nvSpPr>
                  <p:cNvPr id="821" name="Freeform: Shape 820">
                    <a:extLst>
                      <a:ext uri="{FF2B5EF4-FFF2-40B4-BE49-F238E27FC236}">
                        <a16:creationId xmlns:a16="http://schemas.microsoft.com/office/drawing/2014/main" id="{E5D30E73-5334-3B26-98D5-822AC06C9907}"/>
                      </a:ext>
                    </a:extLst>
                  </p:cNvPr>
                  <p:cNvSpPr/>
                  <p:nvPr userDrawn="1"/>
                </p:nvSpPr>
                <p:spPr>
                  <a:xfrm>
                    <a:off x="8394672" y="448499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0"/>
                          <a:pt x="0" y="9430"/>
                          <a:pt x="0" y="21037"/>
                        </a:cubicBezTo>
                        <a:close/>
                      </a:path>
                    </a:pathLst>
                  </a:custGeom>
                  <a:solidFill>
                    <a:srgbClr val="B8BED0"/>
                  </a:solidFill>
                  <a:ln w="2339" cap="flat">
                    <a:noFill/>
                    <a:prstDash val="solid"/>
                    <a:miter/>
                  </a:ln>
                </p:spPr>
                <p:txBody>
                  <a:bodyPr rtlCol="0" anchor="ctr"/>
                  <a:lstStyle/>
                  <a:p>
                    <a:endParaRPr lang="en-US" sz="2400"/>
                  </a:p>
                </p:txBody>
              </p:sp>
              <p:sp>
                <p:nvSpPr>
                  <p:cNvPr id="822" name="Freeform: Shape 821">
                    <a:extLst>
                      <a:ext uri="{FF2B5EF4-FFF2-40B4-BE49-F238E27FC236}">
                        <a16:creationId xmlns:a16="http://schemas.microsoft.com/office/drawing/2014/main" id="{8287E318-89EE-BEF5-B3BA-E404BCFCA284}"/>
                      </a:ext>
                    </a:extLst>
                  </p:cNvPr>
                  <p:cNvSpPr/>
                  <p:nvPr userDrawn="1"/>
                </p:nvSpPr>
                <p:spPr>
                  <a:xfrm>
                    <a:off x="8395210" y="4485113"/>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8BED1"/>
                  </a:solidFill>
                  <a:ln w="2339" cap="flat">
                    <a:noFill/>
                    <a:prstDash val="solid"/>
                    <a:miter/>
                  </a:ln>
                </p:spPr>
                <p:txBody>
                  <a:bodyPr rtlCol="0" anchor="ctr"/>
                  <a:lstStyle/>
                  <a:p>
                    <a:endParaRPr lang="en-US" sz="2400"/>
                  </a:p>
                </p:txBody>
              </p:sp>
              <p:sp>
                <p:nvSpPr>
                  <p:cNvPr id="823" name="Freeform: Shape 822">
                    <a:extLst>
                      <a:ext uri="{FF2B5EF4-FFF2-40B4-BE49-F238E27FC236}">
                        <a16:creationId xmlns:a16="http://schemas.microsoft.com/office/drawing/2014/main" id="{F1A7959F-D35D-0294-D045-FF9A344C268C}"/>
                      </a:ext>
                    </a:extLst>
                  </p:cNvPr>
                  <p:cNvSpPr/>
                  <p:nvPr userDrawn="1"/>
                </p:nvSpPr>
                <p:spPr>
                  <a:xfrm>
                    <a:off x="8395772" y="4485230"/>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8BFD1"/>
                  </a:solidFill>
                  <a:ln w="2339" cap="flat">
                    <a:noFill/>
                    <a:prstDash val="solid"/>
                    <a:miter/>
                  </a:ln>
                </p:spPr>
                <p:txBody>
                  <a:bodyPr rtlCol="0" anchor="ctr"/>
                  <a:lstStyle/>
                  <a:p>
                    <a:endParaRPr lang="en-US" sz="2400"/>
                  </a:p>
                </p:txBody>
              </p:sp>
              <p:sp>
                <p:nvSpPr>
                  <p:cNvPr id="824" name="Freeform: Shape 823">
                    <a:extLst>
                      <a:ext uri="{FF2B5EF4-FFF2-40B4-BE49-F238E27FC236}">
                        <a16:creationId xmlns:a16="http://schemas.microsoft.com/office/drawing/2014/main" id="{460FD42E-6EF6-FF8E-6E33-78B02CCFCB1E}"/>
                      </a:ext>
                    </a:extLst>
                  </p:cNvPr>
                  <p:cNvSpPr/>
                  <p:nvPr userDrawn="1"/>
                </p:nvSpPr>
                <p:spPr>
                  <a:xfrm>
                    <a:off x="8396310" y="4485347"/>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9BFD1"/>
                  </a:solidFill>
                  <a:ln w="2339" cap="flat">
                    <a:noFill/>
                    <a:prstDash val="solid"/>
                    <a:miter/>
                  </a:ln>
                </p:spPr>
                <p:txBody>
                  <a:bodyPr rtlCol="0" anchor="ctr"/>
                  <a:lstStyle/>
                  <a:p>
                    <a:endParaRPr lang="en-US" sz="2400"/>
                  </a:p>
                </p:txBody>
              </p:sp>
              <p:sp>
                <p:nvSpPr>
                  <p:cNvPr id="825" name="Freeform: Shape 824">
                    <a:extLst>
                      <a:ext uri="{FF2B5EF4-FFF2-40B4-BE49-F238E27FC236}">
                        <a16:creationId xmlns:a16="http://schemas.microsoft.com/office/drawing/2014/main" id="{C6013E4B-79BA-15D3-4906-D2953694CDB5}"/>
                      </a:ext>
                    </a:extLst>
                  </p:cNvPr>
                  <p:cNvSpPr/>
                  <p:nvPr userDrawn="1"/>
                </p:nvSpPr>
                <p:spPr>
                  <a:xfrm>
                    <a:off x="8396872" y="448546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9BFD1"/>
                  </a:solidFill>
                  <a:ln w="2339" cap="flat">
                    <a:noFill/>
                    <a:prstDash val="solid"/>
                    <a:miter/>
                  </a:ln>
                </p:spPr>
                <p:txBody>
                  <a:bodyPr rtlCol="0" anchor="ctr"/>
                  <a:lstStyle/>
                  <a:p>
                    <a:endParaRPr lang="en-US" sz="2400"/>
                  </a:p>
                </p:txBody>
              </p:sp>
              <p:sp>
                <p:nvSpPr>
                  <p:cNvPr id="826" name="Freeform: Shape 825">
                    <a:extLst>
                      <a:ext uri="{FF2B5EF4-FFF2-40B4-BE49-F238E27FC236}">
                        <a16:creationId xmlns:a16="http://schemas.microsoft.com/office/drawing/2014/main" id="{D9578A16-99DA-BC11-1374-41067FDA3787}"/>
                      </a:ext>
                    </a:extLst>
                  </p:cNvPr>
                  <p:cNvSpPr/>
                  <p:nvPr userDrawn="1"/>
                </p:nvSpPr>
                <p:spPr>
                  <a:xfrm>
                    <a:off x="8397433" y="4485581"/>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23"/>
                          <a:pt x="0" y="9407"/>
                          <a:pt x="0" y="21037"/>
                        </a:cubicBezTo>
                        <a:close/>
                      </a:path>
                    </a:pathLst>
                  </a:custGeom>
                  <a:solidFill>
                    <a:srgbClr val="B9C0D1"/>
                  </a:solidFill>
                  <a:ln w="2339" cap="flat">
                    <a:noFill/>
                    <a:prstDash val="solid"/>
                    <a:miter/>
                  </a:ln>
                </p:spPr>
                <p:txBody>
                  <a:bodyPr rtlCol="0" anchor="ctr"/>
                  <a:lstStyle/>
                  <a:p>
                    <a:endParaRPr lang="en-US" sz="2400"/>
                  </a:p>
                </p:txBody>
              </p:sp>
              <p:sp>
                <p:nvSpPr>
                  <p:cNvPr id="827" name="Freeform: Shape 826">
                    <a:extLst>
                      <a:ext uri="{FF2B5EF4-FFF2-40B4-BE49-F238E27FC236}">
                        <a16:creationId xmlns:a16="http://schemas.microsoft.com/office/drawing/2014/main" id="{6E551B56-094C-D344-905D-403FC9DD1F37}"/>
                      </a:ext>
                    </a:extLst>
                  </p:cNvPr>
                  <p:cNvSpPr/>
                  <p:nvPr userDrawn="1"/>
                </p:nvSpPr>
                <p:spPr>
                  <a:xfrm>
                    <a:off x="8397972" y="4485698"/>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AC0D2"/>
                  </a:solidFill>
                  <a:ln w="2339" cap="flat">
                    <a:noFill/>
                    <a:prstDash val="solid"/>
                    <a:miter/>
                  </a:ln>
                </p:spPr>
                <p:txBody>
                  <a:bodyPr rtlCol="0" anchor="ctr"/>
                  <a:lstStyle/>
                  <a:p>
                    <a:endParaRPr lang="en-US" sz="2400"/>
                  </a:p>
                </p:txBody>
              </p:sp>
              <p:sp>
                <p:nvSpPr>
                  <p:cNvPr id="828" name="Freeform: Shape 827">
                    <a:extLst>
                      <a:ext uri="{FF2B5EF4-FFF2-40B4-BE49-F238E27FC236}">
                        <a16:creationId xmlns:a16="http://schemas.microsoft.com/office/drawing/2014/main" id="{CA3A2033-581F-3E22-AE3C-F9B2125FAC1C}"/>
                      </a:ext>
                    </a:extLst>
                  </p:cNvPr>
                  <p:cNvSpPr/>
                  <p:nvPr userDrawn="1"/>
                </p:nvSpPr>
                <p:spPr>
                  <a:xfrm>
                    <a:off x="8398510" y="4485815"/>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AC0D2"/>
                  </a:solidFill>
                  <a:ln w="2339" cap="flat">
                    <a:noFill/>
                    <a:prstDash val="solid"/>
                    <a:miter/>
                  </a:ln>
                </p:spPr>
                <p:txBody>
                  <a:bodyPr rtlCol="0" anchor="ctr"/>
                  <a:lstStyle/>
                  <a:p>
                    <a:endParaRPr lang="en-US" sz="2400"/>
                  </a:p>
                </p:txBody>
              </p:sp>
              <p:sp>
                <p:nvSpPr>
                  <p:cNvPr id="829" name="Freeform: Shape 828">
                    <a:extLst>
                      <a:ext uri="{FF2B5EF4-FFF2-40B4-BE49-F238E27FC236}">
                        <a16:creationId xmlns:a16="http://schemas.microsoft.com/office/drawing/2014/main" id="{157CAD30-32CB-104C-4B5E-8B76B2BABEF2}"/>
                      </a:ext>
                    </a:extLst>
                  </p:cNvPr>
                  <p:cNvSpPr/>
                  <p:nvPr userDrawn="1"/>
                </p:nvSpPr>
                <p:spPr>
                  <a:xfrm>
                    <a:off x="8399071" y="4485932"/>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AC0D2"/>
                  </a:solidFill>
                  <a:ln w="2339" cap="flat">
                    <a:noFill/>
                    <a:prstDash val="solid"/>
                    <a:miter/>
                  </a:ln>
                </p:spPr>
                <p:txBody>
                  <a:bodyPr rtlCol="0" anchor="ctr"/>
                  <a:lstStyle/>
                  <a:p>
                    <a:endParaRPr lang="en-US" sz="2400"/>
                  </a:p>
                </p:txBody>
              </p:sp>
              <p:sp>
                <p:nvSpPr>
                  <p:cNvPr id="830" name="Freeform: Shape 829">
                    <a:extLst>
                      <a:ext uri="{FF2B5EF4-FFF2-40B4-BE49-F238E27FC236}">
                        <a16:creationId xmlns:a16="http://schemas.microsoft.com/office/drawing/2014/main" id="{A70FFF44-4A6C-4BBE-5319-C65E941BCB1C}"/>
                      </a:ext>
                    </a:extLst>
                  </p:cNvPr>
                  <p:cNvSpPr/>
                  <p:nvPr userDrawn="1"/>
                </p:nvSpPr>
                <p:spPr>
                  <a:xfrm>
                    <a:off x="8399610" y="4486049"/>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AC1D2"/>
                  </a:solidFill>
                  <a:ln w="2339" cap="flat">
                    <a:noFill/>
                    <a:prstDash val="solid"/>
                    <a:miter/>
                  </a:ln>
                </p:spPr>
                <p:txBody>
                  <a:bodyPr rtlCol="0" anchor="ctr"/>
                  <a:lstStyle/>
                  <a:p>
                    <a:endParaRPr lang="en-US" sz="2400"/>
                  </a:p>
                </p:txBody>
              </p:sp>
              <p:sp>
                <p:nvSpPr>
                  <p:cNvPr id="831" name="Freeform: Shape 830">
                    <a:extLst>
                      <a:ext uri="{FF2B5EF4-FFF2-40B4-BE49-F238E27FC236}">
                        <a16:creationId xmlns:a16="http://schemas.microsoft.com/office/drawing/2014/main" id="{5FE05EE7-8A3D-7BCA-384A-24FEF10B894C}"/>
                      </a:ext>
                    </a:extLst>
                  </p:cNvPr>
                  <p:cNvSpPr/>
                  <p:nvPr userDrawn="1"/>
                </p:nvSpPr>
                <p:spPr>
                  <a:xfrm>
                    <a:off x="8400171" y="448616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0"/>
                          <a:pt x="0" y="9430"/>
                          <a:pt x="0" y="21037"/>
                        </a:cubicBezTo>
                        <a:close/>
                      </a:path>
                    </a:pathLst>
                  </a:custGeom>
                  <a:solidFill>
                    <a:srgbClr val="BBC1D2"/>
                  </a:solidFill>
                  <a:ln w="2339" cap="flat">
                    <a:noFill/>
                    <a:prstDash val="solid"/>
                    <a:miter/>
                  </a:ln>
                </p:spPr>
                <p:txBody>
                  <a:bodyPr rtlCol="0" anchor="ctr"/>
                  <a:lstStyle/>
                  <a:p>
                    <a:endParaRPr lang="en-US" sz="2400"/>
                  </a:p>
                </p:txBody>
              </p:sp>
              <p:sp>
                <p:nvSpPr>
                  <p:cNvPr id="832" name="Freeform: Shape 831">
                    <a:extLst>
                      <a:ext uri="{FF2B5EF4-FFF2-40B4-BE49-F238E27FC236}">
                        <a16:creationId xmlns:a16="http://schemas.microsoft.com/office/drawing/2014/main" id="{C19DA6E9-56D2-ADD2-8EC5-59C957A75399}"/>
                      </a:ext>
                    </a:extLst>
                  </p:cNvPr>
                  <p:cNvSpPr/>
                  <p:nvPr userDrawn="1"/>
                </p:nvSpPr>
                <p:spPr>
                  <a:xfrm>
                    <a:off x="8400710" y="448630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BC1D3"/>
                  </a:solidFill>
                  <a:ln w="2339" cap="flat">
                    <a:noFill/>
                    <a:prstDash val="solid"/>
                    <a:miter/>
                  </a:ln>
                </p:spPr>
                <p:txBody>
                  <a:bodyPr rtlCol="0" anchor="ctr"/>
                  <a:lstStyle/>
                  <a:p>
                    <a:endParaRPr lang="en-US" sz="2400"/>
                  </a:p>
                </p:txBody>
              </p:sp>
              <p:sp>
                <p:nvSpPr>
                  <p:cNvPr id="833" name="Freeform: Shape 832">
                    <a:extLst>
                      <a:ext uri="{FF2B5EF4-FFF2-40B4-BE49-F238E27FC236}">
                        <a16:creationId xmlns:a16="http://schemas.microsoft.com/office/drawing/2014/main" id="{048E643D-BB9A-CDE9-5AED-39BB7B61873B}"/>
                      </a:ext>
                    </a:extLst>
                  </p:cNvPr>
                  <p:cNvSpPr/>
                  <p:nvPr userDrawn="1"/>
                </p:nvSpPr>
                <p:spPr>
                  <a:xfrm>
                    <a:off x="8401248" y="448642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BC1D3"/>
                  </a:solidFill>
                  <a:ln w="2339" cap="flat">
                    <a:noFill/>
                    <a:prstDash val="solid"/>
                    <a:miter/>
                  </a:ln>
                </p:spPr>
                <p:txBody>
                  <a:bodyPr rtlCol="0" anchor="ctr"/>
                  <a:lstStyle/>
                  <a:p>
                    <a:endParaRPr lang="en-US" sz="2400"/>
                  </a:p>
                </p:txBody>
              </p:sp>
              <p:sp>
                <p:nvSpPr>
                  <p:cNvPr id="834" name="Freeform: Shape 833">
                    <a:extLst>
                      <a:ext uri="{FF2B5EF4-FFF2-40B4-BE49-F238E27FC236}">
                        <a16:creationId xmlns:a16="http://schemas.microsoft.com/office/drawing/2014/main" id="{5EFF1AA5-6A9E-124C-55FA-090BD2D8A595}"/>
                      </a:ext>
                    </a:extLst>
                  </p:cNvPr>
                  <p:cNvSpPr/>
                  <p:nvPr userDrawn="1"/>
                </p:nvSpPr>
                <p:spPr>
                  <a:xfrm>
                    <a:off x="8401809" y="4486541"/>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0"/>
                          <a:pt x="0" y="9430"/>
                          <a:pt x="0" y="21037"/>
                        </a:cubicBezTo>
                        <a:close/>
                      </a:path>
                    </a:pathLst>
                  </a:custGeom>
                  <a:solidFill>
                    <a:srgbClr val="BCC2D3"/>
                  </a:solidFill>
                  <a:ln w="2339" cap="flat">
                    <a:noFill/>
                    <a:prstDash val="solid"/>
                    <a:miter/>
                  </a:ln>
                </p:spPr>
                <p:txBody>
                  <a:bodyPr rtlCol="0" anchor="ctr"/>
                  <a:lstStyle/>
                  <a:p>
                    <a:endParaRPr lang="en-US" sz="2400"/>
                  </a:p>
                </p:txBody>
              </p:sp>
              <p:sp>
                <p:nvSpPr>
                  <p:cNvPr id="835" name="Freeform: Shape 834">
                    <a:extLst>
                      <a:ext uri="{FF2B5EF4-FFF2-40B4-BE49-F238E27FC236}">
                        <a16:creationId xmlns:a16="http://schemas.microsoft.com/office/drawing/2014/main" id="{2057DB7E-882D-C15C-C85F-CEE8953764F3}"/>
                      </a:ext>
                    </a:extLst>
                  </p:cNvPr>
                  <p:cNvSpPr/>
                  <p:nvPr userDrawn="1"/>
                </p:nvSpPr>
                <p:spPr>
                  <a:xfrm>
                    <a:off x="8402348" y="4486681"/>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23"/>
                          <a:pt x="0" y="9407"/>
                          <a:pt x="0" y="21037"/>
                        </a:cubicBezTo>
                        <a:close/>
                      </a:path>
                    </a:pathLst>
                  </a:custGeom>
                  <a:solidFill>
                    <a:srgbClr val="BCC2D3"/>
                  </a:solidFill>
                  <a:ln w="2339" cap="flat">
                    <a:noFill/>
                    <a:prstDash val="solid"/>
                    <a:miter/>
                  </a:ln>
                </p:spPr>
                <p:txBody>
                  <a:bodyPr rtlCol="0" anchor="ctr"/>
                  <a:lstStyle/>
                  <a:p>
                    <a:endParaRPr lang="en-US" sz="2400"/>
                  </a:p>
                </p:txBody>
              </p:sp>
              <p:sp>
                <p:nvSpPr>
                  <p:cNvPr id="836" name="Freeform: Shape 835">
                    <a:extLst>
                      <a:ext uri="{FF2B5EF4-FFF2-40B4-BE49-F238E27FC236}">
                        <a16:creationId xmlns:a16="http://schemas.microsoft.com/office/drawing/2014/main" id="{0F9BA9CF-E824-4367-83F9-06F26B4B5A21}"/>
                      </a:ext>
                    </a:extLst>
                  </p:cNvPr>
                  <p:cNvSpPr/>
                  <p:nvPr userDrawn="1"/>
                </p:nvSpPr>
                <p:spPr>
                  <a:xfrm>
                    <a:off x="8402886" y="4486798"/>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CC2D3"/>
                  </a:solidFill>
                  <a:ln w="2339" cap="flat">
                    <a:noFill/>
                    <a:prstDash val="solid"/>
                    <a:miter/>
                  </a:ln>
                </p:spPr>
                <p:txBody>
                  <a:bodyPr rtlCol="0" anchor="ctr"/>
                  <a:lstStyle/>
                  <a:p>
                    <a:endParaRPr lang="en-US" sz="2400"/>
                  </a:p>
                </p:txBody>
              </p:sp>
              <p:sp>
                <p:nvSpPr>
                  <p:cNvPr id="837" name="Freeform: Shape 836">
                    <a:extLst>
                      <a:ext uri="{FF2B5EF4-FFF2-40B4-BE49-F238E27FC236}">
                        <a16:creationId xmlns:a16="http://schemas.microsoft.com/office/drawing/2014/main" id="{8AFD96C4-B6D8-DB12-BE1E-9F57749702DC}"/>
                      </a:ext>
                    </a:extLst>
                  </p:cNvPr>
                  <p:cNvSpPr/>
                  <p:nvPr userDrawn="1"/>
                </p:nvSpPr>
                <p:spPr>
                  <a:xfrm>
                    <a:off x="8403424" y="4486938"/>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DC3D4"/>
                  </a:solidFill>
                  <a:ln w="2339" cap="flat">
                    <a:noFill/>
                    <a:prstDash val="solid"/>
                    <a:miter/>
                  </a:ln>
                </p:spPr>
                <p:txBody>
                  <a:bodyPr rtlCol="0" anchor="ctr"/>
                  <a:lstStyle/>
                  <a:p>
                    <a:endParaRPr lang="en-US" sz="2400"/>
                  </a:p>
                </p:txBody>
              </p:sp>
              <p:sp>
                <p:nvSpPr>
                  <p:cNvPr id="838" name="Freeform: Shape 837">
                    <a:extLst>
                      <a:ext uri="{FF2B5EF4-FFF2-40B4-BE49-F238E27FC236}">
                        <a16:creationId xmlns:a16="http://schemas.microsoft.com/office/drawing/2014/main" id="{3EE365E8-4802-CC0F-F5C7-9A1D5F7C9F5E}"/>
                      </a:ext>
                    </a:extLst>
                  </p:cNvPr>
                  <p:cNvSpPr/>
                  <p:nvPr userDrawn="1"/>
                </p:nvSpPr>
                <p:spPr>
                  <a:xfrm>
                    <a:off x="8403962" y="4487055"/>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BDC3D4"/>
                  </a:solidFill>
                  <a:ln w="2339" cap="flat">
                    <a:noFill/>
                    <a:prstDash val="solid"/>
                    <a:miter/>
                  </a:ln>
                </p:spPr>
                <p:txBody>
                  <a:bodyPr rtlCol="0" anchor="ctr"/>
                  <a:lstStyle/>
                  <a:p>
                    <a:endParaRPr lang="en-US" sz="2400"/>
                  </a:p>
                </p:txBody>
              </p:sp>
              <p:sp>
                <p:nvSpPr>
                  <p:cNvPr id="839" name="Freeform: Shape 838">
                    <a:extLst>
                      <a:ext uri="{FF2B5EF4-FFF2-40B4-BE49-F238E27FC236}">
                        <a16:creationId xmlns:a16="http://schemas.microsoft.com/office/drawing/2014/main" id="{5910B7F1-5ED5-C08F-C038-202B397650B9}"/>
                      </a:ext>
                    </a:extLst>
                  </p:cNvPr>
                  <p:cNvSpPr/>
                  <p:nvPr userDrawn="1"/>
                </p:nvSpPr>
                <p:spPr>
                  <a:xfrm>
                    <a:off x="8404500" y="448719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DC3D4"/>
                  </a:solidFill>
                  <a:ln w="2339" cap="flat">
                    <a:noFill/>
                    <a:prstDash val="solid"/>
                    <a:miter/>
                  </a:ln>
                </p:spPr>
                <p:txBody>
                  <a:bodyPr rtlCol="0" anchor="ctr"/>
                  <a:lstStyle/>
                  <a:p>
                    <a:endParaRPr lang="en-US" sz="2400"/>
                  </a:p>
                </p:txBody>
              </p:sp>
              <p:sp>
                <p:nvSpPr>
                  <p:cNvPr id="840" name="Freeform: Shape 839">
                    <a:extLst>
                      <a:ext uri="{FF2B5EF4-FFF2-40B4-BE49-F238E27FC236}">
                        <a16:creationId xmlns:a16="http://schemas.microsoft.com/office/drawing/2014/main" id="{8D799E99-DA44-405A-1171-AC3A15E35F72}"/>
                      </a:ext>
                    </a:extLst>
                  </p:cNvPr>
                  <p:cNvSpPr/>
                  <p:nvPr userDrawn="1"/>
                </p:nvSpPr>
                <p:spPr>
                  <a:xfrm>
                    <a:off x="8405039" y="448733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EC3D4"/>
                  </a:solidFill>
                  <a:ln w="2339" cap="flat">
                    <a:noFill/>
                    <a:prstDash val="solid"/>
                    <a:miter/>
                  </a:ln>
                </p:spPr>
                <p:txBody>
                  <a:bodyPr rtlCol="0" anchor="ctr"/>
                  <a:lstStyle/>
                  <a:p>
                    <a:endParaRPr lang="en-US" sz="2400"/>
                  </a:p>
                </p:txBody>
              </p:sp>
              <p:sp>
                <p:nvSpPr>
                  <p:cNvPr id="841" name="Freeform: Shape 840">
                    <a:extLst>
                      <a:ext uri="{FF2B5EF4-FFF2-40B4-BE49-F238E27FC236}">
                        <a16:creationId xmlns:a16="http://schemas.microsoft.com/office/drawing/2014/main" id="{9256EC53-9C03-7590-A50A-6E8B2A0E72E5}"/>
                      </a:ext>
                    </a:extLst>
                  </p:cNvPr>
                  <p:cNvSpPr/>
                  <p:nvPr userDrawn="1"/>
                </p:nvSpPr>
                <p:spPr>
                  <a:xfrm>
                    <a:off x="8405577" y="4487453"/>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BEC4D4"/>
                  </a:solidFill>
                  <a:ln w="2339" cap="flat">
                    <a:noFill/>
                    <a:prstDash val="solid"/>
                    <a:miter/>
                  </a:ln>
                </p:spPr>
                <p:txBody>
                  <a:bodyPr rtlCol="0" anchor="ctr"/>
                  <a:lstStyle/>
                  <a:p>
                    <a:endParaRPr lang="en-US" sz="2400"/>
                  </a:p>
                </p:txBody>
              </p:sp>
              <p:sp>
                <p:nvSpPr>
                  <p:cNvPr id="842" name="Freeform: Shape 841">
                    <a:extLst>
                      <a:ext uri="{FF2B5EF4-FFF2-40B4-BE49-F238E27FC236}">
                        <a16:creationId xmlns:a16="http://schemas.microsoft.com/office/drawing/2014/main" id="{F11D2210-2940-CBBE-0031-25FF37698592}"/>
                      </a:ext>
                    </a:extLst>
                  </p:cNvPr>
                  <p:cNvSpPr/>
                  <p:nvPr userDrawn="1"/>
                </p:nvSpPr>
                <p:spPr>
                  <a:xfrm>
                    <a:off x="8406115" y="448759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EC4D5"/>
                  </a:solidFill>
                  <a:ln w="2339" cap="flat">
                    <a:noFill/>
                    <a:prstDash val="solid"/>
                    <a:miter/>
                  </a:ln>
                </p:spPr>
                <p:txBody>
                  <a:bodyPr rtlCol="0" anchor="ctr"/>
                  <a:lstStyle/>
                  <a:p>
                    <a:endParaRPr lang="en-US" sz="2400"/>
                  </a:p>
                </p:txBody>
              </p:sp>
              <p:sp>
                <p:nvSpPr>
                  <p:cNvPr id="843" name="Freeform: Shape 842">
                    <a:extLst>
                      <a:ext uri="{FF2B5EF4-FFF2-40B4-BE49-F238E27FC236}">
                        <a16:creationId xmlns:a16="http://schemas.microsoft.com/office/drawing/2014/main" id="{F5AB854B-BCB3-A8AE-A500-7795B30DEEF6}"/>
                      </a:ext>
                    </a:extLst>
                  </p:cNvPr>
                  <p:cNvSpPr/>
                  <p:nvPr userDrawn="1"/>
                </p:nvSpPr>
                <p:spPr>
                  <a:xfrm>
                    <a:off x="8406653" y="448773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EC4D5"/>
                  </a:solidFill>
                  <a:ln w="2339" cap="flat">
                    <a:noFill/>
                    <a:prstDash val="solid"/>
                    <a:miter/>
                  </a:ln>
                </p:spPr>
                <p:txBody>
                  <a:bodyPr rtlCol="0" anchor="ctr"/>
                  <a:lstStyle/>
                  <a:p>
                    <a:endParaRPr lang="en-US" sz="2400"/>
                  </a:p>
                </p:txBody>
              </p:sp>
              <p:sp>
                <p:nvSpPr>
                  <p:cNvPr id="844" name="Freeform: Shape 843">
                    <a:extLst>
                      <a:ext uri="{FF2B5EF4-FFF2-40B4-BE49-F238E27FC236}">
                        <a16:creationId xmlns:a16="http://schemas.microsoft.com/office/drawing/2014/main" id="{C0B303FC-B5CA-D754-7899-EBBABFFC5ED0}"/>
                      </a:ext>
                    </a:extLst>
                  </p:cNvPr>
                  <p:cNvSpPr/>
                  <p:nvPr userDrawn="1"/>
                </p:nvSpPr>
                <p:spPr>
                  <a:xfrm>
                    <a:off x="8407191" y="448787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FC5D5"/>
                  </a:solidFill>
                  <a:ln w="2339" cap="flat">
                    <a:noFill/>
                    <a:prstDash val="solid"/>
                    <a:miter/>
                  </a:ln>
                </p:spPr>
                <p:txBody>
                  <a:bodyPr rtlCol="0" anchor="ctr"/>
                  <a:lstStyle/>
                  <a:p>
                    <a:endParaRPr lang="en-US" sz="2400"/>
                  </a:p>
                </p:txBody>
              </p:sp>
              <p:sp>
                <p:nvSpPr>
                  <p:cNvPr id="845" name="Freeform: Shape 844">
                    <a:extLst>
                      <a:ext uri="{FF2B5EF4-FFF2-40B4-BE49-F238E27FC236}">
                        <a16:creationId xmlns:a16="http://schemas.microsoft.com/office/drawing/2014/main" id="{3BB9BC76-6BEC-4A52-201B-57F6B080E13F}"/>
                      </a:ext>
                    </a:extLst>
                  </p:cNvPr>
                  <p:cNvSpPr/>
                  <p:nvPr userDrawn="1"/>
                </p:nvSpPr>
                <p:spPr>
                  <a:xfrm>
                    <a:off x="8407730" y="4488015"/>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FC5D5"/>
                  </a:solidFill>
                  <a:ln w="2339" cap="flat">
                    <a:noFill/>
                    <a:prstDash val="solid"/>
                    <a:miter/>
                  </a:ln>
                </p:spPr>
                <p:txBody>
                  <a:bodyPr rtlCol="0" anchor="ctr"/>
                  <a:lstStyle/>
                  <a:p>
                    <a:endParaRPr lang="en-US" sz="2400"/>
                  </a:p>
                </p:txBody>
              </p:sp>
              <p:sp>
                <p:nvSpPr>
                  <p:cNvPr id="846" name="Freeform: Shape 845">
                    <a:extLst>
                      <a:ext uri="{FF2B5EF4-FFF2-40B4-BE49-F238E27FC236}">
                        <a16:creationId xmlns:a16="http://schemas.microsoft.com/office/drawing/2014/main" id="{659083FE-EB8F-7C25-C6C8-B429E530F2FF}"/>
                      </a:ext>
                    </a:extLst>
                  </p:cNvPr>
                  <p:cNvSpPr/>
                  <p:nvPr userDrawn="1"/>
                </p:nvSpPr>
                <p:spPr>
                  <a:xfrm>
                    <a:off x="8408268" y="4488155"/>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23"/>
                          <a:pt x="0" y="9407"/>
                          <a:pt x="0" y="21037"/>
                        </a:cubicBezTo>
                        <a:close/>
                      </a:path>
                    </a:pathLst>
                  </a:custGeom>
                  <a:solidFill>
                    <a:srgbClr val="BFC5D5"/>
                  </a:solidFill>
                  <a:ln w="2339" cap="flat">
                    <a:noFill/>
                    <a:prstDash val="solid"/>
                    <a:miter/>
                  </a:ln>
                </p:spPr>
                <p:txBody>
                  <a:bodyPr rtlCol="0" anchor="ctr"/>
                  <a:lstStyle/>
                  <a:p>
                    <a:endParaRPr lang="en-US" sz="2400"/>
                  </a:p>
                </p:txBody>
              </p:sp>
              <p:sp>
                <p:nvSpPr>
                  <p:cNvPr id="847" name="Freeform: Shape 846">
                    <a:extLst>
                      <a:ext uri="{FF2B5EF4-FFF2-40B4-BE49-F238E27FC236}">
                        <a16:creationId xmlns:a16="http://schemas.microsoft.com/office/drawing/2014/main" id="{EA6B1AEA-70F1-FEB4-8EBE-C5D903A79D1F}"/>
                      </a:ext>
                    </a:extLst>
                  </p:cNvPr>
                  <p:cNvSpPr/>
                  <p:nvPr userDrawn="1"/>
                </p:nvSpPr>
                <p:spPr>
                  <a:xfrm>
                    <a:off x="8408783" y="448829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C0C5D6"/>
                  </a:solidFill>
                  <a:ln w="2339" cap="flat">
                    <a:noFill/>
                    <a:prstDash val="solid"/>
                    <a:miter/>
                  </a:ln>
                </p:spPr>
                <p:txBody>
                  <a:bodyPr rtlCol="0" anchor="ctr"/>
                  <a:lstStyle/>
                  <a:p>
                    <a:endParaRPr lang="en-US" sz="2400"/>
                  </a:p>
                </p:txBody>
              </p:sp>
              <p:sp>
                <p:nvSpPr>
                  <p:cNvPr id="848" name="Freeform: Shape 847">
                    <a:extLst>
                      <a:ext uri="{FF2B5EF4-FFF2-40B4-BE49-F238E27FC236}">
                        <a16:creationId xmlns:a16="http://schemas.microsoft.com/office/drawing/2014/main" id="{0A1764A2-D464-6BE7-3553-9C9FF80D9878}"/>
                      </a:ext>
                    </a:extLst>
                  </p:cNvPr>
                  <p:cNvSpPr/>
                  <p:nvPr userDrawn="1"/>
                </p:nvSpPr>
                <p:spPr>
                  <a:xfrm>
                    <a:off x="8409321" y="448843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C0C6D6"/>
                  </a:solidFill>
                  <a:ln w="2339" cap="flat">
                    <a:noFill/>
                    <a:prstDash val="solid"/>
                    <a:miter/>
                  </a:ln>
                </p:spPr>
                <p:txBody>
                  <a:bodyPr rtlCol="0" anchor="ctr"/>
                  <a:lstStyle/>
                  <a:p>
                    <a:endParaRPr lang="en-US" sz="2400"/>
                  </a:p>
                </p:txBody>
              </p:sp>
              <p:sp>
                <p:nvSpPr>
                  <p:cNvPr id="849" name="Freeform: Shape 848">
                    <a:extLst>
                      <a:ext uri="{FF2B5EF4-FFF2-40B4-BE49-F238E27FC236}">
                        <a16:creationId xmlns:a16="http://schemas.microsoft.com/office/drawing/2014/main" id="{DDA6F555-DED0-B628-C531-2946B2081C9E}"/>
                      </a:ext>
                    </a:extLst>
                  </p:cNvPr>
                  <p:cNvSpPr/>
                  <p:nvPr userDrawn="1"/>
                </p:nvSpPr>
                <p:spPr>
                  <a:xfrm>
                    <a:off x="8409859" y="448857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23"/>
                          <a:pt x="0" y="9407"/>
                          <a:pt x="0" y="21037"/>
                        </a:cubicBezTo>
                        <a:close/>
                      </a:path>
                    </a:pathLst>
                  </a:custGeom>
                  <a:solidFill>
                    <a:srgbClr val="C0C6D6"/>
                  </a:solidFill>
                  <a:ln w="2339" cap="flat">
                    <a:noFill/>
                    <a:prstDash val="solid"/>
                    <a:miter/>
                  </a:ln>
                </p:spPr>
                <p:txBody>
                  <a:bodyPr rtlCol="0" anchor="ctr"/>
                  <a:lstStyle/>
                  <a:p>
                    <a:endParaRPr lang="en-US" sz="2400"/>
                  </a:p>
                </p:txBody>
              </p:sp>
              <p:sp>
                <p:nvSpPr>
                  <p:cNvPr id="850" name="Freeform: Shape 849">
                    <a:extLst>
                      <a:ext uri="{FF2B5EF4-FFF2-40B4-BE49-F238E27FC236}">
                        <a16:creationId xmlns:a16="http://schemas.microsoft.com/office/drawing/2014/main" id="{22276E79-7A3A-FB21-11ED-C4FFC1CD16AF}"/>
                      </a:ext>
                    </a:extLst>
                  </p:cNvPr>
                  <p:cNvSpPr/>
                  <p:nvPr userDrawn="1"/>
                </p:nvSpPr>
                <p:spPr>
                  <a:xfrm>
                    <a:off x="8410374" y="4488717"/>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C1C6D6"/>
                  </a:solidFill>
                  <a:ln w="2339" cap="flat">
                    <a:noFill/>
                    <a:prstDash val="solid"/>
                    <a:miter/>
                  </a:ln>
                </p:spPr>
                <p:txBody>
                  <a:bodyPr rtlCol="0" anchor="ctr"/>
                  <a:lstStyle/>
                  <a:p>
                    <a:endParaRPr lang="en-US" sz="2400"/>
                  </a:p>
                </p:txBody>
              </p:sp>
              <p:sp>
                <p:nvSpPr>
                  <p:cNvPr id="851" name="Freeform: Shape 850">
                    <a:extLst>
                      <a:ext uri="{FF2B5EF4-FFF2-40B4-BE49-F238E27FC236}">
                        <a16:creationId xmlns:a16="http://schemas.microsoft.com/office/drawing/2014/main" id="{04654498-BC42-A1F2-7BE0-5F028B4B9443}"/>
                      </a:ext>
                    </a:extLst>
                  </p:cNvPr>
                  <p:cNvSpPr/>
                  <p:nvPr userDrawn="1"/>
                </p:nvSpPr>
                <p:spPr>
                  <a:xfrm>
                    <a:off x="8410912" y="4488857"/>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C1C6D6"/>
                  </a:solidFill>
                  <a:ln w="2339" cap="flat">
                    <a:noFill/>
                    <a:prstDash val="solid"/>
                    <a:miter/>
                  </a:ln>
                </p:spPr>
                <p:txBody>
                  <a:bodyPr rtlCol="0" anchor="ctr"/>
                  <a:lstStyle/>
                  <a:p>
                    <a:endParaRPr lang="en-US" sz="2400"/>
                  </a:p>
                </p:txBody>
              </p:sp>
              <p:sp>
                <p:nvSpPr>
                  <p:cNvPr id="852" name="Freeform: Shape 851">
                    <a:extLst>
                      <a:ext uri="{FF2B5EF4-FFF2-40B4-BE49-F238E27FC236}">
                        <a16:creationId xmlns:a16="http://schemas.microsoft.com/office/drawing/2014/main" id="{958F8095-7DA7-E28C-4882-5F8EE281F5CE}"/>
                      </a:ext>
                    </a:extLst>
                  </p:cNvPr>
                  <p:cNvSpPr/>
                  <p:nvPr userDrawn="1"/>
                </p:nvSpPr>
                <p:spPr>
                  <a:xfrm>
                    <a:off x="8411427" y="4489021"/>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C1C7D7"/>
                  </a:solidFill>
                  <a:ln w="2339" cap="flat">
                    <a:noFill/>
                    <a:prstDash val="solid"/>
                    <a:miter/>
                  </a:ln>
                </p:spPr>
                <p:txBody>
                  <a:bodyPr rtlCol="0" anchor="ctr"/>
                  <a:lstStyle/>
                  <a:p>
                    <a:endParaRPr lang="en-US" sz="2400"/>
                  </a:p>
                </p:txBody>
              </p:sp>
              <p:sp>
                <p:nvSpPr>
                  <p:cNvPr id="853" name="Freeform: Shape 852">
                    <a:extLst>
                      <a:ext uri="{FF2B5EF4-FFF2-40B4-BE49-F238E27FC236}">
                        <a16:creationId xmlns:a16="http://schemas.microsoft.com/office/drawing/2014/main" id="{9786332B-9271-F134-7006-2F9A26F44F5E}"/>
                      </a:ext>
                    </a:extLst>
                  </p:cNvPr>
                  <p:cNvSpPr/>
                  <p:nvPr userDrawn="1"/>
                </p:nvSpPr>
                <p:spPr>
                  <a:xfrm>
                    <a:off x="8411965" y="4489161"/>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C2C7D7"/>
                  </a:solidFill>
                  <a:ln w="2339" cap="flat">
                    <a:noFill/>
                    <a:prstDash val="solid"/>
                    <a:miter/>
                  </a:ln>
                </p:spPr>
                <p:txBody>
                  <a:bodyPr rtlCol="0" anchor="ctr"/>
                  <a:lstStyle/>
                  <a:p>
                    <a:endParaRPr lang="en-US" sz="2400"/>
                  </a:p>
                </p:txBody>
              </p:sp>
              <p:sp>
                <p:nvSpPr>
                  <p:cNvPr id="854" name="Freeform: Shape 853">
                    <a:extLst>
                      <a:ext uri="{FF2B5EF4-FFF2-40B4-BE49-F238E27FC236}">
                        <a16:creationId xmlns:a16="http://schemas.microsoft.com/office/drawing/2014/main" id="{4BF7D09D-3D14-A4F6-FE82-7020366617E4}"/>
                      </a:ext>
                    </a:extLst>
                  </p:cNvPr>
                  <p:cNvSpPr/>
                  <p:nvPr userDrawn="1"/>
                </p:nvSpPr>
                <p:spPr>
                  <a:xfrm>
                    <a:off x="8412480" y="4489302"/>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C2C7D7"/>
                  </a:solidFill>
                  <a:ln w="2339" cap="flat">
                    <a:noFill/>
                    <a:prstDash val="solid"/>
                    <a:miter/>
                  </a:ln>
                </p:spPr>
                <p:txBody>
                  <a:bodyPr rtlCol="0" anchor="ctr"/>
                  <a:lstStyle/>
                  <a:p>
                    <a:endParaRPr lang="en-US" sz="2400"/>
                  </a:p>
                </p:txBody>
              </p:sp>
              <p:sp>
                <p:nvSpPr>
                  <p:cNvPr id="855" name="Freeform: Shape 854">
                    <a:extLst>
                      <a:ext uri="{FF2B5EF4-FFF2-40B4-BE49-F238E27FC236}">
                        <a16:creationId xmlns:a16="http://schemas.microsoft.com/office/drawing/2014/main" id="{4B591B4B-BF6E-5804-EA83-FC7029A39165}"/>
                      </a:ext>
                    </a:extLst>
                  </p:cNvPr>
                  <p:cNvSpPr/>
                  <p:nvPr userDrawn="1"/>
                </p:nvSpPr>
                <p:spPr>
                  <a:xfrm>
                    <a:off x="8413018" y="448946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23"/>
                          <a:pt x="0" y="9407"/>
                          <a:pt x="0" y="21037"/>
                        </a:cubicBezTo>
                        <a:close/>
                      </a:path>
                    </a:pathLst>
                  </a:custGeom>
                  <a:solidFill>
                    <a:srgbClr val="C2C8D7"/>
                  </a:solidFill>
                  <a:ln w="2339" cap="flat">
                    <a:noFill/>
                    <a:prstDash val="solid"/>
                    <a:miter/>
                  </a:ln>
                </p:spPr>
                <p:txBody>
                  <a:bodyPr rtlCol="0" anchor="ctr"/>
                  <a:lstStyle/>
                  <a:p>
                    <a:endParaRPr lang="en-US" sz="2400"/>
                  </a:p>
                </p:txBody>
              </p:sp>
              <p:sp>
                <p:nvSpPr>
                  <p:cNvPr id="856" name="Freeform: Shape 855">
                    <a:extLst>
                      <a:ext uri="{FF2B5EF4-FFF2-40B4-BE49-F238E27FC236}">
                        <a16:creationId xmlns:a16="http://schemas.microsoft.com/office/drawing/2014/main" id="{78283B6F-BAAB-5909-5DF8-E51B1E2551C5}"/>
                      </a:ext>
                    </a:extLst>
                  </p:cNvPr>
                  <p:cNvSpPr/>
                  <p:nvPr userDrawn="1"/>
                </p:nvSpPr>
                <p:spPr>
                  <a:xfrm>
                    <a:off x="8413533" y="448960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C2C8D7"/>
                  </a:solidFill>
                  <a:ln w="2339" cap="flat">
                    <a:noFill/>
                    <a:prstDash val="solid"/>
                    <a:miter/>
                  </a:ln>
                </p:spPr>
                <p:txBody>
                  <a:bodyPr rtlCol="0" anchor="ctr"/>
                  <a:lstStyle/>
                  <a:p>
                    <a:endParaRPr lang="en-US" sz="2400"/>
                  </a:p>
                </p:txBody>
              </p:sp>
              <p:sp>
                <p:nvSpPr>
                  <p:cNvPr id="857" name="Freeform: Shape 856">
                    <a:extLst>
                      <a:ext uri="{FF2B5EF4-FFF2-40B4-BE49-F238E27FC236}">
                        <a16:creationId xmlns:a16="http://schemas.microsoft.com/office/drawing/2014/main" id="{08C4D59F-BC70-5B90-D5CD-55C8A665867D}"/>
                      </a:ext>
                    </a:extLst>
                  </p:cNvPr>
                  <p:cNvSpPr/>
                  <p:nvPr userDrawn="1"/>
                </p:nvSpPr>
                <p:spPr>
                  <a:xfrm>
                    <a:off x="8414048" y="4489770"/>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C3C8D8"/>
                  </a:solidFill>
                  <a:ln w="2339" cap="flat">
                    <a:noFill/>
                    <a:prstDash val="solid"/>
                    <a:miter/>
                  </a:ln>
                </p:spPr>
                <p:txBody>
                  <a:bodyPr rtlCol="0" anchor="ctr"/>
                  <a:lstStyle/>
                  <a:p>
                    <a:endParaRPr lang="en-US" sz="2400"/>
                  </a:p>
                </p:txBody>
              </p:sp>
              <p:sp>
                <p:nvSpPr>
                  <p:cNvPr id="858" name="Freeform: Shape 857">
                    <a:extLst>
                      <a:ext uri="{FF2B5EF4-FFF2-40B4-BE49-F238E27FC236}">
                        <a16:creationId xmlns:a16="http://schemas.microsoft.com/office/drawing/2014/main" id="{6D51AA62-AC32-569D-E67D-2E03CAB8A84F}"/>
                      </a:ext>
                    </a:extLst>
                  </p:cNvPr>
                  <p:cNvSpPr/>
                  <p:nvPr userDrawn="1"/>
                </p:nvSpPr>
                <p:spPr>
                  <a:xfrm>
                    <a:off x="8414586" y="4489910"/>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0"/>
                          <a:pt x="0" y="9407"/>
                          <a:pt x="0" y="21037"/>
                        </a:cubicBezTo>
                        <a:close/>
                      </a:path>
                    </a:pathLst>
                  </a:custGeom>
                  <a:solidFill>
                    <a:srgbClr val="C3C8D8"/>
                  </a:solidFill>
                  <a:ln w="2339" cap="flat">
                    <a:noFill/>
                    <a:prstDash val="solid"/>
                    <a:miter/>
                  </a:ln>
                </p:spPr>
                <p:txBody>
                  <a:bodyPr rtlCol="0" anchor="ctr"/>
                  <a:lstStyle/>
                  <a:p>
                    <a:endParaRPr lang="en-US" sz="2400"/>
                  </a:p>
                </p:txBody>
              </p:sp>
              <p:sp>
                <p:nvSpPr>
                  <p:cNvPr id="859" name="Freeform: Shape 858">
                    <a:extLst>
                      <a:ext uri="{FF2B5EF4-FFF2-40B4-BE49-F238E27FC236}">
                        <a16:creationId xmlns:a16="http://schemas.microsoft.com/office/drawing/2014/main" id="{D904A4AE-4ED8-4764-D11F-DD1FE3F0D3C5}"/>
                      </a:ext>
                    </a:extLst>
                  </p:cNvPr>
                  <p:cNvSpPr/>
                  <p:nvPr userDrawn="1"/>
                </p:nvSpPr>
                <p:spPr>
                  <a:xfrm>
                    <a:off x="8415101" y="449007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23"/>
                          <a:pt x="0" y="9407"/>
                          <a:pt x="0" y="21037"/>
                        </a:cubicBezTo>
                        <a:close/>
                      </a:path>
                    </a:pathLst>
                  </a:custGeom>
                  <a:solidFill>
                    <a:srgbClr val="C3C9D8"/>
                  </a:solidFill>
                  <a:ln w="2339" cap="flat">
                    <a:noFill/>
                    <a:prstDash val="solid"/>
                    <a:miter/>
                  </a:ln>
                </p:spPr>
                <p:txBody>
                  <a:bodyPr rtlCol="0" anchor="ctr"/>
                  <a:lstStyle/>
                  <a:p>
                    <a:endParaRPr lang="en-US" sz="2400"/>
                  </a:p>
                </p:txBody>
              </p:sp>
              <p:sp>
                <p:nvSpPr>
                  <p:cNvPr id="860" name="Freeform: Shape 859">
                    <a:extLst>
                      <a:ext uri="{FF2B5EF4-FFF2-40B4-BE49-F238E27FC236}">
                        <a16:creationId xmlns:a16="http://schemas.microsoft.com/office/drawing/2014/main" id="{45F1FB6D-F422-870A-B5F0-0D89C2B0A539}"/>
                      </a:ext>
                    </a:extLst>
                  </p:cNvPr>
                  <p:cNvSpPr/>
                  <p:nvPr userDrawn="1"/>
                </p:nvSpPr>
                <p:spPr>
                  <a:xfrm>
                    <a:off x="8415615" y="449021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C4C9D8"/>
                  </a:solidFill>
                  <a:ln w="2339" cap="flat">
                    <a:noFill/>
                    <a:prstDash val="solid"/>
                    <a:miter/>
                  </a:ln>
                </p:spPr>
                <p:txBody>
                  <a:bodyPr rtlCol="0" anchor="ctr"/>
                  <a:lstStyle/>
                  <a:p>
                    <a:endParaRPr lang="en-US" sz="2400"/>
                  </a:p>
                </p:txBody>
              </p:sp>
              <p:sp>
                <p:nvSpPr>
                  <p:cNvPr id="861" name="Freeform: Shape 860">
                    <a:extLst>
                      <a:ext uri="{FF2B5EF4-FFF2-40B4-BE49-F238E27FC236}">
                        <a16:creationId xmlns:a16="http://schemas.microsoft.com/office/drawing/2014/main" id="{23B395E6-4835-3B7B-5894-8A63E69E528E}"/>
                      </a:ext>
                    </a:extLst>
                  </p:cNvPr>
                  <p:cNvSpPr/>
                  <p:nvPr userDrawn="1"/>
                </p:nvSpPr>
                <p:spPr>
                  <a:xfrm>
                    <a:off x="8416130" y="4490378"/>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C4C9D8"/>
                  </a:solidFill>
                  <a:ln w="2339" cap="flat">
                    <a:noFill/>
                    <a:prstDash val="solid"/>
                    <a:miter/>
                  </a:ln>
                </p:spPr>
                <p:txBody>
                  <a:bodyPr rtlCol="0" anchor="ctr"/>
                  <a:lstStyle/>
                  <a:p>
                    <a:endParaRPr lang="en-US" sz="2400"/>
                  </a:p>
                </p:txBody>
              </p:sp>
              <p:sp>
                <p:nvSpPr>
                  <p:cNvPr id="862" name="Freeform: Shape 861">
                    <a:extLst>
                      <a:ext uri="{FF2B5EF4-FFF2-40B4-BE49-F238E27FC236}">
                        <a16:creationId xmlns:a16="http://schemas.microsoft.com/office/drawing/2014/main" id="{95BAA7CE-2085-AAB2-A2BE-B6E433DA4AFD}"/>
                      </a:ext>
                    </a:extLst>
                  </p:cNvPr>
                  <p:cNvSpPr/>
                  <p:nvPr userDrawn="1"/>
                </p:nvSpPr>
                <p:spPr>
                  <a:xfrm>
                    <a:off x="8416645" y="4490542"/>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C4CAD9"/>
                  </a:solidFill>
                  <a:ln w="2339" cap="flat">
                    <a:noFill/>
                    <a:prstDash val="solid"/>
                    <a:miter/>
                  </a:ln>
                </p:spPr>
                <p:txBody>
                  <a:bodyPr rtlCol="0" anchor="ctr"/>
                  <a:lstStyle/>
                  <a:p>
                    <a:endParaRPr lang="en-US" sz="2400"/>
                  </a:p>
                </p:txBody>
              </p:sp>
              <p:sp>
                <p:nvSpPr>
                  <p:cNvPr id="863" name="Freeform: Shape 862">
                    <a:extLst>
                      <a:ext uri="{FF2B5EF4-FFF2-40B4-BE49-F238E27FC236}">
                        <a16:creationId xmlns:a16="http://schemas.microsoft.com/office/drawing/2014/main" id="{C10789A2-787A-EBED-C201-C593E8E8696C}"/>
                      </a:ext>
                    </a:extLst>
                  </p:cNvPr>
                  <p:cNvSpPr/>
                  <p:nvPr userDrawn="1"/>
                </p:nvSpPr>
                <p:spPr>
                  <a:xfrm>
                    <a:off x="8417160" y="449070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C5CAD9"/>
                  </a:solidFill>
                  <a:ln w="2339" cap="flat">
                    <a:noFill/>
                    <a:prstDash val="solid"/>
                    <a:miter/>
                  </a:ln>
                </p:spPr>
                <p:txBody>
                  <a:bodyPr rtlCol="0" anchor="ctr"/>
                  <a:lstStyle/>
                  <a:p>
                    <a:endParaRPr lang="en-US" sz="2400"/>
                  </a:p>
                </p:txBody>
              </p:sp>
              <p:sp>
                <p:nvSpPr>
                  <p:cNvPr id="864" name="Freeform: Shape 863">
                    <a:extLst>
                      <a:ext uri="{FF2B5EF4-FFF2-40B4-BE49-F238E27FC236}">
                        <a16:creationId xmlns:a16="http://schemas.microsoft.com/office/drawing/2014/main" id="{4E0B2950-1FAC-CC3B-8457-9E41294E48D6}"/>
                      </a:ext>
                    </a:extLst>
                  </p:cNvPr>
                  <p:cNvSpPr/>
                  <p:nvPr userDrawn="1"/>
                </p:nvSpPr>
                <p:spPr>
                  <a:xfrm>
                    <a:off x="8417675" y="449082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C5CAD9"/>
                  </a:solidFill>
                  <a:ln w="2339" cap="flat">
                    <a:noFill/>
                    <a:prstDash val="solid"/>
                    <a:miter/>
                  </a:ln>
                </p:spPr>
                <p:txBody>
                  <a:bodyPr rtlCol="0" anchor="ctr"/>
                  <a:lstStyle/>
                  <a:p>
                    <a:endParaRPr lang="en-US" sz="2400"/>
                  </a:p>
                </p:txBody>
              </p:sp>
              <p:sp>
                <p:nvSpPr>
                  <p:cNvPr id="865" name="Freeform: Shape 864">
                    <a:extLst>
                      <a:ext uri="{FF2B5EF4-FFF2-40B4-BE49-F238E27FC236}">
                        <a16:creationId xmlns:a16="http://schemas.microsoft.com/office/drawing/2014/main" id="{A7520080-8CBB-862E-85DF-31F98A8D343B}"/>
                      </a:ext>
                    </a:extLst>
                  </p:cNvPr>
                  <p:cNvSpPr/>
                  <p:nvPr userDrawn="1"/>
                </p:nvSpPr>
                <p:spPr>
                  <a:xfrm>
                    <a:off x="8418189" y="449098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C5CAD9"/>
                  </a:solidFill>
                  <a:ln w="2339" cap="flat">
                    <a:noFill/>
                    <a:prstDash val="solid"/>
                    <a:miter/>
                  </a:ln>
                </p:spPr>
                <p:txBody>
                  <a:bodyPr rtlCol="0" anchor="ctr"/>
                  <a:lstStyle/>
                  <a:p>
                    <a:endParaRPr lang="en-US" sz="2400"/>
                  </a:p>
                </p:txBody>
              </p:sp>
              <p:sp>
                <p:nvSpPr>
                  <p:cNvPr id="866" name="Freeform: Shape 865">
                    <a:extLst>
                      <a:ext uri="{FF2B5EF4-FFF2-40B4-BE49-F238E27FC236}">
                        <a16:creationId xmlns:a16="http://schemas.microsoft.com/office/drawing/2014/main" id="{8D26C55F-873B-CB8F-1B11-A53BB444926B}"/>
                      </a:ext>
                    </a:extLst>
                  </p:cNvPr>
                  <p:cNvSpPr/>
                  <p:nvPr userDrawn="1"/>
                </p:nvSpPr>
                <p:spPr>
                  <a:xfrm>
                    <a:off x="8418704" y="449115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C5CBD9"/>
                  </a:solidFill>
                  <a:ln w="2339" cap="flat">
                    <a:noFill/>
                    <a:prstDash val="solid"/>
                    <a:miter/>
                  </a:ln>
                </p:spPr>
                <p:txBody>
                  <a:bodyPr rtlCol="0" anchor="ctr"/>
                  <a:lstStyle/>
                  <a:p>
                    <a:endParaRPr lang="en-US" sz="2400"/>
                  </a:p>
                </p:txBody>
              </p:sp>
              <p:sp>
                <p:nvSpPr>
                  <p:cNvPr id="867" name="Freeform: Shape 866">
                    <a:extLst>
                      <a:ext uri="{FF2B5EF4-FFF2-40B4-BE49-F238E27FC236}">
                        <a16:creationId xmlns:a16="http://schemas.microsoft.com/office/drawing/2014/main" id="{824F8609-66A0-AEFA-FD25-222C8A762E8A}"/>
                      </a:ext>
                    </a:extLst>
                  </p:cNvPr>
                  <p:cNvSpPr/>
                  <p:nvPr userDrawn="1"/>
                </p:nvSpPr>
                <p:spPr>
                  <a:xfrm>
                    <a:off x="8419196" y="449131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6CBDA"/>
                  </a:solidFill>
                  <a:ln w="2339" cap="flat">
                    <a:noFill/>
                    <a:prstDash val="solid"/>
                    <a:miter/>
                  </a:ln>
                </p:spPr>
                <p:txBody>
                  <a:bodyPr rtlCol="0" anchor="ctr"/>
                  <a:lstStyle/>
                  <a:p>
                    <a:endParaRPr lang="en-US" sz="2400"/>
                  </a:p>
                </p:txBody>
              </p:sp>
              <p:sp>
                <p:nvSpPr>
                  <p:cNvPr id="868" name="Freeform: Shape 867">
                    <a:extLst>
                      <a:ext uri="{FF2B5EF4-FFF2-40B4-BE49-F238E27FC236}">
                        <a16:creationId xmlns:a16="http://schemas.microsoft.com/office/drawing/2014/main" id="{D41610E8-20E8-D8BD-F1FE-01A1280B0F90}"/>
                      </a:ext>
                    </a:extLst>
                  </p:cNvPr>
                  <p:cNvSpPr/>
                  <p:nvPr userDrawn="1"/>
                </p:nvSpPr>
                <p:spPr>
                  <a:xfrm>
                    <a:off x="8419710" y="449147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6CBDA"/>
                  </a:solidFill>
                  <a:ln w="2339" cap="flat">
                    <a:noFill/>
                    <a:prstDash val="solid"/>
                    <a:miter/>
                  </a:ln>
                </p:spPr>
                <p:txBody>
                  <a:bodyPr rtlCol="0" anchor="ctr"/>
                  <a:lstStyle/>
                  <a:p>
                    <a:endParaRPr lang="en-US" sz="2400"/>
                  </a:p>
                </p:txBody>
              </p:sp>
              <p:sp>
                <p:nvSpPr>
                  <p:cNvPr id="869" name="Freeform: Shape 868">
                    <a:extLst>
                      <a:ext uri="{FF2B5EF4-FFF2-40B4-BE49-F238E27FC236}">
                        <a16:creationId xmlns:a16="http://schemas.microsoft.com/office/drawing/2014/main" id="{1C33F9D1-29FA-23CF-8615-D71EBC57365E}"/>
                      </a:ext>
                    </a:extLst>
                  </p:cNvPr>
                  <p:cNvSpPr/>
                  <p:nvPr userDrawn="1"/>
                </p:nvSpPr>
                <p:spPr>
                  <a:xfrm>
                    <a:off x="8420225" y="449164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C6CBDA"/>
                  </a:solidFill>
                  <a:ln w="2339" cap="flat">
                    <a:noFill/>
                    <a:prstDash val="solid"/>
                    <a:miter/>
                  </a:ln>
                </p:spPr>
                <p:txBody>
                  <a:bodyPr rtlCol="0" anchor="ctr"/>
                  <a:lstStyle/>
                  <a:p>
                    <a:endParaRPr lang="en-US" sz="2400"/>
                  </a:p>
                </p:txBody>
              </p:sp>
              <p:sp>
                <p:nvSpPr>
                  <p:cNvPr id="870" name="Freeform: Shape 869">
                    <a:extLst>
                      <a:ext uri="{FF2B5EF4-FFF2-40B4-BE49-F238E27FC236}">
                        <a16:creationId xmlns:a16="http://schemas.microsoft.com/office/drawing/2014/main" id="{CB54DB4E-2EB8-780B-4A0D-1984A93BABC3}"/>
                      </a:ext>
                    </a:extLst>
                  </p:cNvPr>
                  <p:cNvSpPr/>
                  <p:nvPr userDrawn="1"/>
                </p:nvSpPr>
                <p:spPr>
                  <a:xfrm>
                    <a:off x="8420717" y="449180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7CCDA"/>
                  </a:solidFill>
                  <a:ln w="2339" cap="flat">
                    <a:noFill/>
                    <a:prstDash val="solid"/>
                    <a:miter/>
                  </a:ln>
                </p:spPr>
                <p:txBody>
                  <a:bodyPr rtlCol="0" anchor="ctr"/>
                  <a:lstStyle/>
                  <a:p>
                    <a:endParaRPr lang="en-US" sz="2400"/>
                  </a:p>
                </p:txBody>
              </p:sp>
              <p:sp>
                <p:nvSpPr>
                  <p:cNvPr id="871" name="Freeform: Shape 870">
                    <a:extLst>
                      <a:ext uri="{FF2B5EF4-FFF2-40B4-BE49-F238E27FC236}">
                        <a16:creationId xmlns:a16="http://schemas.microsoft.com/office/drawing/2014/main" id="{8AEBC39F-77A1-2AF3-D747-089C31353F59}"/>
                      </a:ext>
                    </a:extLst>
                  </p:cNvPr>
                  <p:cNvSpPr/>
                  <p:nvPr userDrawn="1"/>
                </p:nvSpPr>
                <p:spPr>
                  <a:xfrm>
                    <a:off x="8421231" y="449196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C7CCDA"/>
                  </a:solidFill>
                  <a:ln w="2339" cap="flat">
                    <a:noFill/>
                    <a:prstDash val="solid"/>
                    <a:miter/>
                  </a:ln>
                </p:spPr>
                <p:txBody>
                  <a:bodyPr rtlCol="0" anchor="ctr"/>
                  <a:lstStyle/>
                  <a:p>
                    <a:endParaRPr lang="en-US" sz="2400"/>
                  </a:p>
                </p:txBody>
              </p:sp>
              <p:sp>
                <p:nvSpPr>
                  <p:cNvPr id="872" name="Freeform: Shape 871">
                    <a:extLst>
                      <a:ext uri="{FF2B5EF4-FFF2-40B4-BE49-F238E27FC236}">
                        <a16:creationId xmlns:a16="http://schemas.microsoft.com/office/drawing/2014/main" id="{DFBE6E34-0237-0905-D05E-7F72801362CC}"/>
                      </a:ext>
                    </a:extLst>
                  </p:cNvPr>
                  <p:cNvSpPr/>
                  <p:nvPr userDrawn="1"/>
                </p:nvSpPr>
                <p:spPr>
                  <a:xfrm>
                    <a:off x="8421723" y="449215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7CCDB"/>
                  </a:solidFill>
                  <a:ln w="2339" cap="flat">
                    <a:noFill/>
                    <a:prstDash val="solid"/>
                    <a:miter/>
                  </a:ln>
                </p:spPr>
                <p:txBody>
                  <a:bodyPr rtlCol="0" anchor="ctr"/>
                  <a:lstStyle/>
                  <a:p>
                    <a:endParaRPr lang="en-US" sz="2400"/>
                  </a:p>
                </p:txBody>
              </p:sp>
              <p:sp>
                <p:nvSpPr>
                  <p:cNvPr id="873" name="Freeform: Shape 872">
                    <a:extLst>
                      <a:ext uri="{FF2B5EF4-FFF2-40B4-BE49-F238E27FC236}">
                        <a16:creationId xmlns:a16="http://schemas.microsoft.com/office/drawing/2014/main" id="{6462F41C-84A7-90DA-A6B2-1EF25E4E0064}"/>
                      </a:ext>
                    </a:extLst>
                  </p:cNvPr>
                  <p:cNvSpPr/>
                  <p:nvPr userDrawn="1"/>
                </p:nvSpPr>
                <p:spPr>
                  <a:xfrm>
                    <a:off x="8422238" y="449232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8CDDB"/>
                  </a:solidFill>
                  <a:ln w="2339" cap="flat">
                    <a:noFill/>
                    <a:prstDash val="solid"/>
                    <a:miter/>
                  </a:ln>
                </p:spPr>
                <p:txBody>
                  <a:bodyPr rtlCol="0" anchor="ctr"/>
                  <a:lstStyle/>
                  <a:p>
                    <a:endParaRPr lang="en-US" sz="2400"/>
                  </a:p>
                </p:txBody>
              </p:sp>
              <p:sp>
                <p:nvSpPr>
                  <p:cNvPr id="874" name="Freeform: Shape 873">
                    <a:extLst>
                      <a:ext uri="{FF2B5EF4-FFF2-40B4-BE49-F238E27FC236}">
                        <a16:creationId xmlns:a16="http://schemas.microsoft.com/office/drawing/2014/main" id="{27E56B92-D8E3-103B-9228-F9115276E1D8}"/>
                      </a:ext>
                    </a:extLst>
                  </p:cNvPr>
                  <p:cNvSpPr/>
                  <p:nvPr userDrawn="1"/>
                </p:nvSpPr>
                <p:spPr>
                  <a:xfrm>
                    <a:off x="8422729" y="449248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8CDDB"/>
                  </a:solidFill>
                  <a:ln w="2339" cap="flat">
                    <a:noFill/>
                    <a:prstDash val="solid"/>
                    <a:miter/>
                  </a:ln>
                </p:spPr>
                <p:txBody>
                  <a:bodyPr rtlCol="0" anchor="ctr"/>
                  <a:lstStyle/>
                  <a:p>
                    <a:endParaRPr lang="en-US" sz="2400"/>
                  </a:p>
                </p:txBody>
              </p:sp>
              <p:sp>
                <p:nvSpPr>
                  <p:cNvPr id="875" name="Freeform: Shape 874">
                    <a:extLst>
                      <a:ext uri="{FF2B5EF4-FFF2-40B4-BE49-F238E27FC236}">
                        <a16:creationId xmlns:a16="http://schemas.microsoft.com/office/drawing/2014/main" id="{CC052A4A-2E65-D62B-7FE4-8212AC58AC3C}"/>
                      </a:ext>
                    </a:extLst>
                  </p:cNvPr>
                  <p:cNvSpPr/>
                  <p:nvPr userDrawn="1"/>
                </p:nvSpPr>
                <p:spPr>
                  <a:xfrm>
                    <a:off x="8423244" y="449264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54"/>
                          <a:pt x="0" y="21060"/>
                        </a:cubicBezTo>
                        <a:close/>
                      </a:path>
                    </a:pathLst>
                  </a:custGeom>
                  <a:solidFill>
                    <a:srgbClr val="C8CDDB"/>
                  </a:solidFill>
                  <a:ln w="2339" cap="flat">
                    <a:noFill/>
                    <a:prstDash val="solid"/>
                    <a:miter/>
                  </a:ln>
                </p:spPr>
                <p:txBody>
                  <a:bodyPr rtlCol="0" anchor="ctr"/>
                  <a:lstStyle/>
                  <a:p>
                    <a:endParaRPr lang="en-US" sz="2400"/>
                  </a:p>
                </p:txBody>
              </p:sp>
              <p:sp>
                <p:nvSpPr>
                  <p:cNvPr id="876" name="Freeform: Shape 875">
                    <a:extLst>
                      <a:ext uri="{FF2B5EF4-FFF2-40B4-BE49-F238E27FC236}">
                        <a16:creationId xmlns:a16="http://schemas.microsoft.com/office/drawing/2014/main" id="{CC0EF91D-6EE0-7BA4-CC12-C25D05098596}"/>
                      </a:ext>
                    </a:extLst>
                  </p:cNvPr>
                  <p:cNvSpPr/>
                  <p:nvPr userDrawn="1"/>
                </p:nvSpPr>
                <p:spPr>
                  <a:xfrm>
                    <a:off x="8423735" y="449283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C9CDDB"/>
                  </a:solidFill>
                  <a:ln w="2339" cap="flat">
                    <a:noFill/>
                    <a:prstDash val="solid"/>
                    <a:miter/>
                  </a:ln>
                </p:spPr>
                <p:txBody>
                  <a:bodyPr rtlCol="0" anchor="ctr"/>
                  <a:lstStyle/>
                  <a:p>
                    <a:endParaRPr lang="en-US" sz="2400"/>
                  </a:p>
                </p:txBody>
              </p:sp>
              <p:sp>
                <p:nvSpPr>
                  <p:cNvPr id="877" name="Freeform: Shape 876">
                    <a:extLst>
                      <a:ext uri="{FF2B5EF4-FFF2-40B4-BE49-F238E27FC236}">
                        <a16:creationId xmlns:a16="http://schemas.microsoft.com/office/drawing/2014/main" id="{E34E9EFD-90B1-4930-578F-D18C1777D63E}"/>
                      </a:ext>
                    </a:extLst>
                  </p:cNvPr>
                  <p:cNvSpPr/>
                  <p:nvPr userDrawn="1"/>
                </p:nvSpPr>
                <p:spPr>
                  <a:xfrm>
                    <a:off x="8424227" y="449299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9CEDC"/>
                  </a:solidFill>
                  <a:ln w="2339" cap="flat">
                    <a:noFill/>
                    <a:prstDash val="solid"/>
                    <a:miter/>
                  </a:ln>
                </p:spPr>
                <p:txBody>
                  <a:bodyPr rtlCol="0" anchor="ctr"/>
                  <a:lstStyle/>
                  <a:p>
                    <a:endParaRPr lang="en-US" sz="2400"/>
                  </a:p>
                </p:txBody>
              </p:sp>
              <p:sp>
                <p:nvSpPr>
                  <p:cNvPr id="878" name="Freeform: Shape 877">
                    <a:extLst>
                      <a:ext uri="{FF2B5EF4-FFF2-40B4-BE49-F238E27FC236}">
                        <a16:creationId xmlns:a16="http://schemas.microsoft.com/office/drawing/2014/main" id="{3710BC05-9019-8603-904F-09F4D2B99D1F}"/>
                      </a:ext>
                    </a:extLst>
                  </p:cNvPr>
                  <p:cNvSpPr/>
                  <p:nvPr userDrawn="1"/>
                </p:nvSpPr>
                <p:spPr>
                  <a:xfrm>
                    <a:off x="8424718" y="449318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9CEDC"/>
                  </a:solidFill>
                  <a:ln w="2339" cap="flat">
                    <a:noFill/>
                    <a:prstDash val="solid"/>
                    <a:miter/>
                  </a:ln>
                </p:spPr>
                <p:txBody>
                  <a:bodyPr rtlCol="0" anchor="ctr"/>
                  <a:lstStyle/>
                  <a:p>
                    <a:endParaRPr lang="en-US" sz="2400"/>
                  </a:p>
                </p:txBody>
              </p:sp>
              <p:sp>
                <p:nvSpPr>
                  <p:cNvPr id="879" name="Freeform: Shape 878">
                    <a:extLst>
                      <a:ext uri="{FF2B5EF4-FFF2-40B4-BE49-F238E27FC236}">
                        <a16:creationId xmlns:a16="http://schemas.microsoft.com/office/drawing/2014/main" id="{BD230C9C-6882-72EB-739D-45768FD559BC}"/>
                      </a:ext>
                    </a:extLst>
                  </p:cNvPr>
                  <p:cNvSpPr/>
                  <p:nvPr userDrawn="1"/>
                </p:nvSpPr>
                <p:spPr>
                  <a:xfrm>
                    <a:off x="8425209" y="449335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9CEDC"/>
                  </a:solidFill>
                  <a:ln w="2339" cap="flat">
                    <a:noFill/>
                    <a:prstDash val="solid"/>
                    <a:miter/>
                  </a:ln>
                </p:spPr>
                <p:txBody>
                  <a:bodyPr rtlCol="0" anchor="ctr"/>
                  <a:lstStyle/>
                  <a:p>
                    <a:endParaRPr lang="en-US" sz="2400"/>
                  </a:p>
                </p:txBody>
              </p:sp>
              <p:sp>
                <p:nvSpPr>
                  <p:cNvPr id="880" name="Freeform: Shape 879">
                    <a:extLst>
                      <a:ext uri="{FF2B5EF4-FFF2-40B4-BE49-F238E27FC236}">
                        <a16:creationId xmlns:a16="http://schemas.microsoft.com/office/drawing/2014/main" id="{538E637C-7F58-D595-AFC5-294D7062EBFC}"/>
                      </a:ext>
                    </a:extLst>
                  </p:cNvPr>
                  <p:cNvSpPr/>
                  <p:nvPr userDrawn="1"/>
                </p:nvSpPr>
                <p:spPr>
                  <a:xfrm>
                    <a:off x="8425701" y="449353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ACFDC"/>
                  </a:solidFill>
                  <a:ln w="2339" cap="flat">
                    <a:noFill/>
                    <a:prstDash val="solid"/>
                    <a:miter/>
                  </a:ln>
                </p:spPr>
                <p:txBody>
                  <a:bodyPr rtlCol="0" anchor="ctr"/>
                  <a:lstStyle/>
                  <a:p>
                    <a:endParaRPr lang="en-US" sz="2400"/>
                  </a:p>
                </p:txBody>
              </p:sp>
              <p:sp>
                <p:nvSpPr>
                  <p:cNvPr id="881" name="Freeform: Shape 880">
                    <a:extLst>
                      <a:ext uri="{FF2B5EF4-FFF2-40B4-BE49-F238E27FC236}">
                        <a16:creationId xmlns:a16="http://schemas.microsoft.com/office/drawing/2014/main" id="{39C1380E-35A8-FE77-02BD-CBD73EB0B3CD}"/>
                      </a:ext>
                    </a:extLst>
                  </p:cNvPr>
                  <p:cNvSpPr/>
                  <p:nvPr userDrawn="1"/>
                </p:nvSpPr>
                <p:spPr>
                  <a:xfrm>
                    <a:off x="8426192" y="449370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ACFDC"/>
                  </a:solidFill>
                  <a:ln w="2339" cap="flat">
                    <a:noFill/>
                    <a:prstDash val="solid"/>
                    <a:miter/>
                  </a:ln>
                </p:spPr>
                <p:txBody>
                  <a:bodyPr rtlCol="0" anchor="ctr"/>
                  <a:lstStyle/>
                  <a:p>
                    <a:endParaRPr lang="en-US" sz="2400"/>
                  </a:p>
                </p:txBody>
              </p:sp>
              <p:sp>
                <p:nvSpPr>
                  <p:cNvPr id="882" name="Freeform: Shape 881">
                    <a:extLst>
                      <a:ext uri="{FF2B5EF4-FFF2-40B4-BE49-F238E27FC236}">
                        <a16:creationId xmlns:a16="http://schemas.microsoft.com/office/drawing/2014/main" id="{74CAF148-0156-EB79-103E-BBF0671487B9}"/>
                      </a:ext>
                    </a:extLst>
                  </p:cNvPr>
                  <p:cNvSpPr/>
                  <p:nvPr userDrawn="1"/>
                </p:nvSpPr>
                <p:spPr>
                  <a:xfrm>
                    <a:off x="8426684" y="449388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ACFDD"/>
                  </a:solidFill>
                  <a:ln w="2339" cap="flat">
                    <a:noFill/>
                    <a:prstDash val="solid"/>
                    <a:miter/>
                  </a:ln>
                </p:spPr>
                <p:txBody>
                  <a:bodyPr rtlCol="0" anchor="ctr"/>
                  <a:lstStyle/>
                  <a:p>
                    <a:endParaRPr lang="en-US" sz="2400"/>
                  </a:p>
                </p:txBody>
              </p:sp>
              <p:sp>
                <p:nvSpPr>
                  <p:cNvPr id="883" name="Freeform: Shape 882">
                    <a:extLst>
                      <a:ext uri="{FF2B5EF4-FFF2-40B4-BE49-F238E27FC236}">
                        <a16:creationId xmlns:a16="http://schemas.microsoft.com/office/drawing/2014/main" id="{6B805E67-270E-1FAF-F913-8FBE26C012E0}"/>
                      </a:ext>
                    </a:extLst>
                  </p:cNvPr>
                  <p:cNvSpPr/>
                  <p:nvPr userDrawn="1"/>
                </p:nvSpPr>
                <p:spPr>
                  <a:xfrm>
                    <a:off x="8427175" y="449407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BCFDD"/>
                  </a:solidFill>
                  <a:ln w="2339" cap="flat">
                    <a:noFill/>
                    <a:prstDash val="solid"/>
                    <a:miter/>
                  </a:ln>
                </p:spPr>
                <p:txBody>
                  <a:bodyPr rtlCol="0" anchor="ctr"/>
                  <a:lstStyle/>
                  <a:p>
                    <a:endParaRPr lang="en-US" sz="2400"/>
                  </a:p>
                </p:txBody>
              </p:sp>
              <p:sp>
                <p:nvSpPr>
                  <p:cNvPr id="884" name="Freeform: Shape 883">
                    <a:extLst>
                      <a:ext uri="{FF2B5EF4-FFF2-40B4-BE49-F238E27FC236}">
                        <a16:creationId xmlns:a16="http://schemas.microsoft.com/office/drawing/2014/main" id="{CB0B7843-6C1D-DB03-56F8-A72F6CA33C17}"/>
                      </a:ext>
                    </a:extLst>
                  </p:cNvPr>
                  <p:cNvSpPr/>
                  <p:nvPr userDrawn="1"/>
                </p:nvSpPr>
                <p:spPr>
                  <a:xfrm>
                    <a:off x="8427666" y="449423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CBD0DD"/>
                  </a:solidFill>
                  <a:ln w="2339" cap="flat">
                    <a:noFill/>
                    <a:prstDash val="solid"/>
                    <a:miter/>
                  </a:ln>
                </p:spPr>
                <p:txBody>
                  <a:bodyPr rtlCol="0" anchor="ctr"/>
                  <a:lstStyle/>
                  <a:p>
                    <a:endParaRPr lang="en-US" sz="2400"/>
                  </a:p>
                </p:txBody>
              </p:sp>
              <p:sp>
                <p:nvSpPr>
                  <p:cNvPr id="885" name="Freeform: Shape 884">
                    <a:extLst>
                      <a:ext uri="{FF2B5EF4-FFF2-40B4-BE49-F238E27FC236}">
                        <a16:creationId xmlns:a16="http://schemas.microsoft.com/office/drawing/2014/main" id="{A8F563A2-23E5-1A9F-1F3C-70FE0EA8A917}"/>
                      </a:ext>
                    </a:extLst>
                  </p:cNvPr>
                  <p:cNvSpPr/>
                  <p:nvPr userDrawn="1"/>
                </p:nvSpPr>
                <p:spPr>
                  <a:xfrm>
                    <a:off x="8428135" y="449442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BD0DD"/>
                  </a:solidFill>
                  <a:ln w="2339" cap="flat">
                    <a:noFill/>
                    <a:prstDash val="solid"/>
                    <a:miter/>
                  </a:ln>
                </p:spPr>
                <p:txBody>
                  <a:bodyPr rtlCol="0" anchor="ctr"/>
                  <a:lstStyle/>
                  <a:p>
                    <a:endParaRPr lang="en-US" sz="2400"/>
                  </a:p>
                </p:txBody>
              </p:sp>
              <p:sp>
                <p:nvSpPr>
                  <p:cNvPr id="886" name="Freeform: Shape 885">
                    <a:extLst>
                      <a:ext uri="{FF2B5EF4-FFF2-40B4-BE49-F238E27FC236}">
                        <a16:creationId xmlns:a16="http://schemas.microsoft.com/office/drawing/2014/main" id="{DD024ABE-FBFF-96C9-B00B-A4D3D73D02B4}"/>
                      </a:ext>
                    </a:extLst>
                  </p:cNvPr>
                  <p:cNvSpPr/>
                  <p:nvPr userDrawn="1"/>
                </p:nvSpPr>
                <p:spPr>
                  <a:xfrm>
                    <a:off x="8428626" y="449461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CD0DD"/>
                  </a:solidFill>
                  <a:ln w="2339" cap="flat">
                    <a:noFill/>
                    <a:prstDash val="solid"/>
                    <a:miter/>
                  </a:ln>
                </p:spPr>
                <p:txBody>
                  <a:bodyPr rtlCol="0" anchor="ctr"/>
                  <a:lstStyle/>
                  <a:p>
                    <a:endParaRPr lang="en-US" sz="2400"/>
                  </a:p>
                </p:txBody>
              </p:sp>
              <p:sp>
                <p:nvSpPr>
                  <p:cNvPr id="887" name="Freeform: Shape 886">
                    <a:extLst>
                      <a:ext uri="{FF2B5EF4-FFF2-40B4-BE49-F238E27FC236}">
                        <a16:creationId xmlns:a16="http://schemas.microsoft.com/office/drawing/2014/main" id="{CC6109E6-DF2E-4D68-2977-895C494B1021}"/>
                      </a:ext>
                    </a:extLst>
                  </p:cNvPr>
                  <p:cNvSpPr/>
                  <p:nvPr userDrawn="1"/>
                </p:nvSpPr>
                <p:spPr>
                  <a:xfrm>
                    <a:off x="8429117" y="449480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CCD0DE"/>
                  </a:solidFill>
                  <a:ln w="2339" cap="flat">
                    <a:noFill/>
                    <a:prstDash val="solid"/>
                    <a:miter/>
                  </a:ln>
                </p:spPr>
                <p:txBody>
                  <a:bodyPr rtlCol="0" anchor="ctr"/>
                  <a:lstStyle/>
                  <a:p>
                    <a:endParaRPr lang="en-US" sz="2400"/>
                  </a:p>
                </p:txBody>
              </p:sp>
              <p:sp>
                <p:nvSpPr>
                  <p:cNvPr id="888" name="Freeform: Shape 887">
                    <a:extLst>
                      <a:ext uri="{FF2B5EF4-FFF2-40B4-BE49-F238E27FC236}">
                        <a16:creationId xmlns:a16="http://schemas.microsoft.com/office/drawing/2014/main" id="{542F8F32-9BD4-C341-CB0F-2AE02775B79A}"/>
                      </a:ext>
                    </a:extLst>
                  </p:cNvPr>
                  <p:cNvSpPr/>
                  <p:nvPr userDrawn="1"/>
                </p:nvSpPr>
                <p:spPr>
                  <a:xfrm>
                    <a:off x="8429585" y="449498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CD1DE"/>
                  </a:solidFill>
                  <a:ln w="2339" cap="flat">
                    <a:noFill/>
                    <a:prstDash val="solid"/>
                    <a:miter/>
                  </a:ln>
                </p:spPr>
                <p:txBody>
                  <a:bodyPr rtlCol="0" anchor="ctr"/>
                  <a:lstStyle/>
                  <a:p>
                    <a:endParaRPr lang="en-US" sz="2400"/>
                  </a:p>
                </p:txBody>
              </p:sp>
              <p:sp>
                <p:nvSpPr>
                  <p:cNvPr id="889" name="Freeform: Shape 888">
                    <a:extLst>
                      <a:ext uri="{FF2B5EF4-FFF2-40B4-BE49-F238E27FC236}">
                        <a16:creationId xmlns:a16="http://schemas.microsoft.com/office/drawing/2014/main" id="{65554A78-99EF-B443-98B3-9017BC0E5C4C}"/>
                      </a:ext>
                    </a:extLst>
                  </p:cNvPr>
                  <p:cNvSpPr/>
                  <p:nvPr userDrawn="1"/>
                </p:nvSpPr>
                <p:spPr>
                  <a:xfrm>
                    <a:off x="8430077" y="449517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CDD1DE"/>
                  </a:solidFill>
                  <a:ln w="2339" cap="flat">
                    <a:noFill/>
                    <a:prstDash val="solid"/>
                    <a:miter/>
                  </a:ln>
                </p:spPr>
                <p:txBody>
                  <a:bodyPr rtlCol="0" anchor="ctr"/>
                  <a:lstStyle/>
                  <a:p>
                    <a:endParaRPr lang="en-US" sz="2400"/>
                  </a:p>
                </p:txBody>
              </p:sp>
              <p:sp>
                <p:nvSpPr>
                  <p:cNvPr id="890" name="Freeform: Shape 889">
                    <a:extLst>
                      <a:ext uri="{FF2B5EF4-FFF2-40B4-BE49-F238E27FC236}">
                        <a16:creationId xmlns:a16="http://schemas.microsoft.com/office/drawing/2014/main" id="{35E7468F-FF5C-5C67-F77D-452CBA9872D8}"/>
                      </a:ext>
                    </a:extLst>
                  </p:cNvPr>
                  <p:cNvSpPr/>
                  <p:nvPr userDrawn="1"/>
                </p:nvSpPr>
                <p:spPr>
                  <a:xfrm>
                    <a:off x="8430545" y="449533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CDD1DE"/>
                  </a:solidFill>
                  <a:ln w="2339" cap="flat">
                    <a:noFill/>
                    <a:prstDash val="solid"/>
                    <a:miter/>
                  </a:ln>
                </p:spPr>
                <p:txBody>
                  <a:bodyPr rtlCol="0" anchor="ctr"/>
                  <a:lstStyle/>
                  <a:p>
                    <a:endParaRPr lang="en-US" sz="2400"/>
                  </a:p>
                </p:txBody>
              </p:sp>
              <p:sp>
                <p:nvSpPr>
                  <p:cNvPr id="891" name="Freeform: Shape 890">
                    <a:extLst>
                      <a:ext uri="{FF2B5EF4-FFF2-40B4-BE49-F238E27FC236}">
                        <a16:creationId xmlns:a16="http://schemas.microsoft.com/office/drawing/2014/main" id="{47DC11BC-9403-376F-A9F9-972E1A071684}"/>
                      </a:ext>
                    </a:extLst>
                  </p:cNvPr>
                  <p:cNvSpPr/>
                  <p:nvPr userDrawn="1"/>
                </p:nvSpPr>
                <p:spPr>
                  <a:xfrm>
                    <a:off x="8431013" y="449555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DD2DE"/>
                  </a:solidFill>
                  <a:ln w="2339" cap="flat">
                    <a:noFill/>
                    <a:prstDash val="solid"/>
                    <a:miter/>
                  </a:ln>
                </p:spPr>
                <p:txBody>
                  <a:bodyPr rtlCol="0" anchor="ctr"/>
                  <a:lstStyle/>
                  <a:p>
                    <a:endParaRPr lang="en-US" sz="2400"/>
                  </a:p>
                </p:txBody>
              </p:sp>
              <p:sp>
                <p:nvSpPr>
                  <p:cNvPr id="892" name="Freeform: Shape 891">
                    <a:extLst>
                      <a:ext uri="{FF2B5EF4-FFF2-40B4-BE49-F238E27FC236}">
                        <a16:creationId xmlns:a16="http://schemas.microsoft.com/office/drawing/2014/main" id="{CA5CD9E6-BF9D-5FB1-5984-83A65AE7333D}"/>
                      </a:ext>
                    </a:extLst>
                  </p:cNvPr>
                  <p:cNvSpPr/>
                  <p:nvPr userDrawn="1"/>
                </p:nvSpPr>
                <p:spPr>
                  <a:xfrm>
                    <a:off x="8431504" y="449573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CDD2DF"/>
                  </a:solidFill>
                  <a:ln w="2339" cap="flat">
                    <a:noFill/>
                    <a:prstDash val="solid"/>
                    <a:miter/>
                  </a:ln>
                </p:spPr>
                <p:txBody>
                  <a:bodyPr rtlCol="0" anchor="ctr"/>
                  <a:lstStyle/>
                  <a:p>
                    <a:endParaRPr lang="en-US" sz="2400"/>
                  </a:p>
                </p:txBody>
              </p:sp>
              <p:sp>
                <p:nvSpPr>
                  <p:cNvPr id="893" name="Freeform: Shape 892">
                    <a:extLst>
                      <a:ext uri="{FF2B5EF4-FFF2-40B4-BE49-F238E27FC236}">
                        <a16:creationId xmlns:a16="http://schemas.microsoft.com/office/drawing/2014/main" id="{579BCED4-664D-19F1-2359-686FEF494FB6}"/>
                      </a:ext>
                    </a:extLst>
                  </p:cNvPr>
                  <p:cNvSpPr/>
                  <p:nvPr userDrawn="1"/>
                </p:nvSpPr>
                <p:spPr>
                  <a:xfrm>
                    <a:off x="8431972" y="449592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ED2DF"/>
                  </a:solidFill>
                  <a:ln w="2339" cap="flat">
                    <a:noFill/>
                    <a:prstDash val="solid"/>
                    <a:miter/>
                  </a:ln>
                </p:spPr>
                <p:txBody>
                  <a:bodyPr rtlCol="0" anchor="ctr"/>
                  <a:lstStyle/>
                  <a:p>
                    <a:endParaRPr lang="en-US" sz="2400"/>
                  </a:p>
                </p:txBody>
              </p:sp>
              <p:sp>
                <p:nvSpPr>
                  <p:cNvPr id="894" name="Freeform: Shape 893">
                    <a:extLst>
                      <a:ext uri="{FF2B5EF4-FFF2-40B4-BE49-F238E27FC236}">
                        <a16:creationId xmlns:a16="http://schemas.microsoft.com/office/drawing/2014/main" id="{D4D82079-4C9E-EDE7-7BB9-E74E708884FA}"/>
                      </a:ext>
                    </a:extLst>
                  </p:cNvPr>
                  <p:cNvSpPr/>
                  <p:nvPr userDrawn="1"/>
                </p:nvSpPr>
                <p:spPr>
                  <a:xfrm>
                    <a:off x="8432440" y="449611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ED2DF"/>
                  </a:solidFill>
                  <a:ln w="2339" cap="flat">
                    <a:noFill/>
                    <a:prstDash val="solid"/>
                    <a:miter/>
                  </a:ln>
                </p:spPr>
                <p:txBody>
                  <a:bodyPr rtlCol="0" anchor="ctr"/>
                  <a:lstStyle/>
                  <a:p>
                    <a:endParaRPr lang="en-US" sz="2400"/>
                  </a:p>
                </p:txBody>
              </p:sp>
              <p:sp>
                <p:nvSpPr>
                  <p:cNvPr id="895" name="Freeform: Shape 894">
                    <a:extLst>
                      <a:ext uri="{FF2B5EF4-FFF2-40B4-BE49-F238E27FC236}">
                        <a16:creationId xmlns:a16="http://schemas.microsoft.com/office/drawing/2014/main" id="{387BA735-9AE2-4AA9-4CB5-F2FDBA3F6D9C}"/>
                      </a:ext>
                    </a:extLst>
                  </p:cNvPr>
                  <p:cNvSpPr/>
                  <p:nvPr userDrawn="1"/>
                </p:nvSpPr>
                <p:spPr>
                  <a:xfrm>
                    <a:off x="8432908" y="449629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ED3DF"/>
                  </a:solidFill>
                  <a:ln w="2339" cap="flat">
                    <a:noFill/>
                    <a:prstDash val="solid"/>
                    <a:miter/>
                  </a:ln>
                </p:spPr>
                <p:txBody>
                  <a:bodyPr rtlCol="0" anchor="ctr"/>
                  <a:lstStyle/>
                  <a:p>
                    <a:endParaRPr lang="en-US" sz="2400"/>
                  </a:p>
                </p:txBody>
              </p:sp>
              <p:sp>
                <p:nvSpPr>
                  <p:cNvPr id="896" name="Freeform: Shape 895">
                    <a:extLst>
                      <a:ext uri="{FF2B5EF4-FFF2-40B4-BE49-F238E27FC236}">
                        <a16:creationId xmlns:a16="http://schemas.microsoft.com/office/drawing/2014/main" id="{7FAC67CF-5EF6-4AA4-9002-F74A19BC8760}"/>
                      </a:ext>
                    </a:extLst>
                  </p:cNvPr>
                  <p:cNvSpPr/>
                  <p:nvPr userDrawn="1"/>
                </p:nvSpPr>
                <p:spPr>
                  <a:xfrm>
                    <a:off x="8433376" y="449648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FD3DF"/>
                  </a:solidFill>
                  <a:ln w="2339" cap="flat">
                    <a:noFill/>
                    <a:prstDash val="solid"/>
                    <a:miter/>
                  </a:ln>
                </p:spPr>
                <p:txBody>
                  <a:bodyPr rtlCol="0" anchor="ctr"/>
                  <a:lstStyle/>
                  <a:p>
                    <a:endParaRPr lang="en-US" sz="2400"/>
                  </a:p>
                </p:txBody>
              </p:sp>
              <p:sp>
                <p:nvSpPr>
                  <p:cNvPr id="897" name="Freeform: Shape 896">
                    <a:extLst>
                      <a:ext uri="{FF2B5EF4-FFF2-40B4-BE49-F238E27FC236}">
                        <a16:creationId xmlns:a16="http://schemas.microsoft.com/office/drawing/2014/main" id="{D67B2A48-7AFA-5555-2E3A-0DF0078B6A17}"/>
                      </a:ext>
                    </a:extLst>
                  </p:cNvPr>
                  <p:cNvSpPr/>
                  <p:nvPr userDrawn="1"/>
                </p:nvSpPr>
                <p:spPr>
                  <a:xfrm>
                    <a:off x="8433844" y="449667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CFD3E0"/>
                  </a:solidFill>
                  <a:ln w="2339" cap="flat">
                    <a:noFill/>
                    <a:prstDash val="solid"/>
                    <a:miter/>
                  </a:ln>
                </p:spPr>
                <p:txBody>
                  <a:bodyPr rtlCol="0" anchor="ctr"/>
                  <a:lstStyle/>
                  <a:p>
                    <a:endParaRPr lang="en-US" sz="2400"/>
                  </a:p>
                </p:txBody>
              </p:sp>
              <p:sp>
                <p:nvSpPr>
                  <p:cNvPr id="898" name="Freeform: Shape 897">
                    <a:extLst>
                      <a:ext uri="{FF2B5EF4-FFF2-40B4-BE49-F238E27FC236}">
                        <a16:creationId xmlns:a16="http://schemas.microsoft.com/office/drawing/2014/main" id="{44D75258-8BC6-00F0-6360-DF72F2EE3DA8}"/>
                      </a:ext>
                    </a:extLst>
                  </p:cNvPr>
                  <p:cNvSpPr/>
                  <p:nvPr userDrawn="1"/>
                </p:nvSpPr>
                <p:spPr>
                  <a:xfrm>
                    <a:off x="8434312" y="449688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CFD4E0"/>
                  </a:solidFill>
                  <a:ln w="2339" cap="flat">
                    <a:noFill/>
                    <a:prstDash val="solid"/>
                    <a:miter/>
                  </a:ln>
                </p:spPr>
                <p:txBody>
                  <a:bodyPr rtlCol="0" anchor="ctr"/>
                  <a:lstStyle/>
                  <a:p>
                    <a:endParaRPr lang="en-US" sz="2400"/>
                  </a:p>
                </p:txBody>
              </p:sp>
              <p:sp>
                <p:nvSpPr>
                  <p:cNvPr id="899" name="Freeform: Shape 898">
                    <a:extLst>
                      <a:ext uri="{FF2B5EF4-FFF2-40B4-BE49-F238E27FC236}">
                        <a16:creationId xmlns:a16="http://schemas.microsoft.com/office/drawing/2014/main" id="{B497346A-6618-B7A6-4AA1-2920EE7006A2}"/>
                      </a:ext>
                    </a:extLst>
                  </p:cNvPr>
                  <p:cNvSpPr/>
                  <p:nvPr userDrawn="1"/>
                </p:nvSpPr>
                <p:spPr>
                  <a:xfrm>
                    <a:off x="8434780" y="449707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D0D4E0"/>
                  </a:solidFill>
                  <a:ln w="2339" cap="flat">
                    <a:noFill/>
                    <a:prstDash val="solid"/>
                    <a:miter/>
                  </a:ln>
                </p:spPr>
                <p:txBody>
                  <a:bodyPr rtlCol="0" anchor="ctr"/>
                  <a:lstStyle/>
                  <a:p>
                    <a:endParaRPr lang="en-US" sz="2400"/>
                  </a:p>
                </p:txBody>
              </p:sp>
              <p:sp>
                <p:nvSpPr>
                  <p:cNvPr id="900" name="Freeform: Shape 899">
                    <a:extLst>
                      <a:ext uri="{FF2B5EF4-FFF2-40B4-BE49-F238E27FC236}">
                        <a16:creationId xmlns:a16="http://schemas.microsoft.com/office/drawing/2014/main" id="{31BA75B6-AAEE-5A41-E8D6-C6C154FFDFDA}"/>
                      </a:ext>
                    </a:extLst>
                  </p:cNvPr>
                  <p:cNvSpPr/>
                  <p:nvPr userDrawn="1"/>
                </p:nvSpPr>
                <p:spPr>
                  <a:xfrm>
                    <a:off x="8435225" y="449728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0D4E0"/>
                  </a:solidFill>
                  <a:ln w="2339" cap="flat">
                    <a:noFill/>
                    <a:prstDash val="solid"/>
                    <a:miter/>
                  </a:ln>
                </p:spPr>
                <p:txBody>
                  <a:bodyPr rtlCol="0" anchor="ctr"/>
                  <a:lstStyle/>
                  <a:p>
                    <a:endParaRPr lang="en-US" sz="2400"/>
                  </a:p>
                </p:txBody>
              </p:sp>
              <p:sp>
                <p:nvSpPr>
                  <p:cNvPr id="901" name="Freeform: Shape 900">
                    <a:extLst>
                      <a:ext uri="{FF2B5EF4-FFF2-40B4-BE49-F238E27FC236}">
                        <a16:creationId xmlns:a16="http://schemas.microsoft.com/office/drawing/2014/main" id="{E94671A1-D71A-C225-72B4-A7A29B885E82}"/>
                      </a:ext>
                    </a:extLst>
                  </p:cNvPr>
                  <p:cNvSpPr/>
                  <p:nvPr userDrawn="1"/>
                </p:nvSpPr>
                <p:spPr>
                  <a:xfrm>
                    <a:off x="8435693" y="449746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0D4E0"/>
                  </a:solidFill>
                  <a:ln w="2339" cap="flat">
                    <a:noFill/>
                    <a:prstDash val="solid"/>
                    <a:miter/>
                  </a:ln>
                </p:spPr>
                <p:txBody>
                  <a:bodyPr rtlCol="0" anchor="ctr"/>
                  <a:lstStyle/>
                  <a:p>
                    <a:endParaRPr lang="en-US" sz="2400"/>
                  </a:p>
                </p:txBody>
              </p:sp>
              <p:sp>
                <p:nvSpPr>
                  <p:cNvPr id="902" name="Freeform: Shape 901">
                    <a:extLst>
                      <a:ext uri="{FF2B5EF4-FFF2-40B4-BE49-F238E27FC236}">
                        <a16:creationId xmlns:a16="http://schemas.microsoft.com/office/drawing/2014/main" id="{CC79461D-881C-9765-2EEC-DDA5FF5D1131}"/>
                      </a:ext>
                    </a:extLst>
                  </p:cNvPr>
                  <p:cNvSpPr/>
                  <p:nvPr userDrawn="1"/>
                </p:nvSpPr>
                <p:spPr>
                  <a:xfrm>
                    <a:off x="8436137" y="449765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D1D5E1"/>
                  </a:solidFill>
                  <a:ln w="2339" cap="flat">
                    <a:noFill/>
                    <a:prstDash val="solid"/>
                    <a:miter/>
                  </a:ln>
                </p:spPr>
                <p:txBody>
                  <a:bodyPr rtlCol="0" anchor="ctr"/>
                  <a:lstStyle/>
                  <a:p>
                    <a:endParaRPr lang="en-US" sz="2400"/>
                  </a:p>
                </p:txBody>
              </p:sp>
              <p:sp>
                <p:nvSpPr>
                  <p:cNvPr id="903" name="Freeform: Shape 902">
                    <a:extLst>
                      <a:ext uri="{FF2B5EF4-FFF2-40B4-BE49-F238E27FC236}">
                        <a16:creationId xmlns:a16="http://schemas.microsoft.com/office/drawing/2014/main" id="{317140F9-6B32-91D9-0D99-59FBFAA7BAE9}"/>
                      </a:ext>
                    </a:extLst>
                  </p:cNvPr>
                  <p:cNvSpPr/>
                  <p:nvPr userDrawn="1"/>
                </p:nvSpPr>
                <p:spPr>
                  <a:xfrm>
                    <a:off x="8436605" y="449786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1D5E1"/>
                  </a:solidFill>
                  <a:ln w="2339" cap="flat">
                    <a:noFill/>
                    <a:prstDash val="solid"/>
                    <a:miter/>
                  </a:ln>
                </p:spPr>
                <p:txBody>
                  <a:bodyPr rtlCol="0" anchor="ctr"/>
                  <a:lstStyle/>
                  <a:p>
                    <a:endParaRPr lang="en-US" sz="2400"/>
                  </a:p>
                </p:txBody>
              </p:sp>
              <p:sp>
                <p:nvSpPr>
                  <p:cNvPr id="904" name="Freeform: Shape 903">
                    <a:extLst>
                      <a:ext uri="{FF2B5EF4-FFF2-40B4-BE49-F238E27FC236}">
                        <a16:creationId xmlns:a16="http://schemas.microsoft.com/office/drawing/2014/main" id="{88DA5E3F-53B7-1249-B30B-95033805CFE9}"/>
                      </a:ext>
                    </a:extLst>
                  </p:cNvPr>
                  <p:cNvSpPr/>
                  <p:nvPr userDrawn="1"/>
                </p:nvSpPr>
                <p:spPr>
                  <a:xfrm>
                    <a:off x="8437050" y="449807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1D5E1"/>
                  </a:solidFill>
                  <a:ln w="2339" cap="flat">
                    <a:noFill/>
                    <a:prstDash val="solid"/>
                    <a:miter/>
                  </a:ln>
                </p:spPr>
                <p:txBody>
                  <a:bodyPr rtlCol="0" anchor="ctr"/>
                  <a:lstStyle/>
                  <a:p>
                    <a:endParaRPr lang="en-US" sz="2400"/>
                  </a:p>
                </p:txBody>
              </p:sp>
              <p:sp>
                <p:nvSpPr>
                  <p:cNvPr id="905" name="Freeform: Shape 904">
                    <a:extLst>
                      <a:ext uri="{FF2B5EF4-FFF2-40B4-BE49-F238E27FC236}">
                        <a16:creationId xmlns:a16="http://schemas.microsoft.com/office/drawing/2014/main" id="{72BEB366-F796-A016-9FA8-D5AFD8CF8366}"/>
                      </a:ext>
                    </a:extLst>
                  </p:cNvPr>
                  <p:cNvSpPr/>
                  <p:nvPr userDrawn="1"/>
                </p:nvSpPr>
                <p:spPr>
                  <a:xfrm>
                    <a:off x="8437518" y="449826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D1D6E1"/>
                  </a:solidFill>
                  <a:ln w="2339" cap="flat">
                    <a:noFill/>
                    <a:prstDash val="solid"/>
                    <a:miter/>
                  </a:ln>
                </p:spPr>
                <p:txBody>
                  <a:bodyPr rtlCol="0" anchor="ctr"/>
                  <a:lstStyle/>
                  <a:p>
                    <a:endParaRPr lang="en-US" sz="2400"/>
                  </a:p>
                </p:txBody>
              </p:sp>
              <p:sp>
                <p:nvSpPr>
                  <p:cNvPr id="906" name="Freeform: Shape 905">
                    <a:extLst>
                      <a:ext uri="{FF2B5EF4-FFF2-40B4-BE49-F238E27FC236}">
                        <a16:creationId xmlns:a16="http://schemas.microsoft.com/office/drawing/2014/main" id="{E9B09D97-9CC2-C3E5-8F62-495B6CEBE0AA}"/>
                      </a:ext>
                    </a:extLst>
                  </p:cNvPr>
                  <p:cNvSpPr/>
                  <p:nvPr userDrawn="1"/>
                </p:nvSpPr>
                <p:spPr>
                  <a:xfrm>
                    <a:off x="8437963" y="449847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2D6E1"/>
                  </a:solidFill>
                  <a:ln w="2339" cap="flat">
                    <a:noFill/>
                    <a:prstDash val="solid"/>
                    <a:miter/>
                  </a:ln>
                </p:spPr>
                <p:txBody>
                  <a:bodyPr rtlCol="0" anchor="ctr"/>
                  <a:lstStyle/>
                  <a:p>
                    <a:endParaRPr lang="en-US" sz="2400"/>
                  </a:p>
                </p:txBody>
              </p:sp>
              <p:sp>
                <p:nvSpPr>
                  <p:cNvPr id="907" name="Freeform: Shape 906">
                    <a:extLst>
                      <a:ext uri="{FF2B5EF4-FFF2-40B4-BE49-F238E27FC236}">
                        <a16:creationId xmlns:a16="http://schemas.microsoft.com/office/drawing/2014/main" id="{0E67A3BB-2513-210B-6DB5-0674F47CF87B}"/>
                      </a:ext>
                    </a:extLst>
                  </p:cNvPr>
                  <p:cNvSpPr/>
                  <p:nvPr userDrawn="1"/>
                </p:nvSpPr>
                <p:spPr>
                  <a:xfrm>
                    <a:off x="8438407" y="449866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D2D6E2"/>
                  </a:solidFill>
                  <a:ln w="2339" cap="flat">
                    <a:noFill/>
                    <a:prstDash val="solid"/>
                    <a:miter/>
                  </a:ln>
                </p:spPr>
                <p:txBody>
                  <a:bodyPr rtlCol="0" anchor="ctr"/>
                  <a:lstStyle/>
                  <a:p>
                    <a:endParaRPr lang="en-US" sz="2400"/>
                  </a:p>
                </p:txBody>
              </p:sp>
              <p:sp>
                <p:nvSpPr>
                  <p:cNvPr id="908" name="Freeform: Shape 907">
                    <a:extLst>
                      <a:ext uri="{FF2B5EF4-FFF2-40B4-BE49-F238E27FC236}">
                        <a16:creationId xmlns:a16="http://schemas.microsoft.com/office/drawing/2014/main" id="{B5B74263-768D-5B49-4478-F9AA77A19E16}"/>
                      </a:ext>
                    </a:extLst>
                  </p:cNvPr>
                  <p:cNvSpPr/>
                  <p:nvPr userDrawn="1"/>
                </p:nvSpPr>
                <p:spPr>
                  <a:xfrm>
                    <a:off x="8438852" y="449887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D2D6E2"/>
                  </a:solidFill>
                  <a:ln w="2339" cap="flat">
                    <a:noFill/>
                    <a:prstDash val="solid"/>
                    <a:miter/>
                  </a:ln>
                </p:spPr>
                <p:txBody>
                  <a:bodyPr rtlCol="0" anchor="ctr"/>
                  <a:lstStyle/>
                  <a:p>
                    <a:endParaRPr lang="en-US" sz="2400"/>
                  </a:p>
                </p:txBody>
              </p:sp>
              <p:sp>
                <p:nvSpPr>
                  <p:cNvPr id="909" name="Freeform: Shape 908">
                    <a:extLst>
                      <a:ext uri="{FF2B5EF4-FFF2-40B4-BE49-F238E27FC236}">
                        <a16:creationId xmlns:a16="http://schemas.microsoft.com/office/drawing/2014/main" id="{1E26EC0A-849F-F746-1601-7D396621F567}"/>
                      </a:ext>
                    </a:extLst>
                  </p:cNvPr>
                  <p:cNvSpPr/>
                  <p:nvPr userDrawn="1"/>
                </p:nvSpPr>
                <p:spPr>
                  <a:xfrm>
                    <a:off x="8439296" y="449908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3D7E2"/>
                  </a:solidFill>
                  <a:ln w="2339" cap="flat">
                    <a:noFill/>
                    <a:prstDash val="solid"/>
                    <a:miter/>
                  </a:ln>
                </p:spPr>
                <p:txBody>
                  <a:bodyPr rtlCol="0" anchor="ctr"/>
                  <a:lstStyle/>
                  <a:p>
                    <a:endParaRPr lang="en-US" sz="2400"/>
                  </a:p>
                </p:txBody>
              </p:sp>
              <p:sp>
                <p:nvSpPr>
                  <p:cNvPr id="910" name="Freeform: Shape 909">
                    <a:extLst>
                      <a:ext uri="{FF2B5EF4-FFF2-40B4-BE49-F238E27FC236}">
                        <a16:creationId xmlns:a16="http://schemas.microsoft.com/office/drawing/2014/main" id="{3C768C6D-05FE-94FF-E48D-0456AF22F7F4}"/>
                      </a:ext>
                    </a:extLst>
                  </p:cNvPr>
                  <p:cNvSpPr/>
                  <p:nvPr userDrawn="1"/>
                </p:nvSpPr>
                <p:spPr>
                  <a:xfrm>
                    <a:off x="8439741" y="449929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3D7E2"/>
                  </a:solidFill>
                  <a:ln w="2339" cap="flat">
                    <a:noFill/>
                    <a:prstDash val="solid"/>
                    <a:miter/>
                  </a:ln>
                </p:spPr>
                <p:txBody>
                  <a:bodyPr rtlCol="0" anchor="ctr"/>
                  <a:lstStyle/>
                  <a:p>
                    <a:endParaRPr lang="en-US" sz="2400"/>
                  </a:p>
                </p:txBody>
              </p:sp>
              <p:sp>
                <p:nvSpPr>
                  <p:cNvPr id="911" name="Freeform: Shape 910">
                    <a:extLst>
                      <a:ext uri="{FF2B5EF4-FFF2-40B4-BE49-F238E27FC236}">
                        <a16:creationId xmlns:a16="http://schemas.microsoft.com/office/drawing/2014/main" id="{447B57AF-B87E-212A-F453-692C01A3E657}"/>
                      </a:ext>
                    </a:extLst>
                  </p:cNvPr>
                  <p:cNvSpPr/>
                  <p:nvPr userDrawn="1"/>
                </p:nvSpPr>
                <p:spPr>
                  <a:xfrm>
                    <a:off x="8440186" y="449950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3D7E2"/>
                  </a:solidFill>
                  <a:ln w="2339" cap="flat">
                    <a:noFill/>
                    <a:prstDash val="solid"/>
                    <a:miter/>
                  </a:ln>
                </p:spPr>
                <p:txBody>
                  <a:bodyPr rtlCol="0" anchor="ctr"/>
                  <a:lstStyle/>
                  <a:p>
                    <a:endParaRPr lang="en-US" sz="2400"/>
                  </a:p>
                </p:txBody>
              </p:sp>
              <p:sp>
                <p:nvSpPr>
                  <p:cNvPr id="912" name="Freeform: Shape 911">
                    <a:extLst>
                      <a:ext uri="{FF2B5EF4-FFF2-40B4-BE49-F238E27FC236}">
                        <a16:creationId xmlns:a16="http://schemas.microsoft.com/office/drawing/2014/main" id="{09ADDD01-3C1D-4107-B2DD-A6DC75AD7291}"/>
                      </a:ext>
                    </a:extLst>
                  </p:cNvPr>
                  <p:cNvSpPr/>
                  <p:nvPr userDrawn="1"/>
                </p:nvSpPr>
                <p:spPr>
                  <a:xfrm>
                    <a:off x="8440630" y="449971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4D7E3"/>
                  </a:solidFill>
                  <a:ln w="2339" cap="flat">
                    <a:noFill/>
                    <a:prstDash val="solid"/>
                    <a:miter/>
                  </a:ln>
                </p:spPr>
                <p:txBody>
                  <a:bodyPr rtlCol="0" anchor="ctr"/>
                  <a:lstStyle/>
                  <a:p>
                    <a:endParaRPr lang="en-US" sz="2400"/>
                  </a:p>
                </p:txBody>
              </p:sp>
              <p:sp>
                <p:nvSpPr>
                  <p:cNvPr id="913" name="Freeform: Shape 912">
                    <a:extLst>
                      <a:ext uri="{FF2B5EF4-FFF2-40B4-BE49-F238E27FC236}">
                        <a16:creationId xmlns:a16="http://schemas.microsoft.com/office/drawing/2014/main" id="{49ECFA28-6E60-5D66-352C-A373040DFE07}"/>
                      </a:ext>
                    </a:extLst>
                  </p:cNvPr>
                  <p:cNvSpPr/>
                  <p:nvPr userDrawn="1"/>
                </p:nvSpPr>
                <p:spPr>
                  <a:xfrm>
                    <a:off x="8441075" y="449990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54"/>
                          <a:pt x="0" y="21060"/>
                        </a:cubicBezTo>
                        <a:close/>
                      </a:path>
                    </a:pathLst>
                  </a:custGeom>
                  <a:solidFill>
                    <a:srgbClr val="D4D8E3"/>
                  </a:solidFill>
                  <a:ln w="2339" cap="flat">
                    <a:noFill/>
                    <a:prstDash val="solid"/>
                    <a:miter/>
                  </a:ln>
                </p:spPr>
                <p:txBody>
                  <a:bodyPr rtlCol="0" anchor="ctr"/>
                  <a:lstStyle/>
                  <a:p>
                    <a:endParaRPr lang="en-US" sz="2400"/>
                  </a:p>
                </p:txBody>
              </p:sp>
              <p:sp>
                <p:nvSpPr>
                  <p:cNvPr id="914" name="Freeform: Shape 913">
                    <a:extLst>
                      <a:ext uri="{FF2B5EF4-FFF2-40B4-BE49-F238E27FC236}">
                        <a16:creationId xmlns:a16="http://schemas.microsoft.com/office/drawing/2014/main" id="{80E5080D-784F-7A7F-3539-FEBE4F69994E}"/>
                      </a:ext>
                    </a:extLst>
                  </p:cNvPr>
                  <p:cNvSpPr/>
                  <p:nvPr userDrawn="1"/>
                </p:nvSpPr>
                <p:spPr>
                  <a:xfrm>
                    <a:off x="8441496" y="450011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D4D8E3"/>
                  </a:solidFill>
                  <a:ln w="2339" cap="flat">
                    <a:noFill/>
                    <a:prstDash val="solid"/>
                    <a:miter/>
                  </a:ln>
                </p:spPr>
                <p:txBody>
                  <a:bodyPr rtlCol="0" anchor="ctr"/>
                  <a:lstStyle/>
                  <a:p>
                    <a:endParaRPr lang="en-US" sz="2400"/>
                  </a:p>
                </p:txBody>
              </p:sp>
              <p:sp>
                <p:nvSpPr>
                  <p:cNvPr id="915" name="Freeform: Shape 914">
                    <a:extLst>
                      <a:ext uri="{FF2B5EF4-FFF2-40B4-BE49-F238E27FC236}">
                        <a16:creationId xmlns:a16="http://schemas.microsoft.com/office/drawing/2014/main" id="{6AD61782-E667-BCFA-0988-C982F13D7779}"/>
                      </a:ext>
                    </a:extLst>
                  </p:cNvPr>
                  <p:cNvSpPr/>
                  <p:nvPr userDrawn="1"/>
                </p:nvSpPr>
                <p:spPr>
                  <a:xfrm>
                    <a:off x="8441941" y="450032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D4D8E3"/>
                  </a:solidFill>
                  <a:ln w="2339" cap="flat">
                    <a:noFill/>
                    <a:prstDash val="solid"/>
                    <a:miter/>
                  </a:ln>
                </p:spPr>
                <p:txBody>
                  <a:bodyPr rtlCol="0" anchor="ctr"/>
                  <a:lstStyle/>
                  <a:p>
                    <a:endParaRPr lang="en-US" sz="2400"/>
                  </a:p>
                </p:txBody>
              </p:sp>
              <p:sp>
                <p:nvSpPr>
                  <p:cNvPr id="916" name="Freeform: Shape 915">
                    <a:extLst>
                      <a:ext uri="{FF2B5EF4-FFF2-40B4-BE49-F238E27FC236}">
                        <a16:creationId xmlns:a16="http://schemas.microsoft.com/office/drawing/2014/main" id="{5EB87722-1393-AC01-62D4-BE28ED69510D}"/>
                      </a:ext>
                    </a:extLst>
                  </p:cNvPr>
                  <p:cNvSpPr/>
                  <p:nvPr userDrawn="1"/>
                </p:nvSpPr>
                <p:spPr>
                  <a:xfrm>
                    <a:off x="8442362" y="450053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D5D9E3"/>
                  </a:solidFill>
                  <a:ln w="2339" cap="flat">
                    <a:noFill/>
                    <a:prstDash val="solid"/>
                    <a:miter/>
                  </a:ln>
                </p:spPr>
                <p:txBody>
                  <a:bodyPr rtlCol="0" anchor="ctr"/>
                  <a:lstStyle/>
                  <a:p>
                    <a:endParaRPr lang="en-US" sz="2400"/>
                  </a:p>
                </p:txBody>
              </p:sp>
              <p:sp>
                <p:nvSpPr>
                  <p:cNvPr id="917" name="Freeform: Shape 916">
                    <a:extLst>
                      <a:ext uri="{FF2B5EF4-FFF2-40B4-BE49-F238E27FC236}">
                        <a16:creationId xmlns:a16="http://schemas.microsoft.com/office/drawing/2014/main" id="{1005C013-B726-ADCE-325A-4F9091B31183}"/>
                      </a:ext>
                    </a:extLst>
                  </p:cNvPr>
                  <p:cNvSpPr/>
                  <p:nvPr userDrawn="1"/>
                </p:nvSpPr>
                <p:spPr>
                  <a:xfrm>
                    <a:off x="8442806" y="450076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5D9E4"/>
                  </a:solidFill>
                  <a:ln w="2339" cap="flat">
                    <a:noFill/>
                    <a:prstDash val="solid"/>
                    <a:miter/>
                  </a:ln>
                </p:spPr>
                <p:txBody>
                  <a:bodyPr rtlCol="0" anchor="ctr"/>
                  <a:lstStyle/>
                  <a:p>
                    <a:endParaRPr lang="en-US" sz="2400"/>
                  </a:p>
                </p:txBody>
              </p:sp>
              <p:sp>
                <p:nvSpPr>
                  <p:cNvPr id="918" name="Freeform: Shape 917">
                    <a:extLst>
                      <a:ext uri="{FF2B5EF4-FFF2-40B4-BE49-F238E27FC236}">
                        <a16:creationId xmlns:a16="http://schemas.microsoft.com/office/drawing/2014/main" id="{40C6F805-9B2D-383F-D28F-6A41AA579AA0}"/>
                      </a:ext>
                    </a:extLst>
                  </p:cNvPr>
                  <p:cNvSpPr/>
                  <p:nvPr userDrawn="1"/>
                </p:nvSpPr>
                <p:spPr>
                  <a:xfrm>
                    <a:off x="8443228" y="450097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5D9E4"/>
                  </a:solidFill>
                  <a:ln w="2339" cap="flat">
                    <a:noFill/>
                    <a:prstDash val="solid"/>
                    <a:miter/>
                  </a:ln>
                </p:spPr>
                <p:txBody>
                  <a:bodyPr rtlCol="0" anchor="ctr"/>
                  <a:lstStyle/>
                  <a:p>
                    <a:endParaRPr lang="en-US" sz="2400"/>
                  </a:p>
                </p:txBody>
              </p:sp>
              <p:sp>
                <p:nvSpPr>
                  <p:cNvPr id="919" name="Freeform: Shape 918">
                    <a:extLst>
                      <a:ext uri="{FF2B5EF4-FFF2-40B4-BE49-F238E27FC236}">
                        <a16:creationId xmlns:a16="http://schemas.microsoft.com/office/drawing/2014/main" id="{2373CAB1-5F4F-F642-6095-004FB5C3D277}"/>
                      </a:ext>
                    </a:extLst>
                  </p:cNvPr>
                  <p:cNvSpPr/>
                  <p:nvPr userDrawn="1"/>
                </p:nvSpPr>
                <p:spPr>
                  <a:xfrm>
                    <a:off x="8443649" y="450118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6D9E4"/>
                  </a:solidFill>
                  <a:ln w="2339" cap="flat">
                    <a:noFill/>
                    <a:prstDash val="solid"/>
                    <a:miter/>
                  </a:ln>
                </p:spPr>
                <p:txBody>
                  <a:bodyPr rtlCol="0" anchor="ctr"/>
                  <a:lstStyle/>
                  <a:p>
                    <a:endParaRPr lang="en-US" sz="2400"/>
                  </a:p>
                </p:txBody>
              </p:sp>
              <p:sp>
                <p:nvSpPr>
                  <p:cNvPr id="920" name="Freeform: Shape 919">
                    <a:extLst>
                      <a:ext uri="{FF2B5EF4-FFF2-40B4-BE49-F238E27FC236}">
                        <a16:creationId xmlns:a16="http://schemas.microsoft.com/office/drawing/2014/main" id="{57191449-B726-314C-89C2-ACB9DE4D319B}"/>
                      </a:ext>
                    </a:extLst>
                  </p:cNvPr>
                  <p:cNvSpPr/>
                  <p:nvPr userDrawn="1"/>
                </p:nvSpPr>
                <p:spPr>
                  <a:xfrm>
                    <a:off x="8444093" y="450140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6DAE4"/>
                  </a:solidFill>
                  <a:ln w="2339" cap="flat">
                    <a:noFill/>
                    <a:prstDash val="solid"/>
                    <a:miter/>
                  </a:ln>
                </p:spPr>
                <p:txBody>
                  <a:bodyPr rtlCol="0" anchor="ctr"/>
                  <a:lstStyle/>
                  <a:p>
                    <a:endParaRPr lang="en-US" sz="2400"/>
                  </a:p>
                </p:txBody>
              </p:sp>
              <p:sp>
                <p:nvSpPr>
                  <p:cNvPr id="921" name="Freeform: Shape 920">
                    <a:extLst>
                      <a:ext uri="{FF2B5EF4-FFF2-40B4-BE49-F238E27FC236}">
                        <a16:creationId xmlns:a16="http://schemas.microsoft.com/office/drawing/2014/main" id="{76052370-0938-A7DF-AE19-A070DB0EBAA3}"/>
                      </a:ext>
                    </a:extLst>
                  </p:cNvPr>
                  <p:cNvSpPr/>
                  <p:nvPr userDrawn="1"/>
                </p:nvSpPr>
                <p:spPr>
                  <a:xfrm>
                    <a:off x="8444515" y="450161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D6DAE4"/>
                  </a:solidFill>
                  <a:ln w="2339" cap="flat">
                    <a:noFill/>
                    <a:prstDash val="solid"/>
                    <a:miter/>
                  </a:ln>
                </p:spPr>
                <p:txBody>
                  <a:bodyPr rtlCol="0" anchor="ctr"/>
                  <a:lstStyle/>
                  <a:p>
                    <a:endParaRPr lang="en-US" sz="2400"/>
                  </a:p>
                </p:txBody>
              </p:sp>
              <p:sp>
                <p:nvSpPr>
                  <p:cNvPr id="922" name="Freeform: Shape 921">
                    <a:extLst>
                      <a:ext uri="{FF2B5EF4-FFF2-40B4-BE49-F238E27FC236}">
                        <a16:creationId xmlns:a16="http://schemas.microsoft.com/office/drawing/2014/main" id="{F30868A0-E902-DCCC-7DDB-62AE33942AB8}"/>
                      </a:ext>
                    </a:extLst>
                  </p:cNvPr>
                  <p:cNvSpPr/>
                  <p:nvPr userDrawn="1"/>
                </p:nvSpPr>
                <p:spPr>
                  <a:xfrm>
                    <a:off x="8444936" y="450184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7DAE5"/>
                  </a:solidFill>
                  <a:ln w="2339" cap="flat">
                    <a:noFill/>
                    <a:prstDash val="solid"/>
                    <a:miter/>
                  </a:ln>
                </p:spPr>
                <p:txBody>
                  <a:bodyPr rtlCol="0" anchor="ctr"/>
                  <a:lstStyle/>
                  <a:p>
                    <a:endParaRPr lang="en-US" sz="2400"/>
                  </a:p>
                </p:txBody>
              </p:sp>
              <p:sp>
                <p:nvSpPr>
                  <p:cNvPr id="923" name="Freeform: Shape 922">
                    <a:extLst>
                      <a:ext uri="{FF2B5EF4-FFF2-40B4-BE49-F238E27FC236}">
                        <a16:creationId xmlns:a16="http://schemas.microsoft.com/office/drawing/2014/main" id="{DB5C1F4D-C501-B17B-A208-821331D44835}"/>
                      </a:ext>
                    </a:extLst>
                  </p:cNvPr>
                  <p:cNvSpPr/>
                  <p:nvPr userDrawn="1"/>
                </p:nvSpPr>
                <p:spPr>
                  <a:xfrm>
                    <a:off x="8445357" y="450205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7DBE5"/>
                  </a:solidFill>
                  <a:ln w="2339" cap="flat">
                    <a:noFill/>
                    <a:prstDash val="solid"/>
                    <a:miter/>
                  </a:ln>
                </p:spPr>
                <p:txBody>
                  <a:bodyPr rtlCol="0" anchor="ctr"/>
                  <a:lstStyle/>
                  <a:p>
                    <a:endParaRPr lang="en-US" sz="2400"/>
                  </a:p>
                </p:txBody>
              </p:sp>
              <p:sp>
                <p:nvSpPr>
                  <p:cNvPr id="924" name="Freeform: Shape 923">
                    <a:extLst>
                      <a:ext uri="{FF2B5EF4-FFF2-40B4-BE49-F238E27FC236}">
                        <a16:creationId xmlns:a16="http://schemas.microsoft.com/office/drawing/2014/main" id="{E779F81D-7FED-2163-1837-0637B2535894}"/>
                      </a:ext>
                    </a:extLst>
                  </p:cNvPr>
                  <p:cNvSpPr/>
                  <p:nvPr userDrawn="1"/>
                </p:nvSpPr>
                <p:spPr>
                  <a:xfrm>
                    <a:off x="8445778" y="450226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D7DBE5"/>
                  </a:solidFill>
                  <a:ln w="2339" cap="flat">
                    <a:noFill/>
                    <a:prstDash val="solid"/>
                    <a:miter/>
                  </a:ln>
                </p:spPr>
                <p:txBody>
                  <a:bodyPr rtlCol="0" anchor="ctr"/>
                  <a:lstStyle/>
                  <a:p>
                    <a:endParaRPr lang="en-US" sz="2400"/>
                  </a:p>
                </p:txBody>
              </p:sp>
              <p:sp>
                <p:nvSpPr>
                  <p:cNvPr id="925" name="Freeform: Shape 924">
                    <a:extLst>
                      <a:ext uri="{FF2B5EF4-FFF2-40B4-BE49-F238E27FC236}">
                        <a16:creationId xmlns:a16="http://schemas.microsoft.com/office/drawing/2014/main" id="{E2BCB807-1BA6-4869-0612-A672E8EA5D5E}"/>
                      </a:ext>
                    </a:extLst>
                  </p:cNvPr>
                  <p:cNvSpPr/>
                  <p:nvPr userDrawn="1"/>
                </p:nvSpPr>
                <p:spPr>
                  <a:xfrm>
                    <a:off x="8446176" y="450249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8DBE5"/>
                  </a:solidFill>
                  <a:ln w="2339" cap="flat">
                    <a:noFill/>
                    <a:prstDash val="solid"/>
                    <a:miter/>
                  </a:ln>
                </p:spPr>
                <p:txBody>
                  <a:bodyPr rtlCol="0" anchor="ctr"/>
                  <a:lstStyle/>
                  <a:p>
                    <a:endParaRPr lang="en-US" sz="2400"/>
                  </a:p>
                </p:txBody>
              </p:sp>
              <p:sp>
                <p:nvSpPr>
                  <p:cNvPr id="926" name="Freeform: Shape 925">
                    <a:extLst>
                      <a:ext uri="{FF2B5EF4-FFF2-40B4-BE49-F238E27FC236}">
                        <a16:creationId xmlns:a16="http://schemas.microsoft.com/office/drawing/2014/main" id="{9EA56BA2-E5F3-0F75-F497-46C2DD356064}"/>
                      </a:ext>
                    </a:extLst>
                  </p:cNvPr>
                  <p:cNvSpPr/>
                  <p:nvPr userDrawn="1"/>
                </p:nvSpPr>
                <p:spPr>
                  <a:xfrm>
                    <a:off x="8446597" y="450271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8DBE5"/>
                  </a:solidFill>
                  <a:ln w="2339" cap="flat">
                    <a:noFill/>
                    <a:prstDash val="solid"/>
                    <a:miter/>
                  </a:ln>
                </p:spPr>
                <p:txBody>
                  <a:bodyPr rtlCol="0" anchor="ctr"/>
                  <a:lstStyle/>
                  <a:p>
                    <a:endParaRPr lang="en-US" sz="2400"/>
                  </a:p>
                </p:txBody>
              </p:sp>
              <p:sp>
                <p:nvSpPr>
                  <p:cNvPr id="927" name="Freeform: Shape 926">
                    <a:extLst>
                      <a:ext uri="{FF2B5EF4-FFF2-40B4-BE49-F238E27FC236}">
                        <a16:creationId xmlns:a16="http://schemas.microsoft.com/office/drawing/2014/main" id="{97036C6D-8D9E-3305-E783-49717FFA213B}"/>
                      </a:ext>
                    </a:extLst>
                  </p:cNvPr>
                  <p:cNvSpPr/>
                  <p:nvPr userDrawn="1"/>
                </p:nvSpPr>
                <p:spPr>
                  <a:xfrm>
                    <a:off x="8447018" y="450292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54"/>
                          <a:pt x="0" y="21060"/>
                        </a:cubicBezTo>
                        <a:close/>
                      </a:path>
                    </a:pathLst>
                  </a:custGeom>
                  <a:solidFill>
                    <a:srgbClr val="D8DCE6"/>
                  </a:solidFill>
                  <a:ln w="2339" cap="flat">
                    <a:noFill/>
                    <a:prstDash val="solid"/>
                    <a:miter/>
                  </a:ln>
                </p:spPr>
                <p:txBody>
                  <a:bodyPr rtlCol="0" anchor="ctr"/>
                  <a:lstStyle/>
                  <a:p>
                    <a:endParaRPr lang="en-US" sz="2400"/>
                  </a:p>
                </p:txBody>
              </p:sp>
              <p:sp>
                <p:nvSpPr>
                  <p:cNvPr id="928" name="Freeform: Shape 927">
                    <a:extLst>
                      <a:ext uri="{FF2B5EF4-FFF2-40B4-BE49-F238E27FC236}">
                        <a16:creationId xmlns:a16="http://schemas.microsoft.com/office/drawing/2014/main" id="{4F317B40-2457-BB6C-5C25-365080F9665C}"/>
                      </a:ext>
                    </a:extLst>
                  </p:cNvPr>
                  <p:cNvSpPr/>
                  <p:nvPr userDrawn="1"/>
                </p:nvSpPr>
                <p:spPr>
                  <a:xfrm>
                    <a:off x="8447416" y="450315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8DCE6"/>
                  </a:solidFill>
                  <a:ln w="2339" cap="flat">
                    <a:noFill/>
                    <a:prstDash val="solid"/>
                    <a:miter/>
                  </a:ln>
                </p:spPr>
                <p:txBody>
                  <a:bodyPr rtlCol="0" anchor="ctr"/>
                  <a:lstStyle/>
                  <a:p>
                    <a:endParaRPr lang="en-US" sz="2400"/>
                  </a:p>
                </p:txBody>
              </p:sp>
              <p:sp>
                <p:nvSpPr>
                  <p:cNvPr id="929" name="Freeform: Shape 928">
                    <a:extLst>
                      <a:ext uri="{FF2B5EF4-FFF2-40B4-BE49-F238E27FC236}">
                        <a16:creationId xmlns:a16="http://schemas.microsoft.com/office/drawing/2014/main" id="{25527935-2B70-BEF1-97CD-D9C6428FF8A5}"/>
                      </a:ext>
                    </a:extLst>
                  </p:cNvPr>
                  <p:cNvSpPr/>
                  <p:nvPr userDrawn="1"/>
                </p:nvSpPr>
                <p:spPr>
                  <a:xfrm>
                    <a:off x="8447814" y="450338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9DCE6"/>
                  </a:solidFill>
                  <a:ln w="2339" cap="flat">
                    <a:noFill/>
                    <a:prstDash val="solid"/>
                    <a:miter/>
                  </a:ln>
                </p:spPr>
                <p:txBody>
                  <a:bodyPr rtlCol="0" anchor="ctr"/>
                  <a:lstStyle/>
                  <a:p>
                    <a:endParaRPr lang="en-US" sz="2400"/>
                  </a:p>
                </p:txBody>
              </p:sp>
              <p:sp>
                <p:nvSpPr>
                  <p:cNvPr id="930" name="Freeform: Shape 929">
                    <a:extLst>
                      <a:ext uri="{FF2B5EF4-FFF2-40B4-BE49-F238E27FC236}">
                        <a16:creationId xmlns:a16="http://schemas.microsoft.com/office/drawing/2014/main" id="{8848F30F-C4A6-A77C-B721-B630B1BE3DD4}"/>
                      </a:ext>
                    </a:extLst>
                  </p:cNvPr>
                  <p:cNvSpPr/>
                  <p:nvPr userDrawn="1"/>
                </p:nvSpPr>
                <p:spPr>
                  <a:xfrm>
                    <a:off x="8448235" y="450359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9DCE6"/>
                  </a:solidFill>
                  <a:ln w="2339" cap="flat">
                    <a:noFill/>
                    <a:prstDash val="solid"/>
                    <a:miter/>
                  </a:ln>
                </p:spPr>
                <p:txBody>
                  <a:bodyPr rtlCol="0" anchor="ctr"/>
                  <a:lstStyle/>
                  <a:p>
                    <a:endParaRPr lang="en-US" sz="2400"/>
                  </a:p>
                </p:txBody>
              </p:sp>
              <p:sp>
                <p:nvSpPr>
                  <p:cNvPr id="931" name="Freeform: Shape 930">
                    <a:extLst>
                      <a:ext uri="{FF2B5EF4-FFF2-40B4-BE49-F238E27FC236}">
                        <a16:creationId xmlns:a16="http://schemas.microsoft.com/office/drawing/2014/main" id="{E80F882F-B8FA-78D1-C04B-13EAA618CFDA}"/>
                      </a:ext>
                    </a:extLst>
                  </p:cNvPr>
                  <p:cNvSpPr/>
                  <p:nvPr userDrawn="1"/>
                </p:nvSpPr>
                <p:spPr>
                  <a:xfrm>
                    <a:off x="8448633" y="450383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9DDE6"/>
                  </a:solidFill>
                  <a:ln w="2339" cap="flat">
                    <a:noFill/>
                    <a:prstDash val="solid"/>
                    <a:miter/>
                  </a:ln>
                </p:spPr>
                <p:txBody>
                  <a:bodyPr rtlCol="0" anchor="ctr"/>
                  <a:lstStyle/>
                  <a:p>
                    <a:endParaRPr lang="en-US" sz="2400"/>
                  </a:p>
                </p:txBody>
              </p:sp>
              <p:sp>
                <p:nvSpPr>
                  <p:cNvPr id="932" name="Freeform: Shape 931">
                    <a:extLst>
                      <a:ext uri="{FF2B5EF4-FFF2-40B4-BE49-F238E27FC236}">
                        <a16:creationId xmlns:a16="http://schemas.microsoft.com/office/drawing/2014/main" id="{293E4E42-DC25-0318-74A2-41F98837FEAC}"/>
                      </a:ext>
                    </a:extLst>
                  </p:cNvPr>
                  <p:cNvSpPr/>
                  <p:nvPr userDrawn="1"/>
                </p:nvSpPr>
                <p:spPr>
                  <a:xfrm>
                    <a:off x="8449031" y="450404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DADDE7"/>
                  </a:solidFill>
                  <a:ln w="2339" cap="flat">
                    <a:noFill/>
                    <a:prstDash val="solid"/>
                    <a:miter/>
                  </a:ln>
                </p:spPr>
                <p:txBody>
                  <a:bodyPr rtlCol="0" anchor="ctr"/>
                  <a:lstStyle/>
                  <a:p>
                    <a:endParaRPr lang="en-US" sz="2400"/>
                  </a:p>
                </p:txBody>
              </p:sp>
              <p:sp>
                <p:nvSpPr>
                  <p:cNvPr id="933" name="Freeform: Shape 932">
                    <a:extLst>
                      <a:ext uri="{FF2B5EF4-FFF2-40B4-BE49-F238E27FC236}">
                        <a16:creationId xmlns:a16="http://schemas.microsoft.com/office/drawing/2014/main" id="{15F44ECE-47DA-059D-BD49-7F7D9E502194}"/>
                      </a:ext>
                    </a:extLst>
                  </p:cNvPr>
                  <p:cNvSpPr/>
                  <p:nvPr userDrawn="1"/>
                </p:nvSpPr>
                <p:spPr>
                  <a:xfrm>
                    <a:off x="8449429" y="450427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ADDE7"/>
                  </a:solidFill>
                  <a:ln w="2339" cap="flat">
                    <a:noFill/>
                    <a:prstDash val="solid"/>
                    <a:miter/>
                  </a:ln>
                </p:spPr>
                <p:txBody>
                  <a:bodyPr rtlCol="0" anchor="ctr"/>
                  <a:lstStyle/>
                  <a:p>
                    <a:endParaRPr lang="en-US" sz="2400"/>
                  </a:p>
                </p:txBody>
              </p:sp>
              <p:sp>
                <p:nvSpPr>
                  <p:cNvPr id="934" name="Freeform: Shape 933">
                    <a:extLst>
                      <a:ext uri="{FF2B5EF4-FFF2-40B4-BE49-F238E27FC236}">
                        <a16:creationId xmlns:a16="http://schemas.microsoft.com/office/drawing/2014/main" id="{3C7849D3-F813-0624-EAD8-65E6337DE60D}"/>
                      </a:ext>
                    </a:extLst>
                  </p:cNvPr>
                  <p:cNvSpPr/>
                  <p:nvPr userDrawn="1"/>
                </p:nvSpPr>
                <p:spPr>
                  <a:xfrm>
                    <a:off x="8449826" y="450451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ADEE7"/>
                  </a:solidFill>
                  <a:ln w="2339" cap="flat">
                    <a:noFill/>
                    <a:prstDash val="solid"/>
                    <a:miter/>
                  </a:ln>
                </p:spPr>
                <p:txBody>
                  <a:bodyPr rtlCol="0" anchor="ctr"/>
                  <a:lstStyle/>
                  <a:p>
                    <a:endParaRPr lang="en-US" sz="2400"/>
                  </a:p>
                </p:txBody>
              </p:sp>
              <p:sp>
                <p:nvSpPr>
                  <p:cNvPr id="935" name="Freeform: Shape 934">
                    <a:extLst>
                      <a:ext uri="{FF2B5EF4-FFF2-40B4-BE49-F238E27FC236}">
                        <a16:creationId xmlns:a16="http://schemas.microsoft.com/office/drawing/2014/main" id="{62A53650-F6F1-721F-768E-6EE4D2517B4F}"/>
                      </a:ext>
                    </a:extLst>
                  </p:cNvPr>
                  <p:cNvSpPr/>
                  <p:nvPr userDrawn="1"/>
                </p:nvSpPr>
                <p:spPr>
                  <a:xfrm>
                    <a:off x="8450224" y="450474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BDEE7"/>
                  </a:solidFill>
                  <a:ln w="2339" cap="flat">
                    <a:noFill/>
                    <a:prstDash val="solid"/>
                    <a:miter/>
                  </a:ln>
                </p:spPr>
                <p:txBody>
                  <a:bodyPr rtlCol="0" anchor="ctr"/>
                  <a:lstStyle/>
                  <a:p>
                    <a:endParaRPr lang="en-US" sz="2400"/>
                  </a:p>
                </p:txBody>
              </p:sp>
              <p:sp>
                <p:nvSpPr>
                  <p:cNvPr id="936" name="Freeform: Shape 935">
                    <a:extLst>
                      <a:ext uri="{FF2B5EF4-FFF2-40B4-BE49-F238E27FC236}">
                        <a16:creationId xmlns:a16="http://schemas.microsoft.com/office/drawing/2014/main" id="{A9782070-1B2D-3254-46BF-08BA05E18D24}"/>
                      </a:ext>
                    </a:extLst>
                  </p:cNvPr>
                  <p:cNvSpPr/>
                  <p:nvPr userDrawn="1"/>
                </p:nvSpPr>
                <p:spPr>
                  <a:xfrm>
                    <a:off x="8450622" y="450495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DBDEE7"/>
                  </a:solidFill>
                  <a:ln w="2339" cap="flat">
                    <a:noFill/>
                    <a:prstDash val="solid"/>
                    <a:miter/>
                  </a:ln>
                </p:spPr>
                <p:txBody>
                  <a:bodyPr rtlCol="0" anchor="ctr"/>
                  <a:lstStyle/>
                  <a:p>
                    <a:endParaRPr lang="en-US" sz="2400"/>
                  </a:p>
                </p:txBody>
              </p:sp>
              <p:sp>
                <p:nvSpPr>
                  <p:cNvPr id="937" name="Freeform: Shape 936">
                    <a:extLst>
                      <a:ext uri="{FF2B5EF4-FFF2-40B4-BE49-F238E27FC236}">
                        <a16:creationId xmlns:a16="http://schemas.microsoft.com/office/drawing/2014/main" id="{DCA20766-C89C-5A2E-BF11-E5C63EF9226C}"/>
                      </a:ext>
                    </a:extLst>
                  </p:cNvPr>
                  <p:cNvSpPr/>
                  <p:nvPr userDrawn="1"/>
                </p:nvSpPr>
                <p:spPr>
                  <a:xfrm>
                    <a:off x="8451020" y="450519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DBDEE8"/>
                  </a:solidFill>
                  <a:ln w="2339" cap="flat">
                    <a:noFill/>
                    <a:prstDash val="solid"/>
                    <a:miter/>
                  </a:ln>
                </p:spPr>
                <p:txBody>
                  <a:bodyPr rtlCol="0" anchor="ctr"/>
                  <a:lstStyle/>
                  <a:p>
                    <a:endParaRPr lang="en-US" sz="2400"/>
                  </a:p>
                </p:txBody>
              </p:sp>
              <p:sp>
                <p:nvSpPr>
                  <p:cNvPr id="938" name="Freeform: Shape 937">
                    <a:extLst>
                      <a:ext uri="{FF2B5EF4-FFF2-40B4-BE49-F238E27FC236}">
                        <a16:creationId xmlns:a16="http://schemas.microsoft.com/office/drawing/2014/main" id="{DBF41ED7-7EAA-F471-57E7-6D1214663879}"/>
                      </a:ext>
                    </a:extLst>
                  </p:cNvPr>
                  <p:cNvSpPr/>
                  <p:nvPr userDrawn="1"/>
                </p:nvSpPr>
                <p:spPr>
                  <a:xfrm>
                    <a:off x="8451394" y="450542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CDFE8"/>
                  </a:solidFill>
                  <a:ln w="2339" cap="flat">
                    <a:noFill/>
                    <a:prstDash val="solid"/>
                    <a:miter/>
                  </a:ln>
                </p:spPr>
                <p:txBody>
                  <a:bodyPr rtlCol="0" anchor="ctr"/>
                  <a:lstStyle/>
                  <a:p>
                    <a:endParaRPr lang="en-US" sz="2400"/>
                  </a:p>
                </p:txBody>
              </p:sp>
              <p:sp>
                <p:nvSpPr>
                  <p:cNvPr id="939" name="Freeform: Shape 938">
                    <a:extLst>
                      <a:ext uri="{FF2B5EF4-FFF2-40B4-BE49-F238E27FC236}">
                        <a16:creationId xmlns:a16="http://schemas.microsoft.com/office/drawing/2014/main" id="{072AF2B1-3B71-926F-BBAA-40FAE8AB66F4}"/>
                      </a:ext>
                    </a:extLst>
                  </p:cNvPr>
                  <p:cNvSpPr/>
                  <p:nvPr userDrawn="1"/>
                </p:nvSpPr>
                <p:spPr>
                  <a:xfrm>
                    <a:off x="8451792" y="450565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CDFE8"/>
                  </a:solidFill>
                  <a:ln w="2339" cap="flat">
                    <a:noFill/>
                    <a:prstDash val="solid"/>
                    <a:miter/>
                  </a:ln>
                </p:spPr>
                <p:txBody>
                  <a:bodyPr rtlCol="0" anchor="ctr"/>
                  <a:lstStyle/>
                  <a:p>
                    <a:endParaRPr lang="en-US" sz="2400"/>
                  </a:p>
                </p:txBody>
              </p:sp>
              <p:sp>
                <p:nvSpPr>
                  <p:cNvPr id="940" name="Freeform: Shape 939">
                    <a:extLst>
                      <a:ext uri="{FF2B5EF4-FFF2-40B4-BE49-F238E27FC236}">
                        <a16:creationId xmlns:a16="http://schemas.microsoft.com/office/drawing/2014/main" id="{1306D3BC-B9E2-38DC-32E1-5C53F28501E3}"/>
                      </a:ext>
                    </a:extLst>
                  </p:cNvPr>
                  <p:cNvSpPr/>
                  <p:nvPr userDrawn="1"/>
                </p:nvSpPr>
                <p:spPr>
                  <a:xfrm>
                    <a:off x="8452166" y="450589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CDFE8"/>
                  </a:solidFill>
                  <a:ln w="2339" cap="flat">
                    <a:noFill/>
                    <a:prstDash val="solid"/>
                    <a:miter/>
                  </a:ln>
                </p:spPr>
                <p:txBody>
                  <a:bodyPr rtlCol="0" anchor="ctr"/>
                  <a:lstStyle/>
                  <a:p>
                    <a:endParaRPr lang="en-US" sz="2400"/>
                  </a:p>
                </p:txBody>
              </p:sp>
              <p:sp>
                <p:nvSpPr>
                  <p:cNvPr id="941" name="Freeform: Shape 940">
                    <a:extLst>
                      <a:ext uri="{FF2B5EF4-FFF2-40B4-BE49-F238E27FC236}">
                        <a16:creationId xmlns:a16="http://schemas.microsoft.com/office/drawing/2014/main" id="{5D7AA9BD-4577-F62C-36E3-DBB981B288D3}"/>
                      </a:ext>
                    </a:extLst>
                  </p:cNvPr>
                  <p:cNvSpPr/>
                  <p:nvPr userDrawn="1"/>
                </p:nvSpPr>
                <p:spPr>
                  <a:xfrm>
                    <a:off x="8452564" y="450612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CE0E8"/>
                  </a:solidFill>
                  <a:ln w="2339" cap="flat">
                    <a:noFill/>
                    <a:prstDash val="solid"/>
                    <a:miter/>
                  </a:ln>
                </p:spPr>
                <p:txBody>
                  <a:bodyPr rtlCol="0" anchor="ctr"/>
                  <a:lstStyle/>
                  <a:p>
                    <a:endParaRPr lang="en-US" sz="2400"/>
                  </a:p>
                </p:txBody>
              </p:sp>
              <p:sp>
                <p:nvSpPr>
                  <p:cNvPr id="942" name="Freeform: Shape 941">
                    <a:extLst>
                      <a:ext uri="{FF2B5EF4-FFF2-40B4-BE49-F238E27FC236}">
                        <a16:creationId xmlns:a16="http://schemas.microsoft.com/office/drawing/2014/main" id="{9D2CB7A1-4458-EDB0-9A12-6252C04CE48F}"/>
                      </a:ext>
                    </a:extLst>
                  </p:cNvPr>
                  <p:cNvSpPr/>
                  <p:nvPr userDrawn="1"/>
                </p:nvSpPr>
                <p:spPr>
                  <a:xfrm>
                    <a:off x="8452939" y="450636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DE0E9"/>
                  </a:solidFill>
                  <a:ln w="2339" cap="flat">
                    <a:noFill/>
                    <a:prstDash val="solid"/>
                    <a:miter/>
                  </a:ln>
                </p:spPr>
                <p:txBody>
                  <a:bodyPr rtlCol="0" anchor="ctr"/>
                  <a:lstStyle/>
                  <a:p>
                    <a:endParaRPr lang="en-US" sz="2400"/>
                  </a:p>
                </p:txBody>
              </p:sp>
              <p:sp>
                <p:nvSpPr>
                  <p:cNvPr id="943" name="Freeform: Shape 942">
                    <a:extLst>
                      <a:ext uri="{FF2B5EF4-FFF2-40B4-BE49-F238E27FC236}">
                        <a16:creationId xmlns:a16="http://schemas.microsoft.com/office/drawing/2014/main" id="{DAC2492B-AC6A-9D3B-6BD3-2760EDDD1465}"/>
                      </a:ext>
                    </a:extLst>
                  </p:cNvPr>
                  <p:cNvSpPr/>
                  <p:nvPr userDrawn="1"/>
                </p:nvSpPr>
                <p:spPr>
                  <a:xfrm>
                    <a:off x="8453313" y="450659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DE0E9"/>
                  </a:solidFill>
                  <a:ln w="2339" cap="flat">
                    <a:noFill/>
                    <a:prstDash val="solid"/>
                    <a:miter/>
                  </a:ln>
                </p:spPr>
                <p:txBody>
                  <a:bodyPr rtlCol="0" anchor="ctr"/>
                  <a:lstStyle/>
                  <a:p>
                    <a:endParaRPr lang="en-US" sz="2400"/>
                  </a:p>
                </p:txBody>
              </p:sp>
              <p:sp>
                <p:nvSpPr>
                  <p:cNvPr id="944" name="Freeform: Shape 943">
                    <a:extLst>
                      <a:ext uri="{FF2B5EF4-FFF2-40B4-BE49-F238E27FC236}">
                        <a16:creationId xmlns:a16="http://schemas.microsoft.com/office/drawing/2014/main" id="{D31316E1-3209-371E-9AA5-C5FB9A3A30BB}"/>
                      </a:ext>
                    </a:extLst>
                  </p:cNvPr>
                  <p:cNvSpPr/>
                  <p:nvPr userDrawn="1"/>
                </p:nvSpPr>
                <p:spPr>
                  <a:xfrm>
                    <a:off x="8453688" y="450682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DE0E9"/>
                  </a:solidFill>
                  <a:ln w="2339" cap="flat">
                    <a:noFill/>
                    <a:prstDash val="solid"/>
                    <a:miter/>
                  </a:ln>
                </p:spPr>
                <p:txBody>
                  <a:bodyPr rtlCol="0" anchor="ctr"/>
                  <a:lstStyle/>
                  <a:p>
                    <a:endParaRPr lang="en-US" sz="2400"/>
                  </a:p>
                </p:txBody>
              </p:sp>
              <p:sp>
                <p:nvSpPr>
                  <p:cNvPr id="945" name="Freeform: Shape 944">
                    <a:extLst>
                      <a:ext uri="{FF2B5EF4-FFF2-40B4-BE49-F238E27FC236}">
                        <a16:creationId xmlns:a16="http://schemas.microsoft.com/office/drawing/2014/main" id="{FF2DA409-4A25-7A87-89C3-BEBCAE49F852}"/>
                      </a:ext>
                    </a:extLst>
                  </p:cNvPr>
                  <p:cNvSpPr/>
                  <p:nvPr userDrawn="1"/>
                </p:nvSpPr>
                <p:spPr>
                  <a:xfrm>
                    <a:off x="8454062" y="450706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DEE1E9"/>
                  </a:solidFill>
                  <a:ln w="2339" cap="flat">
                    <a:noFill/>
                    <a:prstDash val="solid"/>
                    <a:miter/>
                  </a:ln>
                </p:spPr>
                <p:txBody>
                  <a:bodyPr rtlCol="0" anchor="ctr"/>
                  <a:lstStyle/>
                  <a:p>
                    <a:endParaRPr lang="en-US" sz="2400"/>
                  </a:p>
                </p:txBody>
              </p:sp>
              <p:sp>
                <p:nvSpPr>
                  <p:cNvPr id="946" name="Freeform: Shape 945">
                    <a:extLst>
                      <a:ext uri="{FF2B5EF4-FFF2-40B4-BE49-F238E27FC236}">
                        <a16:creationId xmlns:a16="http://schemas.microsoft.com/office/drawing/2014/main" id="{44CE82E9-E55B-2745-FCFE-0DDAED1D5B41}"/>
                      </a:ext>
                    </a:extLst>
                  </p:cNvPr>
                  <p:cNvSpPr/>
                  <p:nvPr userDrawn="1"/>
                </p:nvSpPr>
                <p:spPr>
                  <a:xfrm>
                    <a:off x="8454436" y="450729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DEE1E9"/>
                  </a:solidFill>
                  <a:ln w="2339" cap="flat">
                    <a:noFill/>
                    <a:prstDash val="solid"/>
                    <a:miter/>
                  </a:ln>
                </p:spPr>
                <p:txBody>
                  <a:bodyPr rtlCol="0" anchor="ctr"/>
                  <a:lstStyle/>
                  <a:p>
                    <a:endParaRPr lang="en-US" sz="2400"/>
                  </a:p>
                </p:txBody>
              </p:sp>
              <p:sp>
                <p:nvSpPr>
                  <p:cNvPr id="947" name="Freeform: Shape 946">
                    <a:extLst>
                      <a:ext uri="{FF2B5EF4-FFF2-40B4-BE49-F238E27FC236}">
                        <a16:creationId xmlns:a16="http://schemas.microsoft.com/office/drawing/2014/main" id="{11340C73-1BE4-6CB2-2E45-DDA38BD59BC1}"/>
                      </a:ext>
                    </a:extLst>
                  </p:cNvPr>
                  <p:cNvSpPr/>
                  <p:nvPr userDrawn="1"/>
                </p:nvSpPr>
                <p:spPr>
                  <a:xfrm>
                    <a:off x="8454811" y="450755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EE1EA"/>
                  </a:solidFill>
                  <a:ln w="2339" cap="flat">
                    <a:noFill/>
                    <a:prstDash val="solid"/>
                    <a:miter/>
                  </a:ln>
                </p:spPr>
                <p:txBody>
                  <a:bodyPr rtlCol="0" anchor="ctr"/>
                  <a:lstStyle/>
                  <a:p>
                    <a:endParaRPr lang="en-US" sz="2400"/>
                  </a:p>
                </p:txBody>
              </p:sp>
              <p:sp>
                <p:nvSpPr>
                  <p:cNvPr id="948" name="Freeform: Shape 947">
                    <a:extLst>
                      <a:ext uri="{FF2B5EF4-FFF2-40B4-BE49-F238E27FC236}">
                        <a16:creationId xmlns:a16="http://schemas.microsoft.com/office/drawing/2014/main" id="{2CE64EAA-C8A1-4027-D7E4-98A6BA6EF860}"/>
                      </a:ext>
                    </a:extLst>
                  </p:cNvPr>
                  <p:cNvSpPr/>
                  <p:nvPr userDrawn="1"/>
                </p:nvSpPr>
                <p:spPr>
                  <a:xfrm>
                    <a:off x="8455162" y="450778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FE1EA"/>
                  </a:solidFill>
                  <a:ln w="2339" cap="flat">
                    <a:noFill/>
                    <a:prstDash val="solid"/>
                    <a:miter/>
                  </a:ln>
                </p:spPr>
                <p:txBody>
                  <a:bodyPr rtlCol="0" anchor="ctr"/>
                  <a:lstStyle/>
                  <a:p>
                    <a:endParaRPr lang="en-US" sz="2400"/>
                  </a:p>
                </p:txBody>
              </p:sp>
              <p:sp>
                <p:nvSpPr>
                  <p:cNvPr id="949" name="Freeform: Shape 948">
                    <a:extLst>
                      <a:ext uri="{FF2B5EF4-FFF2-40B4-BE49-F238E27FC236}">
                        <a16:creationId xmlns:a16="http://schemas.microsoft.com/office/drawing/2014/main" id="{2A023FEF-6EFE-1A52-E554-9E56A2E230A6}"/>
                      </a:ext>
                    </a:extLst>
                  </p:cNvPr>
                  <p:cNvSpPr/>
                  <p:nvPr userDrawn="1"/>
                </p:nvSpPr>
                <p:spPr>
                  <a:xfrm>
                    <a:off x="8455536" y="450802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FE2EA"/>
                  </a:solidFill>
                  <a:ln w="2339" cap="flat">
                    <a:noFill/>
                    <a:prstDash val="solid"/>
                    <a:miter/>
                  </a:ln>
                </p:spPr>
                <p:txBody>
                  <a:bodyPr rtlCol="0" anchor="ctr"/>
                  <a:lstStyle/>
                  <a:p>
                    <a:endParaRPr lang="en-US" sz="2400"/>
                  </a:p>
                </p:txBody>
              </p:sp>
              <p:sp>
                <p:nvSpPr>
                  <p:cNvPr id="950" name="Freeform: Shape 949">
                    <a:extLst>
                      <a:ext uri="{FF2B5EF4-FFF2-40B4-BE49-F238E27FC236}">
                        <a16:creationId xmlns:a16="http://schemas.microsoft.com/office/drawing/2014/main" id="{FDFC78E0-92B0-D66B-D64F-DF37775721A6}"/>
                      </a:ext>
                    </a:extLst>
                  </p:cNvPr>
                  <p:cNvSpPr/>
                  <p:nvPr userDrawn="1"/>
                </p:nvSpPr>
                <p:spPr>
                  <a:xfrm>
                    <a:off x="8455887" y="450825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DFE2EA"/>
                  </a:solidFill>
                  <a:ln w="2339" cap="flat">
                    <a:noFill/>
                    <a:prstDash val="solid"/>
                    <a:miter/>
                  </a:ln>
                </p:spPr>
                <p:txBody>
                  <a:bodyPr rtlCol="0" anchor="ctr"/>
                  <a:lstStyle/>
                  <a:p>
                    <a:endParaRPr lang="en-US" sz="2400"/>
                  </a:p>
                </p:txBody>
              </p:sp>
              <p:sp>
                <p:nvSpPr>
                  <p:cNvPr id="951" name="Freeform: Shape 950">
                    <a:extLst>
                      <a:ext uri="{FF2B5EF4-FFF2-40B4-BE49-F238E27FC236}">
                        <a16:creationId xmlns:a16="http://schemas.microsoft.com/office/drawing/2014/main" id="{BCD7E394-700D-5ACD-E5BD-D3B3EE169BBF}"/>
                      </a:ext>
                    </a:extLst>
                  </p:cNvPr>
                  <p:cNvSpPr/>
                  <p:nvPr userDrawn="1"/>
                </p:nvSpPr>
                <p:spPr>
                  <a:xfrm>
                    <a:off x="8456262" y="450851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FE2EA"/>
                  </a:solidFill>
                  <a:ln w="2339" cap="flat">
                    <a:noFill/>
                    <a:prstDash val="solid"/>
                    <a:miter/>
                  </a:ln>
                </p:spPr>
                <p:txBody>
                  <a:bodyPr rtlCol="0" anchor="ctr"/>
                  <a:lstStyle/>
                  <a:p>
                    <a:endParaRPr lang="en-US" sz="2400"/>
                  </a:p>
                </p:txBody>
              </p:sp>
              <p:sp>
                <p:nvSpPr>
                  <p:cNvPr id="952" name="Freeform: Shape 951">
                    <a:extLst>
                      <a:ext uri="{FF2B5EF4-FFF2-40B4-BE49-F238E27FC236}">
                        <a16:creationId xmlns:a16="http://schemas.microsoft.com/office/drawing/2014/main" id="{FE53081B-25F7-72D8-5C50-FF6C4D8F58B8}"/>
                      </a:ext>
                    </a:extLst>
                  </p:cNvPr>
                  <p:cNvSpPr/>
                  <p:nvPr userDrawn="1"/>
                </p:nvSpPr>
                <p:spPr>
                  <a:xfrm>
                    <a:off x="8456613" y="450874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0E3EB"/>
                  </a:solidFill>
                  <a:ln w="2339" cap="flat">
                    <a:noFill/>
                    <a:prstDash val="solid"/>
                    <a:miter/>
                  </a:ln>
                </p:spPr>
                <p:txBody>
                  <a:bodyPr rtlCol="0" anchor="ctr"/>
                  <a:lstStyle/>
                  <a:p>
                    <a:endParaRPr lang="en-US" sz="2400"/>
                  </a:p>
                </p:txBody>
              </p:sp>
              <p:sp>
                <p:nvSpPr>
                  <p:cNvPr id="953" name="Freeform: Shape 952">
                    <a:extLst>
                      <a:ext uri="{FF2B5EF4-FFF2-40B4-BE49-F238E27FC236}">
                        <a16:creationId xmlns:a16="http://schemas.microsoft.com/office/drawing/2014/main" id="{F7F8A831-E6DA-1DF8-879A-FF4DE40CA74F}"/>
                      </a:ext>
                    </a:extLst>
                  </p:cNvPr>
                  <p:cNvSpPr/>
                  <p:nvPr userDrawn="1"/>
                </p:nvSpPr>
                <p:spPr>
                  <a:xfrm>
                    <a:off x="8456964" y="450898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E0E3EB"/>
                  </a:solidFill>
                  <a:ln w="2339" cap="flat">
                    <a:noFill/>
                    <a:prstDash val="solid"/>
                    <a:miter/>
                  </a:ln>
                </p:spPr>
                <p:txBody>
                  <a:bodyPr rtlCol="0" anchor="ctr"/>
                  <a:lstStyle/>
                  <a:p>
                    <a:endParaRPr lang="en-US" sz="2400"/>
                  </a:p>
                </p:txBody>
              </p:sp>
              <p:sp>
                <p:nvSpPr>
                  <p:cNvPr id="954" name="Freeform: Shape 953">
                    <a:extLst>
                      <a:ext uri="{FF2B5EF4-FFF2-40B4-BE49-F238E27FC236}">
                        <a16:creationId xmlns:a16="http://schemas.microsoft.com/office/drawing/2014/main" id="{CB398E73-E71A-4D81-CA5E-A6BD93D17970}"/>
                      </a:ext>
                    </a:extLst>
                  </p:cNvPr>
                  <p:cNvSpPr/>
                  <p:nvPr userDrawn="1"/>
                </p:nvSpPr>
                <p:spPr>
                  <a:xfrm>
                    <a:off x="8457315" y="450923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0E3EB"/>
                  </a:solidFill>
                  <a:ln w="2339" cap="flat">
                    <a:noFill/>
                    <a:prstDash val="solid"/>
                    <a:miter/>
                  </a:ln>
                </p:spPr>
                <p:txBody>
                  <a:bodyPr rtlCol="0" anchor="ctr"/>
                  <a:lstStyle/>
                  <a:p>
                    <a:endParaRPr lang="en-US" sz="2400"/>
                  </a:p>
                </p:txBody>
              </p:sp>
              <p:sp>
                <p:nvSpPr>
                  <p:cNvPr id="955" name="Freeform: Shape 954">
                    <a:extLst>
                      <a:ext uri="{FF2B5EF4-FFF2-40B4-BE49-F238E27FC236}">
                        <a16:creationId xmlns:a16="http://schemas.microsoft.com/office/drawing/2014/main" id="{4B6ED1E3-D19B-6068-DC9B-4AD028F49208}"/>
                      </a:ext>
                    </a:extLst>
                  </p:cNvPr>
                  <p:cNvSpPr/>
                  <p:nvPr userDrawn="1"/>
                </p:nvSpPr>
                <p:spPr>
                  <a:xfrm>
                    <a:off x="8457666" y="450947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1E3EB"/>
                  </a:solidFill>
                  <a:ln w="2339" cap="flat">
                    <a:noFill/>
                    <a:prstDash val="solid"/>
                    <a:miter/>
                  </a:ln>
                </p:spPr>
                <p:txBody>
                  <a:bodyPr rtlCol="0" anchor="ctr"/>
                  <a:lstStyle/>
                  <a:p>
                    <a:endParaRPr lang="en-US" sz="2400"/>
                  </a:p>
                </p:txBody>
              </p:sp>
              <p:sp>
                <p:nvSpPr>
                  <p:cNvPr id="956" name="Freeform: Shape 955">
                    <a:extLst>
                      <a:ext uri="{FF2B5EF4-FFF2-40B4-BE49-F238E27FC236}">
                        <a16:creationId xmlns:a16="http://schemas.microsoft.com/office/drawing/2014/main" id="{379073DE-B9A8-F322-1DD6-6CE272A2CE75}"/>
                      </a:ext>
                    </a:extLst>
                  </p:cNvPr>
                  <p:cNvSpPr/>
                  <p:nvPr userDrawn="1"/>
                </p:nvSpPr>
                <p:spPr>
                  <a:xfrm>
                    <a:off x="8458017" y="450973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1E4EB"/>
                  </a:solidFill>
                  <a:ln w="2339" cap="flat">
                    <a:noFill/>
                    <a:prstDash val="solid"/>
                    <a:miter/>
                  </a:ln>
                </p:spPr>
                <p:txBody>
                  <a:bodyPr rtlCol="0" anchor="ctr"/>
                  <a:lstStyle/>
                  <a:p>
                    <a:endParaRPr lang="en-US" sz="2400"/>
                  </a:p>
                </p:txBody>
              </p:sp>
              <p:sp>
                <p:nvSpPr>
                  <p:cNvPr id="957" name="Freeform: Shape 956">
                    <a:extLst>
                      <a:ext uri="{FF2B5EF4-FFF2-40B4-BE49-F238E27FC236}">
                        <a16:creationId xmlns:a16="http://schemas.microsoft.com/office/drawing/2014/main" id="{06E77F15-1863-432E-885C-5CE4D5BE55F4}"/>
                      </a:ext>
                    </a:extLst>
                  </p:cNvPr>
                  <p:cNvSpPr/>
                  <p:nvPr userDrawn="1"/>
                </p:nvSpPr>
                <p:spPr>
                  <a:xfrm>
                    <a:off x="8458368" y="450996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E1E4EC"/>
                  </a:solidFill>
                  <a:ln w="2339" cap="flat">
                    <a:noFill/>
                    <a:prstDash val="solid"/>
                    <a:miter/>
                  </a:ln>
                </p:spPr>
                <p:txBody>
                  <a:bodyPr rtlCol="0" anchor="ctr"/>
                  <a:lstStyle/>
                  <a:p>
                    <a:endParaRPr lang="en-US" sz="2400"/>
                  </a:p>
                </p:txBody>
              </p:sp>
              <p:sp>
                <p:nvSpPr>
                  <p:cNvPr id="958" name="Freeform: Shape 957">
                    <a:extLst>
                      <a:ext uri="{FF2B5EF4-FFF2-40B4-BE49-F238E27FC236}">
                        <a16:creationId xmlns:a16="http://schemas.microsoft.com/office/drawing/2014/main" id="{2D603F83-6B8E-1CB4-7693-7D02CA50011A}"/>
                      </a:ext>
                    </a:extLst>
                  </p:cNvPr>
                  <p:cNvSpPr/>
                  <p:nvPr userDrawn="1"/>
                </p:nvSpPr>
                <p:spPr>
                  <a:xfrm>
                    <a:off x="8458719" y="451022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2E4EC"/>
                  </a:solidFill>
                  <a:ln w="2339" cap="flat">
                    <a:noFill/>
                    <a:prstDash val="solid"/>
                    <a:miter/>
                  </a:ln>
                </p:spPr>
                <p:txBody>
                  <a:bodyPr rtlCol="0" anchor="ctr"/>
                  <a:lstStyle/>
                  <a:p>
                    <a:endParaRPr lang="en-US" sz="2400"/>
                  </a:p>
                </p:txBody>
              </p:sp>
              <p:sp>
                <p:nvSpPr>
                  <p:cNvPr id="959" name="Freeform: Shape 958">
                    <a:extLst>
                      <a:ext uri="{FF2B5EF4-FFF2-40B4-BE49-F238E27FC236}">
                        <a16:creationId xmlns:a16="http://schemas.microsoft.com/office/drawing/2014/main" id="{122D61D7-E09F-814C-D8DD-2766EB68C185}"/>
                      </a:ext>
                    </a:extLst>
                  </p:cNvPr>
                  <p:cNvSpPr/>
                  <p:nvPr userDrawn="1"/>
                </p:nvSpPr>
                <p:spPr>
                  <a:xfrm>
                    <a:off x="8459046" y="451047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2E5EC"/>
                  </a:solidFill>
                  <a:ln w="2339" cap="flat">
                    <a:noFill/>
                    <a:prstDash val="solid"/>
                    <a:miter/>
                  </a:ln>
                </p:spPr>
                <p:txBody>
                  <a:bodyPr rtlCol="0" anchor="ctr"/>
                  <a:lstStyle/>
                  <a:p>
                    <a:endParaRPr lang="en-US" sz="2400"/>
                  </a:p>
                </p:txBody>
              </p:sp>
              <p:sp>
                <p:nvSpPr>
                  <p:cNvPr id="960" name="Freeform: Shape 959">
                    <a:extLst>
                      <a:ext uri="{FF2B5EF4-FFF2-40B4-BE49-F238E27FC236}">
                        <a16:creationId xmlns:a16="http://schemas.microsoft.com/office/drawing/2014/main" id="{77FAE8ED-4B03-1AB5-9A73-F94E39D93AA2}"/>
                      </a:ext>
                    </a:extLst>
                  </p:cNvPr>
                  <p:cNvSpPr/>
                  <p:nvPr userDrawn="1"/>
                </p:nvSpPr>
                <p:spPr>
                  <a:xfrm>
                    <a:off x="8459397" y="451071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E2E5EC"/>
                  </a:solidFill>
                  <a:ln w="2339" cap="flat">
                    <a:noFill/>
                    <a:prstDash val="solid"/>
                    <a:miter/>
                  </a:ln>
                </p:spPr>
                <p:txBody>
                  <a:bodyPr rtlCol="0" anchor="ctr"/>
                  <a:lstStyle/>
                  <a:p>
                    <a:endParaRPr lang="en-US" sz="2400"/>
                  </a:p>
                </p:txBody>
              </p:sp>
              <p:sp>
                <p:nvSpPr>
                  <p:cNvPr id="961" name="Freeform: Shape 960">
                    <a:extLst>
                      <a:ext uri="{FF2B5EF4-FFF2-40B4-BE49-F238E27FC236}">
                        <a16:creationId xmlns:a16="http://schemas.microsoft.com/office/drawing/2014/main" id="{0F965DD5-0BD9-A002-59B3-63D65267EC78}"/>
                      </a:ext>
                    </a:extLst>
                  </p:cNvPr>
                  <p:cNvSpPr/>
                  <p:nvPr userDrawn="1"/>
                </p:nvSpPr>
                <p:spPr>
                  <a:xfrm>
                    <a:off x="8459725" y="451097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3E5EC"/>
                  </a:solidFill>
                  <a:ln w="2339" cap="flat">
                    <a:noFill/>
                    <a:prstDash val="solid"/>
                    <a:miter/>
                  </a:ln>
                </p:spPr>
                <p:txBody>
                  <a:bodyPr rtlCol="0" anchor="ctr"/>
                  <a:lstStyle/>
                  <a:p>
                    <a:endParaRPr lang="en-US" sz="2400"/>
                  </a:p>
                </p:txBody>
              </p:sp>
              <p:sp>
                <p:nvSpPr>
                  <p:cNvPr id="962" name="Freeform: Shape 961">
                    <a:extLst>
                      <a:ext uri="{FF2B5EF4-FFF2-40B4-BE49-F238E27FC236}">
                        <a16:creationId xmlns:a16="http://schemas.microsoft.com/office/drawing/2014/main" id="{B1A9ED6F-EB51-AED4-9E0B-57DD98EC0A8B}"/>
                      </a:ext>
                    </a:extLst>
                  </p:cNvPr>
                  <p:cNvSpPr/>
                  <p:nvPr userDrawn="1"/>
                </p:nvSpPr>
                <p:spPr>
                  <a:xfrm>
                    <a:off x="8460052" y="451122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3E5ED"/>
                  </a:solidFill>
                  <a:ln w="2339" cap="flat">
                    <a:noFill/>
                    <a:prstDash val="solid"/>
                    <a:miter/>
                  </a:ln>
                </p:spPr>
                <p:txBody>
                  <a:bodyPr rtlCol="0" anchor="ctr"/>
                  <a:lstStyle/>
                  <a:p>
                    <a:endParaRPr lang="en-US" sz="2400"/>
                  </a:p>
                </p:txBody>
              </p:sp>
              <p:sp>
                <p:nvSpPr>
                  <p:cNvPr id="963" name="Freeform: Shape 962">
                    <a:extLst>
                      <a:ext uri="{FF2B5EF4-FFF2-40B4-BE49-F238E27FC236}">
                        <a16:creationId xmlns:a16="http://schemas.microsoft.com/office/drawing/2014/main" id="{401EB0CC-34C3-8C9D-D20B-F635DBF042E7}"/>
                      </a:ext>
                    </a:extLst>
                  </p:cNvPr>
                  <p:cNvSpPr/>
                  <p:nvPr userDrawn="1"/>
                </p:nvSpPr>
                <p:spPr>
                  <a:xfrm>
                    <a:off x="8460403" y="451146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E3E6ED"/>
                  </a:solidFill>
                  <a:ln w="2339" cap="flat">
                    <a:noFill/>
                    <a:prstDash val="solid"/>
                    <a:miter/>
                  </a:ln>
                </p:spPr>
                <p:txBody>
                  <a:bodyPr rtlCol="0" anchor="ctr"/>
                  <a:lstStyle/>
                  <a:p>
                    <a:endParaRPr lang="en-US" sz="2400"/>
                  </a:p>
                </p:txBody>
              </p:sp>
              <p:sp>
                <p:nvSpPr>
                  <p:cNvPr id="964" name="Freeform: Shape 963">
                    <a:extLst>
                      <a:ext uri="{FF2B5EF4-FFF2-40B4-BE49-F238E27FC236}">
                        <a16:creationId xmlns:a16="http://schemas.microsoft.com/office/drawing/2014/main" id="{0F7E5136-751E-B318-DC64-0521097B537B}"/>
                      </a:ext>
                    </a:extLst>
                  </p:cNvPr>
                  <p:cNvSpPr/>
                  <p:nvPr userDrawn="1"/>
                </p:nvSpPr>
                <p:spPr>
                  <a:xfrm>
                    <a:off x="8460731" y="451171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E3E6ED"/>
                  </a:solidFill>
                  <a:ln w="2339" cap="flat">
                    <a:noFill/>
                    <a:prstDash val="solid"/>
                    <a:miter/>
                  </a:ln>
                </p:spPr>
                <p:txBody>
                  <a:bodyPr rtlCol="0" anchor="ctr"/>
                  <a:lstStyle/>
                  <a:p>
                    <a:endParaRPr lang="en-US" sz="2400"/>
                  </a:p>
                </p:txBody>
              </p:sp>
              <p:sp>
                <p:nvSpPr>
                  <p:cNvPr id="965" name="Freeform: Shape 964">
                    <a:extLst>
                      <a:ext uri="{FF2B5EF4-FFF2-40B4-BE49-F238E27FC236}">
                        <a16:creationId xmlns:a16="http://schemas.microsoft.com/office/drawing/2014/main" id="{6354F34F-7223-69F8-15CB-8F71288BC5CF}"/>
                      </a:ext>
                    </a:extLst>
                  </p:cNvPr>
                  <p:cNvSpPr/>
                  <p:nvPr userDrawn="1"/>
                </p:nvSpPr>
                <p:spPr>
                  <a:xfrm>
                    <a:off x="8461059" y="451197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4E6ED"/>
                  </a:solidFill>
                  <a:ln w="2339" cap="flat">
                    <a:noFill/>
                    <a:prstDash val="solid"/>
                    <a:miter/>
                  </a:ln>
                </p:spPr>
                <p:txBody>
                  <a:bodyPr rtlCol="0" anchor="ctr"/>
                  <a:lstStyle/>
                  <a:p>
                    <a:endParaRPr lang="en-US" sz="2400"/>
                  </a:p>
                </p:txBody>
              </p:sp>
              <p:sp>
                <p:nvSpPr>
                  <p:cNvPr id="966" name="Freeform: Shape 965">
                    <a:extLst>
                      <a:ext uri="{FF2B5EF4-FFF2-40B4-BE49-F238E27FC236}">
                        <a16:creationId xmlns:a16="http://schemas.microsoft.com/office/drawing/2014/main" id="{550007E3-BEE6-4D34-19B8-FD8B34661ADB}"/>
                      </a:ext>
                    </a:extLst>
                  </p:cNvPr>
                  <p:cNvSpPr/>
                  <p:nvPr userDrawn="1"/>
                </p:nvSpPr>
                <p:spPr>
                  <a:xfrm>
                    <a:off x="8461363" y="451223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4E6ED"/>
                  </a:solidFill>
                  <a:ln w="2339" cap="flat">
                    <a:noFill/>
                    <a:prstDash val="solid"/>
                    <a:miter/>
                  </a:ln>
                </p:spPr>
                <p:txBody>
                  <a:bodyPr rtlCol="0" anchor="ctr"/>
                  <a:lstStyle/>
                  <a:p>
                    <a:endParaRPr lang="en-US" sz="2400"/>
                  </a:p>
                </p:txBody>
              </p:sp>
              <p:sp>
                <p:nvSpPr>
                  <p:cNvPr id="967" name="Freeform: Shape 966">
                    <a:extLst>
                      <a:ext uri="{FF2B5EF4-FFF2-40B4-BE49-F238E27FC236}">
                        <a16:creationId xmlns:a16="http://schemas.microsoft.com/office/drawing/2014/main" id="{5D6D1901-C4F3-079C-012F-1F275290BB82}"/>
                      </a:ext>
                    </a:extLst>
                  </p:cNvPr>
                  <p:cNvSpPr/>
                  <p:nvPr userDrawn="1"/>
                </p:nvSpPr>
                <p:spPr>
                  <a:xfrm>
                    <a:off x="8461690" y="451249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4E7EE"/>
                  </a:solidFill>
                  <a:ln w="2339" cap="flat">
                    <a:noFill/>
                    <a:prstDash val="solid"/>
                    <a:miter/>
                  </a:ln>
                </p:spPr>
                <p:txBody>
                  <a:bodyPr rtlCol="0" anchor="ctr"/>
                  <a:lstStyle/>
                  <a:p>
                    <a:endParaRPr lang="en-US" sz="2400"/>
                  </a:p>
                </p:txBody>
              </p:sp>
              <p:sp>
                <p:nvSpPr>
                  <p:cNvPr id="968" name="Freeform: Shape 967">
                    <a:extLst>
                      <a:ext uri="{FF2B5EF4-FFF2-40B4-BE49-F238E27FC236}">
                        <a16:creationId xmlns:a16="http://schemas.microsoft.com/office/drawing/2014/main" id="{99A93F18-9870-F506-72CB-4A277BA45A6F}"/>
                      </a:ext>
                    </a:extLst>
                  </p:cNvPr>
                  <p:cNvSpPr/>
                  <p:nvPr userDrawn="1"/>
                </p:nvSpPr>
                <p:spPr>
                  <a:xfrm>
                    <a:off x="8462018" y="451274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5E7EE"/>
                  </a:solidFill>
                  <a:ln w="2339" cap="flat">
                    <a:noFill/>
                    <a:prstDash val="solid"/>
                    <a:miter/>
                  </a:ln>
                </p:spPr>
                <p:txBody>
                  <a:bodyPr rtlCol="0" anchor="ctr"/>
                  <a:lstStyle/>
                  <a:p>
                    <a:endParaRPr lang="en-US" sz="2400"/>
                  </a:p>
                </p:txBody>
              </p:sp>
              <p:sp>
                <p:nvSpPr>
                  <p:cNvPr id="969" name="Freeform: Shape 968">
                    <a:extLst>
                      <a:ext uri="{FF2B5EF4-FFF2-40B4-BE49-F238E27FC236}">
                        <a16:creationId xmlns:a16="http://schemas.microsoft.com/office/drawing/2014/main" id="{E91C529F-9CAB-246F-2F31-DEA6DA51B1EB}"/>
                      </a:ext>
                    </a:extLst>
                  </p:cNvPr>
                  <p:cNvSpPr/>
                  <p:nvPr userDrawn="1"/>
                </p:nvSpPr>
                <p:spPr>
                  <a:xfrm>
                    <a:off x="8462322" y="451300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5E7EE"/>
                  </a:solidFill>
                  <a:ln w="2339" cap="flat">
                    <a:noFill/>
                    <a:prstDash val="solid"/>
                    <a:miter/>
                  </a:ln>
                </p:spPr>
                <p:txBody>
                  <a:bodyPr rtlCol="0" anchor="ctr"/>
                  <a:lstStyle/>
                  <a:p>
                    <a:endParaRPr lang="en-US" sz="2400"/>
                  </a:p>
                </p:txBody>
              </p:sp>
              <p:sp>
                <p:nvSpPr>
                  <p:cNvPr id="970" name="Freeform: Shape 969">
                    <a:extLst>
                      <a:ext uri="{FF2B5EF4-FFF2-40B4-BE49-F238E27FC236}">
                        <a16:creationId xmlns:a16="http://schemas.microsoft.com/office/drawing/2014/main" id="{09809AC8-6E92-3975-1E36-C2D5347E41FA}"/>
                      </a:ext>
                    </a:extLst>
                  </p:cNvPr>
                  <p:cNvSpPr/>
                  <p:nvPr userDrawn="1"/>
                </p:nvSpPr>
                <p:spPr>
                  <a:xfrm>
                    <a:off x="8462650" y="451326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5E8EE"/>
                  </a:solidFill>
                  <a:ln w="2339" cap="flat">
                    <a:noFill/>
                    <a:prstDash val="solid"/>
                    <a:miter/>
                  </a:ln>
                </p:spPr>
                <p:txBody>
                  <a:bodyPr rtlCol="0" anchor="ctr"/>
                  <a:lstStyle/>
                  <a:p>
                    <a:endParaRPr lang="en-US" sz="2400"/>
                  </a:p>
                </p:txBody>
              </p:sp>
              <p:sp>
                <p:nvSpPr>
                  <p:cNvPr id="971" name="Freeform: Shape 970">
                    <a:extLst>
                      <a:ext uri="{FF2B5EF4-FFF2-40B4-BE49-F238E27FC236}">
                        <a16:creationId xmlns:a16="http://schemas.microsoft.com/office/drawing/2014/main" id="{834C9F74-C980-1DC6-72B9-E2F4C41C8C50}"/>
                      </a:ext>
                    </a:extLst>
                  </p:cNvPr>
                  <p:cNvSpPr/>
                  <p:nvPr userDrawn="1"/>
                </p:nvSpPr>
                <p:spPr>
                  <a:xfrm>
                    <a:off x="8463048" y="451359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6E8EE"/>
                  </a:solidFill>
                  <a:ln w="2339" cap="flat">
                    <a:noFill/>
                    <a:prstDash val="solid"/>
                    <a:miter/>
                  </a:ln>
                </p:spPr>
                <p:txBody>
                  <a:bodyPr rtlCol="0" anchor="ctr"/>
                  <a:lstStyle/>
                  <a:p>
                    <a:endParaRPr lang="en-US" sz="2400"/>
                  </a:p>
                </p:txBody>
              </p:sp>
              <p:sp>
                <p:nvSpPr>
                  <p:cNvPr id="972" name="Freeform: Shape 971">
                    <a:extLst>
                      <a:ext uri="{FF2B5EF4-FFF2-40B4-BE49-F238E27FC236}">
                        <a16:creationId xmlns:a16="http://schemas.microsoft.com/office/drawing/2014/main" id="{D821B8B4-41E2-FC61-7CC5-C9A6CBD65C81}"/>
                      </a:ext>
                    </a:extLst>
                  </p:cNvPr>
                  <p:cNvSpPr/>
                  <p:nvPr userDrawn="1"/>
                </p:nvSpPr>
                <p:spPr>
                  <a:xfrm>
                    <a:off x="8463539" y="451401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6E8EF"/>
                  </a:solidFill>
                  <a:ln w="2339" cap="flat">
                    <a:noFill/>
                    <a:prstDash val="solid"/>
                    <a:miter/>
                  </a:ln>
                </p:spPr>
                <p:txBody>
                  <a:bodyPr rtlCol="0" anchor="ctr"/>
                  <a:lstStyle/>
                  <a:p>
                    <a:endParaRPr lang="en-US" sz="2400"/>
                  </a:p>
                </p:txBody>
              </p:sp>
              <p:sp>
                <p:nvSpPr>
                  <p:cNvPr id="973" name="Freeform: Shape 972">
                    <a:extLst>
                      <a:ext uri="{FF2B5EF4-FFF2-40B4-BE49-F238E27FC236}">
                        <a16:creationId xmlns:a16="http://schemas.microsoft.com/office/drawing/2014/main" id="{14053C4C-81A2-483E-88EE-79AB398AC32B}"/>
                      </a:ext>
                    </a:extLst>
                  </p:cNvPr>
                  <p:cNvSpPr/>
                  <p:nvPr userDrawn="1"/>
                </p:nvSpPr>
                <p:spPr>
                  <a:xfrm>
                    <a:off x="8464030" y="451441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6E8EF"/>
                  </a:solidFill>
                  <a:ln w="2339" cap="flat">
                    <a:noFill/>
                    <a:prstDash val="solid"/>
                    <a:miter/>
                  </a:ln>
                </p:spPr>
                <p:txBody>
                  <a:bodyPr rtlCol="0" anchor="ctr"/>
                  <a:lstStyle/>
                  <a:p>
                    <a:endParaRPr lang="en-US" sz="2400"/>
                  </a:p>
                </p:txBody>
              </p:sp>
              <p:sp>
                <p:nvSpPr>
                  <p:cNvPr id="974" name="Freeform: Shape 973">
                    <a:extLst>
                      <a:ext uri="{FF2B5EF4-FFF2-40B4-BE49-F238E27FC236}">
                        <a16:creationId xmlns:a16="http://schemas.microsoft.com/office/drawing/2014/main" id="{B35AF947-66F8-9A19-2461-984BED40A8E6}"/>
                      </a:ext>
                    </a:extLst>
                  </p:cNvPr>
                  <p:cNvSpPr/>
                  <p:nvPr userDrawn="1"/>
                </p:nvSpPr>
                <p:spPr>
                  <a:xfrm>
                    <a:off x="8464498" y="451480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7E9EF"/>
                  </a:solidFill>
                  <a:ln w="2339" cap="flat">
                    <a:noFill/>
                    <a:prstDash val="solid"/>
                    <a:miter/>
                  </a:ln>
                </p:spPr>
                <p:txBody>
                  <a:bodyPr rtlCol="0" anchor="ctr"/>
                  <a:lstStyle/>
                  <a:p>
                    <a:endParaRPr lang="en-US" sz="2400"/>
                  </a:p>
                </p:txBody>
              </p:sp>
              <p:sp>
                <p:nvSpPr>
                  <p:cNvPr id="975" name="Freeform: Shape 974">
                    <a:extLst>
                      <a:ext uri="{FF2B5EF4-FFF2-40B4-BE49-F238E27FC236}">
                        <a16:creationId xmlns:a16="http://schemas.microsoft.com/office/drawing/2014/main" id="{FF43E442-E477-973B-D47B-AB6A83F8B647}"/>
                      </a:ext>
                    </a:extLst>
                  </p:cNvPr>
                  <p:cNvSpPr/>
                  <p:nvPr userDrawn="1"/>
                </p:nvSpPr>
                <p:spPr>
                  <a:xfrm>
                    <a:off x="8464966" y="451522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7E9EF"/>
                  </a:solidFill>
                  <a:ln w="2339" cap="flat">
                    <a:noFill/>
                    <a:prstDash val="solid"/>
                    <a:miter/>
                  </a:ln>
                </p:spPr>
                <p:txBody>
                  <a:bodyPr rtlCol="0" anchor="ctr"/>
                  <a:lstStyle/>
                  <a:p>
                    <a:endParaRPr lang="en-US" sz="2400"/>
                  </a:p>
                </p:txBody>
              </p:sp>
              <p:sp>
                <p:nvSpPr>
                  <p:cNvPr id="976" name="Freeform: Shape 975">
                    <a:extLst>
                      <a:ext uri="{FF2B5EF4-FFF2-40B4-BE49-F238E27FC236}">
                        <a16:creationId xmlns:a16="http://schemas.microsoft.com/office/drawing/2014/main" id="{34DC1118-46B4-C3E6-BDFC-3CE2AAFA72AA}"/>
                      </a:ext>
                    </a:extLst>
                  </p:cNvPr>
                  <p:cNvSpPr/>
                  <p:nvPr userDrawn="1"/>
                </p:nvSpPr>
                <p:spPr>
                  <a:xfrm>
                    <a:off x="8465434" y="451562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7E9EF"/>
                  </a:solidFill>
                  <a:ln w="2339" cap="flat">
                    <a:noFill/>
                    <a:prstDash val="solid"/>
                    <a:miter/>
                  </a:ln>
                </p:spPr>
                <p:txBody>
                  <a:bodyPr rtlCol="0" anchor="ctr"/>
                  <a:lstStyle/>
                  <a:p>
                    <a:endParaRPr lang="en-US" sz="2400"/>
                  </a:p>
                </p:txBody>
              </p:sp>
              <p:sp>
                <p:nvSpPr>
                  <p:cNvPr id="977" name="Freeform: Shape 976">
                    <a:extLst>
                      <a:ext uri="{FF2B5EF4-FFF2-40B4-BE49-F238E27FC236}">
                        <a16:creationId xmlns:a16="http://schemas.microsoft.com/office/drawing/2014/main" id="{6FFB2309-565E-6DA9-7BED-CCE281F06D2B}"/>
                      </a:ext>
                    </a:extLst>
                  </p:cNvPr>
                  <p:cNvSpPr/>
                  <p:nvPr userDrawn="1"/>
                </p:nvSpPr>
                <p:spPr>
                  <a:xfrm>
                    <a:off x="8465902" y="451604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7EAF0"/>
                  </a:solidFill>
                  <a:ln w="2339" cap="flat">
                    <a:noFill/>
                    <a:prstDash val="solid"/>
                    <a:miter/>
                  </a:ln>
                </p:spPr>
                <p:txBody>
                  <a:bodyPr rtlCol="0" anchor="ctr"/>
                  <a:lstStyle/>
                  <a:p>
                    <a:endParaRPr lang="en-US" sz="2400"/>
                  </a:p>
                </p:txBody>
              </p:sp>
              <p:sp>
                <p:nvSpPr>
                  <p:cNvPr id="978" name="Freeform: Shape 977">
                    <a:extLst>
                      <a:ext uri="{FF2B5EF4-FFF2-40B4-BE49-F238E27FC236}">
                        <a16:creationId xmlns:a16="http://schemas.microsoft.com/office/drawing/2014/main" id="{B2B049B7-F572-CB48-CAB5-14648C0DA6DE}"/>
                      </a:ext>
                    </a:extLst>
                  </p:cNvPr>
                  <p:cNvSpPr/>
                  <p:nvPr userDrawn="1"/>
                </p:nvSpPr>
                <p:spPr>
                  <a:xfrm>
                    <a:off x="8466347" y="451646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8EAF0"/>
                  </a:solidFill>
                  <a:ln w="2339" cap="flat">
                    <a:noFill/>
                    <a:prstDash val="solid"/>
                    <a:miter/>
                  </a:ln>
                </p:spPr>
                <p:txBody>
                  <a:bodyPr rtlCol="0" anchor="ctr"/>
                  <a:lstStyle/>
                  <a:p>
                    <a:endParaRPr lang="en-US" sz="2400"/>
                  </a:p>
                </p:txBody>
              </p:sp>
              <p:sp>
                <p:nvSpPr>
                  <p:cNvPr id="979" name="Freeform: Shape 978">
                    <a:extLst>
                      <a:ext uri="{FF2B5EF4-FFF2-40B4-BE49-F238E27FC236}">
                        <a16:creationId xmlns:a16="http://schemas.microsoft.com/office/drawing/2014/main" id="{FF3F2FFD-8AA3-6538-AD74-4FABB2CF827D}"/>
                      </a:ext>
                    </a:extLst>
                  </p:cNvPr>
                  <p:cNvSpPr/>
                  <p:nvPr userDrawn="1"/>
                </p:nvSpPr>
                <p:spPr>
                  <a:xfrm>
                    <a:off x="8466815" y="451686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8EAF0"/>
                  </a:solidFill>
                  <a:ln w="2339" cap="flat">
                    <a:noFill/>
                    <a:prstDash val="solid"/>
                    <a:miter/>
                  </a:ln>
                </p:spPr>
                <p:txBody>
                  <a:bodyPr rtlCol="0" anchor="ctr"/>
                  <a:lstStyle/>
                  <a:p>
                    <a:endParaRPr lang="en-US" sz="2400"/>
                  </a:p>
                </p:txBody>
              </p:sp>
              <p:sp>
                <p:nvSpPr>
                  <p:cNvPr id="980" name="Freeform: Shape 979">
                    <a:extLst>
                      <a:ext uri="{FF2B5EF4-FFF2-40B4-BE49-F238E27FC236}">
                        <a16:creationId xmlns:a16="http://schemas.microsoft.com/office/drawing/2014/main" id="{8D4115D2-F2C2-EB65-41DD-6FC8DEA836E5}"/>
                      </a:ext>
                    </a:extLst>
                  </p:cNvPr>
                  <p:cNvSpPr/>
                  <p:nvPr userDrawn="1"/>
                </p:nvSpPr>
                <p:spPr>
                  <a:xfrm>
                    <a:off x="8467260" y="451728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8EAF0"/>
                  </a:solidFill>
                  <a:ln w="2339" cap="flat">
                    <a:noFill/>
                    <a:prstDash val="solid"/>
                    <a:miter/>
                  </a:ln>
                </p:spPr>
                <p:txBody>
                  <a:bodyPr rtlCol="0" anchor="ctr"/>
                  <a:lstStyle/>
                  <a:p>
                    <a:endParaRPr lang="en-US" sz="2400"/>
                  </a:p>
                </p:txBody>
              </p:sp>
              <p:sp>
                <p:nvSpPr>
                  <p:cNvPr id="981" name="Freeform: Shape 980">
                    <a:extLst>
                      <a:ext uri="{FF2B5EF4-FFF2-40B4-BE49-F238E27FC236}">
                        <a16:creationId xmlns:a16="http://schemas.microsoft.com/office/drawing/2014/main" id="{05832684-AB76-7ACD-5514-A4744845CC07}"/>
                      </a:ext>
                    </a:extLst>
                  </p:cNvPr>
                  <p:cNvSpPr/>
                  <p:nvPr userDrawn="1"/>
                </p:nvSpPr>
                <p:spPr>
                  <a:xfrm>
                    <a:off x="8467681" y="451768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9EBF0"/>
                  </a:solidFill>
                  <a:ln w="2339" cap="flat">
                    <a:noFill/>
                    <a:prstDash val="solid"/>
                    <a:miter/>
                  </a:ln>
                </p:spPr>
                <p:txBody>
                  <a:bodyPr rtlCol="0" anchor="ctr"/>
                  <a:lstStyle/>
                  <a:p>
                    <a:endParaRPr lang="en-US" sz="2400"/>
                  </a:p>
                </p:txBody>
              </p:sp>
              <p:sp>
                <p:nvSpPr>
                  <p:cNvPr id="982" name="Freeform: Shape 981">
                    <a:extLst>
                      <a:ext uri="{FF2B5EF4-FFF2-40B4-BE49-F238E27FC236}">
                        <a16:creationId xmlns:a16="http://schemas.microsoft.com/office/drawing/2014/main" id="{86051811-2FA5-15BB-8437-0EE3CE35ACF1}"/>
                      </a:ext>
                    </a:extLst>
                  </p:cNvPr>
                  <p:cNvSpPr/>
                  <p:nvPr userDrawn="1"/>
                </p:nvSpPr>
                <p:spPr>
                  <a:xfrm>
                    <a:off x="8468125" y="451810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9EBF1"/>
                  </a:solidFill>
                  <a:ln w="2339" cap="flat">
                    <a:noFill/>
                    <a:prstDash val="solid"/>
                    <a:miter/>
                  </a:ln>
                </p:spPr>
                <p:txBody>
                  <a:bodyPr rtlCol="0" anchor="ctr"/>
                  <a:lstStyle/>
                  <a:p>
                    <a:endParaRPr lang="en-US" sz="2400"/>
                  </a:p>
                </p:txBody>
              </p:sp>
              <p:sp>
                <p:nvSpPr>
                  <p:cNvPr id="983" name="Freeform: Shape 982">
                    <a:extLst>
                      <a:ext uri="{FF2B5EF4-FFF2-40B4-BE49-F238E27FC236}">
                        <a16:creationId xmlns:a16="http://schemas.microsoft.com/office/drawing/2014/main" id="{9CADCE94-3E83-30FC-E90B-72745F846ABC}"/>
                      </a:ext>
                    </a:extLst>
                  </p:cNvPr>
                  <p:cNvSpPr/>
                  <p:nvPr userDrawn="1"/>
                </p:nvSpPr>
                <p:spPr>
                  <a:xfrm>
                    <a:off x="8468547" y="451852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9EBF1"/>
                  </a:solidFill>
                  <a:ln w="2339" cap="flat">
                    <a:noFill/>
                    <a:prstDash val="solid"/>
                    <a:miter/>
                  </a:ln>
                </p:spPr>
                <p:txBody>
                  <a:bodyPr rtlCol="0" anchor="ctr"/>
                  <a:lstStyle/>
                  <a:p>
                    <a:endParaRPr lang="en-US" sz="2400"/>
                  </a:p>
                </p:txBody>
              </p:sp>
              <p:sp>
                <p:nvSpPr>
                  <p:cNvPr id="984" name="Freeform: Shape 983">
                    <a:extLst>
                      <a:ext uri="{FF2B5EF4-FFF2-40B4-BE49-F238E27FC236}">
                        <a16:creationId xmlns:a16="http://schemas.microsoft.com/office/drawing/2014/main" id="{65A4A3FE-903C-7C84-7AF4-5BBFFFCF04AD}"/>
                      </a:ext>
                    </a:extLst>
                  </p:cNvPr>
                  <p:cNvSpPr/>
                  <p:nvPr userDrawn="1"/>
                </p:nvSpPr>
                <p:spPr>
                  <a:xfrm>
                    <a:off x="8468991" y="451892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EAECF1"/>
                  </a:solidFill>
                  <a:ln w="2339" cap="flat">
                    <a:noFill/>
                    <a:prstDash val="solid"/>
                    <a:miter/>
                  </a:ln>
                </p:spPr>
                <p:txBody>
                  <a:bodyPr rtlCol="0" anchor="ctr"/>
                  <a:lstStyle/>
                  <a:p>
                    <a:endParaRPr lang="en-US" sz="2400"/>
                  </a:p>
                </p:txBody>
              </p:sp>
              <p:sp>
                <p:nvSpPr>
                  <p:cNvPr id="985" name="Freeform: Shape 984">
                    <a:extLst>
                      <a:ext uri="{FF2B5EF4-FFF2-40B4-BE49-F238E27FC236}">
                        <a16:creationId xmlns:a16="http://schemas.microsoft.com/office/drawing/2014/main" id="{9D4C6F6C-2E34-6E05-CADF-B0E572BEAC58}"/>
                      </a:ext>
                    </a:extLst>
                  </p:cNvPr>
                  <p:cNvSpPr/>
                  <p:nvPr userDrawn="1"/>
                </p:nvSpPr>
                <p:spPr>
                  <a:xfrm>
                    <a:off x="8469389" y="451934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AECF1"/>
                  </a:solidFill>
                  <a:ln w="2339" cap="flat">
                    <a:noFill/>
                    <a:prstDash val="solid"/>
                    <a:miter/>
                  </a:ln>
                </p:spPr>
                <p:txBody>
                  <a:bodyPr rtlCol="0" anchor="ctr"/>
                  <a:lstStyle/>
                  <a:p>
                    <a:endParaRPr lang="en-US" sz="2400"/>
                  </a:p>
                </p:txBody>
              </p:sp>
              <p:sp>
                <p:nvSpPr>
                  <p:cNvPr id="986" name="Freeform: Shape 985">
                    <a:extLst>
                      <a:ext uri="{FF2B5EF4-FFF2-40B4-BE49-F238E27FC236}">
                        <a16:creationId xmlns:a16="http://schemas.microsoft.com/office/drawing/2014/main" id="{00761C56-F2AE-BC86-AD65-0666FAEC147E}"/>
                      </a:ext>
                    </a:extLst>
                  </p:cNvPr>
                  <p:cNvSpPr/>
                  <p:nvPr userDrawn="1"/>
                </p:nvSpPr>
                <p:spPr>
                  <a:xfrm>
                    <a:off x="8469810" y="451976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AECF1"/>
                  </a:solidFill>
                  <a:ln w="2339" cap="flat">
                    <a:noFill/>
                    <a:prstDash val="solid"/>
                    <a:miter/>
                  </a:ln>
                </p:spPr>
                <p:txBody>
                  <a:bodyPr rtlCol="0" anchor="ctr"/>
                  <a:lstStyle/>
                  <a:p>
                    <a:endParaRPr lang="en-US" sz="2400"/>
                  </a:p>
                </p:txBody>
              </p:sp>
              <p:sp>
                <p:nvSpPr>
                  <p:cNvPr id="987" name="Freeform: Shape 986">
                    <a:extLst>
                      <a:ext uri="{FF2B5EF4-FFF2-40B4-BE49-F238E27FC236}">
                        <a16:creationId xmlns:a16="http://schemas.microsoft.com/office/drawing/2014/main" id="{518A0E7B-BA2B-2C42-68B9-EC8C8AFD8153}"/>
                      </a:ext>
                    </a:extLst>
                  </p:cNvPr>
                  <p:cNvSpPr/>
                  <p:nvPr userDrawn="1"/>
                </p:nvSpPr>
                <p:spPr>
                  <a:xfrm>
                    <a:off x="8470231" y="452016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54"/>
                          <a:pt x="0" y="21060"/>
                        </a:cubicBezTo>
                        <a:close/>
                      </a:path>
                    </a:pathLst>
                  </a:custGeom>
                  <a:solidFill>
                    <a:srgbClr val="EBECF2"/>
                  </a:solidFill>
                  <a:ln w="2339" cap="flat">
                    <a:noFill/>
                    <a:prstDash val="solid"/>
                    <a:miter/>
                  </a:ln>
                </p:spPr>
                <p:txBody>
                  <a:bodyPr rtlCol="0" anchor="ctr"/>
                  <a:lstStyle/>
                  <a:p>
                    <a:endParaRPr lang="en-US" sz="2400"/>
                  </a:p>
                </p:txBody>
              </p:sp>
              <p:sp>
                <p:nvSpPr>
                  <p:cNvPr id="988" name="Freeform: Shape 987">
                    <a:extLst>
                      <a:ext uri="{FF2B5EF4-FFF2-40B4-BE49-F238E27FC236}">
                        <a16:creationId xmlns:a16="http://schemas.microsoft.com/office/drawing/2014/main" id="{6F3B0111-0836-A7C1-C47B-ADFF91444A9F}"/>
                      </a:ext>
                    </a:extLst>
                  </p:cNvPr>
                  <p:cNvSpPr/>
                  <p:nvPr userDrawn="1"/>
                </p:nvSpPr>
                <p:spPr>
                  <a:xfrm>
                    <a:off x="8470629" y="452058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EBEDF2"/>
                  </a:solidFill>
                  <a:ln w="2339" cap="flat">
                    <a:noFill/>
                    <a:prstDash val="solid"/>
                    <a:miter/>
                  </a:ln>
                </p:spPr>
                <p:txBody>
                  <a:bodyPr rtlCol="0" anchor="ctr"/>
                  <a:lstStyle/>
                  <a:p>
                    <a:endParaRPr lang="en-US" sz="2400"/>
                  </a:p>
                </p:txBody>
              </p:sp>
              <p:sp>
                <p:nvSpPr>
                  <p:cNvPr id="989" name="Freeform: Shape 988">
                    <a:extLst>
                      <a:ext uri="{FF2B5EF4-FFF2-40B4-BE49-F238E27FC236}">
                        <a16:creationId xmlns:a16="http://schemas.microsoft.com/office/drawing/2014/main" id="{6E1AB1B9-A8FD-F51F-2307-D15EFCD4FD00}"/>
                      </a:ext>
                    </a:extLst>
                  </p:cNvPr>
                  <p:cNvSpPr/>
                  <p:nvPr userDrawn="1"/>
                </p:nvSpPr>
                <p:spPr>
                  <a:xfrm>
                    <a:off x="8471027" y="452100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BEDF2"/>
                  </a:solidFill>
                  <a:ln w="2339" cap="flat">
                    <a:noFill/>
                    <a:prstDash val="solid"/>
                    <a:miter/>
                  </a:ln>
                </p:spPr>
                <p:txBody>
                  <a:bodyPr rtlCol="0" anchor="ctr"/>
                  <a:lstStyle/>
                  <a:p>
                    <a:endParaRPr lang="en-US" sz="2400"/>
                  </a:p>
                </p:txBody>
              </p:sp>
              <p:sp>
                <p:nvSpPr>
                  <p:cNvPr id="990" name="Freeform: Shape 989">
                    <a:extLst>
                      <a:ext uri="{FF2B5EF4-FFF2-40B4-BE49-F238E27FC236}">
                        <a16:creationId xmlns:a16="http://schemas.microsoft.com/office/drawing/2014/main" id="{37171D42-128F-0BAC-A513-A720466C93DB}"/>
                      </a:ext>
                    </a:extLst>
                  </p:cNvPr>
                  <p:cNvSpPr/>
                  <p:nvPr userDrawn="1"/>
                </p:nvSpPr>
                <p:spPr>
                  <a:xfrm>
                    <a:off x="8471425" y="452143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BEDF2"/>
                  </a:solidFill>
                  <a:ln w="2339" cap="flat">
                    <a:noFill/>
                    <a:prstDash val="solid"/>
                    <a:miter/>
                  </a:ln>
                </p:spPr>
                <p:txBody>
                  <a:bodyPr rtlCol="0" anchor="ctr"/>
                  <a:lstStyle/>
                  <a:p>
                    <a:endParaRPr lang="en-US" sz="2400"/>
                  </a:p>
                </p:txBody>
              </p:sp>
              <p:sp>
                <p:nvSpPr>
                  <p:cNvPr id="991" name="Freeform: Shape 990">
                    <a:extLst>
                      <a:ext uri="{FF2B5EF4-FFF2-40B4-BE49-F238E27FC236}">
                        <a16:creationId xmlns:a16="http://schemas.microsoft.com/office/drawing/2014/main" id="{2886BC51-FF92-0B02-D122-DEFAB5D46534}"/>
                      </a:ext>
                    </a:extLst>
                  </p:cNvPr>
                  <p:cNvSpPr/>
                  <p:nvPr userDrawn="1"/>
                </p:nvSpPr>
                <p:spPr>
                  <a:xfrm>
                    <a:off x="8471799" y="452185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CEDF2"/>
                  </a:solidFill>
                  <a:ln w="2339" cap="flat">
                    <a:noFill/>
                    <a:prstDash val="solid"/>
                    <a:miter/>
                  </a:ln>
                </p:spPr>
                <p:txBody>
                  <a:bodyPr rtlCol="0" anchor="ctr"/>
                  <a:lstStyle/>
                  <a:p>
                    <a:endParaRPr lang="en-US" sz="2400"/>
                  </a:p>
                </p:txBody>
              </p:sp>
              <p:sp>
                <p:nvSpPr>
                  <p:cNvPr id="992" name="Freeform: Shape 991">
                    <a:extLst>
                      <a:ext uri="{FF2B5EF4-FFF2-40B4-BE49-F238E27FC236}">
                        <a16:creationId xmlns:a16="http://schemas.microsoft.com/office/drawing/2014/main" id="{B25B9F55-9B06-C838-CB9A-17892D68FF46}"/>
                      </a:ext>
                    </a:extLst>
                  </p:cNvPr>
                  <p:cNvSpPr/>
                  <p:nvPr userDrawn="1"/>
                </p:nvSpPr>
                <p:spPr>
                  <a:xfrm>
                    <a:off x="8472174" y="452224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CEEF3"/>
                  </a:solidFill>
                  <a:ln w="2339" cap="flat">
                    <a:noFill/>
                    <a:prstDash val="solid"/>
                    <a:miter/>
                  </a:ln>
                </p:spPr>
                <p:txBody>
                  <a:bodyPr rtlCol="0" anchor="ctr"/>
                  <a:lstStyle/>
                  <a:p>
                    <a:endParaRPr lang="en-US" sz="2400"/>
                  </a:p>
                </p:txBody>
              </p:sp>
              <p:sp>
                <p:nvSpPr>
                  <p:cNvPr id="993" name="Freeform: Shape 992">
                    <a:extLst>
                      <a:ext uri="{FF2B5EF4-FFF2-40B4-BE49-F238E27FC236}">
                        <a16:creationId xmlns:a16="http://schemas.microsoft.com/office/drawing/2014/main" id="{35109DEF-86F2-AA41-C230-F679491A0689}"/>
                      </a:ext>
                    </a:extLst>
                  </p:cNvPr>
                  <p:cNvSpPr/>
                  <p:nvPr userDrawn="1"/>
                </p:nvSpPr>
                <p:spPr>
                  <a:xfrm>
                    <a:off x="8472548" y="452267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CEEF3"/>
                  </a:solidFill>
                  <a:ln w="2339" cap="flat">
                    <a:noFill/>
                    <a:prstDash val="solid"/>
                    <a:miter/>
                  </a:ln>
                </p:spPr>
                <p:txBody>
                  <a:bodyPr rtlCol="0" anchor="ctr"/>
                  <a:lstStyle/>
                  <a:p>
                    <a:endParaRPr lang="en-US" sz="2400"/>
                  </a:p>
                </p:txBody>
              </p:sp>
              <p:sp>
                <p:nvSpPr>
                  <p:cNvPr id="994" name="Freeform: Shape 993">
                    <a:extLst>
                      <a:ext uri="{FF2B5EF4-FFF2-40B4-BE49-F238E27FC236}">
                        <a16:creationId xmlns:a16="http://schemas.microsoft.com/office/drawing/2014/main" id="{C89942E3-5AC6-34DD-1D93-C8669D9CB722}"/>
                      </a:ext>
                    </a:extLst>
                  </p:cNvPr>
                  <p:cNvSpPr/>
                  <p:nvPr userDrawn="1"/>
                </p:nvSpPr>
                <p:spPr>
                  <a:xfrm>
                    <a:off x="8472922" y="452309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DEEF3"/>
                  </a:solidFill>
                  <a:ln w="2339" cap="flat">
                    <a:noFill/>
                    <a:prstDash val="solid"/>
                    <a:miter/>
                  </a:ln>
                </p:spPr>
                <p:txBody>
                  <a:bodyPr rtlCol="0" anchor="ctr"/>
                  <a:lstStyle/>
                  <a:p>
                    <a:endParaRPr lang="en-US" sz="2400"/>
                  </a:p>
                </p:txBody>
              </p:sp>
              <p:sp>
                <p:nvSpPr>
                  <p:cNvPr id="995" name="Freeform: Shape 994">
                    <a:extLst>
                      <a:ext uri="{FF2B5EF4-FFF2-40B4-BE49-F238E27FC236}">
                        <a16:creationId xmlns:a16="http://schemas.microsoft.com/office/drawing/2014/main" id="{634A2D78-CD3F-3A46-BF1D-4884AF69780C}"/>
                      </a:ext>
                    </a:extLst>
                  </p:cNvPr>
                  <p:cNvSpPr/>
                  <p:nvPr userDrawn="1"/>
                </p:nvSpPr>
                <p:spPr>
                  <a:xfrm>
                    <a:off x="8473297" y="452351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DEFF3"/>
                  </a:solidFill>
                  <a:ln w="2339" cap="flat">
                    <a:noFill/>
                    <a:prstDash val="solid"/>
                    <a:miter/>
                  </a:ln>
                </p:spPr>
                <p:txBody>
                  <a:bodyPr rtlCol="0" anchor="ctr"/>
                  <a:lstStyle/>
                  <a:p>
                    <a:endParaRPr lang="en-US" sz="2400"/>
                  </a:p>
                </p:txBody>
              </p:sp>
              <p:sp>
                <p:nvSpPr>
                  <p:cNvPr id="996" name="Freeform: Shape 995">
                    <a:extLst>
                      <a:ext uri="{FF2B5EF4-FFF2-40B4-BE49-F238E27FC236}">
                        <a16:creationId xmlns:a16="http://schemas.microsoft.com/office/drawing/2014/main" id="{E1E33894-97B6-3440-416F-F7454B5E97DA}"/>
                      </a:ext>
                    </a:extLst>
                  </p:cNvPr>
                  <p:cNvSpPr/>
                  <p:nvPr userDrawn="1"/>
                </p:nvSpPr>
                <p:spPr>
                  <a:xfrm>
                    <a:off x="8473648" y="452393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DEFF3"/>
                  </a:solidFill>
                  <a:ln w="2339" cap="flat">
                    <a:noFill/>
                    <a:prstDash val="solid"/>
                    <a:miter/>
                  </a:ln>
                </p:spPr>
                <p:txBody>
                  <a:bodyPr rtlCol="0" anchor="ctr"/>
                  <a:lstStyle/>
                  <a:p>
                    <a:endParaRPr lang="en-US" sz="2400"/>
                  </a:p>
                </p:txBody>
              </p:sp>
              <p:sp>
                <p:nvSpPr>
                  <p:cNvPr id="997" name="Freeform: Shape 996">
                    <a:extLst>
                      <a:ext uri="{FF2B5EF4-FFF2-40B4-BE49-F238E27FC236}">
                        <a16:creationId xmlns:a16="http://schemas.microsoft.com/office/drawing/2014/main" id="{803E55E5-F89B-90CE-964B-F5ACF39581BB}"/>
                      </a:ext>
                    </a:extLst>
                  </p:cNvPr>
                  <p:cNvSpPr/>
                  <p:nvPr userDrawn="1"/>
                </p:nvSpPr>
                <p:spPr>
                  <a:xfrm>
                    <a:off x="8474022" y="452435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EEFF4"/>
                  </a:solidFill>
                  <a:ln w="2339" cap="flat">
                    <a:noFill/>
                    <a:prstDash val="solid"/>
                    <a:miter/>
                  </a:ln>
                </p:spPr>
                <p:txBody>
                  <a:bodyPr rtlCol="0" anchor="ctr"/>
                  <a:lstStyle/>
                  <a:p>
                    <a:endParaRPr lang="en-US" sz="2400"/>
                  </a:p>
                </p:txBody>
              </p:sp>
              <p:sp>
                <p:nvSpPr>
                  <p:cNvPr id="998" name="Freeform: Shape 997">
                    <a:extLst>
                      <a:ext uri="{FF2B5EF4-FFF2-40B4-BE49-F238E27FC236}">
                        <a16:creationId xmlns:a16="http://schemas.microsoft.com/office/drawing/2014/main" id="{7E27262C-2E8D-91D8-90E8-DB59C98FF7EF}"/>
                      </a:ext>
                    </a:extLst>
                  </p:cNvPr>
                  <p:cNvSpPr/>
                  <p:nvPr userDrawn="1"/>
                </p:nvSpPr>
                <p:spPr>
                  <a:xfrm>
                    <a:off x="8474373" y="452477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EEFF4"/>
                  </a:solidFill>
                  <a:ln w="2339" cap="flat">
                    <a:noFill/>
                    <a:prstDash val="solid"/>
                    <a:miter/>
                  </a:ln>
                </p:spPr>
                <p:txBody>
                  <a:bodyPr rtlCol="0" anchor="ctr"/>
                  <a:lstStyle/>
                  <a:p>
                    <a:endParaRPr lang="en-US" sz="2400"/>
                  </a:p>
                </p:txBody>
              </p:sp>
              <p:sp>
                <p:nvSpPr>
                  <p:cNvPr id="999" name="Freeform: Shape 998">
                    <a:extLst>
                      <a:ext uri="{FF2B5EF4-FFF2-40B4-BE49-F238E27FC236}">
                        <a16:creationId xmlns:a16="http://schemas.microsoft.com/office/drawing/2014/main" id="{53F57D39-7349-A7A4-1E5C-751B39B1FE8C}"/>
                      </a:ext>
                    </a:extLst>
                  </p:cNvPr>
                  <p:cNvSpPr/>
                  <p:nvPr userDrawn="1"/>
                </p:nvSpPr>
                <p:spPr>
                  <a:xfrm>
                    <a:off x="8474701" y="452519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EF0F4"/>
                  </a:solidFill>
                  <a:ln w="2339" cap="flat">
                    <a:noFill/>
                    <a:prstDash val="solid"/>
                    <a:miter/>
                  </a:ln>
                </p:spPr>
                <p:txBody>
                  <a:bodyPr rtlCol="0" anchor="ctr"/>
                  <a:lstStyle/>
                  <a:p>
                    <a:endParaRPr lang="en-US" sz="2400"/>
                  </a:p>
                </p:txBody>
              </p:sp>
              <p:sp>
                <p:nvSpPr>
                  <p:cNvPr id="1000" name="Freeform: Shape 999">
                    <a:extLst>
                      <a:ext uri="{FF2B5EF4-FFF2-40B4-BE49-F238E27FC236}">
                        <a16:creationId xmlns:a16="http://schemas.microsoft.com/office/drawing/2014/main" id="{AA16B779-32ED-A9DE-8B2A-46C32ABEB7C6}"/>
                      </a:ext>
                    </a:extLst>
                  </p:cNvPr>
                  <p:cNvSpPr/>
                  <p:nvPr userDrawn="1"/>
                </p:nvSpPr>
                <p:spPr>
                  <a:xfrm>
                    <a:off x="8475052" y="452559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EEF0F4"/>
                  </a:solidFill>
                  <a:ln w="2339" cap="flat">
                    <a:noFill/>
                    <a:prstDash val="solid"/>
                    <a:miter/>
                  </a:ln>
                </p:spPr>
                <p:txBody>
                  <a:bodyPr rtlCol="0" anchor="ctr"/>
                  <a:lstStyle/>
                  <a:p>
                    <a:endParaRPr lang="en-US" sz="2400"/>
                  </a:p>
                </p:txBody>
              </p:sp>
              <p:sp>
                <p:nvSpPr>
                  <p:cNvPr id="1001" name="Freeform: Shape 1000">
                    <a:extLst>
                      <a:ext uri="{FF2B5EF4-FFF2-40B4-BE49-F238E27FC236}">
                        <a16:creationId xmlns:a16="http://schemas.microsoft.com/office/drawing/2014/main" id="{7A29F437-EB5A-15CF-8FB3-13A9BD486496}"/>
                      </a:ext>
                    </a:extLst>
                  </p:cNvPr>
                  <p:cNvSpPr/>
                  <p:nvPr userDrawn="1"/>
                </p:nvSpPr>
                <p:spPr>
                  <a:xfrm>
                    <a:off x="8475379" y="452601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FF0F4"/>
                  </a:solidFill>
                  <a:ln w="2339" cap="flat">
                    <a:noFill/>
                    <a:prstDash val="solid"/>
                    <a:miter/>
                  </a:ln>
                </p:spPr>
                <p:txBody>
                  <a:bodyPr rtlCol="0" anchor="ctr"/>
                  <a:lstStyle/>
                  <a:p>
                    <a:endParaRPr lang="en-US" sz="2400"/>
                  </a:p>
                </p:txBody>
              </p:sp>
              <p:sp>
                <p:nvSpPr>
                  <p:cNvPr id="1002" name="Freeform: Shape 1001">
                    <a:extLst>
                      <a:ext uri="{FF2B5EF4-FFF2-40B4-BE49-F238E27FC236}">
                        <a16:creationId xmlns:a16="http://schemas.microsoft.com/office/drawing/2014/main" id="{92322365-5309-A7DC-E89B-F403B3648880}"/>
                      </a:ext>
                    </a:extLst>
                  </p:cNvPr>
                  <p:cNvSpPr/>
                  <p:nvPr userDrawn="1"/>
                </p:nvSpPr>
                <p:spPr>
                  <a:xfrm>
                    <a:off x="8475707" y="452643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FF1F5"/>
                  </a:solidFill>
                  <a:ln w="2339" cap="flat">
                    <a:noFill/>
                    <a:prstDash val="solid"/>
                    <a:miter/>
                  </a:ln>
                </p:spPr>
                <p:txBody>
                  <a:bodyPr rtlCol="0" anchor="ctr"/>
                  <a:lstStyle/>
                  <a:p>
                    <a:endParaRPr lang="en-US" sz="2400"/>
                  </a:p>
                </p:txBody>
              </p:sp>
              <p:sp>
                <p:nvSpPr>
                  <p:cNvPr id="1003" name="Freeform: Shape 1002">
                    <a:extLst>
                      <a:ext uri="{FF2B5EF4-FFF2-40B4-BE49-F238E27FC236}">
                        <a16:creationId xmlns:a16="http://schemas.microsoft.com/office/drawing/2014/main" id="{0C655C0F-222C-D52A-41C1-1540C8A72EDD}"/>
                      </a:ext>
                    </a:extLst>
                  </p:cNvPr>
                  <p:cNvSpPr/>
                  <p:nvPr userDrawn="1"/>
                </p:nvSpPr>
                <p:spPr>
                  <a:xfrm>
                    <a:off x="8476035" y="452685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EFF1F5"/>
                  </a:solidFill>
                  <a:ln w="2339" cap="flat">
                    <a:noFill/>
                    <a:prstDash val="solid"/>
                    <a:miter/>
                  </a:ln>
                </p:spPr>
                <p:txBody>
                  <a:bodyPr rtlCol="0" anchor="ctr"/>
                  <a:lstStyle/>
                  <a:p>
                    <a:endParaRPr lang="en-US" sz="2400"/>
                  </a:p>
                </p:txBody>
              </p:sp>
              <p:sp>
                <p:nvSpPr>
                  <p:cNvPr id="1004" name="Freeform: Shape 1003">
                    <a:extLst>
                      <a:ext uri="{FF2B5EF4-FFF2-40B4-BE49-F238E27FC236}">
                        <a16:creationId xmlns:a16="http://schemas.microsoft.com/office/drawing/2014/main" id="{73E2AC4E-B076-4E38-9D81-2843595494A9}"/>
                      </a:ext>
                    </a:extLst>
                  </p:cNvPr>
                  <p:cNvSpPr/>
                  <p:nvPr userDrawn="1"/>
                </p:nvSpPr>
                <p:spPr>
                  <a:xfrm>
                    <a:off x="8476339" y="452728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F0F1F5"/>
                  </a:solidFill>
                  <a:ln w="2339" cap="flat">
                    <a:noFill/>
                    <a:prstDash val="solid"/>
                    <a:miter/>
                  </a:ln>
                </p:spPr>
                <p:txBody>
                  <a:bodyPr rtlCol="0" anchor="ctr"/>
                  <a:lstStyle/>
                  <a:p>
                    <a:endParaRPr lang="en-US" sz="2400"/>
                  </a:p>
                </p:txBody>
              </p:sp>
              <p:sp>
                <p:nvSpPr>
                  <p:cNvPr id="1005" name="Freeform: Shape 1004">
                    <a:extLst>
                      <a:ext uri="{FF2B5EF4-FFF2-40B4-BE49-F238E27FC236}">
                        <a16:creationId xmlns:a16="http://schemas.microsoft.com/office/drawing/2014/main" id="{F1890255-DC8D-7460-94AD-41DE0CE085C8}"/>
                      </a:ext>
                    </a:extLst>
                  </p:cNvPr>
                  <p:cNvSpPr/>
                  <p:nvPr userDrawn="1"/>
                </p:nvSpPr>
                <p:spPr>
                  <a:xfrm>
                    <a:off x="8476666" y="452770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F0F1F5"/>
                  </a:solidFill>
                  <a:ln w="2339" cap="flat">
                    <a:noFill/>
                    <a:prstDash val="solid"/>
                    <a:miter/>
                  </a:ln>
                </p:spPr>
                <p:txBody>
                  <a:bodyPr rtlCol="0" anchor="ctr"/>
                  <a:lstStyle/>
                  <a:p>
                    <a:endParaRPr lang="en-US" sz="2400"/>
                  </a:p>
                </p:txBody>
              </p:sp>
              <p:sp>
                <p:nvSpPr>
                  <p:cNvPr id="1006" name="Freeform: Shape 1005">
                    <a:extLst>
                      <a:ext uri="{FF2B5EF4-FFF2-40B4-BE49-F238E27FC236}">
                        <a16:creationId xmlns:a16="http://schemas.microsoft.com/office/drawing/2014/main" id="{2256BA44-AE40-6A5E-675E-3A3E6DD48869}"/>
                      </a:ext>
                    </a:extLst>
                  </p:cNvPr>
                  <p:cNvSpPr/>
                  <p:nvPr userDrawn="1"/>
                </p:nvSpPr>
                <p:spPr>
                  <a:xfrm>
                    <a:off x="8476971" y="452812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F0F2F5"/>
                  </a:solidFill>
                  <a:ln w="2339" cap="flat">
                    <a:noFill/>
                    <a:prstDash val="solid"/>
                    <a:miter/>
                  </a:ln>
                </p:spPr>
                <p:txBody>
                  <a:bodyPr rtlCol="0" anchor="ctr"/>
                  <a:lstStyle/>
                  <a:p>
                    <a:endParaRPr lang="en-US" sz="2400"/>
                  </a:p>
                </p:txBody>
              </p:sp>
              <p:sp>
                <p:nvSpPr>
                  <p:cNvPr id="1007" name="Freeform: Shape 1006">
                    <a:extLst>
                      <a:ext uri="{FF2B5EF4-FFF2-40B4-BE49-F238E27FC236}">
                        <a16:creationId xmlns:a16="http://schemas.microsoft.com/office/drawing/2014/main" id="{5968CD59-FAA6-1FE8-11EF-F0F31657996A}"/>
                      </a:ext>
                    </a:extLst>
                  </p:cNvPr>
                  <p:cNvSpPr/>
                  <p:nvPr userDrawn="1"/>
                </p:nvSpPr>
                <p:spPr>
                  <a:xfrm>
                    <a:off x="8477275" y="452854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F1F2F6"/>
                  </a:solidFill>
                  <a:ln w="2339" cap="flat">
                    <a:noFill/>
                    <a:prstDash val="solid"/>
                    <a:miter/>
                  </a:ln>
                </p:spPr>
                <p:txBody>
                  <a:bodyPr rtlCol="0" anchor="ctr"/>
                  <a:lstStyle/>
                  <a:p>
                    <a:endParaRPr lang="en-US" sz="2400"/>
                  </a:p>
                </p:txBody>
              </p:sp>
              <p:sp>
                <p:nvSpPr>
                  <p:cNvPr id="1008" name="Freeform: Shape 1007">
                    <a:extLst>
                      <a:ext uri="{FF2B5EF4-FFF2-40B4-BE49-F238E27FC236}">
                        <a16:creationId xmlns:a16="http://schemas.microsoft.com/office/drawing/2014/main" id="{1E7B1AF8-FC56-A9DB-50E1-D8667CCBE15F}"/>
                      </a:ext>
                    </a:extLst>
                  </p:cNvPr>
                  <p:cNvSpPr/>
                  <p:nvPr userDrawn="1"/>
                </p:nvSpPr>
                <p:spPr>
                  <a:xfrm>
                    <a:off x="8477556" y="452896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F1F2F6"/>
                  </a:solidFill>
                  <a:ln w="2339" cap="flat">
                    <a:noFill/>
                    <a:prstDash val="solid"/>
                    <a:miter/>
                  </a:ln>
                </p:spPr>
                <p:txBody>
                  <a:bodyPr rtlCol="0" anchor="ctr"/>
                  <a:lstStyle/>
                  <a:p>
                    <a:endParaRPr lang="en-US" sz="2400"/>
                  </a:p>
                </p:txBody>
              </p:sp>
              <p:sp>
                <p:nvSpPr>
                  <p:cNvPr id="1009" name="Freeform: Shape 1008">
                    <a:extLst>
                      <a:ext uri="{FF2B5EF4-FFF2-40B4-BE49-F238E27FC236}">
                        <a16:creationId xmlns:a16="http://schemas.microsoft.com/office/drawing/2014/main" id="{C0090264-C4BE-21EB-EBF9-746FC103490D}"/>
                      </a:ext>
                    </a:extLst>
                  </p:cNvPr>
                  <p:cNvSpPr/>
                  <p:nvPr userDrawn="1"/>
                </p:nvSpPr>
                <p:spPr>
                  <a:xfrm>
                    <a:off x="8477860" y="452938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F1F2F6"/>
                  </a:solidFill>
                  <a:ln w="2339" cap="flat">
                    <a:noFill/>
                    <a:prstDash val="solid"/>
                    <a:miter/>
                  </a:ln>
                </p:spPr>
                <p:txBody>
                  <a:bodyPr rtlCol="0" anchor="ctr"/>
                  <a:lstStyle/>
                  <a:p>
                    <a:endParaRPr lang="en-US" sz="2400"/>
                  </a:p>
                </p:txBody>
              </p:sp>
              <p:sp>
                <p:nvSpPr>
                  <p:cNvPr id="1010" name="Freeform: Shape 1009">
                    <a:extLst>
                      <a:ext uri="{FF2B5EF4-FFF2-40B4-BE49-F238E27FC236}">
                        <a16:creationId xmlns:a16="http://schemas.microsoft.com/office/drawing/2014/main" id="{4F1E0506-AAF3-BCBD-9560-2AF29F593D61}"/>
                      </a:ext>
                    </a:extLst>
                  </p:cNvPr>
                  <p:cNvSpPr/>
                  <p:nvPr userDrawn="1"/>
                </p:nvSpPr>
                <p:spPr>
                  <a:xfrm>
                    <a:off x="8478141" y="452980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F2F3F6"/>
                  </a:solidFill>
                  <a:ln w="2339" cap="flat">
                    <a:noFill/>
                    <a:prstDash val="solid"/>
                    <a:miter/>
                  </a:ln>
                </p:spPr>
                <p:txBody>
                  <a:bodyPr rtlCol="0" anchor="ctr"/>
                  <a:lstStyle/>
                  <a:p>
                    <a:endParaRPr lang="en-US" sz="2400"/>
                  </a:p>
                </p:txBody>
              </p:sp>
              <p:sp>
                <p:nvSpPr>
                  <p:cNvPr id="1011" name="Freeform: Shape 1010">
                    <a:extLst>
                      <a:ext uri="{FF2B5EF4-FFF2-40B4-BE49-F238E27FC236}">
                        <a16:creationId xmlns:a16="http://schemas.microsoft.com/office/drawing/2014/main" id="{6057AD43-8685-C74F-41D8-B3220356975B}"/>
                      </a:ext>
                    </a:extLst>
                  </p:cNvPr>
                  <p:cNvSpPr/>
                  <p:nvPr userDrawn="1"/>
                </p:nvSpPr>
                <p:spPr>
                  <a:xfrm>
                    <a:off x="8478421" y="453022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F2F3F6"/>
                  </a:solidFill>
                  <a:ln w="2339" cap="flat">
                    <a:noFill/>
                    <a:prstDash val="solid"/>
                    <a:miter/>
                  </a:ln>
                </p:spPr>
                <p:txBody>
                  <a:bodyPr rtlCol="0" anchor="ctr"/>
                  <a:lstStyle/>
                  <a:p>
                    <a:endParaRPr lang="en-US" sz="2400"/>
                  </a:p>
                </p:txBody>
              </p:sp>
              <p:sp>
                <p:nvSpPr>
                  <p:cNvPr id="1012" name="Freeform: Shape 1011">
                    <a:extLst>
                      <a:ext uri="{FF2B5EF4-FFF2-40B4-BE49-F238E27FC236}">
                        <a16:creationId xmlns:a16="http://schemas.microsoft.com/office/drawing/2014/main" id="{2F3AAF76-6B02-9D46-A2C5-26F115151E6D}"/>
                      </a:ext>
                    </a:extLst>
                  </p:cNvPr>
                  <p:cNvSpPr/>
                  <p:nvPr userDrawn="1"/>
                </p:nvSpPr>
                <p:spPr>
                  <a:xfrm>
                    <a:off x="8478702" y="453065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F2F3F7"/>
                  </a:solidFill>
                  <a:ln w="2339" cap="flat">
                    <a:noFill/>
                    <a:prstDash val="solid"/>
                    <a:miter/>
                  </a:ln>
                </p:spPr>
                <p:txBody>
                  <a:bodyPr rtlCol="0" anchor="ctr"/>
                  <a:lstStyle/>
                  <a:p>
                    <a:endParaRPr lang="en-US" sz="2400"/>
                  </a:p>
                </p:txBody>
              </p:sp>
              <p:sp>
                <p:nvSpPr>
                  <p:cNvPr id="1013" name="Freeform: Shape 1012">
                    <a:extLst>
                      <a:ext uri="{FF2B5EF4-FFF2-40B4-BE49-F238E27FC236}">
                        <a16:creationId xmlns:a16="http://schemas.microsoft.com/office/drawing/2014/main" id="{CFB38B00-BCEF-8FE3-391E-B8B8B8518E01}"/>
                      </a:ext>
                    </a:extLst>
                  </p:cNvPr>
                  <p:cNvSpPr/>
                  <p:nvPr userDrawn="1"/>
                </p:nvSpPr>
                <p:spPr>
                  <a:xfrm>
                    <a:off x="8478960" y="453107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F2F4F7"/>
                  </a:solidFill>
                  <a:ln w="2339" cap="flat">
                    <a:noFill/>
                    <a:prstDash val="solid"/>
                    <a:miter/>
                  </a:ln>
                </p:spPr>
                <p:txBody>
                  <a:bodyPr rtlCol="0" anchor="ctr"/>
                  <a:lstStyle/>
                  <a:p>
                    <a:endParaRPr lang="en-US" sz="2400"/>
                  </a:p>
                </p:txBody>
              </p:sp>
              <p:sp>
                <p:nvSpPr>
                  <p:cNvPr id="1014" name="Freeform: Shape 1013">
                    <a:extLst>
                      <a:ext uri="{FF2B5EF4-FFF2-40B4-BE49-F238E27FC236}">
                        <a16:creationId xmlns:a16="http://schemas.microsoft.com/office/drawing/2014/main" id="{E7DC4977-8064-2143-9139-379073655D97}"/>
                      </a:ext>
                    </a:extLst>
                  </p:cNvPr>
                  <p:cNvSpPr/>
                  <p:nvPr userDrawn="1"/>
                </p:nvSpPr>
                <p:spPr>
                  <a:xfrm>
                    <a:off x="8479217" y="4531492"/>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3F4F7"/>
                  </a:solidFill>
                  <a:ln w="2339" cap="flat">
                    <a:noFill/>
                    <a:prstDash val="solid"/>
                    <a:miter/>
                  </a:ln>
                </p:spPr>
                <p:txBody>
                  <a:bodyPr rtlCol="0" anchor="ctr"/>
                  <a:lstStyle/>
                  <a:p>
                    <a:endParaRPr lang="en-US" sz="2400"/>
                  </a:p>
                </p:txBody>
              </p:sp>
              <p:sp>
                <p:nvSpPr>
                  <p:cNvPr id="1015" name="Freeform: Shape 1014">
                    <a:extLst>
                      <a:ext uri="{FF2B5EF4-FFF2-40B4-BE49-F238E27FC236}">
                        <a16:creationId xmlns:a16="http://schemas.microsoft.com/office/drawing/2014/main" id="{7AF0A378-4BC2-8BDB-14F1-053301CD81CB}"/>
                      </a:ext>
                    </a:extLst>
                  </p:cNvPr>
                  <p:cNvSpPr/>
                  <p:nvPr userDrawn="1"/>
                </p:nvSpPr>
                <p:spPr>
                  <a:xfrm>
                    <a:off x="8479474" y="4531913"/>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3F4F7"/>
                  </a:solidFill>
                  <a:ln w="2339" cap="flat">
                    <a:noFill/>
                    <a:prstDash val="solid"/>
                    <a:miter/>
                  </a:ln>
                </p:spPr>
                <p:txBody>
                  <a:bodyPr rtlCol="0" anchor="ctr"/>
                  <a:lstStyle/>
                  <a:p>
                    <a:endParaRPr lang="en-US" sz="2400"/>
                  </a:p>
                </p:txBody>
              </p:sp>
              <p:sp>
                <p:nvSpPr>
                  <p:cNvPr id="1016" name="Freeform: Shape 1015">
                    <a:extLst>
                      <a:ext uri="{FF2B5EF4-FFF2-40B4-BE49-F238E27FC236}">
                        <a16:creationId xmlns:a16="http://schemas.microsoft.com/office/drawing/2014/main" id="{72602993-EC55-7CFB-4E76-644CE5DC820F}"/>
                      </a:ext>
                    </a:extLst>
                  </p:cNvPr>
                  <p:cNvSpPr/>
                  <p:nvPr userDrawn="1"/>
                </p:nvSpPr>
                <p:spPr>
                  <a:xfrm>
                    <a:off x="8479732" y="4532335"/>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3F4F7"/>
                  </a:solidFill>
                  <a:ln w="2339" cap="flat">
                    <a:noFill/>
                    <a:prstDash val="solid"/>
                    <a:miter/>
                  </a:ln>
                </p:spPr>
                <p:txBody>
                  <a:bodyPr rtlCol="0" anchor="ctr"/>
                  <a:lstStyle/>
                  <a:p>
                    <a:endParaRPr lang="en-US" sz="2400"/>
                  </a:p>
                </p:txBody>
              </p:sp>
              <p:sp>
                <p:nvSpPr>
                  <p:cNvPr id="1017" name="Freeform: Shape 1016">
                    <a:extLst>
                      <a:ext uri="{FF2B5EF4-FFF2-40B4-BE49-F238E27FC236}">
                        <a16:creationId xmlns:a16="http://schemas.microsoft.com/office/drawing/2014/main" id="{EEB2AE66-7618-7591-E673-CFFEAFC5A600}"/>
                      </a:ext>
                    </a:extLst>
                  </p:cNvPr>
                  <p:cNvSpPr/>
                  <p:nvPr userDrawn="1"/>
                </p:nvSpPr>
                <p:spPr>
                  <a:xfrm>
                    <a:off x="8479989" y="4532756"/>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4F5F8"/>
                  </a:solidFill>
                  <a:ln w="2339" cap="flat">
                    <a:noFill/>
                    <a:prstDash val="solid"/>
                    <a:miter/>
                  </a:ln>
                </p:spPr>
                <p:txBody>
                  <a:bodyPr rtlCol="0" anchor="ctr"/>
                  <a:lstStyle/>
                  <a:p>
                    <a:endParaRPr lang="en-US" sz="2400"/>
                  </a:p>
                </p:txBody>
              </p:sp>
              <p:sp>
                <p:nvSpPr>
                  <p:cNvPr id="1018" name="Freeform: Shape 1017">
                    <a:extLst>
                      <a:ext uri="{FF2B5EF4-FFF2-40B4-BE49-F238E27FC236}">
                        <a16:creationId xmlns:a16="http://schemas.microsoft.com/office/drawing/2014/main" id="{E1173CD6-EB15-2B3D-1B7E-0C65EC195965}"/>
                      </a:ext>
                    </a:extLst>
                  </p:cNvPr>
                  <p:cNvSpPr/>
                  <p:nvPr userDrawn="1"/>
                </p:nvSpPr>
                <p:spPr>
                  <a:xfrm>
                    <a:off x="8480223" y="4533177"/>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4F5F8"/>
                  </a:solidFill>
                  <a:ln w="2339" cap="flat">
                    <a:noFill/>
                    <a:prstDash val="solid"/>
                    <a:miter/>
                  </a:ln>
                </p:spPr>
                <p:txBody>
                  <a:bodyPr rtlCol="0" anchor="ctr"/>
                  <a:lstStyle/>
                  <a:p>
                    <a:endParaRPr lang="en-US" sz="2400"/>
                  </a:p>
                </p:txBody>
              </p:sp>
              <p:sp>
                <p:nvSpPr>
                  <p:cNvPr id="1019" name="Freeform: Shape 1018">
                    <a:extLst>
                      <a:ext uri="{FF2B5EF4-FFF2-40B4-BE49-F238E27FC236}">
                        <a16:creationId xmlns:a16="http://schemas.microsoft.com/office/drawing/2014/main" id="{4898CB1A-85E0-02C4-DC08-53801CB9AF47}"/>
                      </a:ext>
                    </a:extLst>
                  </p:cNvPr>
                  <p:cNvSpPr/>
                  <p:nvPr userDrawn="1"/>
                </p:nvSpPr>
                <p:spPr>
                  <a:xfrm>
                    <a:off x="8480457" y="4533598"/>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4F5F8"/>
                  </a:solidFill>
                  <a:ln w="2339" cap="flat">
                    <a:noFill/>
                    <a:prstDash val="solid"/>
                    <a:miter/>
                  </a:ln>
                </p:spPr>
                <p:txBody>
                  <a:bodyPr rtlCol="0" anchor="ctr"/>
                  <a:lstStyle/>
                  <a:p>
                    <a:endParaRPr lang="en-US" sz="2400"/>
                  </a:p>
                </p:txBody>
              </p:sp>
              <p:sp>
                <p:nvSpPr>
                  <p:cNvPr id="1020" name="Freeform: Shape 1019">
                    <a:extLst>
                      <a:ext uri="{FF2B5EF4-FFF2-40B4-BE49-F238E27FC236}">
                        <a16:creationId xmlns:a16="http://schemas.microsoft.com/office/drawing/2014/main" id="{2D9B47B5-7339-96C1-60A1-F06FEF40AC8C}"/>
                      </a:ext>
                    </a:extLst>
                  </p:cNvPr>
                  <p:cNvSpPr/>
                  <p:nvPr userDrawn="1"/>
                </p:nvSpPr>
                <p:spPr>
                  <a:xfrm>
                    <a:off x="8480691" y="4534019"/>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5F6F8"/>
                  </a:solidFill>
                  <a:ln w="2339" cap="flat">
                    <a:noFill/>
                    <a:prstDash val="solid"/>
                    <a:miter/>
                  </a:ln>
                </p:spPr>
                <p:txBody>
                  <a:bodyPr rtlCol="0" anchor="ctr"/>
                  <a:lstStyle/>
                  <a:p>
                    <a:endParaRPr lang="en-US" sz="2400"/>
                  </a:p>
                </p:txBody>
              </p:sp>
              <p:sp>
                <p:nvSpPr>
                  <p:cNvPr id="1021" name="Freeform: Shape 1020">
                    <a:extLst>
                      <a:ext uri="{FF2B5EF4-FFF2-40B4-BE49-F238E27FC236}">
                        <a16:creationId xmlns:a16="http://schemas.microsoft.com/office/drawing/2014/main" id="{0C835746-A124-B3B1-05B2-186ABDAEFBE9}"/>
                      </a:ext>
                    </a:extLst>
                  </p:cNvPr>
                  <p:cNvSpPr/>
                  <p:nvPr userDrawn="1"/>
                </p:nvSpPr>
                <p:spPr>
                  <a:xfrm>
                    <a:off x="8480902" y="4534441"/>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5F6F8"/>
                  </a:solidFill>
                  <a:ln w="2339" cap="flat">
                    <a:noFill/>
                    <a:prstDash val="solid"/>
                    <a:miter/>
                  </a:ln>
                </p:spPr>
                <p:txBody>
                  <a:bodyPr rtlCol="0" anchor="ctr"/>
                  <a:lstStyle/>
                  <a:p>
                    <a:endParaRPr lang="en-US" sz="2400"/>
                  </a:p>
                </p:txBody>
              </p:sp>
              <p:sp>
                <p:nvSpPr>
                  <p:cNvPr id="1022" name="Freeform: Shape 1021">
                    <a:extLst>
                      <a:ext uri="{FF2B5EF4-FFF2-40B4-BE49-F238E27FC236}">
                        <a16:creationId xmlns:a16="http://schemas.microsoft.com/office/drawing/2014/main" id="{857F14D6-564C-10B6-63CF-27EB6EF188EC}"/>
                      </a:ext>
                    </a:extLst>
                  </p:cNvPr>
                  <p:cNvSpPr/>
                  <p:nvPr userDrawn="1"/>
                </p:nvSpPr>
                <p:spPr>
                  <a:xfrm>
                    <a:off x="8481136" y="4534838"/>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23"/>
                          <a:pt x="0" y="9430"/>
                          <a:pt x="0" y="21060"/>
                        </a:cubicBezTo>
                        <a:close/>
                      </a:path>
                    </a:pathLst>
                  </a:custGeom>
                  <a:solidFill>
                    <a:srgbClr val="F5F6F9"/>
                  </a:solidFill>
                  <a:ln w="2339" cap="flat">
                    <a:noFill/>
                    <a:prstDash val="solid"/>
                    <a:miter/>
                  </a:ln>
                </p:spPr>
                <p:txBody>
                  <a:bodyPr rtlCol="0" anchor="ctr"/>
                  <a:lstStyle/>
                  <a:p>
                    <a:endParaRPr lang="en-US" sz="2400"/>
                  </a:p>
                </p:txBody>
              </p:sp>
              <p:sp>
                <p:nvSpPr>
                  <p:cNvPr id="1023" name="Freeform: Shape 1022">
                    <a:extLst>
                      <a:ext uri="{FF2B5EF4-FFF2-40B4-BE49-F238E27FC236}">
                        <a16:creationId xmlns:a16="http://schemas.microsoft.com/office/drawing/2014/main" id="{BFE0AB98-13F2-81DA-2AE7-9EC47A630D85}"/>
                      </a:ext>
                    </a:extLst>
                  </p:cNvPr>
                  <p:cNvSpPr/>
                  <p:nvPr userDrawn="1"/>
                </p:nvSpPr>
                <p:spPr>
                  <a:xfrm>
                    <a:off x="8481346" y="4535260"/>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23"/>
                          <a:pt x="0" y="9430"/>
                          <a:pt x="0" y="21060"/>
                        </a:cubicBezTo>
                        <a:close/>
                      </a:path>
                    </a:pathLst>
                  </a:custGeom>
                  <a:solidFill>
                    <a:srgbClr val="F6F6F9"/>
                  </a:solidFill>
                  <a:ln w="2339" cap="flat">
                    <a:noFill/>
                    <a:prstDash val="solid"/>
                    <a:miter/>
                  </a:ln>
                </p:spPr>
                <p:txBody>
                  <a:bodyPr rtlCol="0" anchor="ctr"/>
                  <a:lstStyle/>
                  <a:p>
                    <a:endParaRPr lang="en-US" sz="2400"/>
                  </a:p>
                </p:txBody>
              </p:sp>
              <p:sp>
                <p:nvSpPr>
                  <p:cNvPr id="1024" name="Freeform: Shape 1023">
                    <a:extLst>
                      <a:ext uri="{FF2B5EF4-FFF2-40B4-BE49-F238E27FC236}">
                        <a16:creationId xmlns:a16="http://schemas.microsoft.com/office/drawing/2014/main" id="{661816D2-B696-F254-6EB3-3E5D1CBAF8D6}"/>
                      </a:ext>
                    </a:extLst>
                  </p:cNvPr>
                  <p:cNvSpPr/>
                  <p:nvPr userDrawn="1"/>
                </p:nvSpPr>
                <p:spPr>
                  <a:xfrm>
                    <a:off x="8481557" y="4535681"/>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23"/>
                          <a:pt x="0" y="9430"/>
                          <a:pt x="0" y="21060"/>
                        </a:cubicBezTo>
                        <a:close/>
                      </a:path>
                    </a:pathLst>
                  </a:custGeom>
                  <a:solidFill>
                    <a:srgbClr val="F6F7F9"/>
                  </a:solidFill>
                  <a:ln w="2339" cap="flat">
                    <a:noFill/>
                    <a:prstDash val="solid"/>
                    <a:miter/>
                  </a:ln>
                </p:spPr>
                <p:txBody>
                  <a:bodyPr rtlCol="0" anchor="ctr"/>
                  <a:lstStyle/>
                  <a:p>
                    <a:endParaRPr lang="en-US" sz="2400"/>
                  </a:p>
                </p:txBody>
              </p:sp>
              <p:sp>
                <p:nvSpPr>
                  <p:cNvPr id="1025" name="Freeform: Shape 1024">
                    <a:extLst>
                      <a:ext uri="{FF2B5EF4-FFF2-40B4-BE49-F238E27FC236}">
                        <a16:creationId xmlns:a16="http://schemas.microsoft.com/office/drawing/2014/main" id="{A23F73A4-F485-08C3-CD4C-792BC0540931}"/>
                      </a:ext>
                    </a:extLst>
                  </p:cNvPr>
                  <p:cNvSpPr/>
                  <p:nvPr userDrawn="1"/>
                </p:nvSpPr>
                <p:spPr>
                  <a:xfrm>
                    <a:off x="8481744" y="4536102"/>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23"/>
                          <a:pt x="0" y="9430"/>
                          <a:pt x="0" y="21060"/>
                        </a:cubicBezTo>
                        <a:close/>
                      </a:path>
                    </a:pathLst>
                  </a:custGeom>
                  <a:solidFill>
                    <a:srgbClr val="F6F7F9"/>
                  </a:solidFill>
                  <a:ln w="2339" cap="flat">
                    <a:noFill/>
                    <a:prstDash val="solid"/>
                    <a:miter/>
                  </a:ln>
                </p:spPr>
                <p:txBody>
                  <a:bodyPr rtlCol="0" anchor="ctr"/>
                  <a:lstStyle/>
                  <a:p>
                    <a:endParaRPr lang="en-US" sz="2400"/>
                  </a:p>
                </p:txBody>
              </p:sp>
              <p:sp>
                <p:nvSpPr>
                  <p:cNvPr id="1026" name="Freeform: Shape 1025">
                    <a:extLst>
                      <a:ext uri="{FF2B5EF4-FFF2-40B4-BE49-F238E27FC236}">
                        <a16:creationId xmlns:a16="http://schemas.microsoft.com/office/drawing/2014/main" id="{0B9E6B97-01A7-2216-977B-8FCA488FD4A7}"/>
                      </a:ext>
                    </a:extLst>
                  </p:cNvPr>
                  <p:cNvSpPr/>
                  <p:nvPr userDrawn="1"/>
                </p:nvSpPr>
                <p:spPr>
                  <a:xfrm>
                    <a:off x="8481955" y="4536523"/>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6F7F9"/>
                  </a:solidFill>
                  <a:ln w="2339" cap="flat">
                    <a:noFill/>
                    <a:prstDash val="solid"/>
                    <a:miter/>
                  </a:ln>
                </p:spPr>
                <p:txBody>
                  <a:bodyPr rtlCol="0" anchor="ctr"/>
                  <a:lstStyle/>
                  <a:p>
                    <a:endParaRPr lang="en-US" sz="2400"/>
                  </a:p>
                </p:txBody>
              </p:sp>
              <p:sp>
                <p:nvSpPr>
                  <p:cNvPr id="1027" name="Freeform: Shape 1026">
                    <a:extLst>
                      <a:ext uri="{FF2B5EF4-FFF2-40B4-BE49-F238E27FC236}">
                        <a16:creationId xmlns:a16="http://schemas.microsoft.com/office/drawing/2014/main" id="{114A18D3-6D63-1B46-5F3D-01BCB11A10BB}"/>
                      </a:ext>
                    </a:extLst>
                  </p:cNvPr>
                  <p:cNvSpPr/>
                  <p:nvPr userDrawn="1"/>
                </p:nvSpPr>
                <p:spPr>
                  <a:xfrm>
                    <a:off x="8482142" y="4536945"/>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7F7FA"/>
                  </a:solidFill>
                  <a:ln w="2339" cap="flat">
                    <a:noFill/>
                    <a:prstDash val="solid"/>
                    <a:miter/>
                  </a:ln>
                </p:spPr>
                <p:txBody>
                  <a:bodyPr rtlCol="0" anchor="ctr"/>
                  <a:lstStyle/>
                  <a:p>
                    <a:endParaRPr lang="en-US" sz="2400"/>
                  </a:p>
                </p:txBody>
              </p:sp>
              <p:sp>
                <p:nvSpPr>
                  <p:cNvPr id="1028" name="Freeform: Shape 1027">
                    <a:extLst>
                      <a:ext uri="{FF2B5EF4-FFF2-40B4-BE49-F238E27FC236}">
                        <a16:creationId xmlns:a16="http://schemas.microsoft.com/office/drawing/2014/main" id="{1C73F6A0-7956-8131-41D9-4C2ED220BE70}"/>
                      </a:ext>
                    </a:extLst>
                  </p:cNvPr>
                  <p:cNvSpPr/>
                  <p:nvPr userDrawn="1"/>
                </p:nvSpPr>
                <p:spPr>
                  <a:xfrm>
                    <a:off x="8482329" y="4537366"/>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7F8FA"/>
                  </a:solidFill>
                  <a:ln w="2339" cap="flat">
                    <a:noFill/>
                    <a:prstDash val="solid"/>
                    <a:miter/>
                  </a:ln>
                </p:spPr>
                <p:txBody>
                  <a:bodyPr rtlCol="0" anchor="ctr"/>
                  <a:lstStyle/>
                  <a:p>
                    <a:endParaRPr lang="en-US" sz="2400"/>
                  </a:p>
                </p:txBody>
              </p:sp>
              <p:sp>
                <p:nvSpPr>
                  <p:cNvPr id="1029" name="Freeform: Shape 1028">
                    <a:extLst>
                      <a:ext uri="{FF2B5EF4-FFF2-40B4-BE49-F238E27FC236}">
                        <a16:creationId xmlns:a16="http://schemas.microsoft.com/office/drawing/2014/main" id="{E4A2461B-D698-3885-6B9E-BC4749561A75}"/>
                      </a:ext>
                    </a:extLst>
                  </p:cNvPr>
                  <p:cNvSpPr/>
                  <p:nvPr userDrawn="1"/>
                </p:nvSpPr>
                <p:spPr>
                  <a:xfrm>
                    <a:off x="8482517" y="4537787"/>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7F8FA"/>
                  </a:solidFill>
                  <a:ln w="2339" cap="flat">
                    <a:noFill/>
                    <a:prstDash val="solid"/>
                    <a:miter/>
                  </a:ln>
                </p:spPr>
                <p:txBody>
                  <a:bodyPr rtlCol="0" anchor="ctr"/>
                  <a:lstStyle/>
                  <a:p>
                    <a:endParaRPr lang="en-US" sz="2400"/>
                  </a:p>
                </p:txBody>
              </p:sp>
              <p:sp>
                <p:nvSpPr>
                  <p:cNvPr id="1030" name="Freeform: Shape 1029">
                    <a:extLst>
                      <a:ext uri="{FF2B5EF4-FFF2-40B4-BE49-F238E27FC236}">
                        <a16:creationId xmlns:a16="http://schemas.microsoft.com/office/drawing/2014/main" id="{8A095D17-AE24-6842-E04B-12118DF94519}"/>
                      </a:ext>
                    </a:extLst>
                  </p:cNvPr>
                  <p:cNvSpPr/>
                  <p:nvPr userDrawn="1"/>
                </p:nvSpPr>
                <p:spPr>
                  <a:xfrm>
                    <a:off x="8482680" y="4538208"/>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8F8FA"/>
                  </a:solidFill>
                  <a:ln w="2339" cap="flat">
                    <a:noFill/>
                    <a:prstDash val="solid"/>
                    <a:miter/>
                  </a:ln>
                </p:spPr>
                <p:txBody>
                  <a:bodyPr rtlCol="0" anchor="ctr"/>
                  <a:lstStyle/>
                  <a:p>
                    <a:endParaRPr lang="en-US" sz="2400"/>
                  </a:p>
                </p:txBody>
              </p:sp>
              <p:sp>
                <p:nvSpPr>
                  <p:cNvPr id="1031" name="Freeform: Shape 1030">
                    <a:extLst>
                      <a:ext uri="{FF2B5EF4-FFF2-40B4-BE49-F238E27FC236}">
                        <a16:creationId xmlns:a16="http://schemas.microsoft.com/office/drawing/2014/main" id="{B2DBE679-E07C-7E35-B3E0-15B48BD9E91D}"/>
                      </a:ext>
                    </a:extLst>
                  </p:cNvPr>
                  <p:cNvSpPr/>
                  <p:nvPr userDrawn="1"/>
                </p:nvSpPr>
                <p:spPr>
                  <a:xfrm>
                    <a:off x="8482844" y="4538629"/>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8F9FA"/>
                  </a:solidFill>
                  <a:ln w="2339" cap="flat">
                    <a:noFill/>
                    <a:prstDash val="solid"/>
                    <a:miter/>
                  </a:ln>
                </p:spPr>
                <p:txBody>
                  <a:bodyPr rtlCol="0" anchor="ctr"/>
                  <a:lstStyle/>
                  <a:p>
                    <a:endParaRPr lang="en-US" sz="2400"/>
                  </a:p>
                </p:txBody>
              </p:sp>
              <p:sp>
                <p:nvSpPr>
                  <p:cNvPr id="1032" name="Freeform: Shape 1031">
                    <a:extLst>
                      <a:ext uri="{FF2B5EF4-FFF2-40B4-BE49-F238E27FC236}">
                        <a16:creationId xmlns:a16="http://schemas.microsoft.com/office/drawing/2014/main" id="{132C602C-93FC-6E37-BEC3-EB062250DA97}"/>
                      </a:ext>
                    </a:extLst>
                  </p:cNvPr>
                  <p:cNvSpPr/>
                  <p:nvPr userDrawn="1"/>
                </p:nvSpPr>
                <p:spPr>
                  <a:xfrm>
                    <a:off x="8483008" y="4539027"/>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23"/>
                          <a:pt x="0" y="9430"/>
                          <a:pt x="0" y="21060"/>
                        </a:cubicBezTo>
                        <a:close/>
                      </a:path>
                    </a:pathLst>
                  </a:custGeom>
                  <a:solidFill>
                    <a:srgbClr val="F8F9FB"/>
                  </a:solidFill>
                  <a:ln w="2339" cap="flat">
                    <a:noFill/>
                    <a:prstDash val="solid"/>
                    <a:miter/>
                  </a:ln>
                </p:spPr>
                <p:txBody>
                  <a:bodyPr rtlCol="0" anchor="ctr"/>
                  <a:lstStyle/>
                  <a:p>
                    <a:endParaRPr lang="en-US" sz="2400"/>
                  </a:p>
                </p:txBody>
              </p:sp>
              <p:sp>
                <p:nvSpPr>
                  <p:cNvPr id="1033" name="Freeform: Shape 1032">
                    <a:extLst>
                      <a:ext uri="{FF2B5EF4-FFF2-40B4-BE49-F238E27FC236}">
                        <a16:creationId xmlns:a16="http://schemas.microsoft.com/office/drawing/2014/main" id="{A6C0DE49-C3BF-2ED7-5D3F-0E428B00B3EC}"/>
                      </a:ext>
                    </a:extLst>
                  </p:cNvPr>
                  <p:cNvSpPr/>
                  <p:nvPr userDrawn="1"/>
                </p:nvSpPr>
                <p:spPr>
                  <a:xfrm>
                    <a:off x="8483172" y="4539448"/>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23"/>
                          <a:pt x="0" y="9430"/>
                          <a:pt x="0" y="21060"/>
                        </a:cubicBezTo>
                        <a:close/>
                      </a:path>
                    </a:pathLst>
                  </a:custGeom>
                  <a:solidFill>
                    <a:srgbClr val="F9F9FB"/>
                  </a:solidFill>
                  <a:ln w="2339" cap="flat">
                    <a:noFill/>
                    <a:prstDash val="solid"/>
                    <a:miter/>
                  </a:ln>
                </p:spPr>
                <p:txBody>
                  <a:bodyPr rtlCol="0" anchor="ctr"/>
                  <a:lstStyle/>
                  <a:p>
                    <a:endParaRPr lang="en-US" sz="2400"/>
                  </a:p>
                </p:txBody>
              </p:sp>
              <p:sp>
                <p:nvSpPr>
                  <p:cNvPr id="1034" name="Freeform: Shape 1033">
                    <a:extLst>
                      <a:ext uri="{FF2B5EF4-FFF2-40B4-BE49-F238E27FC236}">
                        <a16:creationId xmlns:a16="http://schemas.microsoft.com/office/drawing/2014/main" id="{9A76FCDA-FC93-64D2-F59D-61D3D0D67DD4}"/>
                      </a:ext>
                    </a:extLst>
                  </p:cNvPr>
                  <p:cNvSpPr/>
                  <p:nvPr userDrawn="1"/>
                </p:nvSpPr>
                <p:spPr>
                  <a:xfrm>
                    <a:off x="8483312" y="4539870"/>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9F9FB"/>
                  </a:solidFill>
                  <a:ln w="2339" cap="flat">
                    <a:noFill/>
                    <a:prstDash val="solid"/>
                    <a:miter/>
                  </a:ln>
                </p:spPr>
                <p:txBody>
                  <a:bodyPr rtlCol="0" anchor="ctr"/>
                  <a:lstStyle/>
                  <a:p>
                    <a:endParaRPr lang="en-US" sz="2400"/>
                  </a:p>
                </p:txBody>
              </p:sp>
              <p:sp>
                <p:nvSpPr>
                  <p:cNvPr id="1035" name="Freeform: Shape 1034">
                    <a:extLst>
                      <a:ext uri="{FF2B5EF4-FFF2-40B4-BE49-F238E27FC236}">
                        <a16:creationId xmlns:a16="http://schemas.microsoft.com/office/drawing/2014/main" id="{D89E2175-3A74-3602-276B-9C3BD722D1BE}"/>
                      </a:ext>
                    </a:extLst>
                  </p:cNvPr>
                  <p:cNvSpPr/>
                  <p:nvPr userDrawn="1"/>
                </p:nvSpPr>
                <p:spPr>
                  <a:xfrm>
                    <a:off x="8483476" y="4540291"/>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9FAFB"/>
                  </a:solidFill>
                  <a:ln w="2339" cap="flat">
                    <a:noFill/>
                    <a:prstDash val="solid"/>
                    <a:miter/>
                  </a:ln>
                </p:spPr>
                <p:txBody>
                  <a:bodyPr rtlCol="0" anchor="ctr"/>
                  <a:lstStyle/>
                  <a:p>
                    <a:endParaRPr lang="en-US" sz="2400"/>
                  </a:p>
                </p:txBody>
              </p:sp>
              <p:sp>
                <p:nvSpPr>
                  <p:cNvPr id="1036" name="Freeform: Shape 1035">
                    <a:extLst>
                      <a:ext uri="{FF2B5EF4-FFF2-40B4-BE49-F238E27FC236}">
                        <a16:creationId xmlns:a16="http://schemas.microsoft.com/office/drawing/2014/main" id="{78090EA9-C315-9B5F-344B-79CFB2DE2857}"/>
                      </a:ext>
                    </a:extLst>
                  </p:cNvPr>
                  <p:cNvSpPr/>
                  <p:nvPr userDrawn="1"/>
                </p:nvSpPr>
                <p:spPr>
                  <a:xfrm>
                    <a:off x="8483616" y="4540712"/>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9FAFB"/>
                  </a:solidFill>
                  <a:ln w="2339" cap="flat">
                    <a:noFill/>
                    <a:prstDash val="solid"/>
                    <a:miter/>
                  </a:ln>
                </p:spPr>
                <p:txBody>
                  <a:bodyPr rtlCol="0" anchor="ctr"/>
                  <a:lstStyle/>
                  <a:p>
                    <a:endParaRPr lang="en-US" sz="2400"/>
                  </a:p>
                </p:txBody>
              </p:sp>
              <p:sp>
                <p:nvSpPr>
                  <p:cNvPr id="1037" name="Freeform: Shape 1036">
                    <a:extLst>
                      <a:ext uri="{FF2B5EF4-FFF2-40B4-BE49-F238E27FC236}">
                        <a16:creationId xmlns:a16="http://schemas.microsoft.com/office/drawing/2014/main" id="{AE7E52FF-D775-4274-71EF-3745A62F4761}"/>
                      </a:ext>
                    </a:extLst>
                  </p:cNvPr>
                  <p:cNvSpPr/>
                  <p:nvPr userDrawn="1"/>
                </p:nvSpPr>
                <p:spPr>
                  <a:xfrm>
                    <a:off x="8483733" y="4541133"/>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07"/>
                          <a:pt x="0" y="21060"/>
                        </a:cubicBezTo>
                        <a:close/>
                      </a:path>
                    </a:pathLst>
                  </a:custGeom>
                  <a:solidFill>
                    <a:srgbClr val="FAFAFC"/>
                  </a:solidFill>
                  <a:ln w="2339" cap="flat">
                    <a:noFill/>
                    <a:prstDash val="solid"/>
                    <a:miter/>
                  </a:ln>
                </p:spPr>
                <p:txBody>
                  <a:bodyPr rtlCol="0" anchor="ctr"/>
                  <a:lstStyle/>
                  <a:p>
                    <a:endParaRPr lang="en-US" sz="2400"/>
                  </a:p>
                </p:txBody>
              </p:sp>
              <p:sp>
                <p:nvSpPr>
                  <p:cNvPr id="1038" name="Freeform: Shape 1037">
                    <a:extLst>
                      <a:ext uri="{FF2B5EF4-FFF2-40B4-BE49-F238E27FC236}">
                        <a16:creationId xmlns:a16="http://schemas.microsoft.com/office/drawing/2014/main" id="{F4F40BF8-F2BB-18D9-75E3-078ECFD0C7DF}"/>
                      </a:ext>
                    </a:extLst>
                  </p:cNvPr>
                  <p:cNvSpPr/>
                  <p:nvPr userDrawn="1"/>
                </p:nvSpPr>
                <p:spPr>
                  <a:xfrm>
                    <a:off x="8483874" y="4541531"/>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43" y="42097"/>
                          <a:pt x="42074" y="32667"/>
                          <a:pt x="42074" y="21060"/>
                        </a:cubicBezTo>
                        <a:cubicBezTo>
                          <a:pt x="42074" y="9430"/>
                          <a:pt x="32643" y="0"/>
                          <a:pt x="21037" y="0"/>
                        </a:cubicBezTo>
                        <a:cubicBezTo>
                          <a:pt x="9430" y="0"/>
                          <a:pt x="0" y="9430"/>
                          <a:pt x="0" y="21060"/>
                        </a:cubicBezTo>
                        <a:close/>
                      </a:path>
                    </a:pathLst>
                  </a:custGeom>
                  <a:solidFill>
                    <a:srgbClr val="FAFBFC"/>
                  </a:solidFill>
                  <a:ln w="2339" cap="flat">
                    <a:noFill/>
                    <a:prstDash val="solid"/>
                    <a:miter/>
                  </a:ln>
                </p:spPr>
                <p:txBody>
                  <a:bodyPr rtlCol="0" anchor="ctr"/>
                  <a:lstStyle/>
                  <a:p>
                    <a:endParaRPr lang="en-US" sz="2400"/>
                  </a:p>
                </p:txBody>
              </p:sp>
              <p:sp>
                <p:nvSpPr>
                  <p:cNvPr id="1039" name="Freeform: Shape 1038">
                    <a:extLst>
                      <a:ext uri="{FF2B5EF4-FFF2-40B4-BE49-F238E27FC236}">
                        <a16:creationId xmlns:a16="http://schemas.microsoft.com/office/drawing/2014/main" id="{EE9FC523-DD6B-5959-59B9-91024B93EC8F}"/>
                      </a:ext>
                    </a:extLst>
                  </p:cNvPr>
                  <p:cNvSpPr/>
                  <p:nvPr userDrawn="1"/>
                </p:nvSpPr>
                <p:spPr>
                  <a:xfrm>
                    <a:off x="8483991" y="4541952"/>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AFBFC"/>
                  </a:solidFill>
                  <a:ln w="2339" cap="flat">
                    <a:noFill/>
                    <a:prstDash val="solid"/>
                    <a:miter/>
                  </a:ln>
                </p:spPr>
                <p:txBody>
                  <a:bodyPr rtlCol="0" anchor="ctr"/>
                  <a:lstStyle/>
                  <a:p>
                    <a:endParaRPr lang="en-US" sz="2400"/>
                  </a:p>
                </p:txBody>
              </p:sp>
              <p:sp>
                <p:nvSpPr>
                  <p:cNvPr id="1040" name="Freeform: Shape 1039">
                    <a:extLst>
                      <a:ext uri="{FF2B5EF4-FFF2-40B4-BE49-F238E27FC236}">
                        <a16:creationId xmlns:a16="http://schemas.microsoft.com/office/drawing/2014/main" id="{64AAB7FD-306F-7038-8CEA-1FB8CF17DC28}"/>
                      </a:ext>
                    </a:extLst>
                  </p:cNvPr>
                  <p:cNvSpPr/>
                  <p:nvPr userDrawn="1"/>
                </p:nvSpPr>
                <p:spPr>
                  <a:xfrm>
                    <a:off x="8484108" y="4542373"/>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BFBFC"/>
                  </a:solidFill>
                  <a:ln w="2339" cap="flat">
                    <a:noFill/>
                    <a:prstDash val="solid"/>
                    <a:miter/>
                  </a:ln>
                </p:spPr>
                <p:txBody>
                  <a:bodyPr rtlCol="0" anchor="ctr"/>
                  <a:lstStyle/>
                  <a:p>
                    <a:endParaRPr lang="en-US" sz="2400"/>
                  </a:p>
                </p:txBody>
              </p:sp>
              <p:sp>
                <p:nvSpPr>
                  <p:cNvPr id="1041" name="Freeform: Shape 1040">
                    <a:extLst>
                      <a:ext uri="{FF2B5EF4-FFF2-40B4-BE49-F238E27FC236}">
                        <a16:creationId xmlns:a16="http://schemas.microsoft.com/office/drawing/2014/main" id="{FE0D1673-DE8C-A6F6-7586-6099BAC08DD8}"/>
                      </a:ext>
                    </a:extLst>
                  </p:cNvPr>
                  <p:cNvSpPr/>
                  <p:nvPr userDrawn="1"/>
                </p:nvSpPr>
                <p:spPr>
                  <a:xfrm>
                    <a:off x="8484225" y="4542771"/>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23"/>
                          <a:pt x="0" y="9430"/>
                          <a:pt x="0" y="21060"/>
                        </a:cubicBezTo>
                        <a:close/>
                      </a:path>
                    </a:pathLst>
                  </a:custGeom>
                  <a:solidFill>
                    <a:srgbClr val="FBFBFC"/>
                  </a:solidFill>
                  <a:ln w="2339" cap="flat">
                    <a:noFill/>
                    <a:prstDash val="solid"/>
                    <a:miter/>
                  </a:ln>
                </p:spPr>
                <p:txBody>
                  <a:bodyPr rtlCol="0" anchor="ctr"/>
                  <a:lstStyle/>
                  <a:p>
                    <a:endParaRPr lang="en-US" sz="2400"/>
                  </a:p>
                </p:txBody>
              </p:sp>
              <p:sp>
                <p:nvSpPr>
                  <p:cNvPr id="1042" name="Freeform: Shape 1041">
                    <a:extLst>
                      <a:ext uri="{FF2B5EF4-FFF2-40B4-BE49-F238E27FC236}">
                        <a16:creationId xmlns:a16="http://schemas.microsoft.com/office/drawing/2014/main" id="{E1036032-683F-695C-99D0-5F8E37163EEE}"/>
                      </a:ext>
                    </a:extLst>
                  </p:cNvPr>
                  <p:cNvSpPr/>
                  <p:nvPr userDrawn="1"/>
                </p:nvSpPr>
                <p:spPr>
                  <a:xfrm>
                    <a:off x="8484342" y="4543192"/>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BFCFD"/>
                  </a:solidFill>
                  <a:ln w="2339" cap="flat">
                    <a:noFill/>
                    <a:prstDash val="solid"/>
                    <a:miter/>
                  </a:ln>
                </p:spPr>
                <p:txBody>
                  <a:bodyPr rtlCol="0" anchor="ctr"/>
                  <a:lstStyle/>
                  <a:p>
                    <a:endParaRPr lang="en-US" sz="2400"/>
                  </a:p>
                </p:txBody>
              </p:sp>
              <p:sp>
                <p:nvSpPr>
                  <p:cNvPr id="1043" name="Freeform: Shape 1042">
                    <a:extLst>
                      <a:ext uri="{FF2B5EF4-FFF2-40B4-BE49-F238E27FC236}">
                        <a16:creationId xmlns:a16="http://schemas.microsoft.com/office/drawing/2014/main" id="{A46A12DF-4A9D-4DEF-89B3-D774936872C0}"/>
                      </a:ext>
                    </a:extLst>
                  </p:cNvPr>
                  <p:cNvSpPr/>
                  <p:nvPr userDrawn="1"/>
                </p:nvSpPr>
                <p:spPr>
                  <a:xfrm>
                    <a:off x="8484435" y="4543614"/>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CFCFD"/>
                  </a:solidFill>
                  <a:ln w="2339" cap="flat">
                    <a:noFill/>
                    <a:prstDash val="solid"/>
                    <a:miter/>
                  </a:ln>
                </p:spPr>
                <p:txBody>
                  <a:bodyPr rtlCol="0" anchor="ctr"/>
                  <a:lstStyle/>
                  <a:p>
                    <a:endParaRPr lang="en-US" sz="2400"/>
                  </a:p>
                </p:txBody>
              </p:sp>
              <p:sp>
                <p:nvSpPr>
                  <p:cNvPr id="1044" name="Freeform: Shape 1043">
                    <a:extLst>
                      <a:ext uri="{FF2B5EF4-FFF2-40B4-BE49-F238E27FC236}">
                        <a16:creationId xmlns:a16="http://schemas.microsoft.com/office/drawing/2014/main" id="{085A8B0F-B9DA-E8D0-4A41-0DCBA041B7F4}"/>
                      </a:ext>
                    </a:extLst>
                  </p:cNvPr>
                  <p:cNvSpPr/>
                  <p:nvPr userDrawn="1"/>
                </p:nvSpPr>
                <p:spPr>
                  <a:xfrm>
                    <a:off x="8484529" y="4544035"/>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07"/>
                          <a:pt x="0" y="21060"/>
                        </a:cubicBezTo>
                        <a:close/>
                      </a:path>
                    </a:pathLst>
                  </a:custGeom>
                  <a:solidFill>
                    <a:srgbClr val="FCFCFD"/>
                  </a:solidFill>
                  <a:ln w="2339" cap="flat">
                    <a:noFill/>
                    <a:prstDash val="solid"/>
                    <a:miter/>
                  </a:ln>
                </p:spPr>
                <p:txBody>
                  <a:bodyPr rtlCol="0" anchor="ctr"/>
                  <a:lstStyle/>
                  <a:p>
                    <a:endParaRPr lang="en-US" sz="2400"/>
                  </a:p>
                </p:txBody>
              </p:sp>
              <p:sp>
                <p:nvSpPr>
                  <p:cNvPr id="1045" name="Freeform: Shape 1044">
                    <a:extLst>
                      <a:ext uri="{FF2B5EF4-FFF2-40B4-BE49-F238E27FC236}">
                        <a16:creationId xmlns:a16="http://schemas.microsoft.com/office/drawing/2014/main" id="{A2E75AE6-396E-58D4-2D26-EF3A616A0A49}"/>
                      </a:ext>
                    </a:extLst>
                  </p:cNvPr>
                  <p:cNvSpPr/>
                  <p:nvPr userDrawn="1"/>
                </p:nvSpPr>
                <p:spPr>
                  <a:xfrm>
                    <a:off x="8484623" y="4544433"/>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CFCFD"/>
                  </a:solidFill>
                  <a:ln w="2339" cap="flat">
                    <a:noFill/>
                    <a:prstDash val="solid"/>
                    <a:miter/>
                  </a:ln>
                </p:spPr>
                <p:txBody>
                  <a:bodyPr rtlCol="0" anchor="ctr"/>
                  <a:lstStyle/>
                  <a:p>
                    <a:endParaRPr lang="en-US" sz="2400"/>
                  </a:p>
                </p:txBody>
              </p:sp>
              <p:sp>
                <p:nvSpPr>
                  <p:cNvPr id="1046" name="Freeform: Shape 1045">
                    <a:extLst>
                      <a:ext uri="{FF2B5EF4-FFF2-40B4-BE49-F238E27FC236}">
                        <a16:creationId xmlns:a16="http://schemas.microsoft.com/office/drawing/2014/main" id="{598A0DE1-B35D-A068-2A35-A19D659F5F1F}"/>
                      </a:ext>
                    </a:extLst>
                  </p:cNvPr>
                  <p:cNvSpPr/>
                  <p:nvPr userDrawn="1"/>
                </p:nvSpPr>
                <p:spPr>
                  <a:xfrm>
                    <a:off x="8484693" y="4544854"/>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DFDFD"/>
                  </a:solidFill>
                  <a:ln w="2339" cap="flat">
                    <a:noFill/>
                    <a:prstDash val="solid"/>
                    <a:miter/>
                  </a:ln>
                </p:spPr>
                <p:txBody>
                  <a:bodyPr rtlCol="0" anchor="ctr"/>
                  <a:lstStyle/>
                  <a:p>
                    <a:endParaRPr lang="en-US" sz="2400"/>
                  </a:p>
                </p:txBody>
              </p:sp>
              <p:sp>
                <p:nvSpPr>
                  <p:cNvPr id="1047" name="Freeform: Shape 1046">
                    <a:extLst>
                      <a:ext uri="{FF2B5EF4-FFF2-40B4-BE49-F238E27FC236}">
                        <a16:creationId xmlns:a16="http://schemas.microsoft.com/office/drawing/2014/main" id="{1D11496A-795A-EAC2-A8AB-DB711030C42E}"/>
                      </a:ext>
                    </a:extLst>
                  </p:cNvPr>
                  <p:cNvSpPr/>
                  <p:nvPr userDrawn="1"/>
                </p:nvSpPr>
                <p:spPr>
                  <a:xfrm>
                    <a:off x="8484786" y="4545252"/>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23"/>
                          <a:pt x="0" y="9430"/>
                          <a:pt x="0" y="21060"/>
                        </a:cubicBezTo>
                        <a:close/>
                      </a:path>
                    </a:pathLst>
                  </a:custGeom>
                  <a:solidFill>
                    <a:srgbClr val="FDFDFE"/>
                  </a:solidFill>
                  <a:ln w="2339" cap="flat">
                    <a:noFill/>
                    <a:prstDash val="solid"/>
                    <a:miter/>
                  </a:ln>
                </p:spPr>
                <p:txBody>
                  <a:bodyPr rtlCol="0" anchor="ctr"/>
                  <a:lstStyle/>
                  <a:p>
                    <a:endParaRPr lang="en-US" sz="2400"/>
                  </a:p>
                </p:txBody>
              </p:sp>
              <p:sp>
                <p:nvSpPr>
                  <p:cNvPr id="1048" name="Freeform: Shape 1047">
                    <a:extLst>
                      <a:ext uri="{FF2B5EF4-FFF2-40B4-BE49-F238E27FC236}">
                        <a16:creationId xmlns:a16="http://schemas.microsoft.com/office/drawing/2014/main" id="{A5FFE439-5B80-48E1-F50E-353F929095FC}"/>
                      </a:ext>
                    </a:extLst>
                  </p:cNvPr>
                  <p:cNvSpPr/>
                  <p:nvPr userDrawn="1"/>
                </p:nvSpPr>
                <p:spPr>
                  <a:xfrm>
                    <a:off x="8484857" y="4545673"/>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DFDFE"/>
                  </a:solidFill>
                  <a:ln w="2339" cap="flat">
                    <a:noFill/>
                    <a:prstDash val="solid"/>
                    <a:miter/>
                  </a:ln>
                </p:spPr>
                <p:txBody>
                  <a:bodyPr rtlCol="0" anchor="ctr"/>
                  <a:lstStyle/>
                  <a:p>
                    <a:endParaRPr lang="en-US" sz="2400"/>
                  </a:p>
                </p:txBody>
              </p:sp>
              <p:sp>
                <p:nvSpPr>
                  <p:cNvPr id="1049" name="Freeform: Shape 1048">
                    <a:extLst>
                      <a:ext uri="{FF2B5EF4-FFF2-40B4-BE49-F238E27FC236}">
                        <a16:creationId xmlns:a16="http://schemas.microsoft.com/office/drawing/2014/main" id="{09D673C8-416C-AB94-EB6A-AA69DF31EAB7}"/>
                      </a:ext>
                    </a:extLst>
                  </p:cNvPr>
                  <p:cNvSpPr/>
                  <p:nvPr userDrawn="1"/>
                </p:nvSpPr>
                <p:spPr>
                  <a:xfrm>
                    <a:off x="8484927" y="4546071"/>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23"/>
                          <a:pt x="0" y="9430"/>
                          <a:pt x="0" y="21060"/>
                        </a:cubicBezTo>
                        <a:close/>
                      </a:path>
                    </a:pathLst>
                  </a:custGeom>
                  <a:solidFill>
                    <a:srgbClr val="FDFEFE"/>
                  </a:solidFill>
                  <a:ln w="2339" cap="flat">
                    <a:noFill/>
                    <a:prstDash val="solid"/>
                    <a:miter/>
                  </a:ln>
                </p:spPr>
                <p:txBody>
                  <a:bodyPr rtlCol="0" anchor="ctr"/>
                  <a:lstStyle/>
                  <a:p>
                    <a:endParaRPr lang="en-US" sz="2400"/>
                  </a:p>
                </p:txBody>
              </p:sp>
              <p:sp>
                <p:nvSpPr>
                  <p:cNvPr id="1050" name="Freeform: Shape 1049">
                    <a:extLst>
                      <a:ext uri="{FF2B5EF4-FFF2-40B4-BE49-F238E27FC236}">
                        <a16:creationId xmlns:a16="http://schemas.microsoft.com/office/drawing/2014/main" id="{BEA85A0B-430F-B3A1-7D8B-5A75B643F5E1}"/>
                      </a:ext>
                    </a:extLst>
                  </p:cNvPr>
                  <p:cNvSpPr/>
                  <p:nvPr userDrawn="1"/>
                </p:nvSpPr>
                <p:spPr>
                  <a:xfrm>
                    <a:off x="8484974" y="4546492"/>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EFEFE"/>
                  </a:solidFill>
                  <a:ln w="2339" cap="flat">
                    <a:noFill/>
                    <a:prstDash val="solid"/>
                    <a:miter/>
                  </a:ln>
                </p:spPr>
                <p:txBody>
                  <a:bodyPr rtlCol="0" anchor="ctr"/>
                  <a:lstStyle/>
                  <a:p>
                    <a:endParaRPr lang="en-US" sz="2400"/>
                  </a:p>
                </p:txBody>
              </p:sp>
              <p:sp>
                <p:nvSpPr>
                  <p:cNvPr id="1051" name="Freeform: Shape 1050">
                    <a:extLst>
                      <a:ext uri="{FF2B5EF4-FFF2-40B4-BE49-F238E27FC236}">
                        <a16:creationId xmlns:a16="http://schemas.microsoft.com/office/drawing/2014/main" id="{03338342-A788-407E-2F99-A7492328BFC3}"/>
                      </a:ext>
                    </a:extLst>
                  </p:cNvPr>
                  <p:cNvSpPr/>
                  <p:nvPr userDrawn="1"/>
                </p:nvSpPr>
                <p:spPr>
                  <a:xfrm>
                    <a:off x="8485020" y="4546890"/>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23"/>
                          <a:pt x="0" y="9430"/>
                          <a:pt x="0" y="21060"/>
                        </a:cubicBezTo>
                        <a:close/>
                      </a:path>
                    </a:pathLst>
                  </a:custGeom>
                  <a:solidFill>
                    <a:srgbClr val="FEFEFE"/>
                  </a:solidFill>
                  <a:ln w="2339" cap="flat">
                    <a:noFill/>
                    <a:prstDash val="solid"/>
                    <a:miter/>
                  </a:ln>
                </p:spPr>
                <p:txBody>
                  <a:bodyPr rtlCol="0" anchor="ctr"/>
                  <a:lstStyle/>
                  <a:p>
                    <a:endParaRPr lang="en-US" sz="2400"/>
                  </a:p>
                </p:txBody>
              </p:sp>
              <p:sp>
                <p:nvSpPr>
                  <p:cNvPr id="1052" name="Freeform: Shape 1051">
                    <a:extLst>
                      <a:ext uri="{FF2B5EF4-FFF2-40B4-BE49-F238E27FC236}">
                        <a16:creationId xmlns:a16="http://schemas.microsoft.com/office/drawing/2014/main" id="{1AB6A7FD-8D6E-44E0-8BD3-062C050FE93F}"/>
                      </a:ext>
                    </a:extLst>
                  </p:cNvPr>
                  <p:cNvSpPr/>
                  <p:nvPr userDrawn="1"/>
                </p:nvSpPr>
                <p:spPr>
                  <a:xfrm>
                    <a:off x="8485091" y="4547311"/>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EFEFF"/>
                  </a:solidFill>
                  <a:ln w="2339" cap="flat">
                    <a:noFill/>
                    <a:prstDash val="solid"/>
                    <a:miter/>
                  </a:ln>
                </p:spPr>
                <p:txBody>
                  <a:bodyPr rtlCol="0" anchor="ctr"/>
                  <a:lstStyle/>
                  <a:p>
                    <a:endParaRPr lang="en-US" sz="2400"/>
                  </a:p>
                </p:txBody>
              </p:sp>
              <p:sp>
                <p:nvSpPr>
                  <p:cNvPr id="1053" name="Freeform: Shape 1052">
                    <a:extLst>
                      <a:ext uri="{FF2B5EF4-FFF2-40B4-BE49-F238E27FC236}">
                        <a16:creationId xmlns:a16="http://schemas.microsoft.com/office/drawing/2014/main" id="{F4823B96-C72C-CB31-1521-E0959207DB35}"/>
                      </a:ext>
                    </a:extLst>
                  </p:cNvPr>
                  <p:cNvSpPr/>
                  <p:nvPr userDrawn="1"/>
                </p:nvSpPr>
                <p:spPr>
                  <a:xfrm>
                    <a:off x="8485114" y="4547709"/>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23"/>
                          <a:pt x="0" y="9430"/>
                          <a:pt x="0" y="21060"/>
                        </a:cubicBezTo>
                        <a:close/>
                      </a:path>
                    </a:pathLst>
                  </a:custGeom>
                  <a:solidFill>
                    <a:srgbClr val="FFFFFF"/>
                  </a:solidFill>
                  <a:ln w="2339" cap="flat">
                    <a:noFill/>
                    <a:prstDash val="solid"/>
                    <a:miter/>
                  </a:ln>
                </p:spPr>
                <p:txBody>
                  <a:bodyPr rtlCol="0" anchor="ctr"/>
                  <a:lstStyle/>
                  <a:p>
                    <a:endParaRPr lang="en-US" sz="2400"/>
                  </a:p>
                </p:txBody>
              </p:sp>
              <p:sp>
                <p:nvSpPr>
                  <p:cNvPr id="1054" name="Freeform: Shape 1053">
                    <a:extLst>
                      <a:ext uri="{FF2B5EF4-FFF2-40B4-BE49-F238E27FC236}">
                        <a16:creationId xmlns:a16="http://schemas.microsoft.com/office/drawing/2014/main" id="{D6CDB635-67AB-EE73-B5D4-19F456CD65BB}"/>
                      </a:ext>
                    </a:extLst>
                  </p:cNvPr>
                  <p:cNvSpPr/>
                  <p:nvPr userDrawn="1"/>
                </p:nvSpPr>
                <p:spPr>
                  <a:xfrm>
                    <a:off x="8485161" y="4548130"/>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FFFFF"/>
                  </a:solidFill>
                  <a:ln w="2339" cap="flat">
                    <a:noFill/>
                    <a:prstDash val="solid"/>
                    <a:miter/>
                  </a:ln>
                </p:spPr>
                <p:txBody>
                  <a:bodyPr rtlCol="0" anchor="ctr"/>
                  <a:lstStyle/>
                  <a:p>
                    <a:endParaRPr lang="en-US" sz="2400"/>
                  </a:p>
                </p:txBody>
              </p:sp>
            </p:grpSp>
          </p:grpSp>
          <p:grpSp>
            <p:nvGrpSpPr>
              <p:cNvPr id="1055" name="Graphic 4">
                <a:extLst>
                  <a:ext uri="{FF2B5EF4-FFF2-40B4-BE49-F238E27FC236}">
                    <a16:creationId xmlns:a16="http://schemas.microsoft.com/office/drawing/2014/main" id="{0F8243B3-D6DD-AC6A-FAD2-028A34A2E3EC}"/>
                  </a:ext>
                </a:extLst>
              </p:cNvPr>
              <p:cNvGrpSpPr/>
              <p:nvPr userDrawn="1"/>
            </p:nvGrpSpPr>
            <p:grpSpPr>
              <a:xfrm>
                <a:off x="8195243" y="4295826"/>
                <a:ext cx="331785" cy="331794"/>
                <a:chOff x="8195243" y="4295826"/>
                <a:chExt cx="331785" cy="331794"/>
              </a:xfrm>
              <a:solidFill>
                <a:srgbClr val="FFFFFF"/>
              </a:solidFill>
            </p:grpSpPr>
            <p:sp>
              <p:nvSpPr>
                <p:cNvPr id="1056" name="Freeform: Shape 1055">
                  <a:extLst>
                    <a:ext uri="{FF2B5EF4-FFF2-40B4-BE49-F238E27FC236}">
                      <a16:creationId xmlns:a16="http://schemas.microsoft.com/office/drawing/2014/main" id="{81AAC530-DF43-7E52-F528-7EC31E4BFDB1}"/>
                    </a:ext>
                  </a:extLst>
                </p:cNvPr>
                <p:cNvSpPr/>
                <p:nvPr userDrawn="1"/>
              </p:nvSpPr>
              <p:spPr>
                <a:xfrm>
                  <a:off x="8379509" y="4295826"/>
                  <a:ext cx="147519" cy="331794"/>
                </a:xfrm>
                <a:custGeom>
                  <a:avLst/>
                  <a:gdLst>
                    <a:gd name="connsiteX0" fmla="*/ 91612 w 147519"/>
                    <a:gd name="connsiteY0" fmla="*/ 331794 h 331794"/>
                    <a:gd name="connsiteX1" fmla="*/ 87844 w 147519"/>
                    <a:gd name="connsiteY1" fmla="*/ 331654 h 331794"/>
                    <a:gd name="connsiteX2" fmla="*/ 37932 w 147519"/>
                    <a:gd name="connsiteY2" fmla="*/ 301304 h 331794"/>
                    <a:gd name="connsiteX3" fmla="*/ 0 w 147519"/>
                    <a:gd name="connsiteY3" fmla="*/ 165957 h 331794"/>
                    <a:gd name="connsiteX4" fmla="*/ 37932 w 147519"/>
                    <a:gd name="connsiteY4" fmla="*/ 30541 h 331794"/>
                    <a:gd name="connsiteX5" fmla="*/ 87844 w 147519"/>
                    <a:gd name="connsiteY5" fmla="*/ 144 h 331794"/>
                    <a:gd name="connsiteX6" fmla="*/ 130292 w 147519"/>
                    <a:gd name="connsiteY6" fmla="*/ 17226 h 331794"/>
                    <a:gd name="connsiteX7" fmla="*/ 147327 w 147519"/>
                    <a:gd name="connsiteY7" fmla="*/ 60259 h 331794"/>
                    <a:gd name="connsiteX8" fmla="*/ 105909 w 147519"/>
                    <a:gd name="connsiteY8" fmla="*/ 56608 h 331794"/>
                    <a:gd name="connsiteX9" fmla="*/ 100878 w 147519"/>
                    <a:gd name="connsiteY9" fmla="*/ 46616 h 331794"/>
                    <a:gd name="connsiteX10" fmla="*/ 91003 w 147519"/>
                    <a:gd name="connsiteY10" fmla="*/ 41585 h 331794"/>
                    <a:gd name="connsiteX11" fmla="*/ 71113 w 147519"/>
                    <a:gd name="connsiteY11" fmla="*/ 55509 h 331794"/>
                    <a:gd name="connsiteX12" fmla="*/ 70575 w 147519"/>
                    <a:gd name="connsiteY12" fmla="*/ 56211 h 331794"/>
                    <a:gd name="connsiteX13" fmla="*/ 41559 w 147519"/>
                    <a:gd name="connsiteY13" fmla="*/ 165911 h 331794"/>
                    <a:gd name="connsiteX14" fmla="*/ 70575 w 147519"/>
                    <a:gd name="connsiteY14" fmla="*/ 275540 h 331794"/>
                    <a:gd name="connsiteX15" fmla="*/ 71113 w 147519"/>
                    <a:gd name="connsiteY15" fmla="*/ 276242 h 331794"/>
                    <a:gd name="connsiteX16" fmla="*/ 91050 w 147519"/>
                    <a:gd name="connsiteY16" fmla="*/ 290189 h 331794"/>
                    <a:gd name="connsiteX17" fmla="*/ 100878 w 147519"/>
                    <a:gd name="connsiteY17" fmla="*/ 285158 h 331794"/>
                    <a:gd name="connsiteX18" fmla="*/ 105886 w 147519"/>
                    <a:gd name="connsiteY18" fmla="*/ 275166 h 331794"/>
                    <a:gd name="connsiteX19" fmla="*/ 147281 w 147519"/>
                    <a:gd name="connsiteY19" fmla="*/ 271492 h 331794"/>
                    <a:gd name="connsiteX20" fmla="*/ 130245 w 147519"/>
                    <a:gd name="connsiteY20" fmla="*/ 314572 h 331794"/>
                    <a:gd name="connsiteX21" fmla="*/ 91612 w 147519"/>
                    <a:gd name="connsiteY21" fmla="*/ 331794 h 331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7519" h="331794">
                      <a:moveTo>
                        <a:pt x="91612" y="331794"/>
                      </a:moveTo>
                      <a:cubicBezTo>
                        <a:pt x="90301" y="331794"/>
                        <a:pt x="89038" y="331748"/>
                        <a:pt x="87844" y="331654"/>
                      </a:cubicBezTo>
                      <a:cubicBezTo>
                        <a:pt x="60443" y="329571"/>
                        <a:pt x="41231" y="305656"/>
                        <a:pt x="37932" y="301304"/>
                      </a:cubicBezTo>
                      <a:cubicBezTo>
                        <a:pt x="13900" y="271188"/>
                        <a:pt x="94" y="221884"/>
                        <a:pt x="0" y="165957"/>
                      </a:cubicBezTo>
                      <a:cubicBezTo>
                        <a:pt x="94" y="109961"/>
                        <a:pt x="13900" y="60657"/>
                        <a:pt x="37932" y="30541"/>
                      </a:cubicBezTo>
                      <a:cubicBezTo>
                        <a:pt x="41231" y="26141"/>
                        <a:pt x="60443" y="2250"/>
                        <a:pt x="87844" y="144"/>
                      </a:cubicBezTo>
                      <a:cubicBezTo>
                        <a:pt x="98585" y="-675"/>
                        <a:pt x="114684" y="1618"/>
                        <a:pt x="130292" y="17226"/>
                      </a:cubicBezTo>
                      <a:cubicBezTo>
                        <a:pt x="146111" y="33068"/>
                        <a:pt x="148287" y="49378"/>
                        <a:pt x="147327" y="60259"/>
                      </a:cubicBezTo>
                      <a:lnTo>
                        <a:pt x="105909" y="56608"/>
                      </a:lnTo>
                      <a:cubicBezTo>
                        <a:pt x="106026" y="55368"/>
                        <a:pt x="106307" y="52045"/>
                        <a:pt x="100878" y="46616"/>
                      </a:cubicBezTo>
                      <a:cubicBezTo>
                        <a:pt x="95496" y="41258"/>
                        <a:pt x="92220" y="41492"/>
                        <a:pt x="91003" y="41585"/>
                      </a:cubicBezTo>
                      <a:cubicBezTo>
                        <a:pt x="83305" y="42170"/>
                        <a:pt x="73594" y="52139"/>
                        <a:pt x="71113" y="55509"/>
                      </a:cubicBezTo>
                      <a:lnTo>
                        <a:pt x="70575" y="56211"/>
                      </a:lnTo>
                      <a:cubicBezTo>
                        <a:pt x="52744" y="78417"/>
                        <a:pt x="41629" y="120444"/>
                        <a:pt x="41559" y="165911"/>
                      </a:cubicBezTo>
                      <a:cubicBezTo>
                        <a:pt x="41629" y="211307"/>
                        <a:pt x="52744" y="253334"/>
                        <a:pt x="70575" y="275540"/>
                      </a:cubicBezTo>
                      <a:lnTo>
                        <a:pt x="71113" y="276242"/>
                      </a:lnTo>
                      <a:cubicBezTo>
                        <a:pt x="75091" y="281531"/>
                        <a:pt x="84264" y="289697"/>
                        <a:pt x="91050" y="290189"/>
                      </a:cubicBezTo>
                      <a:cubicBezTo>
                        <a:pt x="92267" y="290282"/>
                        <a:pt x="95520" y="290493"/>
                        <a:pt x="100878" y="285158"/>
                      </a:cubicBezTo>
                      <a:cubicBezTo>
                        <a:pt x="106307" y="279729"/>
                        <a:pt x="106003" y="276406"/>
                        <a:pt x="105886" y="275166"/>
                      </a:cubicBezTo>
                      <a:lnTo>
                        <a:pt x="147281" y="271492"/>
                      </a:lnTo>
                      <a:cubicBezTo>
                        <a:pt x="148240" y="282397"/>
                        <a:pt x="146087" y="298730"/>
                        <a:pt x="130245" y="314572"/>
                      </a:cubicBezTo>
                      <a:cubicBezTo>
                        <a:pt x="116416" y="328425"/>
                        <a:pt x="102165" y="331794"/>
                        <a:pt x="91612" y="331794"/>
                      </a:cubicBezTo>
                      <a:close/>
                    </a:path>
                  </a:pathLst>
                </a:custGeom>
                <a:solidFill>
                  <a:srgbClr val="FFFFFF"/>
                </a:solidFill>
                <a:ln w="2339" cap="flat">
                  <a:noFill/>
                  <a:prstDash val="solid"/>
                  <a:miter/>
                </a:ln>
              </p:spPr>
              <p:txBody>
                <a:bodyPr rtlCol="0" anchor="ctr"/>
                <a:lstStyle/>
                <a:p>
                  <a:endParaRPr lang="en-US" sz="2400"/>
                </a:p>
              </p:txBody>
            </p:sp>
            <p:sp>
              <p:nvSpPr>
                <p:cNvPr id="1057" name="Freeform: Shape 1056">
                  <a:extLst>
                    <a:ext uri="{FF2B5EF4-FFF2-40B4-BE49-F238E27FC236}">
                      <a16:creationId xmlns:a16="http://schemas.microsoft.com/office/drawing/2014/main" id="{6B70919E-EE87-8D5A-AAA1-8CAB98B8C6D8}"/>
                    </a:ext>
                  </a:extLst>
                </p:cNvPr>
                <p:cNvSpPr/>
                <p:nvPr userDrawn="1"/>
              </p:nvSpPr>
              <p:spPr>
                <a:xfrm>
                  <a:off x="8195243" y="4295849"/>
                  <a:ext cx="147551" cy="331770"/>
                </a:xfrm>
                <a:custGeom>
                  <a:avLst/>
                  <a:gdLst>
                    <a:gd name="connsiteX0" fmla="*/ 55893 w 147551"/>
                    <a:gd name="connsiteY0" fmla="*/ 331771 h 331770"/>
                    <a:gd name="connsiteX1" fmla="*/ 17235 w 147551"/>
                    <a:gd name="connsiteY1" fmla="*/ 314548 h 331770"/>
                    <a:gd name="connsiteX2" fmla="*/ 200 w 147551"/>
                    <a:gd name="connsiteY2" fmla="*/ 271445 h 331770"/>
                    <a:gd name="connsiteX3" fmla="*/ 41595 w 147551"/>
                    <a:gd name="connsiteY3" fmla="*/ 275143 h 331770"/>
                    <a:gd name="connsiteX4" fmla="*/ 46626 w 147551"/>
                    <a:gd name="connsiteY4" fmla="*/ 285158 h 331770"/>
                    <a:gd name="connsiteX5" fmla="*/ 56501 w 147551"/>
                    <a:gd name="connsiteY5" fmla="*/ 290189 h 331770"/>
                    <a:gd name="connsiteX6" fmla="*/ 76391 w 147551"/>
                    <a:gd name="connsiteY6" fmla="*/ 276266 h 331770"/>
                    <a:gd name="connsiteX7" fmla="*/ 76929 w 147551"/>
                    <a:gd name="connsiteY7" fmla="*/ 275564 h 331770"/>
                    <a:gd name="connsiteX8" fmla="*/ 105945 w 147551"/>
                    <a:gd name="connsiteY8" fmla="*/ 165887 h 331770"/>
                    <a:gd name="connsiteX9" fmla="*/ 76929 w 147551"/>
                    <a:gd name="connsiteY9" fmla="*/ 56257 h 331770"/>
                    <a:gd name="connsiteX10" fmla="*/ 76391 w 147551"/>
                    <a:gd name="connsiteY10" fmla="*/ 55555 h 331770"/>
                    <a:gd name="connsiteX11" fmla="*/ 56454 w 147551"/>
                    <a:gd name="connsiteY11" fmla="*/ 41609 h 331770"/>
                    <a:gd name="connsiteX12" fmla="*/ 46626 w 147551"/>
                    <a:gd name="connsiteY12" fmla="*/ 46640 h 331770"/>
                    <a:gd name="connsiteX13" fmla="*/ 41618 w 147551"/>
                    <a:gd name="connsiteY13" fmla="*/ 56632 h 331770"/>
                    <a:gd name="connsiteX14" fmla="*/ 223 w 147551"/>
                    <a:gd name="connsiteY14" fmla="*/ 60306 h 331770"/>
                    <a:gd name="connsiteX15" fmla="*/ 17259 w 147551"/>
                    <a:gd name="connsiteY15" fmla="*/ 17226 h 331770"/>
                    <a:gd name="connsiteX16" fmla="*/ 59707 w 147551"/>
                    <a:gd name="connsiteY16" fmla="*/ 144 h 331770"/>
                    <a:gd name="connsiteX17" fmla="*/ 109619 w 147551"/>
                    <a:gd name="connsiteY17" fmla="*/ 30517 h 331770"/>
                    <a:gd name="connsiteX18" fmla="*/ 147551 w 147551"/>
                    <a:gd name="connsiteY18" fmla="*/ 165864 h 331770"/>
                    <a:gd name="connsiteX19" fmla="*/ 109619 w 147551"/>
                    <a:gd name="connsiteY19" fmla="*/ 301281 h 331770"/>
                    <a:gd name="connsiteX20" fmla="*/ 59707 w 147551"/>
                    <a:gd name="connsiteY20" fmla="*/ 331654 h 331770"/>
                    <a:gd name="connsiteX21" fmla="*/ 55893 w 147551"/>
                    <a:gd name="connsiteY21" fmla="*/ 331771 h 331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7551" h="331770">
                      <a:moveTo>
                        <a:pt x="55893" y="331771"/>
                      </a:moveTo>
                      <a:cubicBezTo>
                        <a:pt x="45362" y="331771"/>
                        <a:pt x="31112" y="328425"/>
                        <a:pt x="17235" y="314548"/>
                      </a:cubicBezTo>
                      <a:cubicBezTo>
                        <a:pt x="1393" y="298683"/>
                        <a:pt x="-783" y="282350"/>
                        <a:pt x="200" y="271445"/>
                      </a:cubicBezTo>
                      <a:lnTo>
                        <a:pt x="41595" y="275143"/>
                      </a:lnTo>
                      <a:cubicBezTo>
                        <a:pt x="41478" y="276406"/>
                        <a:pt x="41197" y="279729"/>
                        <a:pt x="46626" y="285158"/>
                      </a:cubicBezTo>
                      <a:cubicBezTo>
                        <a:pt x="52008" y="290540"/>
                        <a:pt x="55284" y="290282"/>
                        <a:pt x="56501" y="290189"/>
                      </a:cubicBezTo>
                      <a:cubicBezTo>
                        <a:pt x="64200" y="289604"/>
                        <a:pt x="73911" y="279635"/>
                        <a:pt x="76391" y="276266"/>
                      </a:cubicBezTo>
                      <a:lnTo>
                        <a:pt x="76929" y="275564"/>
                      </a:lnTo>
                      <a:cubicBezTo>
                        <a:pt x="94760" y="253357"/>
                        <a:pt x="105875" y="211330"/>
                        <a:pt x="105945" y="165887"/>
                      </a:cubicBezTo>
                      <a:cubicBezTo>
                        <a:pt x="105875" y="120491"/>
                        <a:pt x="94760" y="78464"/>
                        <a:pt x="76929" y="56257"/>
                      </a:cubicBezTo>
                      <a:lnTo>
                        <a:pt x="76391" y="55555"/>
                      </a:lnTo>
                      <a:cubicBezTo>
                        <a:pt x="72413" y="50267"/>
                        <a:pt x="63240" y="42100"/>
                        <a:pt x="56454" y="41609"/>
                      </a:cubicBezTo>
                      <a:cubicBezTo>
                        <a:pt x="55214" y="41515"/>
                        <a:pt x="51985" y="41305"/>
                        <a:pt x="46626" y="46640"/>
                      </a:cubicBezTo>
                      <a:cubicBezTo>
                        <a:pt x="41197" y="52069"/>
                        <a:pt x="41501" y="55392"/>
                        <a:pt x="41618" y="56632"/>
                      </a:cubicBezTo>
                      <a:lnTo>
                        <a:pt x="223" y="60306"/>
                      </a:lnTo>
                      <a:cubicBezTo>
                        <a:pt x="-736" y="49401"/>
                        <a:pt x="1417" y="33068"/>
                        <a:pt x="17259" y="17226"/>
                      </a:cubicBezTo>
                      <a:cubicBezTo>
                        <a:pt x="32867" y="1618"/>
                        <a:pt x="48966" y="-675"/>
                        <a:pt x="59707" y="144"/>
                      </a:cubicBezTo>
                      <a:cubicBezTo>
                        <a:pt x="87108" y="2226"/>
                        <a:pt x="106320" y="26141"/>
                        <a:pt x="109619" y="30517"/>
                      </a:cubicBezTo>
                      <a:cubicBezTo>
                        <a:pt x="133651" y="60633"/>
                        <a:pt x="147457" y="109937"/>
                        <a:pt x="147551" y="165864"/>
                      </a:cubicBezTo>
                      <a:cubicBezTo>
                        <a:pt x="147457" y="221860"/>
                        <a:pt x="133651" y="271165"/>
                        <a:pt x="109619" y="301281"/>
                      </a:cubicBezTo>
                      <a:cubicBezTo>
                        <a:pt x="106320" y="305656"/>
                        <a:pt x="87085" y="329548"/>
                        <a:pt x="59707" y="331654"/>
                      </a:cubicBezTo>
                      <a:cubicBezTo>
                        <a:pt x="58490" y="331724"/>
                        <a:pt x="57226" y="331771"/>
                        <a:pt x="55893" y="331771"/>
                      </a:cubicBezTo>
                      <a:close/>
                    </a:path>
                  </a:pathLst>
                </a:custGeom>
                <a:solidFill>
                  <a:srgbClr val="FFFFFF"/>
                </a:solidFill>
                <a:ln w="2339" cap="flat">
                  <a:noFill/>
                  <a:prstDash val="solid"/>
                  <a:miter/>
                </a:ln>
              </p:spPr>
              <p:txBody>
                <a:bodyPr rtlCol="0" anchor="ctr"/>
                <a:lstStyle/>
                <a:p>
                  <a:endParaRPr lang="en-US" sz="2400"/>
                </a:p>
              </p:txBody>
            </p:sp>
          </p:grpSp>
        </p:grpSp>
      </p:grpSp>
      <p:sp>
        <p:nvSpPr>
          <p:cNvPr id="7" name="Title 1"/>
          <p:cNvSpPr>
            <a:spLocks noGrp="1"/>
          </p:cNvSpPr>
          <p:nvPr>
            <p:ph type="title" hasCustomPrompt="1"/>
          </p:nvPr>
        </p:nvSpPr>
        <p:spPr>
          <a:xfrm>
            <a:off x="613833" y="505885"/>
            <a:ext cx="5928077" cy="2923116"/>
          </a:xfrm>
        </p:spPr>
        <p:txBody>
          <a:bodyPr anchor="b">
            <a:noAutofit/>
          </a:bodyPr>
          <a:lstStyle>
            <a:lvl1pPr>
              <a:defRPr sz="5600" b="0">
                <a:solidFill>
                  <a:srgbClr val="FFFFFF"/>
                </a:solidFill>
                <a:latin typeface="Proximus ExtraBold" panose="00000900000000000000" pitchFamily="2" charset="0"/>
              </a:defRPr>
            </a:lvl1pPr>
          </a:lstStyle>
          <a:p>
            <a:r>
              <a:rPr lang="en-US"/>
              <a:t>Click to edit </a:t>
            </a:r>
            <a:br>
              <a:rPr lang="en-US"/>
            </a:br>
            <a:r>
              <a:rPr lang="en-US"/>
              <a:t>presentation title</a:t>
            </a:r>
            <a:endParaRPr lang="nl-BE"/>
          </a:p>
        </p:txBody>
      </p:sp>
      <p:sp>
        <p:nvSpPr>
          <p:cNvPr id="6" name="Subtitle 2">
            <a:extLst>
              <a:ext uri="{FF2B5EF4-FFF2-40B4-BE49-F238E27FC236}">
                <a16:creationId xmlns:a16="http://schemas.microsoft.com/office/drawing/2014/main" id="{56176E85-8408-4B89-A7FD-D33D192C3CE4}"/>
              </a:ext>
            </a:extLst>
          </p:cNvPr>
          <p:cNvSpPr>
            <a:spLocks noGrp="1"/>
          </p:cNvSpPr>
          <p:nvPr>
            <p:ph type="subTitle" idx="1" hasCustomPrompt="1"/>
          </p:nvPr>
        </p:nvSpPr>
        <p:spPr>
          <a:xfrm>
            <a:off x="613834" y="3801466"/>
            <a:ext cx="5482167" cy="1335741"/>
          </a:xfrm>
        </p:spPr>
        <p:txBody>
          <a:bodyPr/>
          <a:lstStyle>
            <a:lvl1pPr marL="0" indent="0" algn="l">
              <a:lnSpc>
                <a:spcPct val="100000"/>
              </a:lnSpc>
              <a:buNone/>
              <a:defRPr sz="3467">
                <a:solidFill>
                  <a:schemeClr val="tx1"/>
                </a:solidFill>
                <a:latin typeface="Proximus Light" panose="00000500000000000000" pitchFamily="2"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Subtitle</a:t>
            </a:r>
            <a:endParaRPr lang="nl-BE"/>
          </a:p>
        </p:txBody>
      </p:sp>
      <p:sp>
        <p:nvSpPr>
          <p:cNvPr id="1075" name="Picture Placeholder 1074">
            <a:extLst>
              <a:ext uri="{FF2B5EF4-FFF2-40B4-BE49-F238E27FC236}">
                <a16:creationId xmlns:a16="http://schemas.microsoft.com/office/drawing/2014/main" id="{E51534D9-BBA2-4B82-27F2-0EDD9723BC0B}"/>
              </a:ext>
            </a:extLst>
          </p:cNvPr>
          <p:cNvSpPr>
            <a:spLocks noGrp="1"/>
          </p:cNvSpPr>
          <p:nvPr>
            <p:ph type="pic" sz="quarter" idx="10"/>
          </p:nvPr>
        </p:nvSpPr>
        <p:spPr>
          <a:xfrm>
            <a:off x="5763684" y="4"/>
            <a:ext cx="6426200" cy="6857999"/>
          </a:xfrm>
          <a:custGeom>
            <a:avLst/>
            <a:gdLst>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031541 w 4819650"/>
              <a:gd name="connsiteY21" fmla="*/ 4713284 h 5143499"/>
              <a:gd name="connsiteX22" fmla="*/ 4031541 w 4819650"/>
              <a:gd name="connsiteY22" fmla="*/ 4799826 h 5143499"/>
              <a:gd name="connsiteX23" fmla="*/ 4052312 w 4819650"/>
              <a:gd name="connsiteY23" fmla="*/ 4799826 h 5143499"/>
              <a:gd name="connsiteX24" fmla="*/ 4052312 w 4819650"/>
              <a:gd name="connsiteY24" fmla="*/ 4713284 h 5143499"/>
              <a:gd name="connsiteX25" fmla="*/ 3936473 w 4819650"/>
              <a:gd name="connsiteY25" fmla="*/ 4713284 h 5143499"/>
              <a:gd name="connsiteX26" fmla="*/ 3966836 w 4819650"/>
              <a:gd name="connsiteY26" fmla="*/ 4756247 h 5143499"/>
              <a:gd name="connsiteX27" fmla="*/ 3936473 w 4819650"/>
              <a:gd name="connsiteY27" fmla="*/ 4799850 h 5143499"/>
              <a:gd name="connsiteX28" fmla="*/ 3959447 w 4819650"/>
              <a:gd name="connsiteY28" fmla="*/ 4799850 h 5143499"/>
              <a:gd name="connsiteX29" fmla="*/ 3978181 w 4819650"/>
              <a:gd name="connsiteY29" fmla="*/ 4771689 h 5143499"/>
              <a:gd name="connsiteX30" fmla="*/ 3996915 w 4819650"/>
              <a:gd name="connsiteY30" fmla="*/ 4799850 h 5143499"/>
              <a:gd name="connsiteX31" fmla="*/ 4019889 w 4819650"/>
              <a:gd name="connsiteY31" fmla="*/ 4799850 h 5143499"/>
              <a:gd name="connsiteX32" fmla="*/ 3989668 w 4819650"/>
              <a:gd name="connsiteY32" fmla="*/ 4756247 h 5143499"/>
              <a:gd name="connsiteX33" fmla="*/ 4019889 w 4819650"/>
              <a:gd name="connsiteY33" fmla="*/ 4713284 h 5143499"/>
              <a:gd name="connsiteX34" fmla="*/ 3996749 w 4819650"/>
              <a:gd name="connsiteY34" fmla="*/ 4713284 h 5143499"/>
              <a:gd name="connsiteX35" fmla="*/ 3978181 w 4819650"/>
              <a:gd name="connsiteY35" fmla="*/ 4741137 h 5143499"/>
              <a:gd name="connsiteX36" fmla="*/ 3959612 w 4819650"/>
              <a:gd name="connsiteY36" fmla="*/ 4713284 h 5143499"/>
              <a:gd name="connsiteX37" fmla="*/ 4336238 w 4819650"/>
              <a:gd name="connsiteY37" fmla="*/ 4711721 h 5143499"/>
              <a:gd name="connsiteX38" fmla="*/ 4304596 w 4819650"/>
              <a:gd name="connsiteY38" fmla="*/ 4737063 h 5143499"/>
              <a:gd name="connsiteX39" fmla="*/ 4330080 w 4819650"/>
              <a:gd name="connsiteY39" fmla="*/ 4761932 h 5143499"/>
              <a:gd name="connsiteX40" fmla="*/ 4336073 w 4819650"/>
              <a:gd name="connsiteY40" fmla="*/ 4764134 h 5143499"/>
              <a:gd name="connsiteX41" fmla="*/ 4351657 w 4819650"/>
              <a:gd name="connsiteY41" fmla="*/ 4774982 h 5143499"/>
              <a:gd name="connsiteX42" fmla="*/ 4337186 w 4819650"/>
              <a:gd name="connsiteY42" fmla="*/ 4782845 h 5143499"/>
              <a:gd name="connsiteX43" fmla="*/ 4308220 w 4819650"/>
              <a:gd name="connsiteY43" fmla="*/ 4775763 h 5143499"/>
              <a:gd name="connsiteX44" fmla="*/ 4303341 w 4819650"/>
              <a:gd name="connsiteY44" fmla="*/ 4793858 h 5143499"/>
              <a:gd name="connsiteX45" fmla="*/ 4338109 w 4819650"/>
              <a:gd name="connsiteY45" fmla="*/ 4801413 h 5143499"/>
              <a:gd name="connsiteX46" fmla="*/ 4372404 w 4819650"/>
              <a:gd name="connsiteY46" fmla="*/ 4774342 h 5143499"/>
              <a:gd name="connsiteX47" fmla="*/ 4372452 w 4819650"/>
              <a:gd name="connsiteY47" fmla="*/ 4774366 h 5143499"/>
              <a:gd name="connsiteX48" fmla="*/ 4345688 w 4819650"/>
              <a:gd name="connsiteY48" fmla="*/ 4747768 h 5143499"/>
              <a:gd name="connsiteX49" fmla="*/ 4339388 w 4819650"/>
              <a:gd name="connsiteY49" fmla="*/ 4745400 h 5143499"/>
              <a:gd name="connsiteX50" fmla="*/ 4325391 w 4819650"/>
              <a:gd name="connsiteY50" fmla="*/ 4736116 h 5143499"/>
              <a:gd name="connsiteX51" fmla="*/ 4336096 w 4819650"/>
              <a:gd name="connsiteY51" fmla="*/ 4730124 h 5143499"/>
              <a:gd name="connsiteX52" fmla="*/ 4363783 w 4819650"/>
              <a:gd name="connsiteY52" fmla="*/ 4734221 h 5143499"/>
              <a:gd name="connsiteX53" fmla="*/ 4367715 w 4819650"/>
              <a:gd name="connsiteY53" fmla="*/ 4716434 h 5143499"/>
              <a:gd name="connsiteX54" fmla="*/ 4336238 w 4819650"/>
              <a:gd name="connsiteY54" fmla="*/ 4711721 h 5143499"/>
              <a:gd name="connsiteX55" fmla="*/ 4107093 w 4819650"/>
              <a:gd name="connsiteY55" fmla="*/ 4711721 h 5143499"/>
              <a:gd name="connsiteX56" fmla="*/ 4070430 w 4819650"/>
              <a:gd name="connsiteY56" fmla="*/ 4744760 h 5143499"/>
              <a:gd name="connsiteX57" fmla="*/ 4070430 w 4819650"/>
              <a:gd name="connsiteY57" fmla="*/ 4799850 h 5143499"/>
              <a:gd name="connsiteX58" fmla="*/ 4091201 w 4819650"/>
              <a:gd name="connsiteY58" fmla="*/ 4799850 h 5143499"/>
              <a:gd name="connsiteX59" fmla="*/ 4091201 w 4819650"/>
              <a:gd name="connsiteY59" fmla="*/ 4746182 h 5143499"/>
              <a:gd name="connsiteX60" fmla="*/ 4106927 w 4819650"/>
              <a:gd name="connsiteY60" fmla="*/ 4731379 h 5143499"/>
              <a:gd name="connsiteX61" fmla="*/ 4122985 w 4819650"/>
              <a:gd name="connsiteY61" fmla="*/ 4746182 h 5143499"/>
              <a:gd name="connsiteX62" fmla="*/ 4122985 w 4819650"/>
              <a:gd name="connsiteY62" fmla="*/ 4799850 h 5143499"/>
              <a:gd name="connsiteX63" fmla="*/ 4143591 w 4819650"/>
              <a:gd name="connsiteY63" fmla="*/ 4799850 h 5143499"/>
              <a:gd name="connsiteX64" fmla="*/ 4143591 w 4819650"/>
              <a:gd name="connsiteY64" fmla="*/ 4746182 h 5143499"/>
              <a:gd name="connsiteX65" fmla="*/ 4159648 w 4819650"/>
              <a:gd name="connsiteY65" fmla="*/ 4731379 h 5143499"/>
              <a:gd name="connsiteX66" fmla="*/ 4175375 w 4819650"/>
              <a:gd name="connsiteY66" fmla="*/ 4746182 h 5143499"/>
              <a:gd name="connsiteX67" fmla="*/ 4175375 w 4819650"/>
              <a:gd name="connsiteY67" fmla="*/ 4799850 h 5143499"/>
              <a:gd name="connsiteX68" fmla="*/ 4196146 w 4819650"/>
              <a:gd name="connsiteY68" fmla="*/ 4799850 h 5143499"/>
              <a:gd name="connsiteX69" fmla="*/ 4196146 w 4819650"/>
              <a:gd name="connsiteY69" fmla="*/ 4744760 h 5143499"/>
              <a:gd name="connsiteX70" fmla="*/ 4159648 w 4819650"/>
              <a:gd name="connsiteY70" fmla="*/ 4711721 h 5143499"/>
              <a:gd name="connsiteX71" fmla="*/ 4133525 w 4819650"/>
              <a:gd name="connsiteY71" fmla="*/ 4722426 h 5143499"/>
              <a:gd name="connsiteX72" fmla="*/ 4107093 w 4819650"/>
              <a:gd name="connsiteY72" fmla="*/ 4711721 h 5143499"/>
              <a:gd name="connsiteX73" fmla="*/ 3892112 w 4819650"/>
              <a:gd name="connsiteY73" fmla="*/ 4711721 h 5143499"/>
              <a:gd name="connsiteX74" fmla="*/ 3849930 w 4819650"/>
              <a:gd name="connsiteY74" fmla="*/ 4756413 h 5143499"/>
              <a:gd name="connsiteX75" fmla="*/ 3892112 w 4819650"/>
              <a:gd name="connsiteY75" fmla="*/ 4801413 h 5143499"/>
              <a:gd name="connsiteX76" fmla="*/ 3934293 w 4819650"/>
              <a:gd name="connsiteY76" fmla="*/ 4756413 h 5143499"/>
              <a:gd name="connsiteX77" fmla="*/ 3892112 w 4819650"/>
              <a:gd name="connsiteY77" fmla="*/ 4711721 h 5143499"/>
              <a:gd name="connsiteX78" fmla="*/ 3837662 w 4819650"/>
              <a:gd name="connsiteY78" fmla="*/ 4711697 h 5143499"/>
              <a:gd name="connsiteX79" fmla="*/ 3799412 w 4819650"/>
              <a:gd name="connsiteY79" fmla="*/ 4749000 h 5143499"/>
              <a:gd name="connsiteX80" fmla="*/ 3799412 w 4819650"/>
              <a:gd name="connsiteY80" fmla="*/ 4799826 h 5143499"/>
              <a:gd name="connsiteX81" fmla="*/ 3820183 w 4819650"/>
              <a:gd name="connsiteY81" fmla="*/ 4799826 h 5143499"/>
              <a:gd name="connsiteX82" fmla="*/ 3820183 w 4819650"/>
              <a:gd name="connsiteY82" fmla="*/ 4750563 h 5143499"/>
              <a:gd name="connsiteX83" fmla="*/ 3837662 w 4819650"/>
              <a:gd name="connsiteY83" fmla="*/ 4731994 h 5143499"/>
              <a:gd name="connsiteX84" fmla="*/ 3842707 w 4819650"/>
              <a:gd name="connsiteY84" fmla="*/ 4732302 h 5143499"/>
              <a:gd name="connsiteX85" fmla="*/ 3846165 w 4819650"/>
              <a:gd name="connsiteY85" fmla="*/ 4712479 h 5143499"/>
              <a:gd name="connsiteX86" fmla="*/ 3837662 w 4819650"/>
              <a:gd name="connsiteY86" fmla="*/ 4711697 h 5143499"/>
              <a:gd name="connsiteX87" fmla="*/ 3742286 w 4819650"/>
              <a:gd name="connsiteY87" fmla="*/ 4711697 h 5143499"/>
              <a:gd name="connsiteX88" fmla="*/ 3701052 w 4819650"/>
              <a:gd name="connsiteY88" fmla="*/ 4755915 h 5143499"/>
              <a:gd name="connsiteX89" fmla="*/ 3701052 w 4819650"/>
              <a:gd name="connsiteY89" fmla="*/ 4834452 h 5143499"/>
              <a:gd name="connsiteX90" fmla="*/ 3721823 w 4819650"/>
              <a:gd name="connsiteY90" fmla="*/ 4834452 h 5143499"/>
              <a:gd name="connsiteX91" fmla="*/ 3721823 w 4819650"/>
              <a:gd name="connsiteY91" fmla="*/ 4795586 h 5143499"/>
              <a:gd name="connsiteX92" fmla="*/ 3742286 w 4819650"/>
              <a:gd name="connsiteY92" fmla="*/ 4801413 h 5143499"/>
              <a:gd name="connsiteX93" fmla="*/ 3783828 w 4819650"/>
              <a:gd name="connsiteY93" fmla="*/ 4756413 h 5143499"/>
              <a:gd name="connsiteX94" fmla="*/ 3783828 w 4819650"/>
              <a:gd name="connsiteY94" fmla="*/ 4756389 h 5143499"/>
              <a:gd name="connsiteX95" fmla="*/ 3742286 w 4819650"/>
              <a:gd name="connsiteY95" fmla="*/ 4711697 h 5143499"/>
              <a:gd name="connsiteX96" fmla="*/ 3966385 w 4819650"/>
              <a:gd name="connsiteY96" fmla="*/ 4531816 h 5143499"/>
              <a:gd name="connsiteX97" fmla="*/ 3946680 w 4819650"/>
              <a:gd name="connsiteY97" fmla="*/ 4572481 h 5143499"/>
              <a:gd name="connsiteX98" fmla="*/ 3946656 w 4819650"/>
              <a:gd name="connsiteY98" fmla="*/ 4572458 h 5143499"/>
              <a:gd name="connsiteX99" fmla="*/ 3946112 w 4819650"/>
              <a:gd name="connsiteY99" fmla="*/ 4573168 h 5143499"/>
              <a:gd name="connsiteX100" fmla="*/ 3925933 w 4819650"/>
              <a:gd name="connsiteY100" fmla="*/ 4587284 h 5143499"/>
              <a:gd name="connsiteX101" fmla="*/ 3915985 w 4819650"/>
              <a:gd name="connsiteY101" fmla="*/ 4582192 h 5143499"/>
              <a:gd name="connsiteX102" fmla="*/ 3910893 w 4819650"/>
              <a:gd name="connsiteY102" fmla="*/ 4572244 h 5143499"/>
              <a:gd name="connsiteX103" fmla="*/ 3925009 w 4819650"/>
              <a:gd name="connsiteY103" fmla="*/ 4552066 h 5143499"/>
              <a:gd name="connsiteX104" fmla="*/ 3925720 w 4819650"/>
              <a:gd name="connsiteY104" fmla="*/ 4551521 h 5143499"/>
              <a:gd name="connsiteX105" fmla="*/ 3966385 w 4819650"/>
              <a:gd name="connsiteY105" fmla="*/ 4531816 h 5143499"/>
              <a:gd name="connsiteX106" fmla="*/ 4107045 w 4819650"/>
              <a:gd name="connsiteY106" fmla="*/ 4531815 h 5143499"/>
              <a:gd name="connsiteX107" fmla="*/ 4147664 w 4819650"/>
              <a:gd name="connsiteY107" fmla="*/ 4551497 h 5143499"/>
              <a:gd name="connsiteX108" fmla="*/ 4148375 w 4819650"/>
              <a:gd name="connsiteY108" fmla="*/ 4552042 h 5143499"/>
              <a:gd name="connsiteX109" fmla="*/ 4162491 w 4819650"/>
              <a:gd name="connsiteY109" fmla="*/ 4572221 h 5143499"/>
              <a:gd name="connsiteX110" fmla="*/ 4157398 w 4819650"/>
              <a:gd name="connsiteY110" fmla="*/ 4582168 h 5143499"/>
              <a:gd name="connsiteX111" fmla="*/ 4147451 w 4819650"/>
              <a:gd name="connsiteY111" fmla="*/ 4587260 h 5143499"/>
              <a:gd name="connsiteX112" fmla="*/ 4127272 w 4819650"/>
              <a:gd name="connsiteY112" fmla="*/ 4573145 h 5143499"/>
              <a:gd name="connsiteX113" fmla="*/ 4126727 w 4819650"/>
              <a:gd name="connsiteY113" fmla="*/ 4572434 h 5143499"/>
              <a:gd name="connsiteX114" fmla="*/ 4107022 w 4819650"/>
              <a:gd name="connsiteY114" fmla="*/ 4531768 h 5143499"/>
              <a:gd name="connsiteX115" fmla="*/ 4107045 w 4819650"/>
              <a:gd name="connsiteY115" fmla="*/ 4531815 h 5143499"/>
              <a:gd name="connsiteX116" fmla="*/ 4106998 w 4819650"/>
              <a:gd name="connsiteY116" fmla="*/ 4531792 h 5143499"/>
              <a:gd name="connsiteX117" fmla="*/ 4017496 w 4819650"/>
              <a:gd name="connsiteY117" fmla="*/ 4442289 h 5143499"/>
              <a:gd name="connsiteX118" fmla="*/ 4036704 w 4819650"/>
              <a:gd name="connsiteY118" fmla="*/ 4442881 h 5143499"/>
              <a:gd name="connsiteX119" fmla="*/ 4055864 w 4819650"/>
              <a:gd name="connsiteY119" fmla="*/ 4442289 h 5143499"/>
              <a:gd name="connsiteX120" fmla="*/ 4055272 w 4819650"/>
              <a:gd name="connsiteY120" fmla="*/ 4461497 h 5143499"/>
              <a:gd name="connsiteX121" fmla="*/ 4055864 w 4819650"/>
              <a:gd name="connsiteY121" fmla="*/ 4480658 h 5143499"/>
              <a:gd name="connsiteX122" fmla="*/ 4036656 w 4819650"/>
              <a:gd name="connsiteY122" fmla="*/ 4480066 h 5143499"/>
              <a:gd name="connsiteX123" fmla="*/ 4017496 w 4819650"/>
              <a:gd name="connsiteY123" fmla="*/ 4480658 h 5143499"/>
              <a:gd name="connsiteX124" fmla="*/ 4018088 w 4819650"/>
              <a:gd name="connsiteY124" fmla="*/ 4461450 h 5143499"/>
              <a:gd name="connsiteX125" fmla="*/ 4017496 w 4819650"/>
              <a:gd name="connsiteY125" fmla="*/ 4442289 h 5143499"/>
              <a:gd name="connsiteX126" fmla="*/ 3966316 w 4819650"/>
              <a:gd name="connsiteY126" fmla="*/ 4391133 h 5143499"/>
              <a:gd name="connsiteX127" fmla="*/ 3966362 w 4819650"/>
              <a:gd name="connsiteY127" fmla="*/ 4391155 h 5143499"/>
              <a:gd name="connsiteX128" fmla="*/ 3966338 w 4819650"/>
              <a:gd name="connsiteY128" fmla="*/ 4391179 h 5143499"/>
              <a:gd name="connsiteX129" fmla="*/ 3925909 w 4819650"/>
              <a:gd name="connsiteY129" fmla="*/ 4335687 h 5143499"/>
              <a:gd name="connsiteX130" fmla="*/ 3946088 w 4819650"/>
              <a:gd name="connsiteY130" fmla="*/ 4349802 h 5143499"/>
              <a:gd name="connsiteX131" fmla="*/ 3946633 w 4819650"/>
              <a:gd name="connsiteY131" fmla="*/ 4350513 h 5143499"/>
              <a:gd name="connsiteX132" fmla="*/ 3966316 w 4819650"/>
              <a:gd name="connsiteY132" fmla="*/ 4391133 h 5143499"/>
              <a:gd name="connsiteX133" fmla="*/ 3925696 w 4819650"/>
              <a:gd name="connsiteY133" fmla="*/ 4371450 h 5143499"/>
              <a:gd name="connsiteX134" fmla="*/ 3924985 w 4819650"/>
              <a:gd name="connsiteY134" fmla="*/ 4370905 h 5143499"/>
              <a:gd name="connsiteX135" fmla="*/ 3910870 w 4819650"/>
              <a:gd name="connsiteY135" fmla="*/ 4350726 h 5143499"/>
              <a:gd name="connsiteX136" fmla="*/ 3915962 w 4819650"/>
              <a:gd name="connsiteY136" fmla="*/ 4340779 h 5143499"/>
              <a:gd name="connsiteX137" fmla="*/ 3925909 w 4819650"/>
              <a:gd name="connsiteY137" fmla="*/ 4335687 h 5143499"/>
              <a:gd name="connsiteX138" fmla="*/ 4147427 w 4819650"/>
              <a:gd name="connsiteY138" fmla="*/ 4335639 h 5143499"/>
              <a:gd name="connsiteX139" fmla="*/ 4157375 w 4819650"/>
              <a:gd name="connsiteY139" fmla="*/ 4340731 h 5143499"/>
              <a:gd name="connsiteX140" fmla="*/ 4162467 w 4819650"/>
              <a:gd name="connsiteY140" fmla="*/ 4350679 h 5143499"/>
              <a:gd name="connsiteX141" fmla="*/ 4148351 w 4819650"/>
              <a:gd name="connsiteY141" fmla="*/ 4370858 h 5143499"/>
              <a:gd name="connsiteX142" fmla="*/ 4147641 w 4819650"/>
              <a:gd name="connsiteY142" fmla="*/ 4371402 h 5143499"/>
              <a:gd name="connsiteX143" fmla="*/ 4106975 w 4819650"/>
              <a:gd name="connsiteY143" fmla="*/ 4391108 h 5143499"/>
              <a:gd name="connsiteX144" fmla="*/ 4126680 w 4819650"/>
              <a:gd name="connsiteY144" fmla="*/ 4350442 h 5143499"/>
              <a:gd name="connsiteX145" fmla="*/ 4126704 w 4819650"/>
              <a:gd name="connsiteY145" fmla="*/ 4350466 h 5143499"/>
              <a:gd name="connsiteX146" fmla="*/ 4127248 w 4819650"/>
              <a:gd name="connsiteY146" fmla="*/ 4349755 h 5143499"/>
              <a:gd name="connsiteX147" fmla="*/ 4147427 w 4819650"/>
              <a:gd name="connsiteY147" fmla="*/ 4335639 h 5143499"/>
              <a:gd name="connsiteX148" fmla="*/ 3929201 w 4819650"/>
              <a:gd name="connsiteY148" fmla="*/ 4293694 h 5143499"/>
              <a:gd name="connsiteX149" fmla="*/ 3886238 w 4819650"/>
              <a:gd name="connsiteY149" fmla="*/ 4310984 h 5143499"/>
              <a:gd name="connsiteX150" fmla="*/ 3868948 w 4819650"/>
              <a:gd name="connsiteY150" fmla="*/ 4353947 h 5143499"/>
              <a:gd name="connsiteX151" fmla="*/ 3899691 w 4819650"/>
              <a:gd name="connsiteY151" fmla="*/ 4404466 h 5143499"/>
              <a:gd name="connsiteX152" fmla="*/ 3974912 w 4819650"/>
              <a:gd name="connsiteY152" fmla="*/ 4436723 h 5143499"/>
              <a:gd name="connsiteX153" fmla="*/ 3976048 w 4819650"/>
              <a:gd name="connsiteY153" fmla="*/ 4461473 h 5143499"/>
              <a:gd name="connsiteX154" fmla="*/ 3974912 w 4819650"/>
              <a:gd name="connsiteY154" fmla="*/ 4486152 h 5143499"/>
              <a:gd name="connsiteX155" fmla="*/ 3899691 w 4819650"/>
              <a:gd name="connsiteY155" fmla="*/ 4518410 h 5143499"/>
              <a:gd name="connsiteX156" fmla="*/ 3868948 w 4819650"/>
              <a:gd name="connsiteY156" fmla="*/ 4568929 h 5143499"/>
              <a:gd name="connsiteX157" fmla="*/ 3886238 w 4819650"/>
              <a:gd name="connsiteY157" fmla="*/ 4611892 h 5143499"/>
              <a:gd name="connsiteX158" fmla="*/ 3929201 w 4819650"/>
              <a:gd name="connsiteY158" fmla="*/ 4629181 h 5143499"/>
              <a:gd name="connsiteX159" fmla="*/ 3979720 w 4819650"/>
              <a:gd name="connsiteY159" fmla="*/ 4598439 h 5143499"/>
              <a:gd name="connsiteX160" fmla="*/ 4011977 w 4819650"/>
              <a:gd name="connsiteY160" fmla="*/ 4523218 h 5143499"/>
              <a:gd name="connsiteX161" fmla="*/ 4036656 w 4819650"/>
              <a:gd name="connsiteY161" fmla="*/ 4522081 h 5143499"/>
              <a:gd name="connsiteX162" fmla="*/ 4061406 w 4819650"/>
              <a:gd name="connsiteY162" fmla="*/ 4523218 h 5143499"/>
              <a:gd name="connsiteX163" fmla="*/ 4093664 w 4819650"/>
              <a:gd name="connsiteY163" fmla="*/ 4598439 h 5143499"/>
              <a:gd name="connsiteX164" fmla="*/ 4144183 w 4819650"/>
              <a:gd name="connsiteY164" fmla="*/ 4629181 h 5143499"/>
              <a:gd name="connsiteX165" fmla="*/ 4187146 w 4819650"/>
              <a:gd name="connsiteY165" fmla="*/ 4611892 h 5143499"/>
              <a:gd name="connsiteX166" fmla="*/ 4204435 w 4819650"/>
              <a:gd name="connsiteY166" fmla="*/ 4568929 h 5143499"/>
              <a:gd name="connsiteX167" fmla="*/ 4173693 w 4819650"/>
              <a:gd name="connsiteY167" fmla="*/ 4518410 h 5143499"/>
              <a:gd name="connsiteX168" fmla="*/ 4098472 w 4819650"/>
              <a:gd name="connsiteY168" fmla="*/ 4486152 h 5143499"/>
              <a:gd name="connsiteX169" fmla="*/ 4097335 w 4819650"/>
              <a:gd name="connsiteY169" fmla="*/ 4461402 h 5143499"/>
              <a:gd name="connsiteX170" fmla="*/ 4098472 w 4819650"/>
              <a:gd name="connsiteY170" fmla="*/ 4436723 h 5143499"/>
              <a:gd name="connsiteX171" fmla="*/ 4173693 w 4819650"/>
              <a:gd name="connsiteY171" fmla="*/ 4404466 h 5143499"/>
              <a:gd name="connsiteX172" fmla="*/ 4204435 w 4819650"/>
              <a:gd name="connsiteY172" fmla="*/ 4353947 h 5143499"/>
              <a:gd name="connsiteX173" fmla="*/ 4187146 w 4819650"/>
              <a:gd name="connsiteY173" fmla="*/ 4310984 h 5143499"/>
              <a:gd name="connsiteX174" fmla="*/ 4144183 w 4819650"/>
              <a:gd name="connsiteY174" fmla="*/ 4293694 h 5143499"/>
              <a:gd name="connsiteX175" fmla="*/ 4093664 w 4819650"/>
              <a:gd name="connsiteY175" fmla="*/ 4324437 h 5143499"/>
              <a:gd name="connsiteX176" fmla="*/ 4061406 w 4819650"/>
              <a:gd name="connsiteY176" fmla="*/ 4399658 h 5143499"/>
              <a:gd name="connsiteX177" fmla="*/ 4036727 w 4819650"/>
              <a:gd name="connsiteY177" fmla="*/ 4400794 h 5143499"/>
              <a:gd name="connsiteX178" fmla="*/ 4011977 w 4819650"/>
              <a:gd name="connsiteY178" fmla="*/ 4399658 h 5143499"/>
              <a:gd name="connsiteX179" fmla="*/ 3979720 w 4819650"/>
              <a:gd name="connsiteY179" fmla="*/ 4324437 h 5143499"/>
              <a:gd name="connsiteX180" fmla="*/ 3929201 w 4819650"/>
              <a:gd name="connsiteY180" fmla="*/ 4293694 h 5143499"/>
              <a:gd name="connsiteX181" fmla="*/ 2094551 w 4819650"/>
              <a:gd name="connsiteY181" fmla="*/ 0 h 5143499"/>
              <a:gd name="connsiteX182" fmla="*/ 4819650 w 4819650"/>
              <a:gd name="connsiteY182" fmla="*/ 0 h 5143499"/>
              <a:gd name="connsiteX183" fmla="*/ 4819650 w 4819650"/>
              <a:gd name="connsiteY183" fmla="*/ 5143499 h 5143499"/>
              <a:gd name="connsiteX184" fmla="*/ 0 w 4819650"/>
              <a:gd name="connsiteY184" fmla="*/ 5143499 h 5143499"/>
              <a:gd name="connsiteX185" fmla="*/ 0 w 4819650"/>
              <a:gd name="connsiteY185" fmla="*/ 5143498 h 5143499"/>
              <a:gd name="connsiteX186" fmla="*/ 371745 w 4819650"/>
              <a:gd name="connsiteY186" fmla="*/ 5143498 h 5143499"/>
              <a:gd name="connsiteX187" fmla="*/ 1206499 w 4819650"/>
              <a:gd name="connsiteY187" fmla="*/ 1821610 h 5143499"/>
              <a:gd name="connsiteX188" fmla="*/ 2048326 w 4819650"/>
              <a:gd name="connsiteY188" fmla="*/ 58253 h 5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Lst>
            <a:rect l="l" t="t" r="r" b="b"/>
            <a:pathLst>
              <a:path w="4819650" h="5143499">
                <a:moveTo>
                  <a:pt x="3742286" y="4731402"/>
                </a:moveTo>
                <a:cubicBezTo>
                  <a:pt x="3754863" y="4731402"/>
                  <a:pt x="3762891" y="4738792"/>
                  <a:pt x="3762891" y="4756413"/>
                </a:cubicBezTo>
                <a:cubicBezTo>
                  <a:pt x="3762891" y="4774365"/>
                  <a:pt x="3754720" y="4781755"/>
                  <a:pt x="3742286" y="4781755"/>
                </a:cubicBezTo>
                <a:cubicBezTo>
                  <a:pt x="3729852" y="4781755"/>
                  <a:pt x="3721823" y="4774034"/>
                  <a:pt x="3721823" y="4756413"/>
                </a:cubicBezTo>
                <a:cubicBezTo>
                  <a:pt x="3721823" y="4738792"/>
                  <a:pt x="3729710" y="4731402"/>
                  <a:pt x="3742286" y="4731402"/>
                </a:cubicBezTo>
                <a:close/>
                <a:moveTo>
                  <a:pt x="3892112" y="4731379"/>
                </a:moveTo>
                <a:cubicBezTo>
                  <a:pt x="3904380" y="4731379"/>
                  <a:pt x="3913356" y="4738768"/>
                  <a:pt x="3913356" y="4756555"/>
                </a:cubicBezTo>
                <a:cubicBezTo>
                  <a:pt x="3913356" y="4774342"/>
                  <a:pt x="3904546" y="4781732"/>
                  <a:pt x="3892112" y="4781732"/>
                </a:cubicBezTo>
                <a:cubicBezTo>
                  <a:pt x="3879677" y="4781732"/>
                  <a:pt x="3870867" y="4774342"/>
                  <a:pt x="3870867" y="4756555"/>
                </a:cubicBezTo>
                <a:cubicBezTo>
                  <a:pt x="3870867" y="4738768"/>
                  <a:pt x="3879677" y="4731379"/>
                  <a:pt x="3892112" y="4731379"/>
                </a:cubicBezTo>
                <a:close/>
                <a:moveTo>
                  <a:pt x="4212654" y="4713284"/>
                </a:moveTo>
                <a:lnTo>
                  <a:pt x="4212654" y="4762855"/>
                </a:lnTo>
                <a:cubicBezTo>
                  <a:pt x="4212654" y="4788671"/>
                  <a:pt x="4225870" y="4801413"/>
                  <a:pt x="4251378" y="4801413"/>
                </a:cubicBezTo>
                <a:cubicBezTo>
                  <a:pt x="4276886" y="4801413"/>
                  <a:pt x="4290101" y="4788671"/>
                  <a:pt x="4290101" y="4762855"/>
                </a:cubicBezTo>
                <a:lnTo>
                  <a:pt x="4290101" y="4713284"/>
                </a:lnTo>
                <a:lnTo>
                  <a:pt x="4290054" y="4713284"/>
                </a:lnTo>
                <a:lnTo>
                  <a:pt x="4269283" y="4713284"/>
                </a:lnTo>
                <a:lnTo>
                  <a:pt x="4269283" y="4762855"/>
                </a:lnTo>
                <a:cubicBezTo>
                  <a:pt x="4269283" y="4777160"/>
                  <a:pt x="4261254" y="4781731"/>
                  <a:pt x="4251354" y="4781731"/>
                </a:cubicBezTo>
                <a:cubicBezTo>
                  <a:pt x="4241454" y="4781731"/>
                  <a:pt x="4233425" y="4777184"/>
                  <a:pt x="4233425" y="4762855"/>
                </a:cubicBezTo>
                <a:lnTo>
                  <a:pt x="4233425" y="4713284"/>
                </a:lnTo>
                <a:close/>
                <a:moveTo>
                  <a:pt x="4031541" y="4713284"/>
                </a:moveTo>
                <a:lnTo>
                  <a:pt x="4031541" y="4799826"/>
                </a:lnTo>
                <a:lnTo>
                  <a:pt x="4052312" y="4799826"/>
                </a:lnTo>
                <a:lnTo>
                  <a:pt x="4052312" y="4713284"/>
                </a:lnTo>
                <a:close/>
                <a:moveTo>
                  <a:pt x="3936473" y="4713284"/>
                </a:moveTo>
                <a:lnTo>
                  <a:pt x="3966836" y="4756247"/>
                </a:lnTo>
                <a:lnTo>
                  <a:pt x="3936473" y="4799850"/>
                </a:lnTo>
                <a:lnTo>
                  <a:pt x="3959447" y="4799850"/>
                </a:lnTo>
                <a:lnTo>
                  <a:pt x="3978181" y="4771689"/>
                </a:lnTo>
                <a:lnTo>
                  <a:pt x="3996915" y="4799850"/>
                </a:lnTo>
                <a:lnTo>
                  <a:pt x="4019889" y="4799850"/>
                </a:lnTo>
                <a:lnTo>
                  <a:pt x="3989668" y="4756247"/>
                </a:lnTo>
                <a:lnTo>
                  <a:pt x="4019889" y="4713284"/>
                </a:lnTo>
                <a:lnTo>
                  <a:pt x="3996749" y="4713284"/>
                </a:lnTo>
                <a:lnTo>
                  <a:pt x="3978181" y="4741137"/>
                </a:lnTo>
                <a:lnTo>
                  <a:pt x="3959612" y="4713284"/>
                </a:lnTo>
                <a:close/>
                <a:moveTo>
                  <a:pt x="4336238" y="4711721"/>
                </a:moveTo>
                <a:cubicBezTo>
                  <a:pt x="4310565" y="4711721"/>
                  <a:pt x="4304596" y="4724155"/>
                  <a:pt x="4304596" y="4737063"/>
                </a:cubicBezTo>
                <a:cubicBezTo>
                  <a:pt x="4304596" y="4751084"/>
                  <a:pt x="4311986" y="4755489"/>
                  <a:pt x="4330080" y="4761932"/>
                </a:cubicBezTo>
                <a:lnTo>
                  <a:pt x="4336073" y="4764134"/>
                </a:lnTo>
                <a:cubicBezTo>
                  <a:pt x="4346470" y="4767900"/>
                  <a:pt x="4351657" y="4769795"/>
                  <a:pt x="4351657" y="4774982"/>
                </a:cubicBezTo>
                <a:cubicBezTo>
                  <a:pt x="4351657" y="4779529"/>
                  <a:pt x="4346944" y="4782845"/>
                  <a:pt x="4337186" y="4782845"/>
                </a:cubicBezTo>
                <a:cubicBezTo>
                  <a:pt x="4327428" y="4782845"/>
                  <a:pt x="4318144" y="4779860"/>
                  <a:pt x="4308220" y="4775763"/>
                </a:cubicBezTo>
                <a:lnTo>
                  <a:pt x="4303341" y="4793858"/>
                </a:lnTo>
                <a:cubicBezTo>
                  <a:pt x="4312767" y="4798429"/>
                  <a:pt x="4325202" y="4801413"/>
                  <a:pt x="4338109" y="4801413"/>
                </a:cubicBezTo>
                <a:cubicBezTo>
                  <a:pt x="4363901" y="4801413"/>
                  <a:pt x="4372404" y="4789287"/>
                  <a:pt x="4372404" y="4774342"/>
                </a:cubicBezTo>
                <a:lnTo>
                  <a:pt x="4372452" y="4774366"/>
                </a:lnTo>
                <a:cubicBezTo>
                  <a:pt x="4372452" y="4760510"/>
                  <a:pt x="4364730" y="4754684"/>
                  <a:pt x="4345688" y="4747768"/>
                </a:cubicBezTo>
                <a:lnTo>
                  <a:pt x="4339388" y="4745400"/>
                </a:lnTo>
                <a:cubicBezTo>
                  <a:pt x="4328233" y="4741303"/>
                  <a:pt x="4325391" y="4740213"/>
                  <a:pt x="4325391" y="4736116"/>
                </a:cubicBezTo>
                <a:cubicBezTo>
                  <a:pt x="4325391" y="4731687"/>
                  <a:pt x="4328849" y="4730124"/>
                  <a:pt x="4336096" y="4730124"/>
                </a:cubicBezTo>
                <a:cubicBezTo>
                  <a:pt x="4344267" y="4730124"/>
                  <a:pt x="4357175" y="4732492"/>
                  <a:pt x="4363783" y="4734221"/>
                </a:cubicBezTo>
                <a:lnTo>
                  <a:pt x="4367715" y="4716434"/>
                </a:lnTo>
                <a:cubicBezTo>
                  <a:pt x="4361580" y="4714397"/>
                  <a:pt x="4347725" y="4711721"/>
                  <a:pt x="4336238" y="4711721"/>
                </a:cubicBezTo>
                <a:close/>
                <a:moveTo>
                  <a:pt x="4107093" y="4711721"/>
                </a:moveTo>
                <a:cubicBezTo>
                  <a:pt x="4086796" y="4711721"/>
                  <a:pt x="4070430" y="4722734"/>
                  <a:pt x="4070430" y="4744760"/>
                </a:cubicBezTo>
                <a:lnTo>
                  <a:pt x="4070430" y="4799850"/>
                </a:lnTo>
                <a:lnTo>
                  <a:pt x="4091201" y="4799850"/>
                </a:lnTo>
                <a:lnTo>
                  <a:pt x="4091201" y="4746182"/>
                </a:lnTo>
                <a:cubicBezTo>
                  <a:pt x="4091201" y="4737347"/>
                  <a:pt x="4094659" y="4731379"/>
                  <a:pt x="4106927" y="4731379"/>
                </a:cubicBezTo>
                <a:cubicBezTo>
                  <a:pt x="4118106" y="4731379"/>
                  <a:pt x="4122985" y="4736258"/>
                  <a:pt x="4122985" y="4746182"/>
                </a:cubicBezTo>
                <a:lnTo>
                  <a:pt x="4122985" y="4799850"/>
                </a:lnTo>
                <a:lnTo>
                  <a:pt x="4143591" y="4799850"/>
                </a:lnTo>
                <a:lnTo>
                  <a:pt x="4143591" y="4746182"/>
                </a:lnTo>
                <a:cubicBezTo>
                  <a:pt x="4143591" y="4737347"/>
                  <a:pt x="4147214" y="4731379"/>
                  <a:pt x="4159648" y="4731379"/>
                </a:cubicBezTo>
                <a:cubicBezTo>
                  <a:pt x="4170496" y="4731379"/>
                  <a:pt x="4175375" y="4736258"/>
                  <a:pt x="4175375" y="4746182"/>
                </a:cubicBezTo>
                <a:lnTo>
                  <a:pt x="4175375" y="4799850"/>
                </a:lnTo>
                <a:lnTo>
                  <a:pt x="4196146" y="4799850"/>
                </a:lnTo>
                <a:lnTo>
                  <a:pt x="4196146" y="4744760"/>
                </a:lnTo>
                <a:cubicBezTo>
                  <a:pt x="4196146" y="4721171"/>
                  <a:pt x="4178856" y="4711721"/>
                  <a:pt x="4159648" y="4711721"/>
                </a:cubicBezTo>
                <a:cubicBezTo>
                  <a:pt x="4150364" y="4711721"/>
                  <a:pt x="4139659" y="4715653"/>
                  <a:pt x="4133525" y="4722426"/>
                </a:cubicBezTo>
                <a:cubicBezTo>
                  <a:pt x="4126917" y="4715653"/>
                  <a:pt x="4116543" y="4711721"/>
                  <a:pt x="4107093" y="4711721"/>
                </a:cubicBezTo>
                <a:close/>
                <a:moveTo>
                  <a:pt x="3892112" y="4711721"/>
                </a:moveTo>
                <a:cubicBezTo>
                  <a:pt x="3868333" y="4711721"/>
                  <a:pt x="3849930" y="4727305"/>
                  <a:pt x="3849930" y="4756413"/>
                </a:cubicBezTo>
                <a:cubicBezTo>
                  <a:pt x="3849930" y="4785521"/>
                  <a:pt x="3868356" y="4801413"/>
                  <a:pt x="3892112" y="4801413"/>
                </a:cubicBezTo>
                <a:cubicBezTo>
                  <a:pt x="3915891" y="4801413"/>
                  <a:pt x="3934293" y="4785213"/>
                  <a:pt x="3934293" y="4756413"/>
                </a:cubicBezTo>
                <a:cubicBezTo>
                  <a:pt x="3934293" y="4727613"/>
                  <a:pt x="3915891" y="4711721"/>
                  <a:pt x="3892112" y="4711721"/>
                </a:cubicBezTo>
                <a:close/>
                <a:moveTo>
                  <a:pt x="3837662" y="4711697"/>
                </a:moveTo>
                <a:cubicBezTo>
                  <a:pt x="3813267" y="4711697"/>
                  <a:pt x="3799412" y="4727755"/>
                  <a:pt x="3799412" y="4749000"/>
                </a:cubicBezTo>
                <a:lnTo>
                  <a:pt x="3799412" y="4799826"/>
                </a:lnTo>
                <a:lnTo>
                  <a:pt x="3820183" y="4799826"/>
                </a:lnTo>
                <a:lnTo>
                  <a:pt x="3820183" y="4750563"/>
                </a:lnTo>
                <a:cubicBezTo>
                  <a:pt x="3820183" y="4739242"/>
                  <a:pt x="3825701" y="4731994"/>
                  <a:pt x="3837662" y="4731994"/>
                </a:cubicBezTo>
                <a:cubicBezTo>
                  <a:pt x="3839083" y="4731994"/>
                  <a:pt x="3841451" y="4732136"/>
                  <a:pt x="3842707" y="4732302"/>
                </a:cubicBezTo>
                <a:lnTo>
                  <a:pt x="3846165" y="4712479"/>
                </a:lnTo>
                <a:cubicBezTo>
                  <a:pt x="3844909" y="4712171"/>
                  <a:pt x="3841759" y="4711697"/>
                  <a:pt x="3837662" y="4711697"/>
                </a:cubicBezTo>
                <a:close/>
                <a:moveTo>
                  <a:pt x="3742286" y="4711697"/>
                </a:moveTo>
                <a:cubicBezTo>
                  <a:pt x="3718673" y="4711697"/>
                  <a:pt x="3701052" y="4727115"/>
                  <a:pt x="3701052" y="4755915"/>
                </a:cubicBezTo>
                <a:lnTo>
                  <a:pt x="3701052" y="4834452"/>
                </a:lnTo>
                <a:lnTo>
                  <a:pt x="3721823" y="4834452"/>
                </a:lnTo>
                <a:lnTo>
                  <a:pt x="3721823" y="4795586"/>
                </a:lnTo>
                <a:cubicBezTo>
                  <a:pt x="3727649" y="4799518"/>
                  <a:pt x="3734565" y="4801413"/>
                  <a:pt x="3742286" y="4801413"/>
                </a:cubicBezTo>
                <a:cubicBezTo>
                  <a:pt x="3766041" y="4801413"/>
                  <a:pt x="3783828" y="4785379"/>
                  <a:pt x="3783828" y="4756413"/>
                </a:cubicBezTo>
                <a:lnTo>
                  <a:pt x="3783828" y="4756389"/>
                </a:lnTo>
                <a:cubicBezTo>
                  <a:pt x="3783828" y="4727589"/>
                  <a:pt x="3765899" y="4711697"/>
                  <a:pt x="3742286" y="4711697"/>
                </a:cubicBezTo>
                <a:close/>
                <a:moveTo>
                  <a:pt x="3966385" y="4531816"/>
                </a:moveTo>
                <a:cubicBezTo>
                  <a:pt x="3961435" y="4548371"/>
                  <a:pt x="3954733" y="4562439"/>
                  <a:pt x="3946680" y="4572481"/>
                </a:cubicBezTo>
                <a:lnTo>
                  <a:pt x="3946656" y="4572458"/>
                </a:lnTo>
                <a:lnTo>
                  <a:pt x="3946112" y="4573168"/>
                </a:lnTo>
                <a:cubicBezTo>
                  <a:pt x="3942085" y="4578521"/>
                  <a:pt x="3932801" y="4586787"/>
                  <a:pt x="3925933" y="4587284"/>
                </a:cubicBezTo>
                <a:cubicBezTo>
                  <a:pt x="3924677" y="4587379"/>
                  <a:pt x="3921409" y="4587616"/>
                  <a:pt x="3915985" y="4582192"/>
                </a:cubicBezTo>
                <a:cubicBezTo>
                  <a:pt x="3910562" y="4576768"/>
                  <a:pt x="3910798" y="4573476"/>
                  <a:pt x="3910893" y="4572244"/>
                </a:cubicBezTo>
                <a:cubicBezTo>
                  <a:pt x="3911367" y="4565376"/>
                  <a:pt x="3919656" y="4556092"/>
                  <a:pt x="3925009" y="4552066"/>
                </a:cubicBezTo>
                <a:lnTo>
                  <a:pt x="3925720" y="4551521"/>
                </a:lnTo>
                <a:cubicBezTo>
                  <a:pt x="3935762" y="4543468"/>
                  <a:pt x="3949830" y="4536766"/>
                  <a:pt x="3966385" y="4531816"/>
                </a:cubicBezTo>
                <a:close/>
                <a:moveTo>
                  <a:pt x="4107045" y="4531815"/>
                </a:moveTo>
                <a:lnTo>
                  <a:pt x="4147664" y="4551497"/>
                </a:lnTo>
                <a:lnTo>
                  <a:pt x="4148375" y="4552042"/>
                </a:lnTo>
                <a:cubicBezTo>
                  <a:pt x="4153727" y="4556068"/>
                  <a:pt x="4161993" y="4565352"/>
                  <a:pt x="4162491" y="4572221"/>
                </a:cubicBezTo>
                <a:cubicBezTo>
                  <a:pt x="4162585" y="4573476"/>
                  <a:pt x="4162822" y="4576744"/>
                  <a:pt x="4157398" y="4582168"/>
                </a:cubicBezTo>
                <a:cubicBezTo>
                  <a:pt x="4151975" y="4587592"/>
                  <a:pt x="4148683" y="4587355"/>
                  <a:pt x="4147451" y="4587260"/>
                </a:cubicBezTo>
                <a:cubicBezTo>
                  <a:pt x="4140583" y="4586787"/>
                  <a:pt x="4131298" y="4578497"/>
                  <a:pt x="4127272" y="4573145"/>
                </a:cubicBezTo>
                <a:lnTo>
                  <a:pt x="4126727" y="4572434"/>
                </a:lnTo>
                <a:close/>
                <a:moveTo>
                  <a:pt x="4107022" y="4531768"/>
                </a:moveTo>
                <a:lnTo>
                  <a:pt x="4107045" y="4531815"/>
                </a:lnTo>
                <a:lnTo>
                  <a:pt x="4106998" y="4531792"/>
                </a:lnTo>
                <a:close/>
                <a:moveTo>
                  <a:pt x="4017496" y="4442289"/>
                </a:moveTo>
                <a:cubicBezTo>
                  <a:pt x="4023796" y="4442668"/>
                  <a:pt x="4030214" y="4442881"/>
                  <a:pt x="4036704" y="4442881"/>
                </a:cubicBezTo>
                <a:cubicBezTo>
                  <a:pt x="4043193" y="4442881"/>
                  <a:pt x="4049564" y="4442644"/>
                  <a:pt x="4055864" y="4442289"/>
                </a:cubicBezTo>
                <a:cubicBezTo>
                  <a:pt x="4055485" y="4448589"/>
                  <a:pt x="4055272" y="4455008"/>
                  <a:pt x="4055272" y="4461497"/>
                </a:cubicBezTo>
                <a:cubicBezTo>
                  <a:pt x="4055272" y="4467987"/>
                  <a:pt x="4055485" y="4474358"/>
                  <a:pt x="4055864" y="4480658"/>
                </a:cubicBezTo>
                <a:cubicBezTo>
                  <a:pt x="4049564" y="4480279"/>
                  <a:pt x="4043146" y="4480066"/>
                  <a:pt x="4036656" y="4480066"/>
                </a:cubicBezTo>
                <a:cubicBezTo>
                  <a:pt x="4030167" y="4480066"/>
                  <a:pt x="4023796" y="4480302"/>
                  <a:pt x="4017496" y="4480658"/>
                </a:cubicBezTo>
                <a:cubicBezTo>
                  <a:pt x="4017875" y="4474358"/>
                  <a:pt x="4018088" y="4467939"/>
                  <a:pt x="4018088" y="4461450"/>
                </a:cubicBezTo>
                <a:cubicBezTo>
                  <a:pt x="4018088" y="4454960"/>
                  <a:pt x="4017875" y="4448589"/>
                  <a:pt x="4017496" y="4442289"/>
                </a:cubicBezTo>
                <a:close/>
                <a:moveTo>
                  <a:pt x="3966316" y="4391133"/>
                </a:moveTo>
                <a:lnTo>
                  <a:pt x="3966362" y="4391155"/>
                </a:lnTo>
                <a:lnTo>
                  <a:pt x="3966338" y="4391179"/>
                </a:lnTo>
                <a:close/>
                <a:moveTo>
                  <a:pt x="3925909" y="4335687"/>
                </a:moveTo>
                <a:cubicBezTo>
                  <a:pt x="3932777" y="4336160"/>
                  <a:pt x="3942062" y="4344450"/>
                  <a:pt x="3946088" y="4349802"/>
                </a:cubicBezTo>
                <a:lnTo>
                  <a:pt x="3946633" y="4350513"/>
                </a:lnTo>
                <a:lnTo>
                  <a:pt x="3966316" y="4391133"/>
                </a:lnTo>
                <a:lnTo>
                  <a:pt x="3925696" y="4371450"/>
                </a:lnTo>
                <a:lnTo>
                  <a:pt x="3924985" y="4370905"/>
                </a:lnTo>
                <a:cubicBezTo>
                  <a:pt x="3919633" y="4366879"/>
                  <a:pt x="3911367" y="4357594"/>
                  <a:pt x="3910870" y="4350726"/>
                </a:cubicBezTo>
                <a:cubicBezTo>
                  <a:pt x="3910775" y="4349471"/>
                  <a:pt x="3910538" y="4346202"/>
                  <a:pt x="3915962" y="4340779"/>
                </a:cubicBezTo>
                <a:cubicBezTo>
                  <a:pt x="3921385" y="4335355"/>
                  <a:pt x="3924677" y="4335592"/>
                  <a:pt x="3925909" y="4335687"/>
                </a:cubicBezTo>
                <a:close/>
                <a:moveTo>
                  <a:pt x="4147427" y="4335639"/>
                </a:moveTo>
                <a:cubicBezTo>
                  <a:pt x="4148683" y="4335544"/>
                  <a:pt x="4151951" y="4335308"/>
                  <a:pt x="4157375" y="4340731"/>
                </a:cubicBezTo>
                <a:cubicBezTo>
                  <a:pt x="4162798" y="4346155"/>
                  <a:pt x="4162562" y="4349447"/>
                  <a:pt x="4162467" y="4350679"/>
                </a:cubicBezTo>
                <a:cubicBezTo>
                  <a:pt x="4161993" y="4357547"/>
                  <a:pt x="4153704" y="4366831"/>
                  <a:pt x="4148351" y="4370858"/>
                </a:cubicBezTo>
                <a:lnTo>
                  <a:pt x="4147641" y="4371402"/>
                </a:lnTo>
                <a:cubicBezTo>
                  <a:pt x="4137598" y="4379455"/>
                  <a:pt x="4123530" y="4386158"/>
                  <a:pt x="4106975" y="4391108"/>
                </a:cubicBezTo>
                <a:cubicBezTo>
                  <a:pt x="4111925" y="4374552"/>
                  <a:pt x="4118627" y="4360484"/>
                  <a:pt x="4126680" y="4350442"/>
                </a:cubicBezTo>
                <a:lnTo>
                  <a:pt x="4126704" y="4350466"/>
                </a:lnTo>
                <a:lnTo>
                  <a:pt x="4127248" y="4349755"/>
                </a:lnTo>
                <a:cubicBezTo>
                  <a:pt x="4131275" y="4344402"/>
                  <a:pt x="4140559" y="4336137"/>
                  <a:pt x="4147427" y="4335639"/>
                </a:cubicBezTo>
                <a:close/>
                <a:moveTo>
                  <a:pt x="3929201" y="4293694"/>
                </a:moveTo>
                <a:cubicBezTo>
                  <a:pt x="3918330" y="4292866"/>
                  <a:pt x="3902035" y="4295187"/>
                  <a:pt x="3886238" y="4310984"/>
                </a:cubicBezTo>
                <a:cubicBezTo>
                  <a:pt x="3870441" y="4326781"/>
                  <a:pt x="3868120" y="4343076"/>
                  <a:pt x="3868948" y="4353947"/>
                </a:cubicBezTo>
                <a:cubicBezTo>
                  <a:pt x="3871056" y="4381681"/>
                  <a:pt x="3895262" y="4401126"/>
                  <a:pt x="3899691" y="4404466"/>
                </a:cubicBezTo>
                <a:cubicBezTo>
                  <a:pt x="3918425" y="4419410"/>
                  <a:pt x="3944477" y="4430423"/>
                  <a:pt x="3974912" y="4436723"/>
                </a:cubicBezTo>
                <a:cubicBezTo>
                  <a:pt x="3975646" y="4444800"/>
                  <a:pt x="3976048" y="4453066"/>
                  <a:pt x="3976048" y="4461473"/>
                </a:cubicBezTo>
                <a:cubicBezTo>
                  <a:pt x="3976048" y="4469858"/>
                  <a:pt x="3975646" y="4478100"/>
                  <a:pt x="3974912" y="4486152"/>
                </a:cubicBezTo>
                <a:cubicBezTo>
                  <a:pt x="3944477" y="4492476"/>
                  <a:pt x="3918401" y="4503489"/>
                  <a:pt x="3899691" y="4518410"/>
                </a:cubicBezTo>
                <a:cubicBezTo>
                  <a:pt x="3895262" y="4521750"/>
                  <a:pt x="3871080" y="4541218"/>
                  <a:pt x="3868948" y="4568929"/>
                </a:cubicBezTo>
                <a:cubicBezTo>
                  <a:pt x="3868120" y="4579800"/>
                  <a:pt x="3870441" y="4596094"/>
                  <a:pt x="3886238" y="4611892"/>
                </a:cubicBezTo>
                <a:cubicBezTo>
                  <a:pt x="3902035" y="4627689"/>
                  <a:pt x="3918330" y="4630010"/>
                  <a:pt x="3929201" y="4629181"/>
                </a:cubicBezTo>
                <a:cubicBezTo>
                  <a:pt x="3956935" y="4627073"/>
                  <a:pt x="3976380" y="4602868"/>
                  <a:pt x="3979720" y="4598439"/>
                </a:cubicBezTo>
                <a:cubicBezTo>
                  <a:pt x="3994664" y="4579705"/>
                  <a:pt x="4005677" y="4553652"/>
                  <a:pt x="4011977" y="4523218"/>
                </a:cubicBezTo>
                <a:cubicBezTo>
                  <a:pt x="4020030" y="4522484"/>
                  <a:pt x="4028296" y="4522105"/>
                  <a:pt x="4036656" y="4522081"/>
                </a:cubicBezTo>
                <a:cubicBezTo>
                  <a:pt x="4045064" y="4522081"/>
                  <a:pt x="4053330" y="4522484"/>
                  <a:pt x="4061406" y="4523218"/>
                </a:cubicBezTo>
                <a:cubicBezTo>
                  <a:pt x="4067730" y="4553652"/>
                  <a:pt x="4078743" y="4579705"/>
                  <a:pt x="4093664" y="4598439"/>
                </a:cubicBezTo>
                <a:cubicBezTo>
                  <a:pt x="4097004" y="4602868"/>
                  <a:pt x="4116472" y="4627050"/>
                  <a:pt x="4144183" y="4629181"/>
                </a:cubicBezTo>
                <a:cubicBezTo>
                  <a:pt x="4155054" y="4630010"/>
                  <a:pt x="4171348" y="4627689"/>
                  <a:pt x="4187146" y="4611892"/>
                </a:cubicBezTo>
                <a:cubicBezTo>
                  <a:pt x="4202943" y="4596094"/>
                  <a:pt x="4205264" y="4579800"/>
                  <a:pt x="4204435" y="4568929"/>
                </a:cubicBezTo>
                <a:cubicBezTo>
                  <a:pt x="4202327" y="4541194"/>
                  <a:pt x="4178122" y="4521750"/>
                  <a:pt x="4173693" y="4518410"/>
                </a:cubicBezTo>
                <a:cubicBezTo>
                  <a:pt x="4154959" y="4503466"/>
                  <a:pt x="4128906" y="4492452"/>
                  <a:pt x="4098472" y="4486152"/>
                </a:cubicBezTo>
                <a:cubicBezTo>
                  <a:pt x="4097738" y="4478076"/>
                  <a:pt x="4097335" y="4469810"/>
                  <a:pt x="4097335" y="4461402"/>
                </a:cubicBezTo>
                <a:cubicBezTo>
                  <a:pt x="4097335" y="4453018"/>
                  <a:pt x="4097738" y="4444776"/>
                  <a:pt x="4098472" y="4436723"/>
                </a:cubicBezTo>
                <a:cubicBezTo>
                  <a:pt x="4128906" y="4430400"/>
                  <a:pt x="4154983" y="4419387"/>
                  <a:pt x="4173693" y="4404466"/>
                </a:cubicBezTo>
                <a:cubicBezTo>
                  <a:pt x="4178122" y="4401126"/>
                  <a:pt x="4202304" y="4381658"/>
                  <a:pt x="4204435" y="4353947"/>
                </a:cubicBezTo>
                <a:cubicBezTo>
                  <a:pt x="4205264" y="4343076"/>
                  <a:pt x="4202943" y="4326781"/>
                  <a:pt x="4187146" y="4310984"/>
                </a:cubicBezTo>
                <a:cubicBezTo>
                  <a:pt x="4171348" y="4295187"/>
                  <a:pt x="4155054" y="4292866"/>
                  <a:pt x="4144183" y="4293694"/>
                </a:cubicBezTo>
                <a:cubicBezTo>
                  <a:pt x="4116448" y="4295802"/>
                  <a:pt x="4097004" y="4320008"/>
                  <a:pt x="4093664" y="4324437"/>
                </a:cubicBezTo>
                <a:cubicBezTo>
                  <a:pt x="4078720" y="4343171"/>
                  <a:pt x="4067706" y="4369223"/>
                  <a:pt x="4061406" y="4399658"/>
                </a:cubicBezTo>
                <a:cubicBezTo>
                  <a:pt x="4053354" y="4400392"/>
                  <a:pt x="4045088" y="4400771"/>
                  <a:pt x="4036727" y="4400794"/>
                </a:cubicBezTo>
                <a:cubicBezTo>
                  <a:pt x="4028319" y="4400794"/>
                  <a:pt x="4020054" y="4400392"/>
                  <a:pt x="4011977" y="4399658"/>
                </a:cubicBezTo>
                <a:cubicBezTo>
                  <a:pt x="4005654" y="4369223"/>
                  <a:pt x="3994641" y="4343171"/>
                  <a:pt x="3979720" y="4324437"/>
                </a:cubicBezTo>
                <a:cubicBezTo>
                  <a:pt x="3976380" y="4320008"/>
                  <a:pt x="3956912" y="4295826"/>
                  <a:pt x="3929201" y="4293694"/>
                </a:cubicBezTo>
                <a:close/>
                <a:moveTo>
                  <a:pt x="2094551" y="0"/>
                </a:moveTo>
                <a:lnTo>
                  <a:pt x="4819650" y="0"/>
                </a:lnTo>
                <a:lnTo>
                  <a:pt x="4819650" y="5143499"/>
                </a:lnTo>
                <a:lnTo>
                  <a:pt x="0" y="5143499"/>
                </a:lnTo>
                <a:lnTo>
                  <a:pt x="0" y="5143498"/>
                </a:lnTo>
                <a:lnTo>
                  <a:pt x="371745" y="5143498"/>
                </a:lnTo>
                <a:lnTo>
                  <a:pt x="1206499" y="1821610"/>
                </a:lnTo>
                <a:cubicBezTo>
                  <a:pt x="1372079" y="1162691"/>
                  <a:pt x="1663360" y="568520"/>
                  <a:pt x="2048326" y="58253"/>
                </a:cubicBezTo>
                <a:close/>
              </a:path>
            </a:pathLst>
          </a:custGeom>
          <a:solidFill>
            <a:schemeClr val="tx1">
              <a:lumMod val="95000"/>
            </a:schemeClr>
          </a:solidFill>
        </p:spPr>
        <p:txBody>
          <a:bodyPr wrap="square">
            <a:noAutofit/>
          </a:bodyPr>
          <a:lstStyle/>
          <a:p>
            <a:r>
              <a:rPr lang="en-US"/>
              <a:t>Click icon to add picture</a:t>
            </a:r>
          </a:p>
        </p:txBody>
      </p:sp>
      <p:sp>
        <p:nvSpPr>
          <p:cNvPr id="2" name="Date Placeholder 8">
            <a:extLst>
              <a:ext uri="{FF2B5EF4-FFF2-40B4-BE49-F238E27FC236}">
                <a16:creationId xmlns:a16="http://schemas.microsoft.com/office/drawing/2014/main" id="{67F4183D-0567-5418-83A0-3F94C1A45E01}"/>
              </a:ext>
            </a:extLst>
          </p:cNvPr>
          <p:cNvSpPr>
            <a:spLocks noGrp="1"/>
          </p:cNvSpPr>
          <p:nvPr>
            <p:ph type="dt" sz="half" idx="2"/>
          </p:nvPr>
        </p:nvSpPr>
        <p:spPr>
          <a:xfrm>
            <a:off x="613832" y="5760153"/>
            <a:ext cx="2880000" cy="500948"/>
          </a:xfrm>
          <a:prstGeom prst="roundRect">
            <a:avLst>
              <a:gd name="adj" fmla="val 50000"/>
            </a:avLst>
          </a:prstGeom>
          <a:solidFill>
            <a:schemeClr val="tx1"/>
          </a:solidFill>
        </p:spPr>
        <p:txBody>
          <a:bodyPr vert="horz" wrap="none" lIns="72000" tIns="36000" rIns="72000" bIns="36000" rtlCol="0" anchor="ctr">
            <a:noAutofit/>
          </a:bodyPr>
          <a:lstStyle>
            <a:lvl1pPr algn="ctr">
              <a:defRPr sz="1600">
                <a:solidFill>
                  <a:schemeClr val="bg1"/>
                </a:solidFill>
              </a:defRPr>
            </a:lvl1pPr>
          </a:lstStyle>
          <a:p>
            <a:pPr defTabSz="544125">
              <a:defRPr/>
            </a:pPr>
            <a:endParaRPr lang="en-US">
              <a:solidFill>
                <a:srgbClr val="5C2D91"/>
              </a:solidFill>
            </a:endParaRPr>
          </a:p>
        </p:txBody>
      </p:sp>
    </p:spTree>
    <p:extLst>
      <p:ext uri="{BB962C8B-B14F-4D97-AF65-F5344CB8AC3E}">
        <p14:creationId xmlns:p14="http://schemas.microsoft.com/office/powerpoint/2010/main" val="136815669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ver - Shape">
    <p:bg>
      <p:bgPr>
        <a:solidFill>
          <a:schemeClr val="bg1"/>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83F3C82D-0141-4635-A4B4-A76F2FD5DEFE}"/>
              </a:ext>
            </a:extLst>
          </p:cNvPr>
          <p:cNvSpPr/>
          <p:nvPr userDrawn="1"/>
        </p:nvSpPr>
        <p:spPr>
          <a:xfrm rot="19718639">
            <a:off x="-1832147" y="-1731232"/>
            <a:ext cx="11568875" cy="7917933"/>
          </a:xfrm>
          <a:custGeom>
            <a:avLst/>
            <a:gdLst>
              <a:gd name="connsiteX0" fmla="*/ 2676442 w 8676656"/>
              <a:gd name="connsiteY0" fmla="*/ 0 h 5938450"/>
              <a:gd name="connsiteX1" fmla="*/ 8676656 w 8676656"/>
              <a:gd name="connsiteY1" fmla="*/ 3656228 h 5938450"/>
              <a:gd name="connsiteX2" fmla="*/ 8640882 w 8676656"/>
              <a:gd name="connsiteY2" fmla="*/ 3795361 h 5938450"/>
              <a:gd name="connsiteX3" fmla="*/ 5727914 w 8676656"/>
              <a:gd name="connsiteY3" fmla="*/ 5938450 h 5938450"/>
              <a:gd name="connsiteX4" fmla="*/ 2537385 w 8676656"/>
              <a:gd name="connsiteY4" fmla="*/ 5938450 h 5938450"/>
              <a:gd name="connsiteX5" fmla="*/ 0 w 8676656"/>
              <a:gd name="connsiteY5" fmla="*/ 4392296 h 5938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76656" h="5938450">
                <a:moveTo>
                  <a:pt x="2676442" y="0"/>
                </a:moveTo>
                <a:lnTo>
                  <a:pt x="8676656" y="3656228"/>
                </a:lnTo>
                <a:lnTo>
                  <a:pt x="8640882" y="3795361"/>
                </a:lnTo>
                <a:cubicBezTo>
                  <a:pt x="8254705" y="5036958"/>
                  <a:pt x="7096587" y="5938450"/>
                  <a:pt x="5727914" y="5938450"/>
                </a:cubicBezTo>
                <a:lnTo>
                  <a:pt x="2537385" y="5938450"/>
                </a:lnTo>
                <a:lnTo>
                  <a:pt x="0" y="4392296"/>
                </a:lnTo>
                <a:close/>
              </a:path>
            </a:pathLst>
          </a:custGeom>
          <a:gradFill flip="none" rotWithShape="1">
            <a:gsLst>
              <a:gs pos="15000">
                <a:schemeClr val="bg1"/>
              </a:gs>
              <a:gs pos="100000">
                <a:schemeClr val="tx2"/>
              </a:gs>
            </a:gsLst>
            <a:lin ang="20400000" scaled="0"/>
            <a:tileRect/>
          </a:gradFill>
          <a:ln>
            <a:noFill/>
          </a:ln>
          <a:effectLst/>
        </p:spPr>
        <p:style>
          <a:lnRef idx="1">
            <a:schemeClr val="accent1"/>
          </a:lnRef>
          <a:fillRef idx="3">
            <a:schemeClr val="accent1"/>
          </a:fillRef>
          <a:effectRef idx="2">
            <a:schemeClr val="accent1"/>
          </a:effectRef>
          <a:fontRef idx="minor">
            <a:schemeClr val="lt1"/>
          </a:fontRef>
        </p:style>
        <p:txBody>
          <a:bodyPr vert="horz" wrap="square" lIns="144000" tIns="144000" rIns="144000" bIns="144000" rtlCol="0" anchor="t" anchorCtr="0">
            <a:noAutofit/>
          </a:bodyPr>
          <a:lstStyle/>
          <a:p>
            <a:pPr algn="ctr" defTabSz="1624517"/>
            <a:endParaRPr lang="en-US" sz="1600" b="1" err="1">
              <a:solidFill>
                <a:schemeClr val="tx1"/>
              </a:solidFill>
              <a:latin typeface="Proximus" panose="00000500000000000000" pitchFamily="2" charset="0"/>
              <a:cs typeface="Proximus"/>
            </a:endParaRPr>
          </a:p>
        </p:txBody>
      </p:sp>
      <p:sp>
        <p:nvSpPr>
          <p:cNvPr id="19" name="Subtitle 2">
            <a:extLst>
              <a:ext uri="{FF2B5EF4-FFF2-40B4-BE49-F238E27FC236}">
                <a16:creationId xmlns:a16="http://schemas.microsoft.com/office/drawing/2014/main" id="{452492B6-602B-45B8-BAD5-0E7699BEEADC}"/>
              </a:ext>
            </a:extLst>
          </p:cNvPr>
          <p:cNvSpPr>
            <a:spLocks noGrp="1"/>
          </p:cNvSpPr>
          <p:nvPr>
            <p:ph type="subTitle" idx="1" hasCustomPrompt="1"/>
          </p:nvPr>
        </p:nvSpPr>
        <p:spPr>
          <a:xfrm>
            <a:off x="613834" y="2624866"/>
            <a:ext cx="10962217" cy="1335741"/>
          </a:xfrm>
        </p:spPr>
        <p:txBody>
          <a:bodyPr/>
          <a:lstStyle>
            <a:lvl1pPr marL="0" indent="0" algn="l">
              <a:lnSpc>
                <a:spcPct val="100000"/>
              </a:lnSpc>
              <a:buNone/>
              <a:defRPr sz="3467">
                <a:solidFill>
                  <a:schemeClr val="tx1"/>
                </a:solidFill>
                <a:latin typeface="Proximus Light" panose="00000500000000000000" pitchFamily="2"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Subtitle</a:t>
            </a:r>
            <a:endParaRPr lang="nl-BE"/>
          </a:p>
        </p:txBody>
      </p:sp>
      <p:sp>
        <p:nvSpPr>
          <p:cNvPr id="20" name="Title 1">
            <a:extLst>
              <a:ext uri="{FF2B5EF4-FFF2-40B4-BE49-F238E27FC236}">
                <a16:creationId xmlns:a16="http://schemas.microsoft.com/office/drawing/2014/main" id="{73425EBE-5738-4E71-AC4D-14C0269C8B84}"/>
              </a:ext>
            </a:extLst>
          </p:cNvPr>
          <p:cNvSpPr>
            <a:spLocks noGrp="1"/>
          </p:cNvSpPr>
          <p:nvPr>
            <p:ph type="title" hasCustomPrompt="1"/>
          </p:nvPr>
        </p:nvSpPr>
        <p:spPr>
          <a:xfrm>
            <a:off x="613834" y="504000"/>
            <a:ext cx="10962217" cy="1748400"/>
          </a:xfrm>
        </p:spPr>
        <p:txBody>
          <a:bodyPr anchor="b">
            <a:noAutofit/>
          </a:bodyPr>
          <a:lstStyle>
            <a:lvl1pPr>
              <a:defRPr sz="5600" b="0">
                <a:solidFill>
                  <a:srgbClr val="FFFFFF"/>
                </a:solidFill>
                <a:latin typeface="Proximus ExtraBold" panose="00000900000000000000" pitchFamily="2" charset="0"/>
              </a:defRPr>
            </a:lvl1pPr>
          </a:lstStyle>
          <a:p>
            <a:r>
              <a:rPr lang="en-US"/>
              <a:t>Click to edit </a:t>
            </a:r>
            <a:br>
              <a:rPr lang="en-US"/>
            </a:br>
            <a:r>
              <a:rPr lang="en-US"/>
              <a:t>presentation title</a:t>
            </a:r>
            <a:endParaRPr lang="nl-BE"/>
          </a:p>
        </p:txBody>
      </p:sp>
      <p:pic>
        <p:nvPicPr>
          <p:cNvPr id="8" name="Graphic 7">
            <a:extLst>
              <a:ext uri="{FF2B5EF4-FFF2-40B4-BE49-F238E27FC236}">
                <a16:creationId xmlns:a16="http://schemas.microsoft.com/office/drawing/2014/main" id="{9CCBAF77-BF9E-4AFF-9B5C-97B4B25ECCE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702898" y="5724528"/>
            <a:ext cx="889207" cy="720725"/>
          </a:xfrm>
          <a:prstGeom prst="rect">
            <a:avLst/>
          </a:prstGeom>
        </p:spPr>
      </p:pic>
      <p:sp>
        <p:nvSpPr>
          <p:cNvPr id="3" name="Date Placeholder 8">
            <a:extLst>
              <a:ext uri="{FF2B5EF4-FFF2-40B4-BE49-F238E27FC236}">
                <a16:creationId xmlns:a16="http://schemas.microsoft.com/office/drawing/2014/main" id="{FA9DB784-BD29-CCA2-C29E-29B7094453CE}"/>
              </a:ext>
            </a:extLst>
          </p:cNvPr>
          <p:cNvSpPr>
            <a:spLocks noGrp="1"/>
          </p:cNvSpPr>
          <p:nvPr>
            <p:ph type="dt" sz="half" idx="2"/>
          </p:nvPr>
        </p:nvSpPr>
        <p:spPr>
          <a:xfrm>
            <a:off x="613832" y="5760153"/>
            <a:ext cx="2880000" cy="500948"/>
          </a:xfrm>
          <a:prstGeom prst="roundRect">
            <a:avLst>
              <a:gd name="adj" fmla="val 50000"/>
            </a:avLst>
          </a:prstGeom>
          <a:solidFill>
            <a:schemeClr val="tx1"/>
          </a:solidFill>
        </p:spPr>
        <p:txBody>
          <a:bodyPr vert="horz" wrap="none" lIns="72000" tIns="36000" rIns="72000" bIns="36000" rtlCol="0" anchor="ctr">
            <a:noAutofit/>
          </a:bodyPr>
          <a:lstStyle>
            <a:lvl1pPr algn="ctr">
              <a:defRPr sz="1600">
                <a:solidFill>
                  <a:schemeClr val="bg1"/>
                </a:solidFill>
              </a:defRPr>
            </a:lvl1pPr>
          </a:lstStyle>
          <a:p>
            <a:pPr defTabSz="544125">
              <a:defRPr/>
            </a:pPr>
            <a:endParaRPr lang="en-US">
              <a:solidFill>
                <a:srgbClr val="5C2D91"/>
              </a:solidFill>
            </a:endParaRPr>
          </a:p>
        </p:txBody>
      </p:sp>
    </p:spTree>
    <p:extLst>
      <p:ext uri="{BB962C8B-B14F-4D97-AF65-F5344CB8AC3E}">
        <p14:creationId xmlns:p14="http://schemas.microsoft.com/office/powerpoint/2010/main" val="2798907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hapter - Dark bg">
    <p:bg>
      <p:bgPr>
        <a:blipFill>
          <a:blip r:embed="rId2"/>
          <a:stretch>
            <a:fillRect/>
          </a:stretch>
        </a:blip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13D3065A-4C50-7720-70A9-DE4226DCCDFB}"/>
              </a:ext>
            </a:extLst>
          </p:cNvPr>
          <p:cNvSpPr>
            <a:spLocks noGrp="1"/>
          </p:cNvSpPr>
          <p:nvPr>
            <p:ph type="body" sz="quarter" idx="10" hasCustomPrompt="1"/>
          </p:nvPr>
        </p:nvSpPr>
        <p:spPr>
          <a:xfrm>
            <a:off x="8787573" y="2"/>
            <a:ext cx="3404427" cy="3464295"/>
          </a:xfrm>
          <a:custGeom>
            <a:avLst/>
            <a:gdLst>
              <a:gd name="connsiteX0" fmla="*/ 974239 w 2553320"/>
              <a:gd name="connsiteY0" fmla="*/ 0 h 2598221"/>
              <a:gd name="connsiteX1" fmla="*/ 2553320 w 2553320"/>
              <a:gd name="connsiteY1" fmla="*/ 0 h 2598221"/>
              <a:gd name="connsiteX2" fmla="*/ 2553320 w 2553320"/>
              <a:gd name="connsiteY2" fmla="*/ 1668884 h 2598221"/>
              <a:gd name="connsiteX3" fmla="*/ 1960321 w 2553320"/>
              <a:gd name="connsiteY3" fmla="*/ 2261883 h 2598221"/>
              <a:gd name="connsiteX4" fmla="*/ 336338 w 2553320"/>
              <a:gd name="connsiteY4" fmla="*/ 2261883 h 2598221"/>
              <a:gd name="connsiteX5" fmla="*/ 336338 w 2553320"/>
              <a:gd name="connsiteY5" fmla="*/ 637901 h 259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3320" h="2598221">
                <a:moveTo>
                  <a:pt x="974239" y="0"/>
                </a:moveTo>
                <a:lnTo>
                  <a:pt x="2553320" y="0"/>
                </a:lnTo>
                <a:lnTo>
                  <a:pt x="2553320" y="1668884"/>
                </a:lnTo>
                <a:lnTo>
                  <a:pt x="1960321" y="2261883"/>
                </a:lnTo>
                <a:cubicBezTo>
                  <a:pt x="1511870" y="2710334"/>
                  <a:pt x="784789" y="2710334"/>
                  <a:pt x="336338" y="2261883"/>
                </a:cubicBezTo>
                <a:cubicBezTo>
                  <a:pt x="-112112" y="1813433"/>
                  <a:pt x="-112112" y="1086352"/>
                  <a:pt x="336338" y="637901"/>
                </a:cubicBezTo>
                <a:close/>
              </a:path>
            </a:pathLst>
          </a:custGeom>
          <a:solidFill>
            <a:schemeClr val="tx1"/>
          </a:solidFill>
        </p:spPr>
        <p:txBody>
          <a:bodyPr wrap="square" anchor="ctr">
            <a:noAutofit/>
          </a:bodyPr>
          <a:lstStyle>
            <a:lvl1pPr marL="0" indent="0" algn="ctr">
              <a:buNone/>
              <a:defRPr sz="9600">
                <a:gradFill>
                  <a:gsLst>
                    <a:gs pos="25000">
                      <a:schemeClr val="bg1"/>
                    </a:gs>
                    <a:gs pos="100000">
                      <a:srgbClr val="D22E67"/>
                    </a:gs>
                  </a:gsLst>
                  <a:lin ang="3000000" scaled="0"/>
                </a:gradFill>
                <a:latin typeface="Proximus ExtraBold" panose="020B0604020202020204" charset="0"/>
              </a:defRPr>
            </a:lvl1pPr>
          </a:lstStyle>
          <a:p>
            <a:pPr lvl="0"/>
            <a:r>
              <a:rPr lang="en-US"/>
              <a:t>xx</a:t>
            </a:r>
          </a:p>
        </p:txBody>
      </p:sp>
      <p:sp>
        <p:nvSpPr>
          <p:cNvPr id="11" name="Title 1">
            <a:extLst>
              <a:ext uri="{FF2B5EF4-FFF2-40B4-BE49-F238E27FC236}">
                <a16:creationId xmlns:a16="http://schemas.microsoft.com/office/drawing/2014/main" id="{A4CB2253-770B-4753-A69C-382181C58DC6}"/>
              </a:ext>
            </a:extLst>
          </p:cNvPr>
          <p:cNvSpPr>
            <a:spLocks noGrp="1"/>
          </p:cNvSpPr>
          <p:nvPr>
            <p:ph type="title" hasCustomPrompt="1"/>
          </p:nvPr>
        </p:nvSpPr>
        <p:spPr>
          <a:xfrm>
            <a:off x="613833" y="504000"/>
            <a:ext cx="7440000" cy="1748400"/>
          </a:xfrm>
        </p:spPr>
        <p:txBody>
          <a:bodyPr anchor="b">
            <a:noAutofit/>
          </a:bodyPr>
          <a:lstStyle>
            <a:lvl1pPr>
              <a:defRPr sz="48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sp>
        <p:nvSpPr>
          <p:cNvPr id="16" name="Subtitle 2">
            <a:extLst>
              <a:ext uri="{FF2B5EF4-FFF2-40B4-BE49-F238E27FC236}">
                <a16:creationId xmlns:a16="http://schemas.microsoft.com/office/drawing/2014/main" id="{4FF70604-92E8-4B07-AC0F-3DB475239311}"/>
              </a:ext>
            </a:extLst>
          </p:cNvPr>
          <p:cNvSpPr>
            <a:spLocks noGrp="1"/>
          </p:cNvSpPr>
          <p:nvPr>
            <p:ph type="subTitle" idx="1" hasCustomPrompt="1"/>
          </p:nvPr>
        </p:nvSpPr>
        <p:spPr>
          <a:xfrm>
            <a:off x="613833" y="2624866"/>
            <a:ext cx="7440000" cy="1335741"/>
          </a:xfrm>
        </p:spPr>
        <p:txBody>
          <a:bodyPr/>
          <a:lstStyle>
            <a:lvl1pPr marL="0" indent="0" algn="l">
              <a:lnSpc>
                <a:spcPct val="100000"/>
              </a:lnSpc>
              <a:buNone/>
              <a:defRPr sz="2933">
                <a:solidFill>
                  <a:schemeClr val="tx1"/>
                </a:solidFill>
                <a:latin typeface="Proximus Light" panose="00000500000000000000" pitchFamily="2"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Subtitle</a:t>
            </a:r>
            <a:endParaRPr lang="nl-BE"/>
          </a:p>
        </p:txBody>
      </p:sp>
      <p:pic>
        <p:nvPicPr>
          <p:cNvPr id="6" name="Graphic 5">
            <a:extLst>
              <a:ext uri="{FF2B5EF4-FFF2-40B4-BE49-F238E27FC236}">
                <a16:creationId xmlns:a16="http://schemas.microsoft.com/office/drawing/2014/main" id="{F1D4CE6D-DB6A-415E-9EC1-FDF12573AFE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702898" y="5724528"/>
            <a:ext cx="889207" cy="720725"/>
          </a:xfrm>
          <a:prstGeom prst="rect">
            <a:avLst/>
          </a:prstGeom>
        </p:spPr>
      </p:pic>
    </p:spTree>
    <p:extLst>
      <p:ext uri="{BB962C8B-B14F-4D97-AF65-F5344CB8AC3E}">
        <p14:creationId xmlns:p14="http://schemas.microsoft.com/office/powerpoint/2010/main" val="212522561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hapter - Light bg">
    <p:bg>
      <p:bgPr>
        <a:blipFill>
          <a:blip r:embed="rId2"/>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D1C1F15-39D8-412D-8A63-32C1FD0C45E2}"/>
              </a:ext>
            </a:extLst>
          </p:cNvPr>
          <p:cNvSpPr>
            <a:spLocks noGrp="1"/>
          </p:cNvSpPr>
          <p:nvPr>
            <p:ph type="title" hasCustomPrompt="1"/>
          </p:nvPr>
        </p:nvSpPr>
        <p:spPr>
          <a:xfrm>
            <a:off x="613833" y="496713"/>
            <a:ext cx="7440000" cy="1748400"/>
          </a:xfrm>
        </p:spPr>
        <p:txBody>
          <a:bodyPr anchor="b">
            <a:noAutofit/>
          </a:bodyPr>
          <a:lstStyle>
            <a:lvl1pPr>
              <a:defRPr sz="4800" b="0">
                <a:solidFill>
                  <a:schemeClr val="bg1"/>
                </a:solidFill>
                <a:latin typeface="Proximus ExtraBold" panose="00000900000000000000" pitchFamily="2" charset="0"/>
              </a:defRPr>
            </a:lvl1pPr>
          </a:lstStyle>
          <a:p>
            <a:r>
              <a:rPr lang="en-US"/>
              <a:t>Click to edit </a:t>
            </a:r>
            <a:br>
              <a:rPr lang="en-US"/>
            </a:br>
            <a:r>
              <a:rPr lang="en-US"/>
              <a:t>chapter title</a:t>
            </a:r>
            <a:endParaRPr lang="nl-BE"/>
          </a:p>
        </p:txBody>
      </p:sp>
      <p:sp>
        <p:nvSpPr>
          <p:cNvPr id="13" name="Subtitle 2">
            <a:extLst>
              <a:ext uri="{FF2B5EF4-FFF2-40B4-BE49-F238E27FC236}">
                <a16:creationId xmlns:a16="http://schemas.microsoft.com/office/drawing/2014/main" id="{97531072-EECB-42CB-876A-D2C8B26FB265}"/>
              </a:ext>
            </a:extLst>
          </p:cNvPr>
          <p:cNvSpPr>
            <a:spLocks noGrp="1"/>
          </p:cNvSpPr>
          <p:nvPr>
            <p:ph type="subTitle" idx="1" hasCustomPrompt="1"/>
          </p:nvPr>
        </p:nvSpPr>
        <p:spPr>
          <a:xfrm>
            <a:off x="613833" y="2624866"/>
            <a:ext cx="7440000" cy="1335741"/>
          </a:xfrm>
        </p:spPr>
        <p:txBody>
          <a:bodyPr/>
          <a:lstStyle>
            <a:lvl1pPr marL="0" indent="0" algn="l">
              <a:lnSpc>
                <a:spcPct val="100000"/>
              </a:lnSpc>
              <a:buNone/>
              <a:defRPr sz="2933">
                <a:solidFill>
                  <a:schemeClr val="bg1"/>
                </a:solidFill>
                <a:latin typeface="Proximus Light" panose="00000500000000000000" pitchFamily="2"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Subtitle</a:t>
            </a:r>
            <a:endParaRPr lang="nl-BE"/>
          </a:p>
        </p:txBody>
      </p:sp>
      <p:pic>
        <p:nvPicPr>
          <p:cNvPr id="4" name="Graphic 3">
            <a:extLst>
              <a:ext uri="{FF2B5EF4-FFF2-40B4-BE49-F238E27FC236}">
                <a16:creationId xmlns:a16="http://schemas.microsoft.com/office/drawing/2014/main" id="{744C608D-DD01-42D2-828F-3F3AD9E9B4D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691915" y="5705474"/>
            <a:ext cx="912709" cy="739775"/>
          </a:xfrm>
          <a:prstGeom prst="rect">
            <a:avLst/>
          </a:prstGeom>
        </p:spPr>
      </p:pic>
      <p:sp>
        <p:nvSpPr>
          <p:cNvPr id="2" name="Text Placeholder 1">
            <a:extLst>
              <a:ext uri="{FF2B5EF4-FFF2-40B4-BE49-F238E27FC236}">
                <a16:creationId xmlns:a16="http://schemas.microsoft.com/office/drawing/2014/main" id="{2A73750A-6229-3EF4-AA8A-016FC0154B02}"/>
              </a:ext>
            </a:extLst>
          </p:cNvPr>
          <p:cNvSpPr>
            <a:spLocks noGrp="1"/>
          </p:cNvSpPr>
          <p:nvPr>
            <p:ph type="body" sz="quarter" idx="10" hasCustomPrompt="1"/>
          </p:nvPr>
        </p:nvSpPr>
        <p:spPr>
          <a:xfrm>
            <a:off x="8787573" y="2"/>
            <a:ext cx="3404427" cy="3464295"/>
          </a:xfrm>
          <a:custGeom>
            <a:avLst/>
            <a:gdLst>
              <a:gd name="connsiteX0" fmla="*/ 974239 w 2553320"/>
              <a:gd name="connsiteY0" fmla="*/ 0 h 2598221"/>
              <a:gd name="connsiteX1" fmla="*/ 2553320 w 2553320"/>
              <a:gd name="connsiteY1" fmla="*/ 0 h 2598221"/>
              <a:gd name="connsiteX2" fmla="*/ 2553320 w 2553320"/>
              <a:gd name="connsiteY2" fmla="*/ 1668884 h 2598221"/>
              <a:gd name="connsiteX3" fmla="*/ 1960321 w 2553320"/>
              <a:gd name="connsiteY3" fmla="*/ 2261883 h 2598221"/>
              <a:gd name="connsiteX4" fmla="*/ 336338 w 2553320"/>
              <a:gd name="connsiteY4" fmla="*/ 2261883 h 2598221"/>
              <a:gd name="connsiteX5" fmla="*/ 336338 w 2553320"/>
              <a:gd name="connsiteY5" fmla="*/ 637901 h 259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3320" h="2598221">
                <a:moveTo>
                  <a:pt x="974239" y="0"/>
                </a:moveTo>
                <a:lnTo>
                  <a:pt x="2553320" y="0"/>
                </a:lnTo>
                <a:lnTo>
                  <a:pt x="2553320" y="1668884"/>
                </a:lnTo>
                <a:lnTo>
                  <a:pt x="1960321" y="2261883"/>
                </a:lnTo>
                <a:cubicBezTo>
                  <a:pt x="1511870" y="2710334"/>
                  <a:pt x="784789" y="2710334"/>
                  <a:pt x="336338" y="2261883"/>
                </a:cubicBezTo>
                <a:cubicBezTo>
                  <a:pt x="-112112" y="1813433"/>
                  <a:pt x="-112112" y="1086352"/>
                  <a:pt x="336338" y="637901"/>
                </a:cubicBezTo>
                <a:close/>
              </a:path>
            </a:pathLst>
          </a:custGeom>
          <a:gradFill>
            <a:gsLst>
              <a:gs pos="20000">
                <a:schemeClr val="bg1"/>
              </a:gs>
              <a:gs pos="100000">
                <a:srgbClr val="D22E67"/>
              </a:gs>
            </a:gsLst>
            <a:lin ang="7200000" scaled="0"/>
          </a:gradFill>
        </p:spPr>
        <p:txBody>
          <a:bodyPr wrap="square" anchor="ctr">
            <a:noAutofit/>
          </a:bodyPr>
          <a:lstStyle>
            <a:lvl1pPr marL="0" indent="0" algn="ctr">
              <a:buNone/>
              <a:defRPr sz="9600">
                <a:solidFill>
                  <a:schemeClr val="tx1"/>
                </a:solidFill>
                <a:latin typeface="Proximus ExtraBold" panose="020B0604020202020204" charset="0"/>
              </a:defRPr>
            </a:lvl1pPr>
          </a:lstStyle>
          <a:p>
            <a:pPr lvl="0"/>
            <a:r>
              <a:rPr lang="en-US"/>
              <a:t>xx</a:t>
            </a:r>
          </a:p>
        </p:txBody>
      </p:sp>
    </p:spTree>
    <p:extLst>
      <p:ext uri="{BB962C8B-B14F-4D97-AF65-F5344CB8AC3E}">
        <p14:creationId xmlns:p14="http://schemas.microsoft.com/office/powerpoint/2010/main" val="59724148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Chapter - Purple">
    <p:bg>
      <p:bgPr>
        <a:solidFill>
          <a:schemeClr val="bg1"/>
        </a:soli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613833" y="2460272"/>
            <a:ext cx="7440000" cy="1335741"/>
          </a:xfrm>
        </p:spPr>
        <p:txBody>
          <a:bodyPr/>
          <a:lstStyle>
            <a:lvl1pPr marL="0" indent="0" algn="l">
              <a:lnSpc>
                <a:spcPct val="100000"/>
              </a:lnSpc>
              <a:buNone/>
              <a:defRPr sz="2933">
                <a:solidFill>
                  <a:schemeClr val="tx1"/>
                </a:solidFill>
                <a:latin typeface="Proximus Light" panose="00000500000000000000" pitchFamily="2"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613833" y="504000"/>
            <a:ext cx="7440000" cy="1612083"/>
          </a:xfrm>
        </p:spPr>
        <p:txBody>
          <a:bodyPr anchor="b">
            <a:noAutofit/>
          </a:bodyPr>
          <a:lstStyle>
            <a:lvl1pPr>
              <a:defRPr sz="48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702898" y="5724528"/>
            <a:ext cx="889207" cy="720725"/>
          </a:xfrm>
          <a:prstGeom prst="rect">
            <a:avLst/>
          </a:prstGeom>
        </p:spPr>
      </p:pic>
      <p:sp>
        <p:nvSpPr>
          <p:cNvPr id="2" name="Text Placeholder 1">
            <a:extLst>
              <a:ext uri="{FF2B5EF4-FFF2-40B4-BE49-F238E27FC236}">
                <a16:creationId xmlns:a16="http://schemas.microsoft.com/office/drawing/2014/main" id="{A13ED057-FB00-C414-4716-D43E229D0A38}"/>
              </a:ext>
            </a:extLst>
          </p:cNvPr>
          <p:cNvSpPr>
            <a:spLocks noGrp="1"/>
          </p:cNvSpPr>
          <p:nvPr>
            <p:ph type="body" sz="quarter" idx="10" hasCustomPrompt="1"/>
          </p:nvPr>
        </p:nvSpPr>
        <p:spPr>
          <a:xfrm>
            <a:off x="8787573" y="2"/>
            <a:ext cx="3404427" cy="3464295"/>
          </a:xfrm>
          <a:custGeom>
            <a:avLst/>
            <a:gdLst>
              <a:gd name="connsiteX0" fmla="*/ 974239 w 2553320"/>
              <a:gd name="connsiteY0" fmla="*/ 0 h 2598221"/>
              <a:gd name="connsiteX1" fmla="*/ 2553320 w 2553320"/>
              <a:gd name="connsiteY1" fmla="*/ 0 h 2598221"/>
              <a:gd name="connsiteX2" fmla="*/ 2553320 w 2553320"/>
              <a:gd name="connsiteY2" fmla="*/ 1668884 h 2598221"/>
              <a:gd name="connsiteX3" fmla="*/ 1960321 w 2553320"/>
              <a:gd name="connsiteY3" fmla="*/ 2261883 h 2598221"/>
              <a:gd name="connsiteX4" fmla="*/ 336338 w 2553320"/>
              <a:gd name="connsiteY4" fmla="*/ 2261883 h 2598221"/>
              <a:gd name="connsiteX5" fmla="*/ 336338 w 2553320"/>
              <a:gd name="connsiteY5" fmla="*/ 637901 h 259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3320" h="2598221">
                <a:moveTo>
                  <a:pt x="974239" y="0"/>
                </a:moveTo>
                <a:lnTo>
                  <a:pt x="2553320" y="0"/>
                </a:lnTo>
                <a:lnTo>
                  <a:pt x="2553320" y="1668884"/>
                </a:lnTo>
                <a:lnTo>
                  <a:pt x="1960321" y="2261883"/>
                </a:lnTo>
                <a:cubicBezTo>
                  <a:pt x="1511870" y="2710334"/>
                  <a:pt x="784789" y="2710334"/>
                  <a:pt x="336338" y="2261883"/>
                </a:cubicBezTo>
                <a:cubicBezTo>
                  <a:pt x="-112112" y="1813433"/>
                  <a:pt x="-112112" y="1086352"/>
                  <a:pt x="336338" y="637901"/>
                </a:cubicBezTo>
                <a:close/>
              </a:path>
            </a:pathLst>
          </a:custGeom>
          <a:gradFill>
            <a:gsLst>
              <a:gs pos="20000">
                <a:schemeClr val="bg1"/>
              </a:gs>
              <a:gs pos="100000">
                <a:srgbClr val="D22E67"/>
              </a:gs>
            </a:gsLst>
            <a:lin ang="7200000" scaled="0"/>
          </a:gradFill>
        </p:spPr>
        <p:txBody>
          <a:bodyPr wrap="square" anchor="ctr">
            <a:noAutofit/>
          </a:bodyPr>
          <a:lstStyle>
            <a:lvl1pPr marL="0" indent="0" algn="ctr">
              <a:buNone/>
              <a:defRPr sz="9600">
                <a:solidFill>
                  <a:schemeClr val="tx1"/>
                </a:solidFill>
                <a:latin typeface="Proximus ExtraBold" panose="020B0604020202020204" charset="0"/>
              </a:defRPr>
            </a:lvl1pPr>
          </a:lstStyle>
          <a:p>
            <a:pPr lvl="0"/>
            <a:r>
              <a:rPr lang="en-US"/>
              <a:t>xx</a:t>
            </a:r>
          </a:p>
        </p:txBody>
      </p:sp>
    </p:spTree>
    <p:extLst>
      <p:ext uri="{BB962C8B-B14F-4D97-AF65-F5344CB8AC3E}">
        <p14:creationId xmlns:p14="http://schemas.microsoft.com/office/powerpoint/2010/main" val="237925279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hapter - Gradient">
    <p:bg>
      <p:bgPr>
        <a:gradFill>
          <a:gsLst>
            <a:gs pos="25000">
              <a:schemeClr val="bg1"/>
            </a:gs>
            <a:gs pos="100000">
              <a:srgbClr val="D22E67"/>
            </a:gs>
          </a:gsLst>
          <a:lin ang="3000000" scaled="0"/>
        </a:gra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613833" y="2460272"/>
            <a:ext cx="7440000" cy="1335741"/>
          </a:xfrm>
        </p:spPr>
        <p:txBody>
          <a:bodyPr/>
          <a:lstStyle>
            <a:lvl1pPr marL="0" indent="0" algn="l">
              <a:lnSpc>
                <a:spcPct val="100000"/>
              </a:lnSpc>
              <a:buNone/>
              <a:defRPr sz="2933">
                <a:solidFill>
                  <a:schemeClr val="tx1"/>
                </a:solidFill>
                <a:latin typeface="Proximus Light" panose="00000500000000000000" pitchFamily="2"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613833" y="504000"/>
            <a:ext cx="7440000" cy="1612083"/>
          </a:xfrm>
        </p:spPr>
        <p:txBody>
          <a:bodyPr anchor="b">
            <a:noAutofit/>
          </a:bodyPr>
          <a:lstStyle>
            <a:lvl1pPr>
              <a:defRPr sz="48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702898" y="5724528"/>
            <a:ext cx="889207" cy="720725"/>
          </a:xfrm>
          <a:prstGeom prst="rect">
            <a:avLst/>
          </a:prstGeom>
        </p:spPr>
      </p:pic>
      <p:sp>
        <p:nvSpPr>
          <p:cNvPr id="2" name="Text Placeholder 1">
            <a:extLst>
              <a:ext uri="{FF2B5EF4-FFF2-40B4-BE49-F238E27FC236}">
                <a16:creationId xmlns:a16="http://schemas.microsoft.com/office/drawing/2014/main" id="{A13ED057-FB00-C414-4716-D43E229D0A38}"/>
              </a:ext>
            </a:extLst>
          </p:cNvPr>
          <p:cNvSpPr>
            <a:spLocks noGrp="1"/>
          </p:cNvSpPr>
          <p:nvPr>
            <p:ph type="body" sz="quarter" idx="10" hasCustomPrompt="1"/>
          </p:nvPr>
        </p:nvSpPr>
        <p:spPr>
          <a:xfrm>
            <a:off x="8787573" y="2"/>
            <a:ext cx="3404427" cy="3464295"/>
          </a:xfrm>
          <a:custGeom>
            <a:avLst/>
            <a:gdLst>
              <a:gd name="connsiteX0" fmla="*/ 974239 w 2553320"/>
              <a:gd name="connsiteY0" fmla="*/ 0 h 2598221"/>
              <a:gd name="connsiteX1" fmla="*/ 2553320 w 2553320"/>
              <a:gd name="connsiteY1" fmla="*/ 0 h 2598221"/>
              <a:gd name="connsiteX2" fmla="*/ 2553320 w 2553320"/>
              <a:gd name="connsiteY2" fmla="*/ 1668884 h 2598221"/>
              <a:gd name="connsiteX3" fmla="*/ 1960321 w 2553320"/>
              <a:gd name="connsiteY3" fmla="*/ 2261883 h 2598221"/>
              <a:gd name="connsiteX4" fmla="*/ 336338 w 2553320"/>
              <a:gd name="connsiteY4" fmla="*/ 2261883 h 2598221"/>
              <a:gd name="connsiteX5" fmla="*/ 336338 w 2553320"/>
              <a:gd name="connsiteY5" fmla="*/ 637901 h 259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3320" h="2598221">
                <a:moveTo>
                  <a:pt x="974239" y="0"/>
                </a:moveTo>
                <a:lnTo>
                  <a:pt x="2553320" y="0"/>
                </a:lnTo>
                <a:lnTo>
                  <a:pt x="2553320" y="1668884"/>
                </a:lnTo>
                <a:lnTo>
                  <a:pt x="1960321" y="2261883"/>
                </a:lnTo>
                <a:cubicBezTo>
                  <a:pt x="1511870" y="2710334"/>
                  <a:pt x="784789" y="2710334"/>
                  <a:pt x="336338" y="2261883"/>
                </a:cubicBezTo>
                <a:cubicBezTo>
                  <a:pt x="-112112" y="1813433"/>
                  <a:pt x="-112112" y="1086352"/>
                  <a:pt x="336338" y="637901"/>
                </a:cubicBezTo>
                <a:close/>
              </a:path>
            </a:pathLst>
          </a:custGeom>
          <a:solidFill>
            <a:schemeClr val="tx1"/>
          </a:solidFill>
        </p:spPr>
        <p:txBody>
          <a:bodyPr wrap="square" anchor="ctr">
            <a:noAutofit/>
          </a:bodyPr>
          <a:lstStyle>
            <a:lvl1pPr marL="0" indent="0" algn="ctr">
              <a:buNone/>
              <a:defRPr sz="9600">
                <a:gradFill>
                  <a:gsLst>
                    <a:gs pos="20000">
                      <a:schemeClr val="bg1"/>
                    </a:gs>
                    <a:gs pos="100000">
                      <a:srgbClr val="D22E67"/>
                    </a:gs>
                  </a:gsLst>
                  <a:lin ang="3000000" scaled="0"/>
                </a:gradFill>
                <a:latin typeface="Proximus ExtraBold" panose="020B0604020202020204" charset="0"/>
              </a:defRPr>
            </a:lvl1pPr>
          </a:lstStyle>
          <a:p>
            <a:pPr lvl="0"/>
            <a:r>
              <a:rPr lang="en-US"/>
              <a:t>xx</a:t>
            </a:r>
          </a:p>
        </p:txBody>
      </p:sp>
    </p:spTree>
    <p:extLst>
      <p:ext uri="{BB962C8B-B14F-4D97-AF65-F5344CB8AC3E}">
        <p14:creationId xmlns:p14="http://schemas.microsoft.com/office/powerpoint/2010/main" val="323017414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hapter - Illustration 1">
    <p:bg>
      <p:bgPr>
        <a:gradFill>
          <a:gsLst>
            <a:gs pos="25000">
              <a:schemeClr val="bg1"/>
            </a:gs>
            <a:gs pos="100000">
              <a:schemeClr val="bg2"/>
            </a:gs>
          </a:gsLst>
          <a:lin ang="3000000" scaled="0"/>
        </a:gra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613833" y="3064344"/>
            <a:ext cx="4673035" cy="1530233"/>
          </a:xfrm>
        </p:spPr>
        <p:txBody>
          <a:bodyPr/>
          <a:lstStyle>
            <a:lvl1pPr marL="0" indent="0" algn="l">
              <a:lnSpc>
                <a:spcPct val="100000"/>
              </a:lnSpc>
              <a:buNone/>
              <a:defRPr sz="2933">
                <a:solidFill>
                  <a:schemeClr val="tx1"/>
                </a:solidFill>
                <a:latin typeface="Proximus Light" panose="00000500000000000000" pitchFamily="2"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613835" y="505885"/>
            <a:ext cx="6182077" cy="2214271"/>
          </a:xfrm>
        </p:spPr>
        <p:txBody>
          <a:bodyPr anchor="b">
            <a:noAutofit/>
          </a:bodyPr>
          <a:lstStyle>
            <a:lvl1pPr>
              <a:defRPr sz="48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702898" y="5724528"/>
            <a:ext cx="889207" cy="720725"/>
          </a:xfrm>
          <a:prstGeom prst="rect">
            <a:avLst/>
          </a:prstGeom>
        </p:spPr>
      </p:pic>
      <p:pic>
        <p:nvPicPr>
          <p:cNvPr id="2" name="Graphic 1">
            <a:extLst>
              <a:ext uri="{FF2B5EF4-FFF2-40B4-BE49-F238E27FC236}">
                <a16:creationId xmlns:a16="http://schemas.microsoft.com/office/drawing/2014/main" id="{46333D4F-5D02-DCDE-F7B0-2ECA272BB486}"/>
              </a:ext>
            </a:extLst>
          </p:cNvPr>
          <p:cNvPicPr>
            <a:picLocks noChangeAspect="1"/>
          </p:cNvPicPr>
          <p:nvPr userDrawn="1"/>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1" t="-1139" r="5844"/>
          <a:stretch/>
        </p:blipFill>
        <p:spPr>
          <a:xfrm>
            <a:off x="5286868" y="333909"/>
            <a:ext cx="6905133" cy="5750983"/>
          </a:xfrm>
          <a:prstGeom prst="rect">
            <a:avLst/>
          </a:prstGeom>
        </p:spPr>
      </p:pic>
    </p:spTree>
    <p:extLst>
      <p:ext uri="{BB962C8B-B14F-4D97-AF65-F5344CB8AC3E}">
        <p14:creationId xmlns:p14="http://schemas.microsoft.com/office/powerpoint/2010/main" val="391029548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Chapter - Illustration 2">
    <p:bg>
      <p:bgPr>
        <a:gradFill>
          <a:gsLst>
            <a:gs pos="25000">
              <a:schemeClr val="bg1"/>
            </a:gs>
            <a:gs pos="100000">
              <a:srgbClr val="D12E67"/>
            </a:gs>
          </a:gsLst>
          <a:lin ang="3000000" scaled="0"/>
        </a:gradFill>
        <a:effectLst/>
      </p:bgPr>
    </p:bg>
    <p:spTree>
      <p:nvGrpSpPr>
        <p:cNvPr id="1" name=""/>
        <p:cNvGrpSpPr/>
        <p:nvPr/>
      </p:nvGrpSpPr>
      <p:grpSpPr>
        <a:xfrm>
          <a:off x="0" y="0"/>
          <a:ext cx="0" cy="0"/>
          <a:chOff x="0" y="0"/>
          <a:chExt cx="0" cy="0"/>
        </a:xfrm>
      </p:grpSpPr>
      <p:pic>
        <p:nvPicPr>
          <p:cNvPr id="70" name="Graphic 69">
            <a:extLst>
              <a:ext uri="{FF2B5EF4-FFF2-40B4-BE49-F238E27FC236}">
                <a16:creationId xmlns:a16="http://schemas.microsoft.com/office/drawing/2014/main" id="{ADBF8575-D13C-292D-662F-9F9FA797F75D}"/>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l="-1" r="39144" b="15694"/>
          <a:stretch/>
        </p:blipFill>
        <p:spPr>
          <a:xfrm>
            <a:off x="2925234" y="1579034"/>
            <a:ext cx="9266767" cy="5278967"/>
          </a:xfrm>
          <a:prstGeom prst="rect">
            <a:avLst/>
          </a:prstGeom>
        </p:spPr>
      </p:pic>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613833" y="3064344"/>
            <a:ext cx="4673035" cy="1530233"/>
          </a:xfrm>
        </p:spPr>
        <p:txBody>
          <a:bodyPr/>
          <a:lstStyle>
            <a:lvl1pPr marL="0" indent="0" algn="l">
              <a:lnSpc>
                <a:spcPct val="100000"/>
              </a:lnSpc>
              <a:buNone/>
              <a:defRPr sz="2933">
                <a:solidFill>
                  <a:schemeClr val="tx1"/>
                </a:solidFill>
                <a:latin typeface="Proximus Light" panose="00000500000000000000" pitchFamily="2"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613835" y="505885"/>
            <a:ext cx="6182077" cy="2214271"/>
          </a:xfrm>
        </p:spPr>
        <p:txBody>
          <a:bodyPr anchor="b">
            <a:noAutofit/>
          </a:bodyPr>
          <a:lstStyle>
            <a:lvl1pPr>
              <a:defRPr sz="48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702898" y="5724528"/>
            <a:ext cx="889207" cy="720725"/>
          </a:xfrm>
          <a:prstGeom prst="rect">
            <a:avLst/>
          </a:prstGeom>
        </p:spPr>
      </p:pic>
    </p:spTree>
    <p:extLst>
      <p:ext uri="{BB962C8B-B14F-4D97-AF65-F5344CB8AC3E}">
        <p14:creationId xmlns:p14="http://schemas.microsoft.com/office/powerpoint/2010/main" val="144294112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Chapter - Illustration 3">
    <p:bg>
      <p:bgPr>
        <a:gradFill>
          <a:gsLst>
            <a:gs pos="25000">
              <a:schemeClr val="bg1"/>
            </a:gs>
            <a:gs pos="100000">
              <a:schemeClr val="accent4"/>
            </a:gs>
          </a:gsLst>
          <a:lin ang="3000000" scaled="0"/>
        </a:gradFill>
        <a:effectLst/>
      </p:bgPr>
    </p:bg>
    <p:spTree>
      <p:nvGrpSpPr>
        <p:cNvPr id="1" name=""/>
        <p:cNvGrpSpPr/>
        <p:nvPr/>
      </p:nvGrpSpPr>
      <p:grpSpPr>
        <a:xfrm>
          <a:off x="0" y="0"/>
          <a:ext cx="0" cy="0"/>
          <a:chOff x="0" y="0"/>
          <a:chExt cx="0" cy="0"/>
        </a:xfrm>
      </p:grpSpPr>
      <p:pic>
        <p:nvPicPr>
          <p:cNvPr id="3" name="Picture 2" descr="Icon&#10;&#10;Description automatically generated">
            <a:extLst>
              <a:ext uri="{FF2B5EF4-FFF2-40B4-BE49-F238E27FC236}">
                <a16:creationId xmlns:a16="http://schemas.microsoft.com/office/drawing/2014/main" id="{10C2C515-BD5B-1EA9-81D6-9F705E41FA6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294354" y="343905"/>
            <a:ext cx="4897647" cy="6514096"/>
          </a:xfrm>
          <a:prstGeom prst="rect">
            <a:avLst/>
          </a:prstGeom>
        </p:spPr>
      </p:pic>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613833" y="3064344"/>
            <a:ext cx="6182076" cy="1530233"/>
          </a:xfrm>
        </p:spPr>
        <p:txBody>
          <a:bodyPr/>
          <a:lstStyle>
            <a:lvl1pPr marL="0" indent="0" algn="l">
              <a:lnSpc>
                <a:spcPct val="100000"/>
              </a:lnSpc>
              <a:buNone/>
              <a:defRPr sz="2933">
                <a:solidFill>
                  <a:schemeClr val="tx1"/>
                </a:solidFill>
                <a:latin typeface="Proximus Light" panose="00000500000000000000" pitchFamily="2"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613835" y="505885"/>
            <a:ext cx="6182077" cy="2214271"/>
          </a:xfrm>
        </p:spPr>
        <p:txBody>
          <a:bodyPr anchor="b">
            <a:noAutofit/>
          </a:bodyPr>
          <a:lstStyle>
            <a:lvl1pPr>
              <a:defRPr sz="48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702898" y="5724528"/>
            <a:ext cx="889207" cy="720725"/>
          </a:xfrm>
          <a:prstGeom prst="rect">
            <a:avLst/>
          </a:prstGeom>
        </p:spPr>
      </p:pic>
    </p:spTree>
    <p:extLst>
      <p:ext uri="{BB962C8B-B14F-4D97-AF65-F5344CB8AC3E}">
        <p14:creationId xmlns:p14="http://schemas.microsoft.com/office/powerpoint/2010/main" val="9375956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Chapter - Illustration 4">
    <p:bg>
      <p:bgPr>
        <a:gradFill>
          <a:gsLst>
            <a:gs pos="25000">
              <a:schemeClr val="bg1"/>
            </a:gs>
            <a:gs pos="100000">
              <a:srgbClr val="EAC883"/>
            </a:gs>
          </a:gsLst>
          <a:lin ang="3000000" scaled="0"/>
        </a:gra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322754B0-B2D7-9557-F5B0-DF92C09F740E}"/>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r="9478" b="16358"/>
          <a:stretch/>
        </p:blipFill>
        <p:spPr>
          <a:xfrm>
            <a:off x="6172202" y="742947"/>
            <a:ext cx="6019799" cy="6115053"/>
          </a:xfrm>
          <a:prstGeom prst="rect">
            <a:avLst/>
          </a:prstGeom>
        </p:spPr>
      </p:pic>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613833" y="3064344"/>
            <a:ext cx="5151968" cy="1530233"/>
          </a:xfrm>
        </p:spPr>
        <p:txBody>
          <a:bodyPr/>
          <a:lstStyle>
            <a:lvl1pPr marL="0" indent="0" algn="l">
              <a:lnSpc>
                <a:spcPct val="100000"/>
              </a:lnSpc>
              <a:buNone/>
              <a:defRPr sz="2933">
                <a:solidFill>
                  <a:schemeClr val="tx1"/>
                </a:solidFill>
                <a:latin typeface="Proximus Light" panose="00000500000000000000" pitchFamily="2"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613835" y="505885"/>
            <a:ext cx="5151967" cy="2214271"/>
          </a:xfrm>
        </p:spPr>
        <p:txBody>
          <a:bodyPr anchor="b">
            <a:noAutofit/>
          </a:bodyPr>
          <a:lstStyle>
            <a:lvl1pPr>
              <a:defRPr sz="48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702898" y="5724528"/>
            <a:ext cx="889207" cy="720725"/>
          </a:xfrm>
          <a:prstGeom prst="rect">
            <a:avLst/>
          </a:prstGeom>
        </p:spPr>
      </p:pic>
    </p:spTree>
    <p:extLst>
      <p:ext uri="{BB962C8B-B14F-4D97-AF65-F5344CB8AC3E}">
        <p14:creationId xmlns:p14="http://schemas.microsoft.com/office/powerpoint/2010/main" val="17718508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XS ADA - title and subtitle - bg2">
    <p:bg>
      <p:bgPr>
        <a:solidFill>
          <a:schemeClr val="bg1"/>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F7EBA62-83ED-E61E-CDC0-5AF2D864BCF8}"/>
              </a:ext>
            </a:extLst>
          </p:cNvPr>
          <p:cNvGrpSpPr/>
          <p:nvPr userDrawn="1"/>
        </p:nvGrpSpPr>
        <p:grpSpPr>
          <a:xfrm>
            <a:off x="-400" y="1"/>
            <a:ext cx="12193600" cy="6858225"/>
            <a:chOff x="-300" y="0"/>
            <a:chExt cx="9145200" cy="5143669"/>
          </a:xfrm>
        </p:grpSpPr>
        <p:pic>
          <p:nvPicPr>
            <p:cNvPr id="4" name="Picture 3">
              <a:extLst>
                <a:ext uri="{FF2B5EF4-FFF2-40B4-BE49-F238E27FC236}">
                  <a16:creationId xmlns:a16="http://schemas.microsoft.com/office/drawing/2014/main" id="{B543BCE5-7595-97D5-0C85-9A12C55447A8}"/>
                </a:ext>
                <a:ext uri="{C183D7F6-B498-43B3-948B-1728B52AA6E4}">
                  <adec:decorative xmlns:adec="http://schemas.microsoft.com/office/drawing/2017/decorative" val="1"/>
                </a:ext>
              </a:extLst>
            </p:cNvPr>
            <p:cNvPicPr>
              <a:picLocks/>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300" y="0"/>
              <a:ext cx="9144300" cy="5143669"/>
            </a:xfrm>
            <a:prstGeom prst="rect">
              <a:avLst/>
            </a:prstGeom>
          </p:spPr>
        </p:pic>
        <p:sp>
          <p:nvSpPr>
            <p:cNvPr id="5" name="Rectangle 4">
              <a:extLst>
                <a:ext uri="{FF2B5EF4-FFF2-40B4-BE49-F238E27FC236}">
                  <a16:creationId xmlns:a16="http://schemas.microsoft.com/office/drawing/2014/main" id="{7079E387-72CF-1156-4232-411BB4110690}"/>
                </a:ext>
              </a:extLst>
            </p:cNvPr>
            <p:cNvSpPr/>
            <p:nvPr userDrawn="1"/>
          </p:nvSpPr>
          <p:spPr>
            <a:xfrm>
              <a:off x="-300" y="0"/>
              <a:ext cx="9145200" cy="5143669"/>
            </a:xfrm>
            <a:prstGeom prst="rect">
              <a:avLst/>
            </a:prstGeom>
            <a:gradFill>
              <a:gsLst>
                <a:gs pos="0">
                  <a:srgbClr val="5C2D91"/>
                </a:gs>
                <a:gs pos="60000">
                  <a:srgbClr val="5C2D91">
                    <a:alpha val="0"/>
                  </a:srgb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2400"/>
            </a:p>
          </p:txBody>
        </p:sp>
      </p:grpSp>
      <p:sp>
        <p:nvSpPr>
          <p:cNvPr id="2" name="Title 1"/>
          <p:cNvSpPr>
            <a:spLocks noGrp="1"/>
          </p:cNvSpPr>
          <p:nvPr>
            <p:ph type="title" hasCustomPrompt="1"/>
          </p:nvPr>
        </p:nvSpPr>
        <p:spPr>
          <a:xfrm>
            <a:off x="613837" y="503769"/>
            <a:ext cx="10962217" cy="533399"/>
          </a:xfrm>
        </p:spPr>
        <p:txBody>
          <a:bodyPr anchor="t"/>
          <a:lstStyle>
            <a:lvl1pPr>
              <a:defRPr b="0">
                <a:solidFill>
                  <a:schemeClr val="tx1"/>
                </a:solidFill>
              </a:defRPr>
            </a:lvl1pPr>
          </a:lstStyle>
          <a:p>
            <a:r>
              <a:rPr lang="en-US"/>
              <a:t>Click to edit slide title</a:t>
            </a:r>
            <a:endParaRPr lang="nl-BE"/>
          </a:p>
        </p:txBody>
      </p:sp>
      <p:sp>
        <p:nvSpPr>
          <p:cNvPr id="6" name="Text Placeholder 5">
            <a:extLst>
              <a:ext uri="{FF2B5EF4-FFF2-40B4-BE49-F238E27FC236}">
                <a16:creationId xmlns:a16="http://schemas.microsoft.com/office/drawing/2014/main" id="{3CFA2924-4BFC-CB4A-33EA-AFA2F3E1085E}"/>
              </a:ext>
            </a:extLst>
          </p:cNvPr>
          <p:cNvSpPr>
            <a:spLocks noGrp="1"/>
          </p:cNvSpPr>
          <p:nvPr>
            <p:ph type="body" sz="quarter" idx="12"/>
          </p:nvPr>
        </p:nvSpPr>
        <p:spPr>
          <a:xfrm>
            <a:off x="624417" y="1138501"/>
            <a:ext cx="10962216" cy="393967"/>
          </a:xfrm>
        </p:spPr>
        <p:txBody>
          <a:bodyPr/>
          <a:lstStyle>
            <a:lvl1pPr>
              <a:defRPr sz="2133" b="1">
                <a:solidFill>
                  <a:schemeClr val="tx1"/>
                </a:solidFill>
                <a:latin typeface="+mn-lt"/>
              </a:defRPr>
            </a:lvl1pPr>
          </a:lstStyle>
          <a:p>
            <a:pPr lvl="0"/>
            <a:r>
              <a:rPr lang="en-US"/>
              <a:t>Click to edit Master text styles</a:t>
            </a:r>
          </a:p>
        </p:txBody>
      </p:sp>
    </p:spTree>
    <p:extLst>
      <p:ext uri="{BB962C8B-B14F-4D97-AF65-F5344CB8AC3E}">
        <p14:creationId xmlns:p14="http://schemas.microsoft.com/office/powerpoint/2010/main" val="3448653463"/>
      </p:ext>
    </p:extLst>
  </p:cSld>
  <p:clrMapOvr>
    <a:masterClrMapping/>
  </p:clrMapOvr>
  <p:extLst>
    <p:ext uri="{DCECCB84-F9BA-43D5-87BE-67443E8EF086}">
      <p15:sldGuideLst xmlns:p15="http://schemas.microsoft.com/office/powerpoint/2012/main">
        <p15:guide id="1" orient="horz" pos="962">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Chapter - Illustration 5">
    <p:bg>
      <p:bgPr>
        <a:gradFill>
          <a:gsLst>
            <a:gs pos="25000">
              <a:schemeClr val="bg1"/>
            </a:gs>
            <a:gs pos="100000">
              <a:schemeClr val="accent4"/>
            </a:gs>
          </a:gsLst>
          <a:lin ang="3000000" scaled="0"/>
        </a:gra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03C6FC05-0912-4D09-AB1A-070021DA63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378165" y="5809448"/>
            <a:ext cx="451200" cy="451200"/>
          </a:xfrm>
          <a:prstGeom prst="rect">
            <a:avLst/>
          </a:prstGeom>
        </p:spPr>
      </p:pic>
      <p:sp>
        <p:nvSpPr>
          <p:cNvPr id="11" name="Subtitle 2">
            <a:extLst>
              <a:ext uri="{FF2B5EF4-FFF2-40B4-BE49-F238E27FC236}">
                <a16:creationId xmlns:a16="http://schemas.microsoft.com/office/drawing/2014/main" id="{54624A9C-854F-40A2-99B9-039188C411C2}"/>
              </a:ext>
            </a:extLst>
          </p:cNvPr>
          <p:cNvSpPr>
            <a:spLocks noGrp="1"/>
          </p:cNvSpPr>
          <p:nvPr userDrawn="1">
            <p:ph type="subTitle" idx="1" hasCustomPrompt="1"/>
          </p:nvPr>
        </p:nvSpPr>
        <p:spPr>
          <a:xfrm>
            <a:off x="613833" y="3064343"/>
            <a:ext cx="6128712" cy="2214271"/>
          </a:xfrm>
        </p:spPr>
        <p:txBody>
          <a:bodyPr/>
          <a:lstStyle>
            <a:lvl1pPr marL="0" indent="0" algn="l">
              <a:lnSpc>
                <a:spcPct val="100000"/>
              </a:lnSpc>
              <a:buNone/>
              <a:defRPr sz="2933">
                <a:solidFill>
                  <a:schemeClr val="tx1"/>
                </a:solidFill>
                <a:latin typeface="Proximus Light" panose="00000500000000000000" pitchFamily="2"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userDrawn="1">
            <p:ph type="title" hasCustomPrompt="1"/>
          </p:nvPr>
        </p:nvSpPr>
        <p:spPr>
          <a:xfrm>
            <a:off x="613834" y="505885"/>
            <a:ext cx="7051321" cy="2214271"/>
          </a:xfrm>
        </p:spPr>
        <p:txBody>
          <a:bodyPr anchor="b">
            <a:noAutofit/>
          </a:bodyPr>
          <a:lstStyle>
            <a:lvl1pPr>
              <a:defRPr sz="48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2" name="Picture 1">
            <a:extLst>
              <a:ext uri="{FF2B5EF4-FFF2-40B4-BE49-F238E27FC236}">
                <a16:creationId xmlns:a16="http://schemas.microsoft.com/office/drawing/2014/main" id="{B72879CF-519E-973B-9D15-BE647E70A501}"/>
              </a:ext>
            </a:extLst>
          </p:cNvPr>
          <p:cNvPicPr>
            <a:picLocks noChangeAspect="1"/>
          </p:cNvPicPr>
          <p:nvPr userDrawn="1"/>
        </p:nvPicPr>
        <p:blipFill>
          <a:blip r:embed="rId4"/>
          <a:srcRect/>
          <a:stretch/>
        </p:blipFill>
        <p:spPr>
          <a:xfrm>
            <a:off x="618839" y="3842797"/>
            <a:ext cx="10892420" cy="3052147"/>
          </a:xfrm>
          <a:prstGeom prst="rect">
            <a:avLst/>
          </a:prstGeom>
        </p:spPr>
      </p:pic>
      <p:pic>
        <p:nvPicPr>
          <p:cNvPr id="3" name="Graphic 2">
            <a:extLst>
              <a:ext uri="{FF2B5EF4-FFF2-40B4-BE49-F238E27FC236}">
                <a16:creationId xmlns:a16="http://schemas.microsoft.com/office/drawing/2014/main" id="{8271CB24-9AC1-6BC0-C0B4-C94C1F9D35F5}"/>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702898" y="5724528"/>
            <a:ext cx="889207" cy="720725"/>
          </a:xfrm>
          <a:prstGeom prst="rect">
            <a:avLst/>
          </a:prstGeom>
        </p:spPr>
      </p:pic>
    </p:spTree>
    <p:extLst>
      <p:ext uri="{BB962C8B-B14F-4D97-AF65-F5344CB8AC3E}">
        <p14:creationId xmlns:p14="http://schemas.microsoft.com/office/powerpoint/2010/main" val="21270746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hapter - Illustration 6">
    <p:bg>
      <p:bgPr>
        <a:gradFill>
          <a:gsLst>
            <a:gs pos="25000">
              <a:schemeClr val="bg1"/>
            </a:gs>
            <a:gs pos="100000">
              <a:schemeClr val="accent5"/>
            </a:gs>
          </a:gsLst>
          <a:lin ang="3000000" scaled="0"/>
        </a:gra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BF8378EB-DAE3-4981-AF59-0C39556517E6}"/>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t="1" r="8768" b="5820"/>
          <a:stretch/>
        </p:blipFill>
        <p:spPr>
          <a:xfrm>
            <a:off x="3046829" y="2462401"/>
            <a:ext cx="9145171" cy="4395599"/>
          </a:xfrm>
          <a:prstGeom prst="rect">
            <a:avLst/>
          </a:prstGeom>
        </p:spPr>
      </p:pic>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613834" y="2462401"/>
            <a:ext cx="4381500" cy="2214271"/>
          </a:xfrm>
        </p:spPr>
        <p:txBody>
          <a:bodyPr/>
          <a:lstStyle>
            <a:lvl1pPr marL="0" indent="0" algn="l">
              <a:lnSpc>
                <a:spcPct val="100000"/>
              </a:lnSpc>
              <a:buNone/>
              <a:defRPr sz="2933">
                <a:solidFill>
                  <a:schemeClr val="tx1"/>
                </a:solidFill>
                <a:latin typeface="Proximus Light" panose="00000500000000000000" pitchFamily="2"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613834" y="505883"/>
            <a:ext cx="10960100" cy="1612800"/>
          </a:xfrm>
        </p:spPr>
        <p:txBody>
          <a:bodyPr anchor="b">
            <a:noAutofit/>
          </a:bodyPr>
          <a:lstStyle>
            <a:lvl1pPr>
              <a:defRPr sz="48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702898" y="5724528"/>
            <a:ext cx="889207" cy="720725"/>
          </a:xfrm>
          <a:prstGeom prst="rect">
            <a:avLst/>
          </a:prstGeom>
        </p:spPr>
      </p:pic>
    </p:spTree>
    <p:extLst>
      <p:ext uri="{BB962C8B-B14F-4D97-AF65-F5344CB8AC3E}">
        <p14:creationId xmlns:p14="http://schemas.microsoft.com/office/powerpoint/2010/main" val="429403244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ubchapter - White">
    <p:bg>
      <p:bgPr>
        <a:solidFill>
          <a:schemeClr val="tx1"/>
        </a:soli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613834" y="2460272"/>
            <a:ext cx="8225367" cy="1335741"/>
          </a:xfrm>
        </p:spPr>
        <p:txBody>
          <a:bodyPr/>
          <a:lstStyle>
            <a:lvl1pPr marL="0" indent="0" algn="l">
              <a:lnSpc>
                <a:spcPct val="100000"/>
              </a:lnSpc>
              <a:buNone/>
              <a:defRPr sz="2667">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613834" y="504000"/>
            <a:ext cx="8225367" cy="1612083"/>
          </a:xfrm>
        </p:spPr>
        <p:txBody>
          <a:bodyPr anchor="b">
            <a:noAutofit/>
          </a:bodyPr>
          <a:lstStyle>
            <a:lvl1pPr>
              <a:defRPr sz="4267" b="0">
                <a:solidFill>
                  <a:schemeClr val="bg1"/>
                </a:solidFill>
                <a:latin typeface="Proximus Light" panose="020B0604020202020204" charset="0"/>
              </a:defRPr>
            </a:lvl1pPr>
          </a:lstStyle>
          <a:p>
            <a:r>
              <a:rPr lang="en-US"/>
              <a:t>Click to edit </a:t>
            </a:r>
            <a:br>
              <a:rPr lang="en-US"/>
            </a:br>
            <a:r>
              <a:rPr lang="en-US"/>
              <a:t>subchapter title</a:t>
            </a:r>
            <a:endParaRPr lang="nl-BE"/>
          </a:p>
        </p:txBody>
      </p:sp>
      <p:pic>
        <p:nvPicPr>
          <p:cNvPr id="2" name="Graphic 1">
            <a:extLst>
              <a:ext uri="{FF2B5EF4-FFF2-40B4-BE49-F238E27FC236}">
                <a16:creationId xmlns:a16="http://schemas.microsoft.com/office/drawing/2014/main" id="{E679911C-93F9-B87D-B3FA-11770F8ED222}"/>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702898" y="5724528"/>
            <a:ext cx="890679" cy="720725"/>
          </a:xfrm>
          <a:prstGeom prst="rect">
            <a:avLst/>
          </a:prstGeom>
        </p:spPr>
      </p:pic>
      <p:sp>
        <p:nvSpPr>
          <p:cNvPr id="3" name="Text Placeholder 2">
            <a:extLst>
              <a:ext uri="{FF2B5EF4-FFF2-40B4-BE49-F238E27FC236}">
                <a16:creationId xmlns:a16="http://schemas.microsoft.com/office/drawing/2014/main" id="{52EFA49A-5254-AD86-1692-AD2FEDB27285}"/>
              </a:ext>
            </a:extLst>
          </p:cNvPr>
          <p:cNvSpPr>
            <a:spLocks noGrp="1"/>
          </p:cNvSpPr>
          <p:nvPr>
            <p:ph type="body" sz="quarter" idx="10" hasCustomPrompt="1"/>
          </p:nvPr>
        </p:nvSpPr>
        <p:spPr>
          <a:xfrm>
            <a:off x="9398000" y="2"/>
            <a:ext cx="2794000" cy="2843133"/>
          </a:xfrm>
          <a:custGeom>
            <a:avLst/>
            <a:gdLst>
              <a:gd name="connsiteX0" fmla="*/ 974239 w 2553320"/>
              <a:gd name="connsiteY0" fmla="*/ 0 h 2598221"/>
              <a:gd name="connsiteX1" fmla="*/ 2553320 w 2553320"/>
              <a:gd name="connsiteY1" fmla="*/ 0 h 2598221"/>
              <a:gd name="connsiteX2" fmla="*/ 2553320 w 2553320"/>
              <a:gd name="connsiteY2" fmla="*/ 1668884 h 2598221"/>
              <a:gd name="connsiteX3" fmla="*/ 1960321 w 2553320"/>
              <a:gd name="connsiteY3" fmla="*/ 2261883 h 2598221"/>
              <a:gd name="connsiteX4" fmla="*/ 336338 w 2553320"/>
              <a:gd name="connsiteY4" fmla="*/ 2261883 h 2598221"/>
              <a:gd name="connsiteX5" fmla="*/ 336338 w 2553320"/>
              <a:gd name="connsiteY5" fmla="*/ 637901 h 259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3320" h="2598221">
                <a:moveTo>
                  <a:pt x="974239" y="0"/>
                </a:moveTo>
                <a:lnTo>
                  <a:pt x="2553320" y="0"/>
                </a:lnTo>
                <a:lnTo>
                  <a:pt x="2553320" y="1668884"/>
                </a:lnTo>
                <a:lnTo>
                  <a:pt x="1960321" y="2261883"/>
                </a:lnTo>
                <a:cubicBezTo>
                  <a:pt x="1511870" y="2710334"/>
                  <a:pt x="784789" y="2710334"/>
                  <a:pt x="336338" y="2261883"/>
                </a:cubicBezTo>
                <a:cubicBezTo>
                  <a:pt x="-112112" y="1813433"/>
                  <a:pt x="-112112" y="1086352"/>
                  <a:pt x="336338" y="637901"/>
                </a:cubicBezTo>
                <a:close/>
              </a:path>
            </a:pathLst>
          </a:custGeom>
          <a:gradFill>
            <a:gsLst>
              <a:gs pos="20000">
                <a:schemeClr val="bg1"/>
              </a:gs>
              <a:gs pos="100000">
                <a:srgbClr val="D22E67"/>
              </a:gs>
            </a:gsLst>
            <a:lin ang="7200000" scaled="0"/>
          </a:gradFill>
        </p:spPr>
        <p:txBody>
          <a:bodyPr wrap="square" anchor="ctr">
            <a:noAutofit/>
          </a:bodyPr>
          <a:lstStyle>
            <a:lvl1pPr marL="0" indent="0" algn="ctr">
              <a:buNone/>
              <a:defRPr sz="8000">
                <a:solidFill>
                  <a:schemeClr val="tx1"/>
                </a:solidFill>
                <a:latin typeface="Proximus Light" panose="020B0604020202020204" charset="0"/>
              </a:defRPr>
            </a:lvl1pPr>
          </a:lstStyle>
          <a:p>
            <a:pPr lvl="0"/>
            <a:r>
              <a:rPr lang="en-US"/>
              <a:t>xx</a:t>
            </a:r>
          </a:p>
        </p:txBody>
      </p:sp>
    </p:spTree>
    <p:extLst>
      <p:ext uri="{BB962C8B-B14F-4D97-AF65-F5344CB8AC3E}">
        <p14:creationId xmlns:p14="http://schemas.microsoft.com/office/powerpoint/2010/main" val="9791041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ntent slide - white bg - bullet menu">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b="1"/>
            </a:lvl1pPr>
          </a:lstStyle>
          <a:p>
            <a:r>
              <a:rPr lang="en-US"/>
              <a:t>Click to edit slide title</a:t>
            </a:r>
            <a:endParaRPr lang="nl-BE"/>
          </a:p>
        </p:txBody>
      </p:sp>
      <p:sp>
        <p:nvSpPr>
          <p:cNvPr id="11" name="Text Placeholder 2">
            <a:extLst>
              <a:ext uri="{FF2B5EF4-FFF2-40B4-BE49-F238E27FC236}">
                <a16:creationId xmlns:a16="http://schemas.microsoft.com/office/drawing/2014/main" id="{10193D06-FB5B-42EC-9101-F77EE2C16642}"/>
              </a:ext>
            </a:extLst>
          </p:cNvPr>
          <p:cNvSpPr>
            <a:spLocks noGrp="1"/>
          </p:cNvSpPr>
          <p:nvPr>
            <p:ph idx="1"/>
          </p:nvPr>
        </p:nvSpPr>
        <p:spPr>
          <a:xfrm>
            <a:off x="613835" y="1382400"/>
            <a:ext cx="10962216" cy="4690317"/>
          </a:xfrm>
          <a:prstGeom prst="rect">
            <a:avLst/>
          </a:prstGeom>
        </p:spPr>
        <p:txBody>
          <a:bodyPr vert="horz" lIns="0" tIns="0" rIns="0" bIns="0" numCol="1" spcCol="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Tree>
    <p:extLst>
      <p:ext uri="{BB962C8B-B14F-4D97-AF65-F5344CB8AC3E}">
        <p14:creationId xmlns:p14="http://schemas.microsoft.com/office/powerpoint/2010/main" val="25954726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ntent slide - white bg - Subtitle - bullet men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3837" y="503769"/>
            <a:ext cx="10962217" cy="533399"/>
          </a:xfrm>
        </p:spPr>
        <p:txBody>
          <a:bodyPr anchor="t"/>
          <a:lstStyle>
            <a:lvl1pPr>
              <a:defRPr b="1"/>
            </a:lvl1pPr>
          </a:lstStyle>
          <a:p>
            <a:r>
              <a:rPr lang="en-US"/>
              <a:t>Click to edit slide title</a:t>
            </a:r>
            <a:endParaRPr lang="nl-BE"/>
          </a:p>
        </p:txBody>
      </p:sp>
      <p:sp>
        <p:nvSpPr>
          <p:cNvPr id="11" name="Text Placeholder 2">
            <a:extLst>
              <a:ext uri="{FF2B5EF4-FFF2-40B4-BE49-F238E27FC236}">
                <a16:creationId xmlns:a16="http://schemas.microsoft.com/office/drawing/2014/main" id="{10193D06-FB5B-42EC-9101-F77EE2C16642}"/>
              </a:ext>
            </a:extLst>
          </p:cNvPr>
          <p:cNvSpPr>
            <a:spLocks noGrp="1"/>
          </p:cNvSpPr>
          <p:nvPr>
            <p:ph idx="1" hasCustomPrompt="1"/>
          </p:nvPr>
        </p:nvSpPr>
        <p:spPr>
          <a:xfrm>
            <a:off x="613835" y="2057400"/>
            <a:ext cx="10962216" cy="4015317"/>
          </a:xfrm>
          <a:prstGeom prst="rect">
            <a:avLst/>
          </a:prstGeom>
        </p:spPr>
        <p:txBody>
          <a:bodyPr vert="horz" lIns="0" tIns="0" rIns="0" bIns="0" numCol="1" spcCol="0" rtlCol="0" anchor="t" anchorCtr="0">
            <a:noAutofit/>
          </a:bodyPr>
          <a:lstStyle>
            <a:lvl2pPr marL="479988" indent="-235194">
              <a:spcBef>
                <a:spcPts val="800"/>
              </a:spcBef>
              <a:defRPr/>
            </a:lvl2pPr>
            <a:lvl3pPr>
              <a:spcBef>
                <a:spcPts val="800"/>
              </a:spcBef>
              <a:defRPr/>
            </a:lvl3pPr>
            <a:lvl4pPr>
              <a:spcBef>
                <a:spcPts val="1600"/>
              </a:spcBef>
              <a:defRPr/>
            </a:lvl4pPr>
            <a:lvl5pPr>
              <a:spcBef>
                <a:spcPts val="24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6" name="Text Placeholder 5">
            <a:extLst>
              <a:ext uri="{FF2B5EF4-FFF2-40B4-BE49-F238E27FC236}">
                <a16:creationId xmlns:a16="http://schemas.microsoft.com/office/drawing/2014/main" id="{3CFA2924-4BFC-CB4A-33EA-AFA2F3E1085E}"/>
              </a:ext>
            </a:extLst>
          </p:cNvPr>
          <p:cNvSpPr>
            <a:spLocks noGrp="1"/>
          </p:cNvSpPr>
          <p:nvPr>
            <p:ph type="body" sz="quarter" idx="12"/>
          </p:nvPr>
        </p:nvSpPr>
        <p:spPr>
          <a:xfrm>
            <a:off x="624417" y="1138501"/>
            <a:ext cx="10962216" cy="393967"/>
          </a:xfrm>
        </p:spPr>
        <p:txBody>
          <a:bodyPr/>
          <a:lstStyle>
            <a:lvl1pPr marL="0" indent="0">
              <a:buNone/>
              <a:defRPr sz="2133">
                <a:solidFill>
                  <a:schemeClr val="bg1"/>
                </a:solidFill>
                <a:latin typeface="Proximus Light" panose="020B0604020202020204" charset="0"/>
              </a:defRPr>
            </a:lvl1pPr>
          </a:lstStyle>
          <a:p>
            <a:pPr lvl="0"/>
            <a:r>
              <a:rPr lang="en-US"/>
              <a:t>Click to edit Master text styles</a:t>
            </a:r>
          </a:p>
        </p:txBody>
      </p:sp>
    </p:spTree>
    <p:extLst>
      <p:ext uri="{BB962C8B-B14F-4D97-AF65-F5344CB8AC3E}">
        <p14:creationId xmlns:p14="http://schemas.microsoft.com/office/powerpoint/2010/main" val="318791741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t slide - white bg -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b="1"/>
            </a:lvl1pPr>
          </a:lstStyle>
          <a:p>
            <a:r>
              <a:rPr lang="en-US"/>
              <a:t>Click to edit slide title</a:t>
            </a:r>
            <a:endParaRPr lang="nl-BE"/>
          </a:p>
        </p:txBody>
      </p:sp>
    </p:spTree>
    <p:extLst>
      <p:ext uri="{BB962C8B-B14F-4D97-AF65-F5344CB8AC3E}">
        <p14:creationId xmlns:p14="http://schemas.microsoft.com/office/powerpoint/2010/main" val="235762602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slide - white bg - 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3837" y="503769"/>
            <a:ext cx="10962217" cy="533399"/>
          </a:xfrm>
        </p:spPr>
        <p:txBody>
          <a:bodyPr anchor="t"/>
          <a:lstStyle>
            <a:lvl1pPr>
              <a:defRPr b="1"/>
            </a:lvl1pPr>
          </a:lstStyle>
          <a:p>
            <a:r>
              <a:rPr lang="en-US"/>
              <a:t>Click to edit slide title</a:t>
            </a:r>
            <a:endParaRPr lang="nl-BE"/>
          </a:p>
        </p:txBody>
      </p:sp>
      <p:sp>
        <p:nvSpPr>
          <p:cNvPr id="6" name="Text Placeholder 5">
            <a:extLst>
              <a:ext uri="{FF2B5EF4-FFF2-40B4-BE49-F238E27FC236}">
                <a16:creationId xmlns:a16="http://schemas.microsoft.com/office/drawing/2014/main" id="{3CFA2924-4BFC-CB4A-33EA-AFA2F3E1085E}"/>
              </a:ext>
            </a:extLst>
          </p:cNvPr>
          <p:cNvSpPr>
            <a:spLocks noGrp="1"/>
          </p:cNvSpPr>
          <p:nvPr>
            <p:ph type="body" sz="quarter" idx="12"/>
          </p:nvPr>
        </p:nvSpPr>
        <p:spPr>
          <a:xfrm>
            <a:off x="624417" y="1138501"/>
            <a:ext cx="10962216" cy="393967"/>
          </a:xfrm>
        </p:spPr>
        <p:txBody>
          <a:bodyPr/>
          <a:lstStyle>
            <a:lvl1pPr marL="0" indent="0">
              <a:buNone/>
              <a:defRPr sz="2133">
                <a:solidFill>
                  <a:schemeClr val="bg1"/>
                </a:solidFill>
                <a:latin typeface="Proximus Light" panose="020B0604020202020204" charset="0"/>
              </a:defRPr>
            </a:lvl1pPr>
          </a:lstStyle>
          <a:p>
            <a:pPr lvl="0"/>
            <a:r>
              <a:rPr lang="en-US"/>
              <a:t>Click to edit Master text styles</a:t>
            </a:r>
          </a:p>
        </p:txBody>
      </p:sp>
    </p:spTree>
    <p:extLst>
      <p:ext uri="{BB962C8B-B14F-4D97-AF65-F5344CB8AC3E}">
        <p14:creationId xmlns:p14="http://schemas.microsoft.com/office/powerpoint/2010/main" val="2296466522"/>
      </p:ext>
    </p:extLst>
  </p:cSld>
  <p:clrMapOvr>
    <a:masterClrMapping/>
  </p:clrMapOvr>
  <p:extLst>
    <p:ext uri="{DCECCB84-F9BA-43D5-87BE-67443E8EF086}">
      <p15:sldGuideLst xmlns:p15="http://schemas.microsoft.com/office/powerpoint/2012/main">
        <p15:guide id="1" orient="horz" pos="962">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ontent slide - colour bg - bullet menu">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b="1">
                <a:solidFill>
                  <a:schemeClr val="tx1"/>
                </a:solidFill>
              </a:defRPr>
            </a:lvl1pPr>
          </a:lstStyle>
          <a:p>
            <a:r>
              <a:rPr lang="en-US"/>
              <a:t>Click to edit slide title</a:t>
            </a:r>
            <a:endParaRPr lang="nl-BE"/>
          </a:p>
        </p:txBody>
      </p:sp>
      <p:sp>
        <p:nvSpPr>
          <p:cNvPr id="6" name="Text Placeholder 5">
            <a:extLst>
              <a:ext uri="{FF2B5EF4-FFF2-40B4-BE49-F238E27FC236}">
                <a16:creationId xmlns:a16="http://schemas.microsoft.com/office/drawing/2014/main" id="{D62362CE-1A7B-CA66-FD9A-16C348131664}"/>
              </a:ext>
            </a:extLst>
          </p:cNvPr>
          <p:cNvSpPr>
            <a:spLocks noGrp="1"/>
          </p:cNvSpPr>
          <p:nvPr>
            <p:ph type="body" sz="quarter" idx="10"/>
          </p:nvPr>
        </p:nvSpPr>
        <p:spPr>
          <a:xfrm>
            <a:off x="613834" y="1384301"/>
            <a:ext cx="10964333" cy="4688417"/>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65709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ntent slide - colour bg - Subtitle - bullet menu">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3837" y="503769"/>
            <a:ext cx="10962217" cy="533399"/>
          </a:xfrm>
        </p:spPr>
        <p:txBody>
          <a:bodyPr anchor="t"/>
          <a:lstStyle>
            <a:lvl1pPr>
              <a:defRPr b="1">
                <a:solidFill>
                  <a:schemeClr val="tx1"/>
                </a:solidFill>
              </a:defRPr>
            </a:lvl1pPr>
          </a:lstStyle>
          <a:p>
            <a:r>
              <a:rPr lang="en-US"/>
              <a:t>Click to edit slide title</a:t>
            </a:r>
            <a:endParaRPr lang="nl-BE"/>
          </a:p>
        </p:txBody>
      </p:sp>
      <p:sp>
        <p:nvSpPr>
          <p:cNvPr id="6" name="Text Placeholder 5">
            <a:extLst>
              <a:ext uri="{FF2B5EF4-FFF2-40B4-BE49-F238E27FC236}">
                <a16:creationId xmlns:a16="http://schemas.microsoft.com/office/drawing/2014/main" id="{3CFA2924-4BFC-CB4A-33EA-AFA2F3E1085E}"/>
              </a:ext>
            </a:extLst>
          </p:cNvPr>
          <p:cNvSpPr>
            <a:spLocks noGrp="1"/>
          </p:cNvSpPr>
          <p:nvPr>
            <p:ph type="body" sz="quarter" idx="12"/>
          </p:nvPr>
        </p:nvSpPr>
        <p:spPr>
          <a:xfrm>
            <a:off x="624417" y="1138501"/>
            <a:ext cx="10962216" cy="393967"/>
          </a:xfrm>
        </p:spPr>
        <p:txBody>
          <a:bodyPr/>
          <a:lstStyle>
            <a:lvl1pPr marL="0" indent="0">
              <a:buNone/>
              <a:defRPr sz="2133">
                <a:solidFill>
                  <a:schemeClr val="tx1"/>
                </a:solidFill>
                <a:latin typeface="Proximus Light" panose="020B0604020202020204" charset="0"/>
              </a:defRPr>
            </a:lvl1pPr>
          </a:lstStyle>
          <a:p>
            <a:pPr lvl="0"/>
            <a:r>
              <a:rPr lang="en-US"/>
              <a:t>Click to edit Master text styles</a:t>
            </a:r>
          </a:p>
        </p:txBody>
      </p:sp>
      <p:sp>
        <p:nvSpPr>
          <p:cNvPr id="3" name="Text Placeholder 2">
            <a:extLst>
              <a:ext uri="{FF2B5EF4-FFF2-40B4-BE49-F238E27FC236}">
                <a16:creationId xmlns:a16="http://schemas.microsoft.com/office/drawing/2014/main" id="{BA56E9AC-E3FD-B3FD-6B19-4FD87C1EAE48}"/>
              </a:ext>
            </a:extLst>
          </p:cNvPr>
          <p:cNvSpPr>
            <a:spLocks noGrp="1"/>
          </p:cNvSpPr>
          <p:nvPr>
            <p:ph idx="1" hasCustomPrompt="1"/>
          </p:nvPr>
        </p:nvSpPr>
        <p:spPr>
          <a:xfrm>
            <a:off x="613835" y="2057400"/>
            <a:ext cx="10962216" cy="4015317"/>
          </a:xfrm>
          <a:prstGeom prst="rect">
            <a:avLst/>
          </a:prstGeom>
        </p:spPr>
        <p:txBody>
          <a:bodyPr vert="horz" lIns="0" tIns="0" rIns="0" bIns="0" numCol="1" spcCol="0" rtlCol="0" anchor="t" anchorCtr="0">
            <a:noAutofit/>
          </a:bodyPr>
          <a:lstStyle>
            <a:lvl1pPr>
              <a:buClr>
                <a:schemeClr val="tx1"/>
              </a:buClr>
              <a:defRPr>
                <a:solidFill>
                  <a:schemeClr val="tx1"/>
                </a:solidFill>
              </a:defRPr>
            </a:lvl1pPr>
            <a:lvl2pPr marL="479988" indent="-235194">
              <a:spcBef>
                <a:spcPts val="800"/>
              </a:spcBef>
              <a:buClr>
                <a:schemeClr val="tx1"/>
              </a:buClr>
              <a:defRPr>
                <a:solidFill>
                  <a:schemeClr val="tx1"/>
                </a:solidFill>
              </a:defRPr>
            </a:lvl2pPr>
            <a:lvl3pPr>
              <a:spcBef>
                <a:spcPts val="800"/>
              </a:spcBef>
              <a:buClr>
                <a:schemeClr val="tx1"/>
              </a:buClr>
              <a:defRPr>
                <a:solidFill>
                  <a:schemeClr val="tx1"/>
                </a:solidFill>
              </a:defRPr>
            </a:lvl3pPr>
            <a:lvl4pPr>
              <a:spcBef>
                <a:spcPts val="1600"/>
              </a:spcBef>
              <a:buClr>
                <a:schemeClr val="tx1"/>
              </a:buClr>
              <a:defRPr>
                <a:solidFill>
                  <a:schemeClr val="tx1"/>
                </a:solidFill>
              </a:defRPr>
            </a:lvl4pPr>
            <a:lvl5pPr>
              <a:spcBef>
                <a:spcPts val="2400"/>
              </a:spcBef>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BE"/>
          </a:p>
        </p:txBody>
      </p:sp>
    </p:spTree>
    <p:extLst>
      <p:ext uri="{BB962C8B-B14F-4D97-AF65-F5344CB8AC3E}">
        <p14:creationId xmlns:p14="http://schemas.microsoft.com/office/powerpoint/2010/main" val="1526616227"/>
      </p:ext>
    </p:extLst>
  </p:cSld>
  <p:clrMapOvr>
    <a:masterClrMapping/>
  </p:clrMapOvr>
  <p:extLst>
    <p:ext uri="{DCECCB84-F9BA-43D5-87BE-67443E8EF086}">
      <p15:sldGuideLst xmlns:p15="http://schemas.microsoft.com/office/powerpoint/2012/main">
        <p15:guide id="1" orient="horz" pos="962">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ntent slide - colour bg - 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b="1">
                <a:solidFill>
                  <a:schemeClr val="tx1"/>
                </a:solidFill>
              </a:defRPr>
            </a:lvl1pPr>
          </a:lstStyle>
          <a:p>
            <a:r>
              <a:rPr lang="en-US"/>
              <a:t>Click to edit slide title</a:t>
            </a:r>
            <a:endParaRPr lang="nl-BE"/>
          </a:p>
        </p:txBody>
      </p:sp>
    </p:spTree>
    <p:extLst>
      <p:ext uri="{BB962C8B-B14F-4D97-AF65-F5344CB8AC3E}">
        <p14:creationId xmlns:p14="http://schemas.microsoft.com/office/powerpoint/2010/main" val="1015030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XS ADA - generic content - bg2">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59FA753-9064-34CC-0C3E-699C5C434AD3}"/>
              </a:ext>
            </a:extLst>
          </p:cNvPr>
          <p:cNvGrpSpPr/>
          <p:nvPr userDrawn="1"/>
        </p:nvGrpSpPr>
        <p:grpSpPr>
          <a:xfrm>
            <a:off x="-400" y="1"/>
            <a:ext cx="12193600" cy="6858225"/>
            <a:chOff x="-300" y="0"/>
            <a:chExt cx="9145200" cy="5143669"/>
          </a:xfrm>
        </p:grpSpPr>
        <p:pic>
          <p:nvPicPr>
            <p:cNvPr id="5" name="Picture 4">
              <a:extLst>
                <a:ext uri="{FF2B5EF4-FFF2-40B4-BE49-F238E27FC236}">
                  <a16:creationId xmlns:a16="http://schemas.microsoft.com/office/drawing/2014/main" id="{10AF70FB-C0C2-D475-3064-2AA46B731D5C}"/>
                </a:ext>
                <a:ext uri="{C183D7F6-B498-43B3-948B-1728B52AA6E4}">
                  <adec:decorative xmlns:adec="http://schemas.microsoft.com/office/drawing/2017/decorative" val="1"/>
                </a:ext>
              </a:extLst>
            </p:cNvPr>
            <p:cNvPicPr>
              <a:picLocks/>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300" y="0"/>
              <a:ext cx="9144300" cy="5143669"/>
            </a:xfrm>
            <a:prstGeom prst="rect">
              <a:avLst/>
            </a:prstGeom>
          </p:spPr>
        </p:pic>
        <p:sp>
          <p:nvSpPr>
            <p:cNvPr id="6" name="Rectangle 5">
              <a:extLst>
                <a:ext uri="{FF2B5EF4-FFF2-40B4-BE49-F238E27FC236}">
                  <a16:creationId xmlns:a16="http://schemas.microsoft.com/office/drawing/2014/main" id="{BC4ED4C3-0681-8086-34FA-62E150B3A596}"/>
                </a:ext>
              </a:extLst>
            </p:cNvPr>
            <p:cNvSpPr/>
            <p:nvPr userDrawn="1"/>
          </p:nvSpPr>
          <p:spPr>
            <a:xfrm>
              <a:off x="-300" y="0"/>
              <a:ext cx="9145200" cy="5143669"/>
            </a:xfrm>
            <a:prstGeom prst="rect">
              <a:avLst/>
            </a:prstGeom>
            <a:gradFill>
              <a:gsLst>
                <a:gs pos="0">
                  <a:srgbClr val="5C2D91"/>
                </a:gs>
                <a:gs pos="60000">
                  <a:srgbClr val="5C2D91">
                    <a:alpha val="0"/>
                  </a:srgb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2400"/>
            </a:p>
          </p:txBody>
        </p:sp>
      </p:grpSp>
      <p:sp>
        <p:nvSpPr>
          <p:cNvPr id="2" name="Title 1"/>
          <p:cNvSpPr>
            <a:spLocks noGrp="1"/>
          </p:cNvSpPr>
          <p:nvPr>
            <p:ph type="title" hasCustomPrompt="1"/>
          </p:nvPr>
        </p:nvSpPr>
        <p:spPr/>
        <p:txBody>
          <a:bodyPr anchor="t"/>
          <a:lstStyle>
            <a:lvl1pPr>
              <a:defRPr b="0"/>
            </a:lvl1pPr>
          </a:lstStyle>
          <a:p>
            <a:r>
              <a:rPr lang="en-US"/>
              <a:t>Click to edit slide title</a:t>
            </a:r>
            <a:endParaRPr lang="nl-BE"/>
          </a:p>
        </p:txBody>
      </p:sp>
      <p:sp>
        <p:nvSpPr>
          <p:cNvPr id="11" name="Text Placeholder 2">
            <a:extLst>
              <a:ext uri="{FF2B5EF4-FFF2-40B4-BE49-F238E27FC236}">
                <a16:creationId xmlns:a16="http://schemas.microsoft.com/office/drawing/2014/main" id="{10193D06-FB5B-42EC-9101-F77EE2C16642}"/>
              </a:ext>
            </a:extLst>
          </p:cNvPr>
          <p:cNvSpPr>
            <a:spLocks noGrp="1"/>
          </p:cNvSpPr>
          <p:nvPr>
            <p:ph idx="1"/>
          </p:nvPr>
        </p:nvSpPr>
        <p:spPr>
          <a:xfrm>
            <a:off x="613835" y="1382399"/>
            <a:ext cx="10962216" cy="4878700"/>
          </a:xfrm>
          <a:prstGeom prst="rect">
            <a:avLst/>
          </a:prstGeom>
        </p:spPr>
        <p:txBody>
          <a:bodyPr vert="horz" lIns="0" tIns="0" rIns="0" bIns="0" numCol="1" spcCol="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BE"/>
          </a:p>
        </p:txBody>
      </p:sp>
    </p:spTree>
    <p:extLst>
      <p:ext uri="{BB962C8B-B14F-4D97-AF65-F5344CB8AC3E}">
        <p14:creationId xmlns:p14="http://schemas.microsoft.com/office/powerpoint/2010/main" val="414587684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ntent slide - colour bg - Title and sub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3837" y="503769"/>
            <a:ext cx="10962217" cy="533399"/>
          </a:xfrm>
        </p:spPr>
        <p:txBody>
          <a:bodyPr anchor="t"/>
          <a:lstStyle>
            <a:lvl1pPr>
              <a:defRPr b="1">
                <a:solidFill>
                  <a:schemeClr val="tx1"/>
                </a:solidFill>
              </a:defRPr>
            </a:lvl1pPr>
          </a:lstStyle>
          <a:p>
            <a:r>
              <a:rPr lang="en-US"/>
              <a:t>Click to edit slide title</a:t>
            </a:r>
            <a:endParaRPr lang="nl-BE"/>
          </a:p>
        </p:txBody>
      </p:sp>
      <p:sp>
        <p:nvSpPr>
          <p:cNvPr id="6" name="Text Placeholder 5">
            <a:extLst>
              <a:ext uri="{FF2B5EF4-FFF2-40B4-BE49-F238E27FC236}">
                <a16:creationId xmlns:a16="http://schemas.microsoft.com/office/drawing/2014/main" id="{3CFA2924-4BFC-CB4A-33EA-AFA2F3E1085E}"/>
              </a:ext>
            </a:extLst>
          </p:cNvPr>
          <p:cNvSpPr>
            <a:spLocks noGrp="1"/>
          </p:cNvSpPr>
          <p:nvPr>
            <p:ph type="body" sz="quarter" idx="12"/>
          </p:nvPr>
        </p:nvSpPr>
        <p:spPr>
          <a:xfrm>
            <a:off x="624417" y="1138501"/>
            <a:ext cx="10962216" cy="393967"/>
          </a:xfrm>
        </p:spPr>
        <p:txBody>
          <a:bodyPr/>
          <a:lstStyle>
            <a:lvl1pPr marL="0" indent="0">
              <a:buNone/>
              <a:defRPr sz="2133">
                <a:solidFill>
                  <a:schemeClr val="tx1"/>
                </a:solidFill>
                <a:latin typeface="Proximus Light" panose="020B0604020202020204" charset="0"/>
              </a:defRPr>
            </a:lvl1pPr>
          </a:lstStyle>
          <a:p>
            <a:pPr lvl="0"/>
            <a:r>
              <a:rPr lang="en-US"/>
              <a:t>Click to edit Master text styles</a:t>
            </a:r>
          </a:p>
        </p:txBody>
      </p:sp>
    </p:spTree>
    <p:extLst>
      <p:ext uri="{BB962C8B-B14F-4D97-AF65-F5344CB8AC3E}">
        <p14:creationId xmlns:p14="http://schemas.microsoft.com/office/powerpoint/2010/main" val="4191997459"/>
      </p:ext>
    </p:extLst>
  </p:cSld>
  <p:clrMapOvr>
    <a:masterClrMapping/>
  </p:clrMapOvr>
  <p:extLst>
    <p:ext uri="{DCECCB84-F9BA-43D5-87BE-67443E8EF086}">
      <p15:sldGuideLst xmlns:p15="http://schemas.microsoft.com/office/powerpoint/2012/main">
        <p15:guide id="1" orient="horz" pos="962">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Agenda">
    <p:bg>
      <p:bgPr>
        <a:gradFill>
          <a:gsLst>
            <a:gs pos="25000">
              <a:schemeClr val="bg1"/>
            </a:gs>
            <a:gs pos="100000">
              <a:srgbClr val="D12E67"/>
            </a:gs>
          </a:gsLst>
          <a:lin ang="30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3837" y="503768"/>
            <a:ext cx="2678004" cy="1223432"/>
          </a:xfrm>
        </p:spPr>
        <p:txBody>
          <a:bodyPr anchor="t"/>
          <a:lstStyle>
            <a:lvl1pPr>
              <a:defRPr b="1">
                <a:solidFill>
                  <a:schemeClr val="tx1"/>
                </a:solidFill>
              </a:defRPr>
            </a:lvl1pPr>
          </a:lstStyle>
          <a:p>
            <a:r>
              <a:rPr lang="en-US"/>
              <a:t>Click to edit slide title</a:t>
            </a:r>
            <a:endParaRPr lang="nl-BE"/>
          </a:p>
        </p:txBody>
      </p:sp>
      <p:sp>
        <p:nvSpPr>
          <p:cNvPr id="3" name="Freeform: Shape 2">
            <a:extLst>
              <a:ext uri="{FF2B5EF4-FFF2-40B4-BE49-F238E27FC236}">
                <a16:creationId xmlns:a16="http://schemas.microsoft.com/office/drawing/2014/main" id="{719802DA-9C6B-5019-6934-ED9FA37D31CC}"/>
              </a:ext>
            </a:extLst>
          </p:cNvPr>
          <p:cNvSpPr/>
          <p:nvPr userDrawn="1"/>
        </p:nvSpPr>
        <p:spPr>
          <a:xfrm>
            <a:off x="2246688" y="-11947"/>
            <a:ext cx="9945313" cy="6869948"/>
          </a:xfrm>
          <a:custGeom>
            <a:avLst/>
            <a:gdLst>
              <a:gd name="connsiteX0" fmla="*/ 2302546 w 9928016"/>
              <a:gd name="connsiteY0" fmla="*/ 0 h 6857999"/>
              <a:gd name="connsiteX1" fmla="*/ 9928016 w 9928016"/>
              <a:gd name="connsiteY1" fmla="*/ 0 h 6857999"/>
              <a:gd name="connsiteX2" fmla="*/ 9928016 w 9928016"/>
              <a:gd name="connsiteY2" fmla="*/ 6857999 h 6857999"/>
              <a:gd name="connsiteX3" fmla="*/ 0 w 9928016"/>
              <a:gd name="connsiteY3" fmla="*/ 6857999 h 6857999"/>
              <a:gd name="connsiteX4" fmla="*/ 1111071 w 9928016"/>
              <a:gd name="connsiteY4" fmla="*/ 2436517 h 6857999"/>
              <a:gd name="connsiteX5" fmla="*/ 2231554 w 9928016"/>
              <a:gd name="connsiteY5" fmla="*/ 89464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28016" h="6857999">
                <a:moveTo>
                  <a:pt x="2302546" y="0"/>
                </a:moveTo>
                <a:lnTo>
                  <a:pt x="9928016" y="0"/>
                </a:lnTo>
                <a:lnTo>
                  <a:pt x="9928016" y="6857999"/>
                </a:lnTo>
                <a:lnTo>
                  <a:pt x="0" y="6857999"/>
                </a:lnTo>
                <a:lnTo>
                  <a:pt x="1111071" y="2436517"/>
                </a:lnTo>
                <a:cubicBezTo>
                  <a:pt x="1331459" y="1559487"/>
                  <a:pt x="1719159" y="768637"/>
                  <a:pt x="2231554" y="89464"/>
                </a:cubicBezTo>
                <a:close/>
              </a:path>
            </a:pathLst>
          </a:cu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vert="horz" wrap="square" lIns="144000" tIns="144000" rIns="144000" bIns="144000" rtlCol="0" anchor="t" anchorCtr="0">
            <a:noAutofit/>
          </a:bodyPr>
          <a:lstStyle/>
          <a:p>
            <a:pPr algn="ctr" defTabSz="1624517"/>
            <a:r>
              <a:rPr lang="en-BE" sz="1600" b="1">
                <a:solidFill>
                  <a:schemeClr val="tx1"/>
                </a:solidFill>
                <a:latin typeface="Proximus" panose="00000500000000000000" pitchFamily="2" charset="0"/>
                <a:cs typeface="Proximus"/>
              </a:rPr>
              <a:t>  </a:t>
            </a:r>
            <a:endParaRPr lang="en-GB" sz="1600" b="1" err="1">
              <a:solidFill>
                <a:schemeClr val="tx1"/>
              </a:solidFill>
              <a:latin typeface="Proximus" panose="00000500000000000000" pitchFamily="2" charset="0"/>
              <a:cs typeface="Proximus"/>
            </a:endParaRPr>
          </a:p>
        </p:txBody>
      </p:sp>
      <p:sp>
        <p:nvSpPr>
          <p:cNvPr id="6" name="Table Placeholder 5">
            <a:extLst>
              <a:ext uri="{FF2B5EF4-FFF2-40B4-BE49-F238E27FC236}">
                <a16:creationId xmlns:a16="http://schemas.microsoft.com/office/drawing/2014/main" id="{50937FAA-8D57-3878-00AC-49FA9EB8DC1C}"/>
              </a:ext>
            </a:extLst>
          </p:cNvPr>
          <p:cNvSpPr>
            <a:spLocks noGrp="1"/>
          </p:cNvSpPr>
          <p:nvPr>
            <p:ph type="tbl" sz="quarter" idx="10"/>
          </p:nvPr>
        </p:nvSpPr>
        <p:spPr>
          <a:xfrm>
            <a:off x="4551680" y="1383890"/>
            <a:ext cx="7015904" cy="4688828"/>
          </a:xfrm>
        </p:spPr>
        <p:txBody>
          <a:bodyPr/>
          <a:lstStyle/>
          <a:p>
            <a:r>
              <a:rPr lang="en-US"/>
              <a:t>Click icon to add table</a:t>
            </a:r>
          </a:p>
        </p:txBody>
      </p:sp>
    </p:spTree>
    <p:extLst>
      <p:ext uri="{BB962C8B-B14F-4D97-AF65-F5344CB8AC3E}">
        <p14:creationId xmlns:p14="http://schemas.microsoft.com/office/powerpoint/2010/main" val="341439787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ocks -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p:txBody>
          <a:bodyPr/>
          <a:lstStyle/>
          <a:p>
            <a:r>
              <a:rPr lang="en-US"/>
              <a:t>Click to edit Master title style</a:t>
            </a:r>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613833" y="1676400"/>
            <a:ext cx="4900789" cy="4584699"/>
          </a:xfrm>
          <a:prstGeom prst="roundRect">
            <a:avLst>
              <a:gd name="adj" fmla="val 3679"/>
            </a:avLst>
          </a:prstGeom>
          <a:solidFill>
            <a:srgbClr val="E6E6E7"/>
          </a:solidFill>
          <a:effectLst/>
        </p:spPr>
        <p:txBody>
          <a:bodyPr lIns="216000" tIns="216000" rIns="216000" bIns="216000"/>
          <a:lstStyle>
            <a:lvl1pPr marL="0" indent="0">
              <a:spcAft>
                <a:spcPts val="800"/>
              </a:spcAft>
              <a:buNone/>
              <a:defRPr sz="2400">
                <a:solidFill>
                  <a:schemeClr val="bg1"/>
                </a:solidFill>
                <a:latin typeface="Proximus Light" panose="020B0604020202020204" charset="0"/>
              </a:defRPr>
            </a:lvl1pPr>
            <a:lvl2pPr marL="235194" indent="-234917">
              <a:defRPr sz="1867"/>
            </a:lvl2pPr>
            <a:lvl3pPr marL="479988">
              <a:defRPr>
                <a:latin typeface="+mn-lt"/>
              </a:defRPr>
            </a:lvl3pPr>
            <a:lvl4pPr marL="715182" indent="-235194">
              <a:spcBef>
                <a:spcPts val="800"/>
              </a:spcBef>
              <a:buFont typeface="Arial" panose="020B0604020202020204" pitchFamily="34" charset="0"/>
              <a:buChar char="•"/>
              <a:defRPr sz="1600">
                <a:latin typeface="Proximus Light" panose="00000400000000000000" pitchFamily="50" charset="0"/>
              </a:defRPr>
            </a:lvl4pPr>
            <a:lvl5pPr>
              <a:spcBef>
                <a:spcPts val="800"/>
              </a:spcBef>
              <a:defRPr sz="18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A4859FEF-708C-918C-2188-2D7CFCDD42BE}"/>
              </a:ext>
            </a:extLst>
          </p:cNvPr>
          <p:cNvSpPr>
            <a:spLocks noGrp="1"/>
          </p:cNvSpPr>
          <p:nvPr>
            <p:ph type="body" sz="quarter" idx="14"/>
          </p:nvPr>
        </p:nvSpPr>
        <p:spPr>
          <a:xfrm>
            <a:off x="6667628" y="1676400"/>
            <a:ext cx="4900789" cy="4584699"/>
          </a:xfrm>
          <a:prstGeom prst="roundRect">
            <a:avLst>
              <a:gd name="adj" fmla="val 3679"/>
            </a:avLst>
          </a:prstGeom>
          <a:solidFill>
            <a:srgbClr val="E6E6E7"/>
          </a:solidFill>
          <a:effectLst/>
        </p:spPr>
        <p:txBody>
          <a:bodyPr lIns="216000" tIns="216000" rIns="216000" bIns="216000"/>
          <a:lstStyle>
            <a:lvl1pPr marL="0" indent="0">
              <a:spcAft>
                <a:spcPts val="800"/>
              </a:spcAft>
              <a:buNone/>
              <a:defRPr sz="2400">
                <a:solidFill>
                  <a:schemeClr val="bg1"/>
                </a:solidFill>
                <a:latin typeface="Proximus Light" panose="020B0604020202020204" charset="0"/>
              </a:defRPr>
            </a:lvl1pPr>
            <a:lvl2pPr marL="235194" indent="-234917">
              <a:defRPr sz="1867"/>
            </a:lvl2pPr>
            <a:lvl3pPr marL="479988">
              <a:defRPr>
                <a:latin typeface="+mn-lt"/>
              </a:defRPr>
            </a:lvl3pPr>
            <a:lvl4pPr marL="715182" indent="-235194">
              <a:spcBef>
                <a:spcPts val="800"/>
              </a:spcBef>
              <a:buFont typeface="Arial" panose="020B0604020202020204" pitchFamily="34" charset="0"/>
              <a:buChar char="•"/>
              <a:defRPr sz="1600">
                <a:latin typeface="Proximus Light" panose="00000400000000000000" pitchFamily="50" charset="0"/>
              </a:defRPr>
            </a:lvl4pPr>
            <a:lvl5pPr>
              <a:spcBef>
                <a:spcPts val="800"/>
              </a:spcBef>
              <a:defRPr sz="18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987948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ocks -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p:txBody>
          <a:bodyPr/>
          <a:lstStyle/>
          <a:p>
            <a:r>
              <a:rPr lang="en-US"/>
              <a:t>Click to edit Master title style</a:t>
            </a:r>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613833" y="1676400"/>
            <a:ext cx="3360000" cy="4584699"/>
          </a:xfrm>
          <a:prstGeom prst="roundRect">
            <a:avLst>
              <a:gd name="adj" fmla="val 3679"/>
            </a:avLst>
          </a:prstGeom>
          <a:solidFill>
            <a:srgbClr val="E6E6E7"/>
          </a:solidFill>
          <a:effectLst/>
        </p:spPr>
        <p:txBody>
          <a:bodyPr lIns="216000" tIns="216000" rIns="216000" bIns="216000"/>
          <a:lstStyle>
            <a:lvl1pPr marL="0" indent="0">
              <a:spcAft>
                <a:spcPts val="800"/>
              </a:spcAft>
              <a:buNone/>
              <a:defRPr sz="2400">
                <a:solidFill>
                  <a:schemeClr val="bg1"/>
                </a:solidFill>
                <a:latin typeface="Proximus Light" panose="020B0604020202020204" charset="0"/>
              </a:defRPr>
            </a:lvl1pPr>
            <a:lvl2pPr marL="235194" indent="-234917">
              <a:defRPr sz="1867"/>
            </a:lvl2pPr>
            <a:lvl3pPr marL="479988">
              <a:defRPr>
                <a:latin typeface="+mn-lt"/>
              </a:defRPr>
            </a:lvl3pPr>
            <a:lvl4pPr marL="715182" indent="-235194">
              <a:spcBef>
                <a:spcPts val="800"/>
              </a:spcBef>
              <a:buFont typeface="Arial" panose="020B0604020202020204" pitchFamily="34" charset="0"/>
              <a:buChar char="•"/>
              <a:defRPr sz="1600">
                <a:latin typeface="Proximus Light" panose="00000400000000000000" pitchFamily="50" charset="0"/>
              </a:defRPr>
            </a:lvl4pPr>
            <a:lvl5pPr>
              <a:spcBef>
                <a:spcPts val="800"/>
              </a:spcBef>
              <a:defRPr sz="18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26366419-4CB1-22C2-BFEF-A47ACEC91643}"/>
              </a:ext>
            </a:extLst>
          </p:cNvPr>
          <p:cNvSpPr>
            <a:spLocks noGrp="1"/>
          </p:cNvSpPr>
          <p:nvPr>
            <p:ph type="body" sz="quarter" idx="14"/>
          </p:nvPr>
        </p:nvSpPr>
        <p:spPr>
          <a:xfrm>
            <a:off x="4411125" y="1676400"/>
            <a:ext cx="3360000" cy="4584699"/>
          </a:xfrm>
          <a:prstGeom prst="roundRect">
            <a:avLst>
              <a:gd name="adj" fmla="val 3679"/>
            </a:avLst>
          </a:prstGeom>
          <a:solidFill>
            <a:srgbClr val="E6E6E7"/>
          </a:solidFill>
          <a:effectLst/>
        </p:spPr>
        <p:txBody>
          <a:bodyPr lIns="216000" tIns="216000" rIns="216000" bIns="216000"/>
          <a:lstStyle>
            <a:lvl1pPr marL="0" indent="0">
              <a:spcAft>
                <a:spcPts val="800"/>
              </a:spcAft>
              <a:buNone/>
              <a:defRPr sz="2400">
                <a:solidFill>
                  <a:schemeClr val="bg1"/>
                </a:solidFill>
                <a:latin typeface="Proximus Light" panose="020B0604020202020204" charset="0"/>
              </a:defRPr>
            </a:lvl1pPr>
            <a:lvl2pPr marL="235194" indent="-234917">
              <a:defRPr sz="1867"/>
            </a:lvl2pPr>
            <a:lvl3pPr marL="479988">
              <a:defRPr>
                <a:latin typeface="+mn-lt"/>
              </a:defRPr>
            </a:lvl3pPr>
            <a:lvl4pPr marL="715182" indent="-235194">
              <a:spcBef>
                <a:spcPts val="800"/>
              </a:spcBef>
              <a:buFont typeface="Arial" panose="020B0604020202020204" pitchFamily="34" charset="0"/>
              <a:buChar char="•"/>
              <a:defRPr sz="1600">
                <a:latin typeface="Proximus Light" panose="00000400000000000000" pitchFamily="50" charset="0"/>
              </a:defRPr>
            </a:lvl4pPr>
            <a:lvl5pPr>
              <a:spcBef>
                <a:spcPts val="800"/>
              </a:spcBef>
              <a:defRPr sz="18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2498A6E2-70E0-E343-408B-2BDF74C11E13}"/>
              </a:ext>
            </a:extLst>
          </p:cNvPr>
          <p:cNvSpPr>
            <a:spLocks noGrp="1"/>
          </p:cNvSpPr>
          <p:nvPr>
            <p:ph type="body" sz="quarter" idx="15"/>
          </p:nvPr>
        </p:nvSpPr>
        <p:spPr>
          <a:xfrm>
            <a:off x="8208417" y="1676400"/>
            <a:ext cx="3360000" cy="4584699"/>
          </a:xfrm>
          <a:prstGeom prst="roundRect">
            <a:avLst>
              <a:gd name="adj" fmla="val 3679"/>
            </a:avLst>
          </a:prstGeom>
          <a:solidFill>
            <a:srgbClr val="E6E6E7"/>
          </a:solidFill>
          <a:effectLst/>
        </p:spPr>
        <p:txBody>
          <a:bodyPr lIns="216000" tIns="216000" rIns="216000" bIns="216000"/>
          <a:lstStyle>
            <a:lvl1pPr marL="0" indent="0">
              <a:spcAft>
                <a:spcPts val="800"/>
              </a:spcAft>
              <a:buNone/>
              <a:defRPr sz="2400">
                <a:solidFill>
                  <a:schemeClr val="bg1"/>
                </a:solidFill>
                <a:latin typeface="Proximus Light" panose="020B0604020202020204" charset="0"/>
              </a:defRPr>
            </a:lvl1pPr>
            <a:lvl2pPr marL="235194" indent="-234917">
              <a:defRPr sz="1867"/>
            </a:lvl2pPr>
            <a:lvl3pPr marL="479988">
              <a:defRPr>
                <a:latin typeface="+mn-lt"/>
              </a:defRPr>
            </a:lvl3pPr>
            <a:lvl4pPr marL="715182" indent="-235194">
              <a:spcBef>
                <a:spcPts val="800"/>
              </a:spcBef>
              <a:buFont typeface="Arial" panose="020B0604020202020204" pitchFamily="34" charset="0"/>
              <a:buChar char="•"/>
              <a:defRPr sz="1600">
                <a:latin typeface="Proximus Light" panose="00000400000000000000" pitchFamily="50" charset="0"/>
              </a:defRPr>
            </a:lvl4pPr>
            <a:lvl5pPr>
              <a:spcBef>
                <a:spcPts val="800"/>
              </a:spcBef>
              <a:defRPr sz="18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061939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ocks -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p:txBody>
          <a:bodyPr/>
          <a:lstStyle/>
          <a:p>
            <a:r>
              <a:rPr lang="en-US"/>
              <a:t>Click to edit Master title style</a:t>
            </a:r>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613833" y="1676400"/>
            <a:ext cx="2448000" cy="4584699"/>
          </a:xfrm>
          <a:prstGeom prst="roundRect">
            <a:avLst>
              <a:gd name="adj" fmla="val 3679"/>
            </a:avLst>
          </a:prstGeom>
          <a:solidFill>
            <a:srgbClr val="E6E6E7"/>
          </a:solidFill>
          <a:effectLst/>
        </p:spPr>
        <p:txBody>
          <a:bodyPr lIns="144000" tIns="144000" rIns="144000" bIns="144000"/>
          <a:lstStyle>
            <a:lvl1pPr marL="0" indent="0">
              <a:spcAft>
                <a:spcPts val="800"/>
              </a:spcAft>
              <a:buNone/>
              <a:defRPr sz="2133">
                <a:solidFill>
                  <a:schemeClr val="bg1"/>
                </a:solidFill>
                <a:latin typeface="Proximus Light" panose="020B0604020202020204" charset="0"/>
              </a:defRPr>
            </a:lvl1pPr>
            <a:lvl2pPr marL="235194" indent="-234917">
              <a:defRPr sz="1600"/>
            </a:lvl2pPr>
            <a:lvl3pPr marL="479988">
              <a:defRPr sz="1467">
                <a:latin typeface="+mn-lt"/>
              </a:defRPr>
            </a:lvl3pPr>
            <a:lvl4pPr marL="715182" indent="-235194">
              <a:spcBef>
                <a:spcPts val="800"/>
              </a:spcBef>
              <a:buFont typeface="Arial" panose="020B0604020202020204" pitchFamily="34" charset="0"/>
              <a:buChar char="•"/>
              <a:defRPr sz="1467">
                <a:latin typeface="Proximus Light" panose="00000400000000000000" pitchFamily="50" charset="0"/>
              </a:defRPr>
            </a:lvl4pPr>
            <a:lvl5pPr>
              <a:spcBef>
                <a:spcPts val="800"/>
              </a:spcBef>
              <a:defRPr sz="1600">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93504BEB-25CC-71C6-94D9-4580B88D8874}"/>
              </a:ext>
            </a:extLst>
          </p:cNvPr>
          <p:cNvSpPr>
            <a:spLocks noGrp="1"/>
          </p:cNvSpPr>
          <p:nvPr>
            <p:ph type="body" sz="quarter" idx="14"/>
          </p:nvPr>
        </p:nvSpPr>
        <p:spPr>
          <a:xfrm>
            <a:off x="3449361" y="1676400"/>
            <a:ext cx="2448000" cy="4584699"/>
          </a:xfrm>
          <a:prstGeom prst="roundRect">
            <a:avLst>
              <a:gd name="adj" fmla="val 3679"/>
            </a:avLst>
          </a:prstGeom>
          <a:solidFill>
            <a:srgbClr val="E6E6E7"/>
          </a:solidFill>
          <a:effectLst/>
        </p:spPr>
        <p:txBody>
          <a:bodyPr lIns="144000" tIns="144000" rIns="144000" bIns="144000"/>
          <a:lstStyle>
            <a:lvl1pPr marL="0" indent="0">
              <a:spcAft>
                <a:spcPts val="800"/>
              </a:spcAft>
              <a:buNone/>
              <a:defRPr sz="2133">
                <a:solidFill>
                  <a:schemeClr val="bg1"/>
                </a:solidFill>
                <a:latin typeface="Proximus Light" panose="020B0604020202020204" charset="0"/>
              </a:defRPr>
            </a:lvl1pPr>
            <a:lvl2pPr marL="235194" indent="-234917">
              <a:defRPr sz="1600"/>
            </a:lvl2pPr>
            <a:lvl3pPr marL="479988">
              <a:defRPr sz="1467">
                <a:latin typeface="+mn-lt"/>
              </a:defRPr>
            </a:lvl3pPr>
            <a:lvl4pPr marL="715182" indent="-235194">
              <a:spcBef>
                <a:spcPts val="800"/>
              </a:spcBef>
              <a:buFont typeface="Arial" panose="020B0604020202020204" pitchFamily="34" charset="0"/>
              <a:buChar char="•"/>
              <a:defRPr sz="1467">
                <a:latin typeface="Proximus Light" panose="00000400000000000000" pitchFamily="50" charset="0"/>
              </a:defRPr>
            </a:lvl4pPr>
            <a:lvl5pPr>
              <a:spcBef>
                <a:spcPts val="800"/>
              </a:spcBef>
              <a:defRPr sz="1600">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a:extLst>
              <a:ext uri="{FF2B5EF4-FFF2-40B4-BE49-F238E27FC236}">
                <a16:creationId xmlns:a16="http://schemas.microsoft.com/office/drawing/2014/main" id="{4F206338-EBF6-8CB9-F01A-867DA14F0351}"/>
              </a:ext>
            </a:extLst>
          </p:cNvPr>
          <p:cNvSpPr>
            <a:spLocks noGrp="1"/>
          </p:cNvSpPr>
          <p:nvPr>
            <p:ph type="body" sz="quarter" idx="15"/>
          </p:nvPr>
        </p:nvSpPr>
        <p:spPr>
          <a:xfrm>
            <a:off x="6284889" y="1676400"/>
            <a:ext cx="2448000" cy="4584699"/>
          </a:xfrm>
          <a:prstGeom prst="roundRect">
            <a:avLst>
              <a:gd name="adj" fmla="val 3679"/>
            </a:avLst>
          </a:prstGeom>
          <a:solidFill>
            <a:srgbClr val="E6E6E7"/>
          </a:solidFill>
          <a:effectLst/>
        </p:spPr>
        <p:txBody>
          <a:bodyPr lIns="144000" tIns="144000" rIns="144000" bIns="144000"/>
          <a:lstStyle>
            <a:lvl1pPr marL="0" indent="0">
              <a:spcAft>
                <a:spcPts val="800"/>
              </a:spcAft>
              <a:buNone/>
              <a:defRPr sz="2133">
                <a:solidFill>
                  <a:schemeClr val="bg1"/>
                </a:solidFill>
                <a:latin typeface="Proximus Light" panose="020B0604020202020204" charset="0"/>
              </a:defRPr>
            </a:lvl1pPr>
            <a:lvl2pPr marL="235194" indent="-234917">
              <a:defRPr sz="1600"/>
            </a:lvl2pPr>
            <a:lvl3pPr marL="479988">
              <a:defRPr sz="1467">
                <a:latin typeface="+mn-lt"/>
              </a:defRPr>
            </a:lvl3pPr>
            <a:lvl4pPr marL="715182" indent="-235194">
              <a:spcBef>
                <a:spcPts val="800"/>
              </a:spcBef>
              <a:buFont typeface="Arial" panose="020B0604020202020204" pitchFamily="34" charset="0"/>
              <a:buChar char="•"/>
              <a:defRPr sz="1467">
                <a:latin typeface="Proximus Light" panose="00000400000000000000" pitchFamily="50" charset="0"/>
              </a:defRPr>
            </a:lvl4pPr>
            <a:lvl5pPr>
              <a:spcBef>
                <a:spcPts val="800"/>
              </a:spcBef>
              <a:defRPr sz="1600">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361180D9-7334-AE50-3E49-BCC9D03B5E35}"/>
              </a:ext>
            </a:extLst>
          </p:cNvPr>
          <p:cNvSpPr>
            <a:spLocks noGrp="1"/>
          </p:cNvSpPr>
          <p:nvPr>
            <p:ph type="body" sz="quarter" idx="16"/>
          </p:nvPr>
        </p:nvSpPr>
        <p:spPr>
          <a:xfrm>
            <a:off x="9120417" y="1676400"/>
            <a:ext cx="2448000" cy="4584699"/>
          </a:xfrm>
          <a:prstGeom prst="roundRect">
            <a:avLst>
              <a:gd name="adj" fmla="val 3679"/>
            </a:avLst>
          </a:prstGeom>
          <a:solidFill>
            <a:srgbClr val="E6E6E7"/>
          </a:solidFill>
          <a:effectLst/>
        </p:spPr>
        <p:txBody>
          <a:bodyPr lIns="144000" tIns="144000" rIns="144000" bIns="144000"/>
          <a:lstStyle>
            <a:lvl1pPr marL="0" indent="0">
              <a:spcAft>
                <a:spcPts val="800"/>
              </a:spcAft>
              <a:buNone/>
              <a:defRPr sz="2133">
                <a:solidFill>
                  <a:schemeClr val="bg1"/>
                </a:solidFill>
                <a:latin typeface="Proximus Light" panose="020B0604020202020204" charset="0"/>
              </a:defRPr>
            </a:lvl1pPr>
            <a:lvl2pPr marL="235194" indent="-234917">
              <a:defRPr sz="1600"/>
            </a:lvl2pPr>
            <a:lvl3pPr marL="479988">
              <a:defRPr sz="1467">
                <a:latin typeface="+mn-lt"/>
              </a:defRPr>
            </a:lvl3pPr>
            <a:lvl4pPr marL="715182" indent="-235194">
              <a:spcBef>
                <a:spcPts val="800"/>
              </a:spcBef>
              <a:buFont typeface="Arial" panose="020B0604020202020204" pitchFamily="34" charset="0"/>
              <a:buChar char="•"/>
              <a:defRPr sz="1467">
                <a:latin typeface="Proximus Light" panose="00000400000000000000" pitchFamily="50" charset="0"/>
              </a:defRPr>
            </a:lvl4pPr>
            <a:lvl5pPr>
              <a:spcBef>
                <a:spcPts val="800"/>
              </a:spcBef>
              <a:defRPr sz="1600">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312150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ocks -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p:txBody>
          <a:bodyPr/>
          <a:lstStyle/>
          <a:p>
            <a:r>
              <a:rPr lang="en-US"/>
              <a:t>Click to edit Master title style</a:t>
            </a:r>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613832" y="1676400"/>
            <a:ext cx="3504000" cy="2208000"/>
          </a:xfrm>
          <a:prstGeom prst="roundRect">
            <a:avLst>
              <a:gd name="adj" fmla="val 4957"/>
            </a:avLst>
          </a:prstGeom>
          <a:solidFill>
            <a:srgbClr val="E6E6E7"/>
          </a:solidFill>
          <a:effectLst/>
        </p:spPr>
        <p:txBody>
          <a:bodyPr lIns="144000" tIns="144000" rIns="144000" bIns="144000"/>
          <a:lstStyle>
            <a:lvl1pPr marL="0" indent="0">
              <a:spcBef>
                <a:spcPts val="1067"/>
              </a:spcBef>
              <a:spcAft>
                <a:spcPts val="267"/>
              </a:spcAft>
              <a:buNone/>
              <a:defRPr sz="1867">
                <a:solidFill>
                  <a:schemeClr val="bg1"/>
                </a:solidFill>
                <a:latin typeface="Proximus Light" panose="020B0604020202020204" charset="0"/>
              </a:defRPr>
            </a:lvl1pPr>
            <a:lvl2pPr marL="235194" indent="-234917">
              <a:spcBef>
                <a:spcPts val="267"/>
              </a:spcBef>
              <a:defRPr sz="1467"/>
            </a:lvl2pPr>
            <a:lvl3pPr marL="479988">
              <a:spcBef>
                <a:spcPts val="267"/>
              </a:spcBef>
              <a:defRPr sz="1400">
                <a:latin typeface="+mn-lt"/>
              </a:defRPr>
            </a:lvl3pPr>
            <a:lvl4pPr marL="715182" indent="-235194">
              <a:spcBef>
                <a:spcPts val="267"/>
              </a:spcBef>
              <a:buFont typeface="Arial" panose="020B0604020202020204" pitchFamily="34" charset="0"/>
              <a:buChar char="•"/>
              <a:defRPr sz="1400">
                <a:latin typeface="Proximus Light" panose="00000400000000000000" pitchFamily="50" charset="0"/>
              </a:defRPr>
            </a:lvl4pPr>
            <a:lvl5pPr>
              <a:spcBef>
                <a:spcPts val="267"/>
              </a:spcBef>
              <a:defRPr sz="14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7">
            <a:extLst>
              <a:ext uri="{FF2B5EF4-FFF2-40B4-BE49-F238E27FC236}">
                <a16:creationId xmlns:a16="http://schemas.microsoft.com/office/drawing/2014/main" id="{3A3B5652-B85B-757E-9330-B39C45EFD833}"/>
              </a:ext>
            </a:extLst>
          </p:cNvPr>
          <p:cNvSpPr>
            <a:spLocks noGrp="1"/>
          </p:cNvSpPr>
          <p:nvPr>
            <p:ph type="body" sz="quarter" idx="14"/>
          </p:nvPr>
        </p:nvSpPr>
        <p:spPr>
          <a:xfrm>
            <a:off x="4339125" y="1676400"/>
            <a:ext cx="3504000" cy="2208000"/>
          </a:xfrm>
          <a:prstGeom prst="roundRect">
            <a:avLst>
              <a:gd name="adj" fmla="val 4957"/>
            </a:avLst>
          </a:prstGeom>
          <a:solidFill>
            <a:srgbClr val="E6E6E7"/>
          </a:solidFill>
          <a:effectLst/>
        </p:spPr>
        <p:txBody>
          <a:bodyPr lIns="144000" tIns="144000" rIns="144000" bIns="144000"/>
          <a:lstStyle>
            <a:lvl1pPr marL="0" indent="0">
              <a:spcBef>
                <a:spcPts val="1067"/>
              </a:spcBef>
              <a:spcAft>
                <a:spcPts val="267"/>
              </a:spcAft>
              <a:buNone/>
              <a:defRPr sz="1867">
                <a:solidFill>
                  <a:schemeClr val="bg1"/>
                </a:solidFill>
                <a:latin typeface="Proximus Light" panose="020B0604020202020204" charset="0"/>
              </a:defRPr>
            </a:lvl1pPr>
            <a:lvl2pPr marL="235194" indent="-234917">
              <a:spcBef>
                <a:spcPts val="267"/>
              </a:spcBef>
              <a:defRPr sz="1467"/>
            </a:lvl2pPr>
            <a:lvl3pPr marL="479988">
              <a:spcBef>
                <a:spcPts val="267"/>
              </a:spcBef>
              <a:defRPr sz="1400">
                <a:latin typeface="+mn-lt"/>
              </a:defRPr>
            </a:lvl3pPr>
            <a:lvl4pPr marL="715182" indent="-235194">
              <a:spcBef>
                <a:spcPts val="267"/>
              </a:spcBef>
              <a:buFont typeface="Arial" panose="020B0604020202020204" pitchFamily="34" charset="0"/>
              <a:buChar char="•"/>
              <a:defRPr sz="1400">
                <a:latin typeface="Proximus Light" panose="00000400000000000000" pitchFamily="50" charset="0"/>
              </a:defRPr>
            </a:lvl4pPr>
            <a:lvl5pPr>
              <a:spcBef>
                <a:spcPts val="267"/>
              </a:spcBef>
              <a:defRPr sz="14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7">
            <a:extLst>
              <a:ext uri="{FF2B5EF4-FFF2-40B4-BE49-F238E27FC236}">
                <a16:creationId xmlns:a16="http://schemas.microsoft.com/office/drawing/2014/main" id="{53F67889-29D2-56A1-49EE-EC1B0F73688E}"/>
              </a:ext>
            </a:extLst>
          </p:cNvPr>
          <p:cNvSpPr>
            <a:spLocks noGrp="1"/>
          </p:cNvSpPr>
          <p:nvPr>
            <p:ph type="body" sz="quarter" idx="15"/>
          </p:nvPr>
        </p:nvSpPr>
        <p:spPr>
          <a:xfrm>
            <a:off x="8064417" y="1676400"/>
            <a:ext cx="3504000" cy="2208000"/>
          </a:xfrm>
          <a:prstGeom prst="roundRect">
            <a:avLst>
              <a:gd name="adj" fmla="val 4957"/>
            </a:avLst>
          </a:prstGeom>
          <a:solidFill>
            <a:srgbClr val="E6E6E7"/>
          </a:solidFill>
          <a:effectLst/>
        </p:spPr>
        <p:txBody>
          <a:bodyPr lIns="144000" tIns="144000" rIns="144000" bIns="144000"/>
          <a:lstStyle>
            <a:lvl1pPr marL="0" indent="0">
              <a:spcBef>
                <a:spcPts val="1067"/>
              </a:spcBef>
              <a:spcAft>
                <a:spcPts val="267"/>
              </a:spcAft>
              <a:buNone/>
              <a:defRPr sz="1867">
                <a:solidFill>
                  <a:schemeClr val="bg1"/>
                </a:solidFill>
                <a:latin typeface="Proximus Light" panose="020B0604020202020204" charset="0"/>
              </a:defRPr>
            </a:lvl1pPr>
            <a:lvl2pPr marL="235194" indent="-234917">
              <a:spcBef>
                <a:spcPts val="267"/>
              </a:spcBef>
              <a:defRPr sz="1467"/>
            </a:lvl2pPr>
            <a:lvl3pPr marL="479988">
              <a:spcBef>
                <a:spcPts val="267"/>
              </a:spcBef>
              <a:defRPr sz="1400">
                <a:latin typeface="+mn-lt"/>
              </a:defRPr>
            </a:lvl3pPr>
            <a:lvl4pPr marL="715182" indent="-235194">
              <a:spcBef>
                <a:spcPts val="267"/>
              </a:spcBef>
              <a:buFont typeface="Arial" panose="020B0604020202020204" pitchFamily="34" charset="0"/>
              <a:buChar char="•"/>
              <a:defRPr sz="1400">
                <a:latin typeface="Proximus Light" panose="00000400000000000000" pitchFamily="50" charset="0"/>
              </a:defRPr>
            </a:lvl4pPr>
            <a:lvl5pPr>
              <a:spcBef>
                <a:spcPts val="267"/>
              </a:spcBef>
              <a:defRPr sz="14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7">
            <a:extLst>
              <a:ext uri="{FF2B5EF4-FFF2-40B4-BE49-F238E27FC236}">
                <a16:creationId xmlns:a16="http://schemas.microsoft.com/office/drawing/2014/main" id="{CAE41158-A608-39EA-5CF4-2BE0BBB08300}"/>
              </a:ext>
            </a:extLst>
          </p:cNvPr>
          <p:cNvSpPr>
            <a:spLocks noGrp="1"/>
          </p:cNvSpPr>
          <p:nvPr>
            <p:ph type="body" sz="quarter" idx="16"/>
          </p:nvPr>
        </p:nvSpPr>
        <p:spPr>
          <a:xfrm>
            <a:off x="613832" y="4053100"/>
            <a:ext cx="3504000" cy="2208000"/>
          </a:xfrm>
          <a:prstGeom prst="roundRect">
            <a:avLst>
              <a:gd name="adj" fmla="val 4957"/>
            </a:avLst>
          </a:prstGeom>
          <a:solidFill>
            <a:srgbClr val="E6E6E7"/>
          </a:solidFill>
          <a:effectLst/>
        </p:spPr>
        <p:txBody>
          <a:bodyPr lIns="144000" tIns="144000" rIns="144000" bIns="144000"/>
          <a:lstStyle>
            <a:lvl1pPr marL="0" indent="0">
              <a:spcBef>
                <a:spcPts val="1067"/>
              </a:spcBef>
              <a:spcAft>
                <a:spcPts val="267"/>
              </a:spcAft>
              <a:buNone/>
              <a:defRPr sz="1867">
                <a:solidFill>
                  <a:schemeClr val="bg1"/>
                </a:solidFill>
                <a:latin typeface="Proximus Light" panose="020B0604020202020204" charset="0"/>
              </a:defRPr>
            </a:lvl1pPr>
            <a:lvl2pPr marL="235194" indent="-234917">
              <a:spcBef>
                <a:spcPts val="267"/>
              </a:spcBef>
              <a:defRPr sz="1467"/>
            </a:lvl2pPr>
            <a:lvl3pPr marL="479988">
              <a:spcBef>
                <a:spcPts val="267"/>
              </a:spcBef>
              <a:defRPr sz="1400">
                <a:latin typeface="+mn-lt"/>
              </a:defRPr>
            </a:lvl3pPr>
            <a:lvl4pPr marL="715182" indent="-235194">
              <a:spcBef>
                <a:spcPts val="267"/>
              </a:spcBef>
              <a:buFont typeface="Arial" panose="020B0604020202020204" pitchFamily="34" charset="0"/>
              <a:buChar char="•"/>
              <a:defRPr sz="1400">
                <a:latin typeface="Proximus Light" panose="00000400000000000000" pitchFamily="50" charset="0"/>
              </a:defRPr>
            </a:lvl4pPr>
            <a:lvl5pPr>
              <a:spcBef>
                <a:spcPts val="267"/>
              </a:spcBef>
              <a:defRPr sz="14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7">
            <a:extLst>
              <a:ext uri="{FF2B5EF4-FFF2-40B4-BE49-F238E27FC236}">
                <a16:creationId xmlns:a16="http://schemas.microsoft.com/office/drawing/2014/main" id="{627C1256-05EF-332A-1823-7C684DE76AAE}"/>
              </a:ext>
            </a:extLst>
          </p:cNvPr>
          <p:cNvSpPr>
            <a:spLocks noGrp="1"/>
          </p:cNvSpPr>
          <p:nvPr>
            <p:ph type="body" sz="quarter" idx="17"/>
          </p:nvPr>
        </p:nvSpPr>
        <p:spPr>
          <a:xfrm>
            <a:off x="4339125" y="4053100"/>
            <a:ext cx="3504000" cy="2208000"/>
          </a:xfrm>
          <a:prstGeom prst="roundRect">
            <a:avLst>
              <a:gd name="adj" fmla="val 4957"/>
            </a:avLst>
          </a:prstGeom>
          <a:solidFill>
            <a:srgbClr val="E6E6E7"/>
          </a:solidFill>
          <a:effectLst/>
        </p:spPr>
        <p:txBody>
          <a:bodyPr lIns="144000" tIns="144000" rIns="144000" bIns="144000"/>
          <a:lstStyle>
            <a:lvl1pPr marL="0" indent="0">
              <a:spcBef>
                <a:spcPts val="1067"/>
              </a:spcBef>
              <a:spcAft>
                <a:spcPts val="267"/>
              </a:spcAft>
              <a:buNone/>
              <a:defRPr sz="1867">
                <a:solidFill>
                  <a:schemeClr val="bg1"/>
                </a:solidFill>
                <a:latin typeface="Proximus Light" panose="020B0604020202020204" charset="0"/>
              </a:defRPr>
            </a:lvl1pPr>
            <a:lvl2pPr marL="235194" indent="-234917">
              <a:spcBef>
                <a:spcPts val="267"/>
              </a:spcBef>
              <a:defRPr sz="1467"/>
            </a:lvl2pPr>
            <a:lvl3pPr marL="479988">
              <a:spcBef>
                <a:spcPts val="267"/>
              </a:spcBef>
              <a:defRPr sz="1400">
                <a:latin typeface="+mn-lt"/>
              </a:defRPr>
            </a:lvl3pPr>
            <a:lvl4pPr marL="715182" indent="-235194">
              <a:spcBef>
                <a:spcPts val="267"/>
              </a:spcBef>
              <a:buFont typeface="Arial" panose="020B0604020202020204" pitchFamily="34" charset="0"/>
              <a:buChar char="•"/>
              <a:defRPr sz="1400">
                <a:latin typeface="Proximus Light" panose="00000400000000000000" pitchFamily="50" charset="0"/>
              </a:defRPr>
            </a:lvl4pPr>
            <a:lvl5pPr>
              <a:spcBef>
                <a:spcPts val="267"/>
              </a:spcBef>
              <a:defRPr sz="14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7">
            <a:extLst>
              <a:ext uri="{FF2B5EF4-FFF2-40B4-BE49-F238E27FC236}">
                <a16:creationId xmlns:a16="http://schemas.microsoft.com/office/drawing/2014/main" id="{E2D9A6BC-8C8F-88D8-5A9A-B16C1057CAF1}"/>
              </a:ext>
            </a:extLst>
          </p:cNvPr>
          <p:cNvSpPr>
            <a:spLocks noGrp="1"/>
          </p:cNvSpPr>
          <p:nvPr>
            <p:ph type="body" sz="quarter" idx="18"/>
          </p:nvPr>
        </p:nvSpPr>
        <p:spPr>
          <a:xfrm>
            <a:off x="8064417" y="4053100"/>
            <a:ext cx="3504000" cy="2208000"/>
          </a:xfrm>
          <a:prstGeom prst="roundRect">
            <a:avLst>
              <a:gd name="adj" fmla="val 4957"/>
            </a:avLst>
          </a:prstGeom>
          <a:solidFill>
            <a:srgbClr val="E6E6E7"/>
          </a:solidFill>
          <a:effectLst/>
        </p:spPr>
        <p:txBody>
          <a:bodyPr lIns="144000" tIns="144000" rIns="144000" bIns="144000"/>
          <a:lstStyle>
            <a:lvl1pPr marL="0" indent="0">
              <a:spcBef>
                <a:spcPts val="1067"/>
              </a:spcBef>
              <a:spcAft>
                <a:spcPts val="267"/>
              </a:spcAft>
              <a:buNone/>
              <a:defRPr sz="1867">
                <a:solidFill>
                  <a:schemeClr val="bg1"/>
                </a:solidFill>
                <a:latin typeface="Proximus Light" panose="020B0604020202020204" charset="0"/>
              </a:defRPr>
            </a:lvl1pPr>
            <a:lvl2pPr marL="235194" indent="-234917">
              <a:spcBef>
                <a:spcPts val="267"/>
              </a:spcBef>
              <a:defRPr sz="1467"/>
            </a:lvl2pPr>
            <a:lvl3pPr marL="479988">
              <a:spcBef>
                <a:spcPts val="267"/>
              </a:spcBef>
              <a:defRPr sz="1400">
                <a:latin typeface="+mn-lt"/>
              </a:defRPr>
            </a:lvl3pPr>
            <a:lvl4pPr marL="715182" indent="-235194">
              <a:spcBef>
                <a:spcPts val="267"/>
              </a:spcBef>
              <a:buFont typeface="Arial" panose="020B0604020202020204" pitchFamily="34" charset="0"/>
              <a:buChar char="•"/>
              <a:defRPr sz="1400">
                <a:latin typeface="Proximus Light" panose="00000400000000000000" pitchFamily="50" charset="0"/>
              </a:defRPr>
            </a:lvl4pPr>
            <a:lvl5pPr>
              <a:spcBef>
                <a:spcPts val="267"/>
              </a:spcBef>
              <a:defRPr sz="14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675530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ocks - 3 - Gradi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p:txBody>
          <a:bodyPr/>
          <a:lstStyle/>
          <a:p>
            <a:r>
              <a:rPr lang="en-US"/>
              <a:t>Click to edit Master title style</a:t>
            </a:r>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613833" y="1676400"/>
            <a:ext cx="3360000" cy="4584699"/>
          </a:xfrm>
          <a:prstGeom prst="roundRect">
            <a:avLst>
              <a:gd name="adj" fmla="val 3679"/>
            </a:avLst>
          </a:prstGeom>
          <a:gradFill>
            <a:gsLst>
              <a:gs pos="69000">
                <a:schemeClr val="bg1"/>
              </a:gs>
              <a:gs pos="0">
                <a:srgbClr val="A82E76"/>
              </a:gs>
            </a:gsLst>
            <a:lin ang="16200000" scaled="1"/>
          </a:gradFill>
          <a:effectLst/>
        </p:spPr>
        <p:txBody>
          <a:bodyPr lIns="216000" tIns="216000" rIns="216000" bIns="216000"/>
          <a:lstStyle>
            <a:lvl1pPr marL="0" indent="0">
              <a:spcAft>
                <a:spcPts val="800"/>
              </a:spcAft>
              <a:buNone/>
              <a:defRPr sz="2400">
                <a:solidFill>
                  <a:schemeClr val="tx1"/>
                </a:solidFill>
                <a:latin typeface="Proximus Light" panose="020B0604020202020204" charset="0"/>
              </a:defRPr>
            </a:lvl1pPr>
            <a:lvl2pPr marL="235194" indent="-234917">
              <a:buClr>
                <a:schemeClr val="tx1"/>
              </a:buClr>
              <a:defRPr sz="1867">
                <a:solidFill>
                  <a:schemeClr val="tx1"/>
                </a:solidFill>
              </a:defRPr>
            </a:lvl2pPr>
            <a:lvl3pPr marL="479988">
              <a:buClr>
                <a:schemeClr val="tx1"/>
              </a:buClr>
              <a:defRPr>
                <a:solidFill>
                  <a:schemeClr val="tx1"/>
                </a:solidFill>
                <a:latin typeface="+mn-lt"/>
              </a:defRPr>
            </a:lvl3pPr>
            <a:lvl4pPr marL="715182" indent="-235194">
              <a:spcBef>
                <a:spcPts val="800"/>
              </a:spcBef>
              <a:buClr>
                <a:schemeClr val="tx1"/>
              </a:buClr>
              <a:buFont typeface="Arial" panose="020B0604020202020204" pitchFamily="34" charset="0"/>
              <a:buChar char="•"/>
              <a:defRPr sz="1600">
                <a:solidFill>
                  <a:schemeClr val="tx1"/>
                </a:solidFill>
                <a:latin typeface="Proximus Light" panose="00000400000000000000" pitchFamily="50" charset="0"/>
              </a:defRPr>
            </a:lvl4pPr>
            <a:lvl5pPr>
              <a:spcBef>
                <a:spcPts val="800"/>
              </a:spcBef>
              <a:defRPr sz="1867">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26366419-4CB1-22C2-BFEF-A47ACEC91643}"/>
              </a:ext>
            </a:extLst>
          </p:cNvPr>
          <p:cNvSpPr>
            <a:spLocks noGrp="1"/>
          </p:cNvSpPr>
          <p:nvPr>
            <p:ph type="body" sz="quarter" idx="14"/>
          </p:nvPr>
        </p:nvSpPr>
        <p:spPr>
          <a:xfrm>
            <a:off x="4411125" y="1676400"/>
            <a:ext cx="3360000" cy="4584699"/>
          </a:xfrm>
          <a:prstGeom prst="roundRect">
            <a:avLst>
              <a:gd name="adj" fmla="val 3679"/>
            </a:avLst>
          </a:prstGeom>
          <a:gradFill>
            <a:gsLst>
              <a:gs pos="69000">
                <a:schemeClr val="bg1"/>
              </a:gs>
              <a:gs pos="0">
                <a:srgbClr val="A82E76"/>
              </a:gs>
            </a:gsLst>
            <a:lin ang="16200000" scaled="1"/>
          </a:gradFill>
          <a:effectLst/>
        </p:spPr>
        <p:txBody>
          <a:bodyPr lIns="216000" tIns="216000" rIns="216000" bIns="216000"/>
          <a:lstStyle>
            <a:lvl1pPr marL="0" indent="0">
              <a:spcAft>
                <a:spcPts val="800"/>
              </a:spcAft>
              <a:buNone/>
              <a:defRPr sz="2400">
                <a:solidFill>
                  <a:schemeClr val="tx1"/>
                </a:solidFill>
                <a:latin typeface="Proximus Light" panose="020B0604020202020204" charset="0"/>
              </a:defRPr>
            </a:lvl1pPr>
            <a:lvl2pPr marL="235194" indent="-234917">
              <a:buClr>
                <a:schemeClr val="tx1"/>
              </a:buClr>
              <a:defRPr sz="1867">
                <a:solidFill>
                  <a:schemeClr val="tx1"/>
                </a:solidFill>
              </a:defRPr>
            </a:lvl2pPr>
            <a:lvl3pPr marL="479988">
              <a:buClr>
                <a:schemeClr val="tx1"/>
              </a:buClr>
              <a:defRPr>
                <a:solidFill>
                  <a:schemeClr val="tx1"/>
                </a:solidFill>
                <a:latin typeface="+mn-lt"/>
              </a:defRPr>
            </a:lvl3pPr>
            <a:lvl4pPr marL="715182" indent="-235194">
              <a:spcBef>
                <a:spcPts val="800"/>
              </a:spcBef>
              <a:buClr>
                <a:schemeClr val="tx1"/>
              </a:buClr>
              <a:buFont typeface="Arial" panose="020B0604020202020204" pitchFamily="34" charset="0"/>
              <a:buChar char="•"/>
              <a:defRPr sz="1600">
                <a:solidFill>
                  <a:schemeClr val="tx1"/>
                </a:solidFill>
                <a:latin typeface="Proximus Light" panose="00000400000000000000" pitchFamily="50" charset="0"/>
              </a:defRPr>
            </a:lvl4pPr>
            <a:lvl5pPr>
              <a:spcBef>
                <a:spcPts val="800"/>
              </a:spcBef>
              <a:defRPr sz="1867">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2498A6E2-70E0-E343-408B-2BDF74C11E13}"/>
              </a:ext>
            </a:extLst>
          </p:cNvPr>
          <p:cNvSpPr>
            <a:spLocks noGrp="1"/>
          </p:cNvSpPr>
          <p:nvPr>
            <p:ph type="body" sz="quarter" idx="15"/>
          </p:nvPr>
        </p:nvSpPr>
        <p:spPr>
          <a:xfrm>
            <a:off x="8208417" y="1676400"/>
            <a:ext cx="3360000" cy="4584699"/>
          </a:xfrm>
          <a:prstGeom prst="roundRect">
            <a:avLst>
              <a:gd name="adj" fmla="val 3679"/>
            </a:avLst>
          </a:prstGeom>
          <a:gradFill>
            <a:gsLst>
              <a:gs pos="69000">
                <a:schemeClr val="bg1"/>
              </a:gs>
              <a:gs pos="0">
                <a:srgbClr val="A82E76"/>
              </a:gs>
            </a:gsLst>
            <a:lin ang="16200000" scaled="1"/>
          </a:gradFill>
          <a:effectLst/>
        </p:spPr>
        <p:txBody>
          <a:bodyPr lIns="216000" tIns="216000" rIns="216000" bIns="216000"/>
          <a:lstStyle>
            <a:lvl1pPr marL="0" indent="0">
              <a:spcAft>
                <a:spcPts val="800"/>
              </a:spcAft>
              <a:buNone/>
              <a:defRPr sz="2400">
                <a:solidFill>
                  <a:schemeClr val="tx1"/>
                </a:solidFill>
                <a:latin typeface="Proximus Light" panose="020B0604020202020204" charset="0"/>
              </a:defRPr>
            </a:lvl1pPr>
            <a:lvl2pPr marL="235194" indent="-234917">
              <a:buClr>
                <a:schemeClr val="tx1"/>
              </a:buClr>
              <a:defRPr sz="1867">
                <a:solidFill>
                  <a:schemeClr val="tx1"/>
                </a:solidFill>
              </a:defRPr>
            </a:lvl2pPr>
            <a:lvl3pPr marL="479988">
              <a:buClr>
                <a:schemeClr val="tx1"/>
              </a:buClr>
              <a:defRPr>
                <a:solidFill>
                  <a:schemeClr val="tx1"/>
                </a:solidFill>
                <a:latin typeface="+mn-lt"/>
              </a:defRPr>
            </a:lvl3pPr>
            <a:lvl4pPr marL="715182" indent="-235194">
              <a:spcBef>
                <a:spcPts val="800"/>
              </a:spcBef>
              <a:buClr>
                <a:schemeClr val="tx1"/>
              </a:buClr>
              <a:buFont typeface="Arial" panose="020B0604020202020204" pitchFamily="34" charset="0"/>
              <a:buChar char="•"/>
              <a:defRPr sz="1600">
                <a:solidFill>
                  <a:schemeClr val="tx1"/>
                </a:solidFill>
                <a:latin typeface="Proximus Light" panose="00000400000000000000" pitchFamily="50" charset="0"/>
              </a:defRPr>
            </a:lvl4pPr>
            <a:lvl5pPr>
              <a:spcBef>
                <a:spcPts val="800"/>
              </a:spcBef>
              <a:defRPr sz="1867">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050526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ocks - 3 - Gradient Background">
    <p:bg>
      <p:bgPr>
        <a:gradFill>
          <a:gsLst>
            <a:gs pos="25000">
              <a:schemeClr val="bg1"/>
            </a:gs>
            <a:gs pos="100000">
              <a:srgbClr val="D22E67"/>
            </a:gs>
          </a:gsLst>
          <a:lin ang="3000000" scaled="0"/>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613833" y="1676400"/>
            <a:ext cx="3360000" cy="4584699"/>
          </a:xfrm>
          <a:prstGeom prst="roundRect">
            <a:avLst>
              <a:gd name="adj" fmla="val 3679"/>
            </a:avLst>
          </a:prstGeom>
          <a:solidFill>
            <a:srgbClr val="FFFFFF"/>
          </a:solidFill>
          <a:effectLst/>
        </p:spPr>
        <p:txBody>
          <a:bodyPr lIns="216000" tIns="216000" rIns="216000" bIns="216000"/>
          <a:lstStyle>
            <a:lvl1pPr marL="0" indent="0">
              <a:spcAft>
                <a:spcPts val="800"/>
              </a:spcAft>
              <a:buNone/>
              <a:defRPr sz="2400">
                <a:solidFill>
                  <a:schemeClr val="bg1"/>
                </a:solidFill>
                <a:latin typeface="Proximus Light" panose="020B0604020202020204" charset="0"/>
              </a:defRPr>
            </a:lvl1pPr>
            <a:lvl2pPr marL="235194" indent="-234917">
              <a:defRPr sz="1867"/>
            </a:lvl2pPr>
            <a:lvl3pPr marL="479988">
              <a:defRPr>
                <a:latin typeface="+mn-lt"/>
              </a:defRPr>
            </a:lvl3pPr>
            <a:lvl4pPr marL="715182" indent="-235194">
              <a:spcBef>
                <a:spcPts val="800"/>
              </a:spcBef>
              <a:buFont typeface="Arial" panose="020B0604020202020204" pitchFamily="34" charset="0"/>
              <a:buChar char="•"/>
              <a:defRPr sz="1600">
                <a:latin typeface="Proximus Light" panose="00000400000000000000" pitchFamily="50" charset="0"/>
              </a:defRPr>
            </a:lvl4pPr>
            <a:lvl5pPr>
              <a:spcBef>
                <a:spcPts val="800"/>
              </a:spcBef>
              <a:defRPr sz="18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26366419-4CB1-22C2-BFEF-A47ACEC91643}"/>
              </a:ext>
            </a:extLst>
          </p:cNvPr>
          <p:cNvSpPr>
            <a:spLocks noGrp="1"/>
          </p:cNvSpPr>
          <p:nvPr>
            <p:ph type="body" sz="quarter" idx="14"/>
          </p:nvPr>
        </p:nvSpPr>
        <p:spPr>
          <a:xfrm>
            <a:off x="4411125" y="1676400"/>
            <a:ext cx="3360000" cy="4584699"/>
          </a:xfrm>
          <a:prstGeom prst="roundRect">
            <a:avLst>
              <a:gd name="adj" fmla="val 3679"/>
            </a:avLst>
          </a:prstGeom>
          <a:solidFill>
            <a:srgbClr val="FFFFFF"/>
          </a:solidFill>
          <a:effectLst/>
        </p:spPr>
        <p:txBody>
          <a:bodyPr lIns="216000" tIns="216000" rIns="216000" bIns="216000"/>
          <a:lstStyle>
            <a:lvl1pPr marL="0" indent="0">
              <a:spcAft>
                <a:spcPts val="800"/>
              </a:spcAft>
              <a:buNone/>
              <a:defRPr sz="2400">
                <a:solidFill>
                  <a:schemeClr val="bg1"/>
                </a:solidFill>
                <a:latin typeface="Proximus Light" panose="020B0604020202020204" charset="0"/>
              </a:defRPr>
            </a:lvl1pPr>
            <a:lvl2pPr marL="235194" indent="-234917">
              <a:defRPr sz="1867"/>
            </a:lvl2pPr>
            <a:lvl3pPr marL="479988">
              <a:defRPr>
                <a:latin typeface="+mn-lt"/>
              </a:defRPr>
            </a:lvl3pPr>
            <a:lvl4pPr marL="715182" indent="-235194">
              <a:spcBef>
                <a:spcPts val="800"/>
              </a:spcBef>
              <a:buFont typeface="Arial" panose="020B0604020202020204" pitchFamily="34" charset="0"/>
              <a:buChar char="•"/>
              <a:defRPr sz="1600">
                <a:latin typeface="Proximus Light" panose="00000400000000000000" pitchFamily="50" charset="0"/>
              </a:defRPr>
            </a:lvl4pPr>
            <a:lvl5pPr>
              <a:spcBef>
                <a:spcPts val="800"/>
              </a:spcBef>
              <a:defRPr sz="18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2498A6E2-70E0-E343-408B-2BDF74C11E13}"/>
              </a:ext>
            </a:extLst>
          </p:cNvPr>
          <p:cNvSpPr>
            <a:spLocks noGrp="1"/>
          </p:cNvSpPr>
          <p:nvPr>
            <p:ph type="body" sz="quarter" idx="15"/>
          </p:nvPr>
        </p:nvSpPr>
        <p:spPr>
          <a:xfrm>
            <a:off x="8208417" y="1676400"/>
            <a:ext cx="3360000" cy="4584699"/>
          </a:xfrm>
          <a:prstGeom prst="roundRect">
            <a:avLst>
              <a:gd name="adj" fmla="val 3679"/>
            </a:avLst>
          </a:prstGeom>
          <a:solidFill>
            <a:srgbClr val="FFFFFF"/>
          </a:solidFill>
          <a:effectLst/>
        </p:spPr>
        <p:txBody>
          <a:bodyPr lIns="216000" tIns="216000" rIns="216000" bIns="216000"/>
          <a:lstStyle>
            <a:lvl1pPr marL="0" indent="0">
              <a:spcAft>
                <a:spcPts val="800"/>
              </a:spcAft>
              <a:buNone/>
              <a:defRPr sz="2400">
                <a:solidFill>
                  <a:schemeClr val="bg1"/>
                </a:solidFill>
                <a:latin typeface="Proximus Light" panose="020B0604020202020204" charset="0"/>
              </a:defRPr>
            </a:lvl1pPr>
            <a:lvl2pPr marL="235194" indent="-234917">
              <a:defRPr sz="1867"/>
            </a:lvl2pPr>
            <a:lvl3pPr marL="479988">
              <a:defRPr>
                <a:latin typeface="+mn-lt"/>
              </a:defRPr>
            </a:lvl3pPr>
            <a:lvl4pPr marL="715182" indent="-235194">
              <a:spcBef>
                <a:spcPts val="800"/>
              </a:spcBef>
              <a:buFont typeface="Arial" panose="020B0604020202020204" pitchFamily="34" charset="0"/>
              <a:buChar char="•"/>
              <a:defRPr sz="1600">
                <a:latin typeface="Proximus Light" panose="00000400000000000000" pitchFamily="50" charset="0"/>
              </a:defRPr>
            </a:lvl4pPr>
            <a:lvl5pPr>
              <a:spcBef>
                <a:spcPts val="800"/>
              </a:spcBef>
              <a:defRPr sz="18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92815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Content slide - Image right">
    <p:spTree>
      <p:nvGrpSpPr>
        <p:cNvPr id="1" name=""/>
        <p:cNvGrpSpPr/>
        <p:nvPr/>
      </p:nvGrpSpPr>
      <p:grpSpPr>
        <a:xfrm>
          <a:off x="0" y="0"/>
          <a:ext cx="0" cy="0"/>
          <a:chOff x="0" y="0"/>
          <a:chExt cx="0" cy="0"/>
        </a:xfrm>
      </p:grpSpPr>
      <p:sp>
        <p:nvSpPr>
          <p:cNvPr id="10" name="Picture Placeholder 4"/>
          <p:cNvSpPr>
            <a:spLocks noGrp="1"/>
          </p:cNvSpPr>
          <p:nvPr>
            <p:ph type="pic" sz="quarter" idx="15" hasCustomPrompt="1"/>
          </p:nvPr>
        </p:nvSpPr>
        <p:spPr>
          <a:xfrm>
            <a:off x="6586676" y="0"/>
            <a:ext cx="5616000" cy="6858000"/>
          </a:xfrm>
          <a:blipFill>
            <a:blip r:embed="rId2"/>
            <a:tile tx="0" ty="69850" sx="100000" sy="100000" flip="none" algn="ctr"/>
          </a:blipFill>
        </p:spPr>
        <p:txBody>
          <a:bodyPr anchor="ctr"/>
          <a:lstStyle>
            <a:lvl1pPr marL="0" indent="0" algn="ctr">
              <a:lnSpc>
                <a:spcPct val="100000"/>
              </a:lnSpc>
              <a:buNone/>
              <a:defRPr baseline="0">
                <a:latin typeface="Proximus" panose="00000500000000000000" pitchFamily="2" charset="0"/>
              </a:defRPr>
            </a:lvl1pPr>
          </a:lstStyle>
          <a:p>
            <a:r>
              <a:rPr lang="en-GB"/>
              <a:t>Click icon to change picture</a:t>
            </a:r>
          </a:p>
        </p:txBody>
      </p:sp>
      <p:sp>
        <p:nvSpPr>
          <p:cNvPr id="2" name="Title 1"/>
          <p:cNvSpPr>
            <a:spLocks noGrp="1"/>
          </p:cNvSpPr>
          <p:nvPr>
            <p:ph type="title" hasCustomPrompt="1"/>
          </p:nvPr>
        </p:nvSpPr>
        <p:spPr>
          <a:xfrm>
            <a:off x="613838" y="503768"/>
            <a:ext cx="5264789" cy="1411200"/>
          </a:xfrm>
        </p:spPr>
        <p:txBody>
          <a:bodyPr/>
          <a:lstStyle>
            <a:lvl1pPr>
              <a:defRPr b="1">
                <a:solidFill>
                  <a:schemeClr val="bg1"/>
                </a:solidFill>
                <a:latin typeface="Proximus" panose="00000500000000000000" pitchFamily="2" charset="0"/>
              </a:defRPr>
            </a:lvl1pPr>
          </a:lstStyle>
          <a:p>
            <a:r>
              <a:rPr lang="en-US"/>
              <a:t>Click to edit slide title</a:t>
            </a:r>
            <a:endParaRPr lang="nl-BE"/>
          </a:p>
        </p:txBody>
      </p:sp>
      <p:sp>
        <p:nvSpPr>
          <p:cNvPr id="5" name="Text Placeholder 4">
            <a:extLst>
              <a:ext uri="{FF2B5EF4-FFF2-40B4-BE49-F238E27FC236}">
                <a16:creationId xmlns:a16="http://schemas.microsoft.com/office/drawing/2014/main" id="{92B82360-6E03-CB5A-DE23-8C03DE7AFF22}"/>
              </a:ext>
            </a:extLst>
          </p:cNvPr>
          <p:cNvSpPr>
            <a:spLocks noGrp="1"/>
          </p:cNvSpPr>
          <p:nvPr>
            <p:ph type="body" sz="quarter" idx="18"/>
          </p:nvPr>
        </p:nvSpPr>
        <p:spPr>
          <a:xfrm>
            <a:off x="613834" y="2135999"/>
            <a:ext cx="5264151" cy="4125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514672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ntent slide - Image left">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0BDA83C3-91B0-900B-BC21-475B0DD60759}"/>
              </a:ext>
            </a:extLst>
          </p:cNvPr>
          <p:cNvSpPr>
            <a:spLocks noGrp="1"/>
          </p:cNvSpPr>
          <p:nvPr>
            <p:ph type="pic" sz="quarter" idx="19" hasCustomPrompt="1"/>
          </p:nvPr>
        </p:nvSpPr>
        <p:spPr>
          <a:xfrm>
            <a:off x="1" y="0"/>
            <a:ext cx="6588428" cy="6858000"/>
          </a:xfrm>
          <a:blipFill>
            <a:blip r:embed="rId2"/>
            <a:tile tx="0" ty="69850" sx="100000" sy="100000" flip="none" algn="ctr"/>
          </a:blipFill>
        </p:spPr>
        <p:txBody>
          <a:bodyPr anchor="ctr"/>
          <a:lstStyle>
            <a:lvl1pPr marL="0" indent="0" algn="ctr">
              <a:lnSpc>
                <a:spcPct val="100000"/>
              </a:lnSpc>
              <a:buNone/>
              <a:defRPr baseline="0">
                <a:latin typeface="Proximus" panose="00000500000000000000" pitchFamily="2" charset="0"/>
              </a:defRPr>
            </a:lvl1pPr>
          </a:lstStyle>
          <a:p>
            <a:r>
              <a:rPr lang="en-GB"/>
              <a:t>Click icon to change picture</a:t>
            </a:r>
          </a:p>
        </p:txBody>
      </p:sp>
      <p:sp>
        <p:nvSpPr>
          <p:cNvPr id="2" name="Title 1"/>
          <p:cNvSpPr>
            <a:spLocks noGrp="1"/>
          </p:cNvSpPr>
          <p:nvPr>
            <p:ph type="title" hasCustomPrompt="1"/>
          </p:nvPr>
        </p:nvSpPr>
        <p:spPr>
          <a:xfrm>
            <a:off x="7247489" y="503767"/>
            <a:ext cx="4320928" cy="1409743"/>
          </a:xfrm>
        </p:spPr>
        <p:txBody>
          <a:bodyPr/>
          <a:lstStyle>
            <a:lvl1pPr>
              <a:defRPr b="1">
                <a:solidFill>
                  <a:schemeClr val="bg1"/>
                </a:solidFill>
                <a:latin typeface="Proximus" panose="00000500000000000000" pitchFamily="2" charset="0"/>
              </a:defRPr>
            </a:lvl1pPr>
          </a:lstStyle>
          <a:p>
            <a:r>
              <a:rPr lang="en-US"/>
              <a:t>Click to edit slide title</a:t>
            </a:r>
            <a:endParaRPr lang="nl-BE"/>
          </a:p>
        </p:txBody>
      </p:sp>
      <p:sp>
        <p:nvSpPr>
          <p:cNvPr id="5" name="Text Placeholder 4">
            <a:extLst>
              <a:ext uri="{FF2B5EF4-FFF2-40B4-BE49-F238E27FC236}">
                <a16:creationId xmlns:a16="http://schemas.microsoft.com/office/drawing/2014/main" id="{92B82360-6E03-CB5A-DE23-8C03DE7AFF22}"/>
              </a:ext>
            </a:extLst>
          </p:cNvPr>
          <p:cNvSpPr>
            <a:spLocks noGrp="1"/>
          </p:cNvSpPr>
          <p:nvPr>
            <p:ph type="body" sz="quarter" idx="18"/>
          </p:nvPr>
        </p:nvSpPr>
        <p:spPr>
          <a:xfrm>
            <a:off x="7247467" y="2133599"/>
            <a:ext cx="4320404" cy="4127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68684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XS ADA - title, subtitle, content - bg2">
    <p:bg>
      <p:bgPr>
        <a:solidFill>
          <a:schemeClr val="bg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5D057C32-E304-249C-29EA-E13E0FD14ECF}"/>
              </a:ext>
            </a:extLst>
          </p:cNvPr>
          <p:cNvGrpSpPr/>
          <p:nvPr userDrawn="1"/>
        </p:nvGrpSpPr>
        <p:grpSpPr>
          <a:xfrm>
            <a:off x="-400" y="1"/>
            <a:ext cx="12193600" cy="6858225"/>
            <a:chOff x="-300" y="0"/>
            <a:chExt cx="9145200" cy="5143669"/>
          </a:xfrm>
        </p:grpSpPr>
        <p:pic>
          <p:nvPicPr>
            <p:cNvPr id="5" name="Picture 4">
              <a:extLst>
                <a:ext uri="{FF2B5EF4-FFF2-40B4-BE49-F238E27FC236}">
                  <a16:creationId xmlns:a16="http://schemas.microsoft.com/office/drawing/2014/main" id="{0E79FF2E-894F-6147-5A0D-0921CE9B09F9}"/>
                </a:ext>
                <a:ext uri="{C183D7F6-B498-43B3-948B-1728B52AA6E4}">
                  <adec:decorative xmlns:adec="http://schemas.microsoft.com/office/drawing/2017/decorative" val="1"/>
                </a:ext>
              </a:extLst>
            </p:cNvPr>
            <p:cNvPicPr>
              <a:picLocks/>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300" y="0"/>
              <a:ext cx="9144300" cy="5143669"/>
            </a:xfrm>
            <a:prstGeom prst="rect">
              <a:avLst/>
            </a:prstGeom>
          </p:spPr>
        </p:pic>
        <p:sp>
          <p:nvSpPr>
            <p:cNvPr id="7" name="Rectangle 6">
              <a:extLst>
                <a:ext uri="{FF2B5EF4-FFF2-40B4-BE49-F238E27FC236}">
                  <a16:creationId xmlns:a16="http://schemas.microsoft.com/office/drawing/2014/main" id="{C82D881C-4517-C691-A2AD-E9F3F1518B23}"/>
                </a:ext>
              </a:extLst>
            </p:cNvPr>
            <p:cNvSpPr/>
            <p:nvPr userDrawn="1"/>
          </p:nvSpPr>
          <p:spPr>
            <a:xfrm>
              <a:off x="-300" y="0"/>
              <a:ext cx="9145200" cy="5143669"/>
            </a:xfrm>
            <a:prstGeom prst="rect">
              <a:avLst/>
            </a:prstGeom>
            <a:gradFill>
              <a:gsLst>
                <a:gs pos="0">
                  <a:srgbClr val="5C2D91"/>
                </a:gs>
                <a:gs pos="60000">
                  <a:srgbClr val="5C2D91">
                    <a:alpha val="0"/>
                  </a:srgb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2400"/>
            </a:p>
          </p:txBody>
        </p:sp>
      </p:grpSp>
      <p:sp>
        <p:nvSpPr>
          <p:cNvPr id="2" name="Title 1"/>
          <p:cNvSpPr>
            <a:spLocks noGrp="1"/>
          </p:cNvSpPr>
          <p:nvPr>
            <p:ph type="title" hasCustomPrompt="1"/>
          </p:nvPr>
        </p:nvSpPr>
        <p:spPr>
          <a:xfrm>
            <a:off x="613837" y="503769"/>
            <a:ext cx="10962217" cy="533399"/>
          </a:xfrm>
        </p:spPr>
        <p:txBody>
          <a:bodyPr anchor="t"/>
          <a:lstStyle>
            <a:lvl1pPr>
              <a:defRPr b="0">
                <a:solidFill>
                  <a:schemeClr val="tx1"/>
                </a:solidFill>
              </a:defRPr>
            </a:lvl1pPr>
          </a:lstStyle>
          <a:p>
            <a:r>
              <a:rPr lang="en-US"/>
              <a:t>Click to edit slide title</a:t>
            </a:r>
            <a:endParaRPr lang="nl-BE"/>
          </a:p>
        </p:txBody>
      </p:sp>
      <p:sp>
        <p:nvSpPr>
          <p:cNvPr id="6" name="Text Placeholder 5">
            <a:extLst>
              <a:ext uri="{FF2B5EF4-FFF2-40B4-BE49-F238E27FC236}">
                <a16:creationId xmlns:a16="http://schemas.microsoft.com/office/drawing/2014/main" id="{3CFA2924-4BFC-CB4A-33EA-AFA2F3E1085E}"/>
              </a:ext>
            </a:extLst>
          </p:cNvPr>
          <p:cNvSpPr>
            <a:spLocks noGrp="1"/>
          </p:cNvSpPr>
          <p:nvPr>
            <p:ph type="body" sz="quarter" idx="12"/>
          </p:nvPr>
        </p:nvSpPr>
        <p:spPr>
          <a:xfrm>
            <a:off x="624417" y="1138501"/>
            <a:ext cx="10962216" cy="393967"/>
          </a:xfrm>
        </p:spPr>
        <p:txBody>
          <a:bodyPr/>
          <a:lstStyle>
            <a:lvl1pPr>
              <a:defRPr sz="2133" b="1">
                <a:solidFill>
                  <a:schemeClr val="tx1"/>
                </a:solidFill>
                <a:latin typeface="+mn-lt"/>
              </a:defRPr>
            </a:lvl1pPr>
          </a:lstStyle>
          <a:p>
            <a:pPr lvl="0"/>
            <a:r>
              <a:rPr lang="en-US"/>
              <a:t>Click to edit Master text styles</a:t>
            </a:r>
          </a:p>
        </p:txBody>
      </p:sp>
      <p:sp>
        <p:nvSpPr>
          <p:cNvPr id="3" name="Text Placeholder 2">
            <a:extLst>
              <a:ext uri="{FF2B5EF4-FFF2-40B4-BE49-F238E27FC236}">
                <a16:creationId xmlns:a16="http://schemas.microsoft.com/office/drawing/2014/main" id="{45B36AB5-2884-9593-24D3-EBB22AD300A4}"/>
              </a:ext>
            </a:extLst>
          </p:cNvPr>
          <p:cNvSpPr>
            <a:spLocks noGrp="1"/>
          </p:cNvSpPr>
          <p:nvPr>
            <p:ph idx="1"/>
          </p:nvPr>
        </p:nvSpPr>
        <p:spPr>
          <a:xfrm>
            <a:off x="613835" y="2036234"/>
            <a:ext cx="10962216" cy="4224865"/>
          </a:xfrm>
          <a:prstGeom prst="rect">
            <a:avLst/>
          </a:prstGeom>
        </p:spPr>
        <p:txBody>
          <a:bodyPr vert="horz" lIns="0" tIns="0" rIns="0" bIns="0" numCol="1" spcCol="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BE"/>
          </a:p>
        </p:txBody>
      </p:sp>
    </p:spTree>
    <p:extLst>
      <p:ext uri="{BB962C8B-B14F-4D97-AF65-F5344CB8AC3E}">
        <p14:creationId xmlns:p14="http://schemas.microsoft.com/office/powerpoint/2010/main" val="5230425"/>
      </p:ext>
    </p:extLst>
  </p:cSld>
  <p:clrMapOvr>
    <a:masterClrMapping/>
  </p:clrMapOvr>
  <p:extLst>
    <p:ext uri="{DCECCB84-F9BA-43D5-87BE-67443E8EF086}">
      <p15:sldGuideLst xmlns:p15="http://schemas.microsoft.com/office/powerpoint/2012/main">
        <p15:guide id="1" orient="horz" pos="962">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ntent slide - Full image">
    <p:bg>
      <p:bgPr>
        <a:solidFill>
          <a:schemeClr val="tx1"/>
        </a:solidFill>
        <a:effectLst/>
      </p:bgPr>
    </p:bg>
    <p:spTree>
      <p:nvGrpSpPr>
        <p:cNvPr id="1" name=""/>
        <p:cNvGrpSpPr/>
        <p:nvPr/>
      </p:nvGrpSpPr>
      <p:grpSpPr>
        <a:xfrm>
          <a:off x="0" y="0"/>
          <a:ext cx="0" cy="0"/>
          <a:chOff x="0" y="0"/>
          <a:chExt cx="0" cy="0"/>
        </a:xfrm>
      </p:grpSpPr>
      <p:sp>
        <p:nvSpPr>
          <p:cNvPr id="9" name="Picture Placeholder 4"/>
          <p:cNvSpPr>
            <a:spLocks noGrp="1"/>
          </p:cNvSpPr>
          <p:nvPr>
            <p:ph type="pic" sz="quarter" idx="15" hasCustomPrompt="1"/>
          </p:nvPr>
        </p:nvSpPr>
        <p:spPr>
          <a:xfrm>
            <a:off x="0" y="1"/>
            <a:ext cx="12192000" cy="6864625"/>
          </a:xfrm>
          <a:blipFill dpi="0" rotWithShape="1">
            <a:blip r:embed="rId2"/>
            <a:srcRect/>
            <a:tile tx="0" ty="69850" sx="100000" sy="100000" flip="none" algn="ctr"/>
          </a:blipFill>
        </p:spPr>
        <p:txBody>
          <a:bodyPr anchor="ctr"/>
          <a:lstStyle>
            <a:lvl1pPr marL="0" indent="0" algn="ctr">
              <a:lnSpc>
                <a:spcPct val="100000"/>
              </a:lnSpc>
              <a:buNone/>
              <a:defRPr baseline="0">
                <a:noFill/>
                <a:latin typeface="Proximus" panose="00000500000000000000" pitchFamily="2" charset="0"/>
              </a:defRPr>
            </a:lvl1pPr>
          </a:lstStyle>
          <a:p>
            <a:r>
              <a:rPr lang="en-GB"/>
              <a:t>Click icon to change picture</a:t>
            </a:r>
          </a:p>
        </p:txBody>
      </p:sp>
      <p:sp>
        <p:nvSpPr>
          <p:cNvPr id="2" name="Title 1"/>
          <p:cNvSpPr>
            <a:spLocks noGrp="1"/>
          </p:cNvSpPr>
          <p:nvPr>
            <p:ph type="title" hasCustomPrompt="1"/>
          </p:nvPr>
        </p:nvSpPr>
        <p:spPr/>
        <p:txBody>
          <a:bodyPr/>
          <a:lstStyle>
            <a:lvl1pPr>
              <a:defRPr b="1">
                <a:solidFill>
                  <a:schemeClr val="bg1"/>
                </a:solidFill>
                <a:latin typeface="Proximus" panose="00000500000000000000" pitchFamily="2" charset="0"/>
              </a:defRPr>
            </a:lvl1pPr>
          </a:lstStyle>
          <a:p>
            <a:r>
              <a:rPr lang="en-US"/>
              <a:t>Click to edit slide title</a:t>
            </a:r>
            <a:endParaRPr lang="nl-BE"/>
          </a:p>
        </p:txBody>
      </p:sp>
    </p:spTree>
    <p:extLst>
      <p:ext uri="{BB962C8B-B14F-4D97-AF65-F5344CB8AC3E}">
        <p14:creationId xmlns:p14="http://schemas.microsoft.com/office/powerpoint/2010/main" val="279199049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gradFill>
          <a:gsLst>
            <a:gs pos="25000">
              <a:schemeClr val="bg1"/>
            </a:gs>
            <a:gs pos="100000">
              <a:srgbClr val="D12E67"/>
            </a:gs>
          </a:gsLst>
          <a:lin ang="3000000" scaled="0"/>
        </a:gra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A4627669-EBE6-429E-B1FA-C8D75FC5EB99}"/>
              </a:ext>
            </a:extLst>
          </p:cNvPr>
          <p:cNvSpPr txBox="1"/>
          <p:nvPr userDrawn="1"/>
        </p:nvSpPr>
        <p:spPr>
          <a:xfrm>
            <a:off x="613833" y="1383691"/>
            <a:ext cx="10990456" cy="861775"/>
          </a:xfrm>
          <a:prstGeom prst="rect">
            <a:avLst/>
          </a:prstGeom>
        </p:spPr>
        <p:txBody>
          <a:bodyPr vert="horz" lIns="0" tIns="0" rIns="0" bIns="0" rtlCol="0" anchor="b" anchorCtr="0">
            <a:normAutofit/>
          </a:bodyPr>
          <a:lstStyle>
            <a:lvl1pPr defTabSz="914287">
              <a:spcBef>
                <a:spcPct val="0"/>
              </a:spcBef>
              <a:buNone/>
              <a:defRPr sz="4200" b="0" i="0">
                <a:solidFill>
                  <a:srgbClr val="FFFFFF"/>
                </a:solidFill>
                <a:latin typeface="Proximus ExtraBold" panose="00000900000000000000" pitchFamily="2" charset="0"/>
                <a:ea typeface="+mj-ea"/>
                <a:cs typeface="Proximus" panose="00000500000000000000" pitchFamily="2" charset="0"/>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BE" sz="5600"/>
              <a:t>T</a:t>
            </a:r>
            <a:r>
              <a:rPr lang="en-US" sz="5600"/>
              <a:t>h</a:t>
            </a:r>
            <a:r>
              <a:rPr lang="en-BE" sz="5600"/>
              <a:t>a</a:t>
            </a:r>
            <a:r>
              <a:rPr lang="en-US" sz="5600"/>
              <a:t>n</a:t>
            </a:r>
            <a:r>
              <a:rPr lang="en-BE" sz="5600"/>
              <a:t>k </a:t>
            </a:r>
            <a:r>
              <a:rPr lang="en-US" sz="5600"/>
              <a:t>Y</a:t>
            </a:r>
            <a:r>
              <a:rPr lang="en-BE" sz="5600"/>
              <a:t>o</a:t>
            </a:r>
            <a:r>
              <a:rPr lang="en-US" sz="5600"/>
              <a:t>u</a:t>
            </a:r>
          </a:p>
        </p:txBody>
      </p:sp>
      <p:sp>
        <p:nvSpPr>
          <p:cNvPr id="9" name="TextBox 8">
            <a:extLst>
              <a:ext uri="{FF2B5EF4-FFF2-40B4-BE49-F238E27FC236}">
                <a16:creationId xmlns:a16="http://schemas.microsoft.com/office/drawing/2014/main" id="{C1327079-BB69-4AA7-AE65-44FE269F5EF2}"/>
              </a:ext>
            </a:extLst>
          </p:cNvPr>
          <p:cNvSpPr txBox="1"/>
          <p:nvPr userDrawn="1"/>
        </p:nvSpPr>
        <p:spPr>
          <a:xfrm>
            <a:off x="613833" y="5033936"/>
            <a:ext cx="10962219" cy="357229"/>
          </a:xfrm>
          <a:prstGeom prst="rect">
            <a:avLst/>
          </a:prstGeom>
        </p:spPr>
        <p:txBody>
          <a:bodyPr vert="horz" lIns="0" tIns="0" rIns="0" bIns="0" numCol="1" spcCol="0" rtlCol="0" anchor="t" anchorCtr="0">
            <a:noAutofit/>
          </a:bodyPr>
          <a:lstStyle>
            <a:lvl1pPr lvl="0" indent="0" defTabSz="914287">
              <a:lnSpc>
                <a:spcPts val="2200"/>
              </a:lnSpc>
              <a:spcBef>
                <a:spcPts val="0"/>
              </a:spcBef>
              <a:spcAft>
                <a:spcPts val="1100"/>
              </a:spcAft>
              <a:buClr>
                <a:schemeClr val="tx2"/>
              </a:buClr>
              <a:buSzPct val="100000"/>
              <a:buFont typeface="Arial" panose="020B0604020202020204" pitchFamily="34" charset="0"/>
              <a:buNone/>
              <a:tabLst/>
              <a:defRPr sz="1800">
                <a:latin typeface="Proximus" panose="00000500000000000000" pitchFamily="2" charset="0"/>
              </a:defRPr>
            </a:lvl1pPr>
            <a:lvl2pPr marL="358730" indent="-176192" defTabSz="914287">
              <a:spcBef>
                <a:spcPts val="0"/>
              </a:spcBef>
              <a:spcAft>
                <a:spcPts val="1100"/>
              </a:spcAft>
              <a:buClr>
                <a:schemeClr val="bg1"/>
              </a:buClr>
              <a:buSzPct val="100000"/>
              <a:buFont typeface="Arial" panose="020B0604020202020204" pitchFamily="34" charset="0"/>
              <a:buChar char="•"/>
              <a:tabLst/>
              <a:defRPr sz="1800">
                <a:solidFill>
                  <a:schemeClr val="bg1"/>
                </a:solidFill>
                <a:latin typeface="Proximus" panose="00000500000000000000" pitchFamily="2" charset="0"/>
              </a:defRPr>
            </a:lvl2pPr>
            <a:lvl3pPr marL="536507" indent="-177779" defTabSz="914287">
              <a:spcBef>
                <a:spcPts val="0"/>
              </a:spcBef>
              <a:spcAft>
                <a:spcPts val="1100"/>
              </a:spcAft>
              <a:buClr>
                <a:schemeClr val="bg1"/>
              </a:buClr>
              <a:buSzPct val="100000"/>
              <a:buFont typeface="Arial" panose="020B0604020202020204" pitchFamily="34" charset="0"/>
              <a:buChar char="•"/>
              <a:tabLst/>
              <a:defRPr sz="1600">
                <a:solidFill>
                  <a:schemeClr val="bg1"/>
                </a:solidFill>
                <a:latin typeface="Proximus" panose="00000500000000000000" pitchFamily="2" charset="0"/>
              </a:defRPr>
            </a:lvl3pPr>
            <a:lvl4pPr marL="712699" indent="-176192" defTabSz="914287">
              <a:spcBef>
                <a:spcPts val="0"/>
              </a:spcBef>
              <a:spcAft>
                <a:spcPts val="1100"/>
              </a:spcAft>
              <a:buClr>
                <a:schemeClr val="bg1"/>
              </a:buClr>
              <a:buSzPct val="100000"/>
              <a:buFont typeface="Arial" panose="020B0604020202020204" pitchFamily="34" charset="0"/>
              <a:buChar char="•"/>
              <a:tabLst/>
              <a:defRPr sz="1400">
                <a:solidFill>
                  <a:schemeClr val="bg1"/>
                </a:solidFill>
                <a:latin typeface="Proximus" panose="00000500000000000000" pitchFamily="2" charset="0"/>
              </a:defRPr>
            </a:lvl4pPr>
            <a:lvl5pPr marL="888889" indent="-176192" defTabSz="914287">
              <a:spcBef>
                <a:spcPts val="0"/>
              </a:spcBef>
              <a:spcAft>
                <a:spcPts val="1100"/>
              </a:spcAft>
              <a:buClr>
                <a:schemeClr val="bg1"/>
              </a:buClr>
              <a:buSzPct val="100000"/>
              <a:buFont typeface="Arial" panose="020B0604020202020204" pitchFamily="34" charset="0"/>
              <a:buChar char="•"/>
              <a:tabLst/>
              <a:defRPr sz="1200">
                <a:solidFill>
                  <a:schemeClr val="bg1"/>
                </a:solidFill>
                <a:latin typeface="Proximus" panose="00000500000000000000" pitchFamily="2" charset="0"/>
              </a:defRPr>
            </a:lvl5pPr>
            <a:lvl6pPr marL="2514286" indent="-228572" defTabSz="914287">
              <a:spcBef>
                <a:spcPct val="20000"/>
              </a:spcBef>
              <a:buFont typeface="Arial" panose="020B0604020202020204" pitchFamily="34" charset="0"/>
              <a:buChar char="•"/>
              <a:defRPr sz="2000"/>
            </a:lvl6pPr>
            <a:lvl7pPr marL="2971429" indent="-228572" defTabSz="914287">
              <a:spcBef>
                <a:spcPct val="20000"/>
              </a:spcBef>
              <a:buFont typeface="Arial" panose="020B0604020202020204" pitchFamily="34" charset="0"/>
              <a:buChar char="•"/>
              <a:defRPr sz="2000"/>
            </a:lvl7pPr>
            <a:lvl8pPr marL="3428572" indent="-228572" defTabSz="914287">
              <a:spcBef>
                <a:spcPct val="20000"/>
              </a:spcBef>
              <a:buFont typeface="Arial" panose="020B0604020202020204" pitchFamily="34" charset="0"/>
              <a:buChar char="•"/>
              <a:defRPr sz="2000"/>
            </a:lvl8pPr>
            <a:lvl9pPr marL="3885715" indent="-228572" defTabSz="914287">
              <a:spcBef>
                <a:spcPct val="20000"/>
              </a:spcBef>
              <a:buFont typeface="Arial" panose="020B0604020202020204" pitchFamily="34" charset="0"/>
              <a:buChar char="•"/>
              <a:defRPr sz="2000"/>
            </a:lvl9pPr>
          </a:lstStyle>
          <a:p>
            <a:pPr lvl="0"/>
            <a:r>
              <a:rPr lang="en-US" sz="2400"/>
              <a:t>More info?</a:t>
            </a:r>
          </a:p>
        </p:txBody>
      </p:sp>
      <p:sp>
        <p:nvSpPr>
          <p:cNvPr id="10" name="Text Placeholder 13">
            <a:extLst>
              <a:ext uri="{FF2B5EF4-FFF2-40B4-BE49-F238E27FC236}">
                <a16:creationId xmlns:a16="http://schemas.microsoft.com/office/drawing/2014/main" id="{8372C999-9A28-4AA4-991B-7FBAC93D34FF}"/>
              </a:ext>
            </a:extLst>
          </p:cNvPr>
          <p:cNvSpPr>
            <a:spLocks noGrp="1"/>
          </p:cNvSpPr>
          <p:nvPr>
            <p:ph type="body" sz="quarter" idx="10" hasCustomPrompt="1"/>
          </p:nvPr>
        </p:nvSpPr>
        <p:spPr>
          <a:xfrm>
            <a:off x="586318" y="5473700"/>
            <a:ext cx="11017249" cy="357717"/>
          </a:xfrm>
          <a:noFill/>
        </p:spPr>
        <p:txBody>
          <a:bodyPr/>
          <a:lstStyle>
            <a:lvl1pPr marL="0" indent="0">
              <a:buNone/>
              <a:defRPr>
                <a:solidFill>
                  <a:schemeClr val="tx1"/>
                </a:solidFill>
              </a:defRPr>
            </a:lvl1pPr>
          </a:lstStyle>
          <a:p>
            <a:pPr lvl="0"/>
            <a:r>
              <a:rPr lang="en-US"/>
              <a:t>firstname.lastname@proximus.com</a:t>
            </a:r>
          </a:p>
        </p:txBody>
      </p:sp>
      <p:pic>
        <p:nvPicPr>
          <p:cNvPr id="11" name="Graphic 10">
            <a:extLst>
              <a:ext uri="{FF2B5EF4-FFF2-40B4-BE49-F238E27FC236}">
                <a16:creationId xmlns:a16="http://schemas.microsoft.com/office/drawing/2014/main" id="{6DE3DAB3-B0CE-47F8-80EF-9E05EC59DA2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702898" y="5724528"/>
            <a:ext cx="889207" cy="720725"/>
          </a:xfrm>
          <a:prstGeom prst="rect">
            <a:avLst/>
          </a:prstGeom>
        </p:spPr>
      </p:pic>
    </p:spTree>
    <p:extLst>
      <p:ext uri="{BB962C8B-B14F-4D97-AF65-F5344CB8AC3E}">
        <p14:creationId xmlns:p14="http://schemas.microsoft.com/office/powerpoint/2010/main" val="70988627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343760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userDrawn="1">
  <p:cSld name="Bold strategic - empty">
    <p:bg>
      <p:bgPr>
        <a:solidFill>
          <a:schemeClr val="tx1">
            <a:lumMod val="95000"/>
          </a:schemeClr>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D5F87E9-B136-D82E-08BD-6D46900AC004}"/>
              </a:ext>
            </a:extLst>
          </p:cNvPr>
          <p:cNvGraphicFramePr>
            <a:graphicFrameLocks noChangeAspect="1"/>
          </p:cNvGraphicFramePr>
          <p:nvPr userDrawn="1">
            <p:custDataLst>
              <p:tags r:id="rId1"/>
            </p:custDataLst>
            <p:extLst>
              <p:ext uri="{D42A27DB-BD31-4B8C-83A1-F6EECF244321}">
                <p14:modId xmlns:p14="http://schemas.microsoft.com/office/powerpoint/2010/main" val="352331220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5" name="think-cell data - do not delete" hidden="1">
                        <a:extLst>
                          <a:ext uri="{FF2B5EF4-FFF2-40B4-BE49-F238E27FC236}">
                            <a16:creationId xmlns:a16="http://schemas.microsoft.com/office/drawing/2014/main" id="{0D5F87E9-B136-D82E-08BD-6D46900AC004}"/>
                          </a:ext>
                        </a:extLst>
                      </p:cNvPr>
                      <p:cNvPicPr/>
                      <p:nvPr/>
                    </p:nvPicPr>
                    <p:blipFill>
                      <a:blip/>
                      <a:stretch>
                        <a:fillRect/>
                      </a:stretch>
                    </p:blipFill>
                    <p:spPr>
                      <a:xfrm>
                        <a:off x="1589" y="1589"/>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5530A783-4115-39E7-E9A9-B3783DF43A82}"/>
              </a:ext>
            </a:extLst>
          </p:cNvPr>
          <p:cNvSpPr txBox="1">
            <a:spLocks noGrp="1" noRot="1" noMove="1" noResize="1" noEditPoints="1" noAdjustHandles="1" noChangeArrowheads="1" noChangeShapeType="1"/>
          </p:cNvSpPr>
          <p:nvPr userDrawn="1"/>
        </p:nvSpPr>
        <p:spPr>
          <a:xfrm>
            <a:off x="3048777" y="6641882"/>
            <a:ext cx="6097555" cy="215444"/>
          </a:xfrm>
          <a:prstGeom prst="rect">
            <a:avLst/>
          </a:prstGeom>
          <a:noFill/>
        </p:spPr>
        <p:txBody>
          <a:bodyPr wrap="square">
            <a:spAutoFit/>
          </a:bodyPr>
          <a:lstStyle/>
          <a:p>
            <a:pPr algn="ctr" rtl="0">
              <a:spcBef>
                <a:spcPts val="0"/>
              </a:spcBef>
              <a:spcAft>
                <a:spcPts val="0"/>
              </a:spcAft>
            </a:pPr>
            <a:r>
              <a:rPr lang="en-GB" sz="800">
                <a:solidFill>
                  <a:srgbClr val="737373"/>
                </a:solidFill>
                <a:latin typeface="Calibri" panose="020F0502020204030204" pitchFamily="34" charset="0"/>
              </a:rPr>
              <a:t>Confidential - Not for you? Notify the sender and delete. See more on https://www.proximus.com/confidentiality</a:t>
            </a:r>
          </a:p>
        </p:txBody>
      </p:sp>
      <p:sp>
        <p:nvSpPr>
          <p:cNvPr id="4" name="Slide Number Placeholder 4">
            <a:extLst>
              <a:ext uri="{FF2B5EF4-FFF2-40B4-BE49-F238E27FC236}">
                <a16:creationId xmlns:a16="http://schemas.microsoft.com/office/drawing/2014/main" id="{F959E759-CE97-975E-5ECD-64C37114E083}"/>
              </a:ext>
            </a:extLst>
          </p:cNvPr>
          <p:cNvSpPr txBox="1">
            <a:spLocks/>
          </p:cNvSpPr>
          <p:nvPr userDrawn="1"/>
        </p:nvSpPr>
        <p:spPr>
          <a:xfrm>
            <a:off x="6803924" y="1"/>
            <a:ext cx="5182760" cy="280459"/>
          </a:xfrm>
          <a:prstGeom prst="rect">
            <a:avLst/>
          </a:prstGeom>
        </p:spPr>
        <p:txBody>
          <a:bodyPr lIns="0" tIns="0" rIns="0" bIns="0" anchor="b"/>
          <a:lstStyle>
            <a:defPPr>
              <a:defRPr lang="en-US"/>
            </a:defPPr>
            <a:lvl1pPr marL="0" algn="r" defTabSz="544125" rtl="0" eaLnBrk="1" latinLnBrk="0" hangingPunct="1">
              <a:defRPr sz="800" kern="1200">
                <a:solidFill>
                  <a:schemeClr val="bg1"/>
                </a:solidFill>
                <a:latin typeface="Proximus" panose="00000500000000000000" pitchFamily="2" charset="0"/>
                <a:ea typeface="+mn-ea"/>
                <a:cs typeface="+mn-cs"/>
              </a:defRPr>
            </a:lvl1pPr>
            <a:lvl2pPr marL="544125" algn="l" defTabSz="544125" rtl="0" eaLnBrk="1" latinLnBrk="0" hangingPunct="1">
              <a:defRPr sz="2160" kern="1200">
                <a:solidFill>
                  <a:schemeClr val="tx1"/>
                </a:solidFill>
                <a:latin typeface="+mn-lt"/>
                <a:ea typeface="+mn-ea"/>
                <a:cs typeface="+mn-cs"/>
              </a:defRPr>
            </a:lvl2pPr>
            <a:lvl3pPr marL="1088251" algn="l" defTabSz="544125" rtl="0" eaLnBrk="1" latinLnBrk="0" hangingPunct="1">
              <a:defRPr sz="2160" kern="1200">
                <a:solidFill>
                  <a:schemeClr val="tx1"/>
                </a:solidFill>
                <a:latin typeface="+mn-lt"/>
                <a:ea typeface="+mn-ea"/>
                <a:cs typeface="+mn-cs"/>
              </a:defRPr>
            </a:lvl3pPr>
            <a:lvl4pPr marL="1632378" algn="l" defTabSz="544125" rtl="0" eaLnBrk="1" latinLnBrk="0" hangingPunct="1">
              <a:defRPr sz="2160" kern="1200">
                <a:solidFill>
                  <a:schemeClr val="tx1"/>
                </a:solidFill>
                <a:latin typeface="+mn-lt"/>
                <a:ea typeface="+mn-ea"/>
                <a:cs typeface="+mn-cs"/>
              </a:defRPr>
            </a:lvl4pPr>
            <a:lvl5pPr marL="2176504" algn="l" defTabSz="544125" rtl="0" eaLnBrk="1" latinLnBrk="0" hangingPunct="1">
              <a:defRPr sz="2160" kern="1200">
                <a:solidFill>
                  <a:schemeClr val="tx1"/>
                </a:solidFill>
                <a:latin typeface="+mn-lt"/>
                <a:ea typeface="+mn-ea"/>
                <a:cs typeface="+mn-cs"/>
              </a:defRPr>
            </a:lvl5pPr>
            <a:lvl6pPr marL="2720629" algn="l" defTabSz="544125" rtl="0" eaLnBrk="1" latinLnBrk="0" hangingPunct="1">
              <a:defRPr sz="2160" kern="1200">
                <a:solidFill>
                  <a:schemeClr val="tx1"/>
                </a:solidFill>
                <a:latin typeface="+mn-lt"/>
                <a:ea typeface="+mn-ea"/>
                <a:cs typeface="+mn-cs"/>
              </a:defRPr>
            </a:lvl6pPr>
            <a:lvl7pPr marL="3264757" algn="l" defTabSz="544125" rtl="0" eaLnBrk="1" latinLnBrk="0" hangingPunct="1">
              <a:defRPr sz="2160" kern="1200">
                <a:solidFill>
                  <a:schemeClr val="tx1"/>
                </a:solidFill>
                <a:latin typeface="+mn-lt"/>
                <a:ea typeface="+mn-ea"/>
                <a:cs typeface="+mn-cs"/>
              </a:defRPr>
            </a:lvl7pPr>
            <a:lvl8pPr marL="3808879" algn="l" defTabSz="544125" rtl="0" eaLnBrk="1" latinLnBrk="0" hangingPunct="1">
              <a:defRPr sz="2160" kern="1200">
                <a:solidFill>
                  <a:schemeClr val="tx1"/>
                </a:solidFill>
                <a:latin typeface="+mn-lt"/>
                <a:ea typeface="+mn-ea"/>
                <a:cs typeface="+mn-cs"/>
              </a:defRPr>
            </a:lvl8pPr>
            <a:lvl9pPr marL="4353007" algn="l" defTabSz="544125" rtl="0" eaLnBrk="1" latinLnBrk="0" hangingPunct="1">
              <a:defRPr sz="2160" kern="1200">
                <a:solidFill>
                  <a:schemeClr val="tx1"/>
                </a:solidFill>
                <a:latin typeface="+mn-lt"/>
                <a:ea typeface="+mn-ea"/>
                <a:cs typeface="+mn-cs"/>
              </a:defRPr>
            </a:lvl9pPr>
          </a:lstStyle>
          <a:p>
            <a:pPr marL="0" marR="0" lvl="0" indent="0" algn="r" defTabSz="544112" rtl="0" eaLnBrk="1" fontAlgn="auto" latinLnBrk="0" hangingPunct="1">
              <a:lnSpc>
                <a:spcPct val="100000"/>
              </a:lnSpc>
              <a:spcBef>
                <a:spcPts val="0"/>
              </a:spcBef>
              <a:spcAft>
                <a:spcPts val="0"/>
              </a:spcAft>
              <a:buClrTx/>
              <a:buSzTx/>
              <a:buFontTx/>
              <a:buNone/>
              <a:tabLst/>
              <a:defRPr/>
            </a:pPr>
            <a:fld id="{AF458780-3DEA-4093-8A6E-7C0E406A36AD}" type="slidenum">
              <a:rPr kumimoji="0" lang="en-GB" sz="900" b="0" i="0" u="none" strike="noStrike" kern="1200" cap="none" spc="0" normalizeH="0" baseline="0" noProof="0" smtClean="0">
                <a:ln>
                  <a:noFill/>
                </a:ln>
                <a:solidFill>
                  <a:srgbClr val="000000">
                    <a:alpha val="70000"/>
                  </a:srgbClr>
                </a:solidFill>
                <a:effectLst/>
                <a:uLnTx/>
                <a:uFillTx/>
                <a:latin typeface="Proximus" panose="00000500000000000000" pitchFamily="2" charset="0"/>
                <a:ea typeface="+mn-ea"/>
                <a:cs typeface="+mn-cs"/>
              </a:rPr>
              <a:pPr marL="0" marR="0" lvl="0" indent="0" algn="r" defTabSz="544112" rtl="0" eaLnBrk="1" fontAlgn="auto" latinLnBrk="0" hangingPunct="1">
                <a:lnSpc>
                  <a:spcPct val="100000"/>
                </a:lnSpc>
                <a:spcBef>
                  <a:spcPts val="0"/>
                </a:spcBef>
                <a:spcAft>
                  <a:spcPts val="0"/>
                </a:spcAft>
                <a:buClrTx/>
                <a:buSzTx/>
                <a:buFontTx/>
                <a:buNone/>
                <a:tabLst/>
                <a:defRPr/>
              </a:pPr>
              <a:t>‹#›</a:t>
            </a:fld>
            <a:endParaRPr kumimoji="0" lang="en-GB" sz="900" b="0" i="0" u="none" strike="noStrike" kern="1200" cap="none" spc="0" normalizeH="0" baseline="0" noProof="0">
              <a:ln>
                <a:noFill/>
              </a:ln>
              <a:solidFill>
                <a:srgbClr val="000000">
                  <a:alpha val="70000"/>
                </a:srgbClr>
              </a:solidFill>
              <a:effectLst/>
              <a:uLnTx/>
              <a:uFillTx/>
              <a:latin typeface="Proximus" panose="00000500000000000000" pitchFamily="2" charset="0"/>
              <a:ea typeface="+mn-ea"/>
              <a:cs typeface="+mn-cs"/>
            </a:endParaRPr>
          </a:p>
        </p:txBody>
      </p:sp>
      <p:sp>
        <p:nvSpPr>
          <p:cNvPr id="11" name="Text Placeholder 10">
            <a:extLst>
              <a:ext uri="{FF2B5EF4-FFF2-40B4-BE49-F238E27FC236}">
                <a16:creationId xmlns:a16="http://schemas.microsoft.com/office/drawing/2014/main" id="{9345C777-8015-48A4-360B-4E03E1A02133}"/>
              </a:ext>
            </a:extLst>
          </p:cNvPr>
          <p:cNvSpPr>
            <a:spLocks noGrp="1"/>
          </p:cNvSpPr>
          <p:nvPr>
            <p:ph type="body" sz="quarter" idx="11" hasCustomPrompt="1"/>
          </p:nvPr>
        </p:nvSpPr>
        <p:spPr>
          <a:xfrm>
            <a:off x="656983" y="6421038"/>
            <a:ext cx="10904152" cy="200055"/>
          </a:xfrm>
          <a:prstGeom prst="rect">
            <a:avLst/>
          </a:prstGeom>
        </p:spPr>
        <p:txBody>
          <a:bodyPr lIns="0" tIns="0" rIns="0" bIns="0" anchor="b"/>
          <a:lstStyle>
            <a:lvl1pPr rtl="0">
              <a:defRPr sz="900">
                <a:solidFill>
                  <a:schemeClr val="tx1">
                    <a:lumMod val="50000"/>
                  </a:schemeClr>
                </a:solidFill>
              </a:defRPr>
            </a:lvl1pPr>
          </a:lstStyle>
          <a:p>
            <a:pPr lvl="0"/>
            <a:r>
              <a:rPr lang="en-GB"/>
              <a:t>Click to add note</a:t>
            </a:r>
          </a:p>
        </p:txBody>
      </p:sp>
      <p:sp>
        <p:nvSpPr>
          <p:cNvPr id="7" name="Title 6">
            <a:extLst>
              <a:ext uri="{FF2B5EF4-FFF2-40B4-BE49-F238E27FC236}">
                <a16:creationId xmlns:a16="http://schemas.microsoft.com/office/drawing/2014/main" id="{C1303694-288A-C283-6E0A-84FB9CCB73CB}"/>
              </a:ext>
            </a:extLst>
          </p:cNvPr>
          <p:cNvSpPr>
            <a:spLocks noGrp="1"/>
          </p:cNvSpPr>
          <p:nvPr>
            <p:ph type="title"/>
          </p:nvPr>
        </p:nvSpPr>
        <p:spPr>
          <a:xfrm>
            <a:off x="656984" y="503119"/>
            <a:ext cx="10904152" cy="882651"/>
          </a:xfrm>
        </p:spPr>
        <p:txBody>
          <a:bodyPr vert="horz"/>
          <a:lstStyle>
            <a:lvl1pPr rtl="0">
              <a:defRPr/>
            </a:lvl1pPr>
          </a:lstStyle>
          <a:p>
            <a:r>
              <a:rPr lang="en-GB"/>
              <a:t>Click to edit Master title style</a:t>
            </a:r>
          </a:p>
        </p:txBody>
      </p:sp>
    </p:spTree>
    <p:extLst>
      <p:ext uri="{BB962C8B-B14F-4D97-AF65-F5344CB8AC3E}">
        <p14:creationId xmlns:p14="http://schemas.microsoft.com/office/powerpoint/2010/main" val="145435360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Cover - Gradient">
    <p:bg>
      <p:bgPr>
        <a:solidFill>
          <a:srgbClr val="F3F4F7"/>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A5BCC1F-1DEF-A6A7-E60F-FEF0EDF199CE}"/>
              </a:ext>
            </a:extLst>
          </p:cNvPr>
          <p:cNvGraphicFramePr>
            <a:graphicFrameLocks noChangeAspect="1"/>
          </p:cNvGraphicFramePr>
          <p:nvPr userDrawn="1">
            <p:custDataLst>
              <p:tags r:id="rId1"/>
            </p:custDataLst>
            <p:extLst>
              <p:ext uri="{D42A27DB-BD31-4B8C-83A1-F6EECF244321}">
                <p14:modId xmlns:p14="http://schemas.microsoft.com/office/powerpoint/2010/main" val="1477998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4" name="think-cell data - do not delete" hidden="1">
                        <a:extLst>
                          <a:ext uri="{FF2B5EF4-FFF2-40B4-BE49-F238E27FC236}">
                            <a16:creationId xmlns:a16="http://schemas.microsoft.com/office/drawing/2014/main" id="{4A5BCC1F-1DEF-A6A7-E60F-FEF0EDF199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a:xfrm>
            <a:off x="613834" y="504000"/>
            <a:ext cx="10962217" cy="1748400"/>
          </a:xfrm>
        </p:spPr>
        <p:txBody>
          <a:bodyPr vert="horz" anchor="b">
            <a:noAutofit/>
          </a:bodyPr>
          <a:lstStyle>
            <a:lvl1pPr rtl="0">
              <a:defRPr sz="5600" b="0">
                <a:solidFill>
                  <a:srgbClr val="282233"/>
                </a:solidFill>
                <a:latin typeface="Proximus ExtraBold" panose="00000900000000000000" pitchFamily="2" charset="0"/>
              </a:defRPr>
            </a:lvl1pPr>
          </a:lstStyle>
          <a:p>
            <a:r>
              <a:rPr lang="en-US"/>
              <a:t>Click to edit </a:t>
            </a:r>
            <a:br>
              <a:rPr lang="en-US"/>
            </a:br>
            <a:r>
              <a:rPr lang="en-US"/>
              <a:t>presentation title</a:t>
            </a:r>
          </a:p>
        </p:txBody>
      </p:sp>
      <p:sp>
        <p:nvSpPr>
          <p:cNvPr id="6" name="Subtitle 2">
            <a:extLst>
              <a:ext uri="{FF2B5EF4-FFF2-40B4-BE49-F238E27FC236}">
                <a16:creationId xmlns:a16="http://schemas.microsoft.com/office/drawing/2014/main" id="{56176E85-8408-4B89-A7FD-D33D192C3CE4}"/>
              </a:ext>
            </a:extLst>
          </p:cNvPr>
          <p:cNvSpPr>
            <a:spLocks noGrp="1"/>
          </p:cNvSpPr>
          <p:nvPr>
            <p:ph type="subTitle" idx="1" hasCustomPrompt="1"/>
          </p:nvPr>
        </p:nvSpPr>
        <p:spPr>
          <a:xfrm>
            <a:off x="613834" y="2624866"/>
            <a:ext cx="10962217" cy="1335741"/>
          </a:xfrm>
        </p:spPr>
        <p:txBody>
          <a:bodyPr/>
          <a:lstStyle>
            <a:lvl1pPr marL="0" indent="0" algn="l" rtl="0">
              <a:lnSpc>
                <a:spcPct val="100000"/>
              </a:lnSpc>
              <a:buNone/>
              <a:defRPr sz="3467">
                <a:solidFill>
                  <a:srgbClr val="282233"/>
                </a:solidFill>
                <a:latin typeface="Proximus Light" panose="00000500000000000000" pitchFamily="2"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Subtitle</a:t>
            </a:r>
          </a:p>
        </p:txBody>
      </p:sp>
      <p:sp>
        <p:nvSpPr>
          <p:cNvPr id="3" name="Date Placeholder 8">
            <a:extLst>
              <a:ext uri="{FF2B5EF4-FFF2-40B4-BE49-F238E27FC236}">
                <a16:creationId xmlns:a16="http://schemas.microsoft.com/office/drawing/2014/main" id="{C6D253A4-9E71-17BB-14ED-6271A75930B9}"/>
              </a:ext>
            </a:extLst>
          </p:cNvPr>
          <p:cNvSpPr>
            <a:spLocks noGrp="1"/>
          </p:cNvSpPr>
          <p:nvPr>
            <p:ph type="dt" sz="half" idx="2"/>
          </p:nvPr>
        </p:nvSpPr>
        <p:spPr>
          <a:xfrm>
            <a:off x="613834" y="5821863"/>
            <a:ext cx="204560" cy="377528"/>
          </a:xfrm>
          <a:prstGeom prst="roundRect">
            <a:avLst>
              <a:gd name="adj" fmla="val 50000"/>
            </a:avLst>
          </a:prstGeom>
          <a:solidFill>
            <a:schemeClr val="tx1"/>
          </a:solidFill>
        </p:spPr>
        <p:txBody>
          <a:bodyPr vert="horz" wrap="none" lIns="72000" tIns="36000" rIns="72000" bIns="36000" rtlCol="0" anchor="ctr">
            <a:spAutoFit/>
          </a:bodyPr>
          <a:lstStyle>
            <a:lvl1pPr algn="l" rtl="0">
              <a:defRPr sz="1600">
                <a:solidFill>
                  <a:srgbClr val="282233"/>
                </a:solidFill>
              </a:defRPr>
            </a:lvl1pPr>
          </a:lstStyle>
          <a:p>
            <a:endParaRPr lang="en-US"/>
          </a:p>
        </p:txBody>
      </p:sp>
    </p:spTree>
    <p:extLst>
      <p:ext uri="{BB962C8B-B14F-4D97-AF65-F5344CB8AC3E}">
        <p14:creationId xmlns:p14="http://schemas.microsoft.com/office/powerpoint/2010/main" val="126319702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Bold strategic - empty">
    <p:bg>
      <p:bgPr>
        <a:solidFill>
          <a:schemeClr val="tx1">
            <a:lumMod val="95000"/>
          </a:schemeClr>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D5F87E9-B136-D82E-08BD-6D46900AC004}"/>
              </a:ext>
            </a:extLst>
          </p:cNvPr>
          <p:cNvGraphicFramePr>
            <a:graphicFrameLocks noChangeAspect="1"/>
          </p:cNvGraphicFramePr>
          <p:nvPr userDrawn="1">
            <p:custDataLst>
              <p:tags r:id="rId1"/>
            </p:custDataLst>
            <p:extLst>
              <p:ext uri="{D42A27DB-BD31-4B8C-83A1-F6EECF244321}">
                <p14:modId xmlns:p14="http://schemas.microsoft.com/office/powerpoint/2010/main" val="430423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5" name="think-cell data - do not delete" hidden="1">
                        <a:extLst>
                          <a:ext uri="{FF2B5EF4-FFF2-40B4-BE49-F238E27FC236}">
                            <a16:creationId xmlns:a16="http://schemas.microsoft.com/office/drawing/2014/main" id="{0D5F87E9-B136-D82E-08BD-6D46900AC0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5530A783-4115-39E7-E9A9-B3783DF43A82}"/>
              </a:ext>
            </a:extLst>
          </p:cNvPr>
          <p:cNvSpPr txBox="1">
            <a:spLocks noGrp="1" noRot="1" noMove="1" noResize="1" noEditPoints="1" noAdjustHandles="1" noChangeArrowheads="1" noChangeShapeType="1"/>
          </p:cNvSpPr>
          <p:nvPr userDrawn="1"/>
        </p:nvSpPr>
        <p:spPr>
          <a:xfrm>
            <a:off x="3048778" y="6641881"/>
            <a:ext cx="6097554" cy="215444"/>
          </a:xfrm>
          <a:prstGeom prst="rect">
            <a:avLst/>
          </a:prstGeom>
          <a:noFill/>
        </p:spPr>
        <p:txBody>
          <a:bodyPr wrap="square">
            <a:spAutoFit/>
          </a:bodyPr>
          <a:lstStyle/>
          <a:p>
            <a:pPr algn="ctr" rtl="0">
              <a:spcBef>
                <a:spcPts val="0"/>
              </a:spcBef>
              <a:spcAft>
                <a:spcPts val="0"/>
              </a:spcAft>
            </a:pPr>
            <a:r>
              <a:rPr lang="en-US" sz="800">
                <a:solidFill>
                  <a:srgbClr val="737373"/>
                </a:solidFill>
                <a:latin typeface="Calibri" panose="020F0502020204030204" pitchFamily="34" charset="0"/>
              </a:rPr>
              <a:t>Confidential - Not for you? Notify the sender and delete. See more on https://www.proximus.com/confidentiality</a:t>
            </a:r>
          </a:p>
        </p:txBody>
      </p:sp>
      <p:sp>
        <p:nvSpPr>
          <p:cNvPr id="11" name="Text Placeholder 10">
            <a:extLst>
              <a:ext uri="{FF2B5EF4-FFF2-40B4-BE49-F238E27FC236}">
                <a16:creationId xmlns:a16="http://schemas.microsoft.com/office/drawing/2014/main" id="{9345C777-8015-48A4-360B-4E03E1A02133}"/>
              </a:ext>
            </a:extLst>
          </p:cNvPr>
          <p:cNvSpPr>
            <a:spLocks noGrp="1"/>
          </p:cNvSpPr>
          <p:nvPr>
            <p:ph type="body" sz="quarter" idx="11" hasCustomPrompt="1"/>
          </p:nvPr>
        </p:nvSpPr>
        <p:spPr>
          <a:xfrm>
            <a:off x="656983" y="6421036"/>
            <a:ext cx="11091600" cy="200055"/>
          </a:xfrm>
          <a:prstGeom prst="rect">
            <a:avLst/>
          </a:prstGeom>
        </p:spPr>
        <p:txBody>
          <a:bodyPr lIns="0" tIns="0" rIns="0" bIns="0" anchor="b"/>
          <a:lstStyle>
            <a:lvl1pPr rtl="0">
              <a:defRPr sz="900">
                <a:solidFill>
                  <a:schemeClr val="tx1">
                    <a:lumMod val="50000"/>
                  </a:schemeClr>
                </a:solidFill>
              </a:defRPr>
            </a:lvl1pPr>
          </a:lstStyle>
          <a:p>
            <a:pPr lvl="0"/>
            <a:r>
              <a:rPr lang="en-US"/>
              <a:t>Click to add note</a:t>
            </a:r>
          </a:p>
        </p:txBody>
      </p:sp>
      <p:sp>
        <p:nvSpPr>
          <p:cNvPr id="7" name="Title 6">
            <a:extLst>
              <a:ext uri="{FF2B5EF4-FFF2-40B4-BE49-F238E27FC236}">
                <a16:creationId xmlns:a16="http://schemas.microsoft.com/office/drawing/2014/main" id="{C1303694-288A-C283-6E0A-84FB9CCB73CB}"/>
              </a:ext>
            </a:extLst>
          </p:cNvPr>
          <p:cNvSpPr>
            <a:spLocks noGrp="1"/>
          </p:cNvSpPr>
          <p:nvPr>
            <p:ph type="title"/>
          </p:nvPr>
        </p:nvSpPr>
        <p:spPr/>
        <p:txBody>
          <a:bodyPr vert="horz"/>
          <a:lstStyle>
            <a:lvl1pPr rtl="0">
              <a:defRPr/>
            </a:lvl1pPr>
          </a:lstStyle>
          <a:p>
            <a:r>
              <a:rPr lang="en-US"/>
              <a:t>Click to edit Master title style</a:t>
            </a:r>
          </a:p>
        </p:txBody>
      </p:sp>
      <p:sp>
        <p:nvSpPr>
          <p:cNvPr id="2" name="Slide Number Placeholder 4">
            <a:extLst>
              <a:ext uri="{FF2B5EF4-FFF2-40B4-BE49-F238E27FC236}">
                <a16:creationId xmlns:a16="http://schemas.microsoft.com/office/drawing/2014/main" id="{4708B78D-DD5D-F1C4-93E4-FAC07DA4121C}"/>
              </a:ext>
            </a:extLst>
          </p:cNvPr>
          <p:cNvSpPr txBox="1">
            <a:spLocks/>
          </p:cNvSpPr>
          <p:nvPr userDrawn="1"/>
        </p:nvSpPr>
        <p:spPr>
          <a:xfrm>
            <a:off x="11591364" y="80404"/>
            <a:ext cx="395319" cy="200055"/>
          </a:xfrm>
          <a:prstGeom prst="rect">
            <a:avLst/>
          </a:prstGeom>
        </p:spPr>
        <p:txBody>
          <a:bodyPr lIns="0" tIns="0" rIns="0" bIns="0" anchor="b"/>
          <a:lstStyle>
            <a:defPPr>
              <a:defRPr lang="en-US"/>
            </a:defPPr>
            <a:lvl1pPr marL="0" algn="r" defTabSz="544125" rtl="0" eaLnBrk="1" latinLnBrk="0" hangingPunct="1">
              <a:defRPr sz="800" kern="1200">
                <a:solidFill>
                  <a:schemeClr val="bg1"/>
                </a:solidFill>
                <a:latin typeface="Proximus" panose="00000500000000000000" pitchFamily="2" charset="0"/>
                <a:ea typeface="+mn-ea"/>
                <a:cs typeface="+mn-cs"/>
              </a:defRPr>
            </a:lvl1pPr>
            <a:lvl2pPr marL="544125" algn="l" defTabSz="544125" rtl="0" eaLnBrk="1" latinLnBrk="0" hangingPunct="1">
              <a:defRPr sz="2160" kern="1200">
                <a:solidFill>
                  <a:schemeClr val="tx1"/>
                </a:solidFill>
                <a:latin typeface="+mn-lt"/>
                <a:ea typeface="+mn-ea"/>
                <a:cs typeface="+mn-cs"/>
              </a:defRPr>
            </a:lvl2pPr>
            <a:lvl3pPr marL="1088251" algn="l" defTabSz="544125" rtl="0" eaLnBrk="1" latinLnBrk="0" hangingPunct="1">
              <a:defRPr sz="2160" kern="1200">
                <a:solidFill>
                  <a:schemeClr val="tx1"/>
                </a:solidFill>
                <a:latin typeface="+mn-lt"/>
                <a:ea typeface="+mn-ea"/>
                <a:cs typeface="+mn-cs"/>
              </a:defRPr>
            </a:lvl3pPr>
            <a:lvl4pPr marL="1632378" algn="l" defTabSz="544125" rtl="0" eaLnBrk="1" latinLnBrk="0" hangingPunct="1">
              <a:defRPr sz="2160" kern="1200">
                <a:solidFill>
                  <a:schemeClr val="tx1"/>
                </a:solidFill>
                <a:latin typeface="+mn-lt"/>
                <a:ea typeface="+mn-ea"/>
                <a:cs typeface="+mn-cs"/>
              </a:defRPr>
            </a:lvl4pPr>
            <a:lvl5pPr marL="2176504" algn="l" defTabSz="544125" rtl="0" eaLnBrk="1" latinLnBrk="0" hangingPunct="1">
              <a:defRPr sz="2160" kern="1200">
                <a:solidFill>
                  <a:schemeClr val="tx1"/>
                </a:solidFill>
                <a:latin typeface="+mn-lt"/>
                <a:ea typeface="+mn-ea"/>
                <a:cs typeface="+mn-cs"/>
              </a:defRPr>
            </a:lvl5pPr>
            <a:lvl6pPr marL="2720629" algn="l" defTabSz="544125" rtl="0" eaLnBrk="1" latinLnBrk="0" hangingPunct="1">
              <a:defRPr sz="2160" kern="1200">
                <a:solidFill>
                  <a:schemeClr val="tx1"/>
                </a:solidFill>
                <a:latin typeface="+mn-lt"/>
                <a:ea typeface="+mn-ea"/>
                <a:cs typeface="+mn-cs"/>
              </a:defRPr>
            </a:lvl6pPr>
            <a:lvl7pPr marL="3264757" algn="l" defTabSz="544125" rtl="0" eaLnBrk="1" latinLnBrk="0" hangingPunct="1">
              <a:defRPr sz="2160" kern="1200">
                <a:solidFill>
                  <a:schemeClr val="tx1"/>
                </a:solidFill>
                <a:latin typeface="+mn-lt"/>
                <a:ea typeface="+mn-ea"/>
                <a:cs typeface="+mn-cs"/>
              </a:defRPr>
            </a:lvl7pPr>
            <a:lvl8pPr marL="3808879" algn="l" defTabSz="544125" rtl="0" eaLnBrk="1" latinLnBrk="0" hangingPunct="1">
              <a:defRPr sz="2160" kern="1200">
                <a:solidFill>
                  <a:schemeClr val="tx1"/>
                </a:solidFill>
                <a:latin typeface="+mn-lt"/>
                <a:ea typeface="+mn-ea"/>
                <a:cs typeface="+mn-cs"/>
              </a:defRPr>
            </a:lvl8pPr>
            <a:lvl9pPr marL="4353007" algn="l" defTabSz="544125" rtl="0" eaLnBrk="1" latinLnBrk="0" hangingPunct="1">
              <a:defRPr sz="2160" kern="1200">
                <a:solidFill>
                  <a:schemeClr val="tx1"/>
                </a:solidFill>
                <a:latin typeface="+mn-lt"/>
                <a:ea typeface="+mn-ea"/>
                <a:cs typeface="+mn-cs"/>
              </a:defRPr>
            </a:lvl9pPr>
          </a:lstStyle>
          <a:p>
            <a:pPr marL="0" marR="0" lvl="0" indent="0" algn="r" defTabSz="544125" rtl="0" eaLnBrk="1" fontAlgn="auto" latinLnBrk="0" hangingPunct="1">
              <a:lnSpc>
                <a:spcPct val="100000"/>
              </a:lnSpc>
              <a:spcBef>
                <a:spcPts val="0"/>
              </a:spcBef>
              <a:spcAft>
                <a:spcPts val="0"/>
              </a:spcAft>
              <a:buClrTx/>
              <a:buSzTx/>
              <a:buFontTx/>
              <a:buNone/>
              <a:tabLst/>
              <a:defRPr/>
            </a:pPr>
            <a:fld id="{AF458780-3DEA-4093-8A6E-7C0E406A36AD}" type="slidenum">
              <a:rPr kumimoji="0" lang="en-US" sz="900" b="0" i="0" u="none" strike="noStrike" kern="1200" cap="none" spc="0" normalizeH="0" baseline="0" noProof="0" smtClean="0">
                <a:ln>
                  <a:noFill/>
                </a:ln>
                <a:solidFill>
                  <a:srgbClr val="000000">
                    <a:alpha val="70000"/>
                  </a:srgbClr>
                </a:solidFill>
                <a:effectLst/>
                <a:uLnTx/>
                <a:uFillTx/>
                <a:latin typeface="Proximus" panose="00000500000000000000" pitchFamily="2" charset="0"/>
                <a:ea typeface="+mn-ea"/>
                <a:cs typeface="+mn-cs"/>
              </a:rPr>
              <a:pPr marL="0" marR="0" lvl="0" indent="0" algn="r" defTabSz="544125"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alpha val="70000"/>
                </a:srgbClr>
              </a:solidFill>
              <a:effectLst/>
              <a:uLnTx/>
              <a:uFillTx/>
              <a:latin typeface="Proximus" panose="00000500000000000000" pitchFamily="2" charset="0"/>
              <a:ea typeface="+mn-ea"/>
              <a:cs typeface="+mn-cs"/>
            </a:endParaRPr>
          </a:p>
        </p:txBody>
      </p:sp>
    </p:spTree>
    <p:extLst>
      <p:ext uri="{BB962C8B-B14F-4D97-AF65-F5344CB8AC3E}">
        <p14:creationId xmlns:p14="http://schemas.microsoft.com/office/powerpoint/2010/main" val="162765408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Cover - Gradient">
    <p:bg>
      <p:bgPr>
        <a:solidFill>
          <a:srgbClr val="282233"/>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2599FD-6399-EDB3-AD27-212D5066A751}"/>
              </a:ext>
            </a:extLst>
          </p:cNvPr>
          <p:cNvGraphicFramePr>
            <a:graphicFrameLocks noChangeAspect="1"/>
          </p:cNvGraphicFramePr>
          <p:nvPr userDrawn="1">
            <p:custDataLst>
              <p:tags r:id="rId1"/>
            </p:custDataLst>
            <p:extLst>
              <p:ext uri="{D42A27DB-BD31-4B8C-83A1-F6EECF244321}">
                <p14:modId xmlns:p14="http://schemas.microsoft.com/office/powerpoint/2010/main" val="2801053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4" name="think-cell data - do not delete" hidden="1">
                        <a:extLst>
                          <a:ext uri="{FF2B5EF4-FFF2-40B4-BE49-F238E27FC236}">
                            <a16:creationId xmlns:a16="http://schemas.microsoft.com/office/drawing/2014/main" id="{D72599FD-6399-EDB3-AD27-212D5066A7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a:xfrm>
            <a:off x="613834" y="504000"/>
            <a:ext cx="10962217" cy="1748400"/>
          </a:xfrm>
        </p:spPr>
        <p:txBody>
          <a:bodyPr vert="horz" anchor="b">
            <a:noAutofit/>
          </a:bodyPr>
          <a:lstStyle>
            <a:lvl1pPr rtl="0">
              <a:defRPr sz="5600" b="0">
                <a:solidFill>
                  <a:srgbClr val="FFFFFF"/>
                </a:solidFill>
                <a:latin typeface="Proximus ExtraBold" panose="00000900000000000000" pitchFamily="2" charset="0"/>
              </a:defRPr>
            </a:lvl1pPr>
          </a:lstStyle>
          <a:p>
            <a:r>
              <a:rPr lang="en-US"/>
              <a:t>Click to edit </a:t>
            </a:r>
            <a:br>
              <a:rPr lang="en-US"/>
            </a:br>
            <a:r>
              <a:rPr lang="en-US"/>
              <a:t>presentation title</a:t>
            </a:r>
          </a:p>
        </p:txBody>
      </p:sp>
      <p:sp>
        <p:nvSpPr>
          <p:cNvPr id="6" name="Subtitle 2">
            <a:extLst>
              <a:ext uri="{FF2B5EF4-FFF2-40B4-BE49-F238E27FC236}">
                <a16:creationId xmlns:a16="http://schemas.microsoft.com/office/drawing/2014/main" id="{56176E85-8408-4B89-A7FD-D33D192C3CE4}"/>
              </a:ext>
            </a:extLst>
          </p:cNvPr>
          <p:cNvSpPr>
            <a:spLocks noGrp="1"/>
          </p:cNvSpPr>
          <p:nvPr>
            <p:ph type="subTitle" idx="1" hasCustomPrompt="1"/>
          </p:nvPr>
        </p:nvSpPr>
        <p:spPr>
          <a:xfrm>
            <a:off x="613834" y="2624866"/>
            <a:ext cx="10962217" cy="1335741"/>
          </a:xfrm>
        </p:spPr>
        <p:txBody>
          <a:bodyPr/>
          <a:lstStyle>
            <a:lvl1pPr marL="0" indent="0" algn="l" rtl="0">
              <a:lnSpc>
                <a:spcPct val="100000"/>
              </a:lnSpc>
              <a:buNone/>
              <a:defRPr sz="3467">
                <a:solidFill>
                  <a:schemeClr val="tx1"/>
                </a:solidFill>
                <a:latin typeface="Proximus Light" panose="00000500000000000000" pitchFamily="2"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Subtitle</a:t>
            </a:r>
          </a:p>
        </p:txBody>
      </p:sp>
      <p:sp>
        <p:nvSpPr>
          <p:cNvPr id="3" name="Date Placeholder 8">
            <a:extLst>
              <a:ext uri="{FF2B5EF4-FFF2-40B4-BE49-F238E27FC236}">
                <a16:creationId xmlns:a16="http://schemas.microsoft.com/office/drawing/2014/main" id="{C6D253A4-9E71-17BB-14ED-6271A75930B9}"/>
              </a:ext>
            </a:extLst>
          </p:cNvPr>
          <p:cNvSpPr>
            <a:spLocks noGrp="1"/>
          </p:cNvSpPr>
          <p:nvPr>
            <p:ph type="dt" sz="half" idx="2"/>
          </p:nvPr>
        </p:nvSpPr>
        <p:spPr>
          <a:xfrm>
            <a:off x="613834" y="5821863"/>
            <a:ext cx="204560" cy="377528"/>
          </a:xfrm>
          <a:prstGeom prst="roundRect">
            <a:avLst>
              <a:gd name="adj" fmla="val 50000"/>
            </a:avLst>
          </a:prstGeom>
          <a:solidFill>
            <a:schemeClr val="tx1"/>
          </a:solidFill>
        </p:spPr>
        <p:txBody>
          <a:bodyPr vert="horz" wrap="none" lIns="72000" tIns="36000" rIns="72000" bIns="36000" rtlCol="0" anchor="ctr">
            <a:spAutoFit/>
          </a:bodyPr>
          <a:lstStyle>
            <a:lvl1pPr algn="l" rtl="0">
              <a:defRPr sz="1600">
                <a:solidFill>
                  <a:srgbClr val="282233"/>
                </a:solidFill>
              </a:defRPr>
            </a:lvl1pPr>
          </a:lstStyle>
          <a:p>
            <a:endParaRPr lang="en-US"/>
          </a:p>
        </p:txBody>
      </p:sp>
    </p:spTree>
    <p:extLst>
      <p:ext uri="{BB962C8B-B14F-4D97-AF65-F5344CB8AC3E}">
        <p14:creationId xmlns:p14="http://schemas.microsoft.com/office/powerpoint/2010/main" val="175018822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Bold strategic - empty">
    <p:bg>
      <p:bgPr>
        <a:solidFill>
          <a:schemeClr val="tx1">
            <a:lumMod val="95000"/>
          </a:schemeClr>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D5F87E9-B136-D82E-08BD-6D46900AC004}"/>
              </a:ext>
            </a:extLst>
          </p:cNvPr>
          <p:cNvGraphicFramePr>
            <a:graphicFrameLocks noChangeAspect="1"/>
          </p:cNvGraphicFramePr>
          <p:nvPr userDrawn="1">
            <p:custDataLst>
              <p:tags r:id="rId1"/>
            </p:custDataLst>
            <p:extLst>
              <p:ext uri="{D42A27DB-BD31-4B8C-83A1-F6EECF244321}">
                <p14:modId xmlns:p14="http://schemas.microsoft.com/office/powerpoint/2010/main" val="337551852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5" name="think-cell data - do not delete" hidden="1">
                        <a:extLst>
                          <a:ext uri="{FF2B5EF4-FFF2-40B4-BE49-F238E27FC236}">
                            <a16:creationId xmlns:a16="http://schemas.microsoft.com/office/drawing/2014/main" id="{0D5F87E9-B136-D82E-08BD-6D46900AC004}"/>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5530A783-4115-39E7-E9A9-B3783DF43A82}"/>
              </a:ext>
            </a:extLst>
          </p:cNvPr>
          <p:cNvSpPr txBox="1">
            <a:spLocks noGrp="1" noRot="1" noMove="1" noResize="1" noEditPoints="1" noAdjustHandles="1" noChangeArrowheads="1" noChangeShapeType="1"/>
          </p:cNvSpPr>
          <p:nvPr userDrawn="1"/>
        </p:nvSpPr>
        <p:spPr>
          <a:xfrm>
            <a:off x="3048777" y="6641882"/>
            <a:ext cx="6097555" cy="215444"/>
          </a:xfrm>
          <a:prstGeom prst="rect">
            <a:avLst/>
          </a:prstGeom>
          <a:noFill/>
        </p:spPr>
        <p:txBody>
          <a:bodyPr wrap="square">
            <a:spAutoFit/>
          </a:bodyPr>
          <a:lstStyle/>
          <a:p>
            <a:pPr algn="ctr" rtl="0">
              <a:spcBef>
                <a:spcPts val="0"/>
              </a:spcBef>
              <a:spcAft>
                <a:spcPts val="0"/>
              </a:spcAft>
            </a:pPr>
            <a:r>
              <a:rPr lang="en-US" sz="800">
                <a:solidFill>
                  <a:srgbClr val="737373"/>
                </a:solidFill>
                <a:latin typeface="Calibri" panose="020F0502020204030204" pitchFamily="34" charset="0"/>
              </a:rPr>
              <a:t>Confidential - Not for you? Notify the sender and delete. See more on https://www.proximus.com/confidentiality</a:t>
            </a:r>
          </a:p>
        </p:txBody>
      </p:sp>
      <p:sp>
        <p:nvSpPr>
          <p:cNvPr id="4" name="Slide Number Placeholder 4">
            <a:extLst>
              <a:ext uri="{FF2B5EF4-FFF2-40B4-BE49-F238E27FC236}">
                <a16:creationId xmlns:a16="http://schemas.microsoft.com/office/drawing/2014/main" id="{F959E759-CE97-975E-5ECD-64C37114E083}"/>
              </a:ext>
            </a:extLst>
          </p:cNvPr>
          <p:cNvSpPr txBox="1">
            <a:spLocks/>
          </p:cNvSpPr>
          <p:nvPr userDrawn="1"/>
        </p:nvSpPr>
        <p:spPr>
          <a:xfrm>
            <a:off x="6803924" y="1"/>
            <a:ext cx="5182760" cy="280459"/>
          </a:xfrm>
          <a:prstGeom prst="rect">
            <a:avLst/>
          </a:prstGeom>
        </p:spPr>
        <p:txBody>
          <a:bodyPr lIns="0" tIns="0" rIns="0" bIns="0" anchor="b"/>
          <a:lstStyle>
            <a:defPPr>
              <a:defRPr lang="en-US"/>
            </a:defPPr>
            <a:lvl1pPr marL="0" algn="r" defTabSz="544125" rtl="0" eaLnBrk="1" latinLnBrk="0" hangingPunct="1">
              <a:defRPr sz="800" kern="1200">
                <a:solidFill>
                  <a:schemeClr val="bg1"/>
                </a:solidFill>
                <a:latin typeface="Proximus" panose="00000500000000000000" pitchFamily="2" charset="0"/>
                <a:ea typeface="+mn-ea"/>
                <a:cs typeface="+mn-cs"/>
              </a:defRPr>
            </a:lvl1pPr>
            <a:lvl2pPr marL="544125" algn="l" defTabSz="544125" rtl="0" eaLnBrk="1" latinLnBrk="0" hangingPunct="1">
              <a:defRPr sz="2160" kern="1200">
                <a:solidFill>
                  <a:schemeClr val="tx1"/>
                </a:solidFill>
                <a:latin typeface="+mn-lt"/>
                <a:ea typeface="+mn-ea"/>
                <a:cs typeface="+mn-cs"/>
              </a:defRPr>
            </a:lvl2pPr>
            <a:lvl3pPr marL="1088251" algn="l" defTabSz="544125" rtl="0" eaLnBrk="1" latinLnBrk="0" hangingPunct="1">
              <a:defRPr sz="2160" kern="1200">
                <a:solidFill>
                  <a:schemeClr val="tx1"/>
                </a:solidFill>
                <a:latin typeface="+mn-lt"/>
                <a:ea typeface="+mn-ea"/>
                <a:cs typeface="+mn-cs"/>
              </a:defRPr>
            </a:lvl3pPr>
            <a:lvl4pPr marL="1632378" algn="l" defTabSz="544125" rtl="0" eaLnBrk="1" latinLnBrk="0" hangingPunct="1">
              <a:defRPr sz="2160" kern="1200">
                <a:solidFill>
                  <a:schemeClr val="tx1"/>
                </a:solidFill>
                <a:latin typeface="+mn-lt"/>
                <a:ea typeface="+mn-ea"/>
                <a:cs typeface="+mn-cs"/>
              </a:defRPr>
            </a:lvl4pPr>
            <a:lvl5pPr marL="2176504" algn="l" defTabSz="544125" rtl="0" eaLnBrk="1" latinLnBrk="0" hangingPunct="1">
              <a:defRPr sz="2160" kern="1200">
                <a:solidFill>
                  <a:schemeClr val="tx1"/>
                </a:solidFill>
                <a:latin typeface="+mn-lt"/>
                <a:ea typeface="+mn-ea"/>
                <a:cs typeface="+mn-cs"/>
              </a:defRPr>
            </a:lvl5pPr>
            <a:lvl6pPr marL="2720629" algn="l" defTabSz="544125" rtl="0" eaLnBrk="1" latinLnBrk="0" hangingPunct="1">
              <a:defRPr sz="2160" kern="1200">
                <a:solidFill>
                  <a:schemeClr val="tx1"/>
                </a:solidFill>
                <a:latin typeface="+mn-lt"/>
                <a:ea typeface="+mn-ea"/>
                <a:cs typeface="+mn-cs"/>
              </a:defRPr>
            </a:lvl6pPr>
            <a:lvl7pPr marL="3264757" algn="l" defTabSz="544125" rtl="0" eaLnBrk="1" latinLnBrk="0" hangingPunct="1">
              <a:defRPr sz="2160" kern="1200">
                <a:solidFill>
                  <a:schemeClr val="tx1"/>
                </a:solidFill>
                <a:latin typeface="+mn-lt"/>
                <a:ea typeface="+mn-ea"/>
                <a:cs typeface="+mn-cs"/>
              </a:defRPr>
            </a:lvl7pPr>
            <a:lvl8pPr marL="3808879" algn="l" defTabSz="544125" rtl="0" eaLnBrk="1" latinLnBrk="0" hangingPunct="1">
              <a:defRPr sz="2160" kern="1200">
                <a:solidFill>
                  <a:schemeClr val="tx1"/>
                </a:solidFill>
                <a:latin typeface="+mn-lt"/>
                <a:ea typeface="+mn-ea"/>
                <a:cs typeface="+mn-cs"/>
              </a:defRPr>
            </a:lvl8pPr>
            <a:lvl9pPr marL="4353007" algn="l" defTabSz="544125" rtl="0" eaLnBrk="1" latinLnBrk="0" hangingPunct="1">
              <a:defRPr sz="2160" kern="1200">
                <a:solidFill>
                  <a:schemeClr val="tx1"/>
                </a:solidFill>
                <a:latin typeface="+mn-lt"/>
                <a:ea typeface="+mn-ea"/>
                <a:cs typeface="+mn-cs"/>
              </a:defRPr>
            </a:lvl9pPr>
          </a:lstStyle>
          <a:p>
            <a:pPr marL="0" marR="0" lvl="0" indent="0" algn="r" defTabSz="544112" rtl="0" eaLnBrk="1" fontAlgn="auto" latinLnBrk="0" hangingPunct="1">
              <a:lnSpc>
                <a:spcPct val="100000"/>
              </a:lnSpc>
              <a:spcBef>
                <a:spcPts val="0"/>
              </a:spcBef>
              <a:spcAft>
                <a:spcPts val="0"/>
              </a:spcAft>
              <a:buClrTx/>
              <a:buSzTx/>
              <a:buFontTx/>
              <a:buNone/>
              <a:tabLst/>
              <a:defRPr/>
            </a:pPr>
            <a:fld id="{AF458780-3DEA-4093-8A6E-7C0E406A36AD}" type="slidenum">
              <a:rPr kumimoji="0" lang="en-US" sz="900" b="0" i="0" u="none" strike="noStrike" kern="1200" cap="none" spc="0" normalizeH="0" baseline="0" noProof="0" smtClean="0">
                <a:ln>
                  <a:noFill/>
                </a:ln>
                <a:solidFill>
                  <a:srgbClr val="000000">
                    <a:alpha val="70000"/>
                  </a:srgbClr>
                </a:solidFill>
                <a:effectLst/>
                <a:uLnTx/>
                <a:uFillTx/>
                <a:latin typeface="Proximus" panose="00000500000000000000" pitchFamily="2" charset="0"/>
                <a:ea typeface="+mn-ea"/>
                <a:cs typeface="+mn-cs"/>
              </a:rPr>
              <a:pPr marL="0" marR="0" lvl="0" indent="0" algn="r" defTabSz="544112"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alpha val="70000"/>
                </a:srgbClr>
              </a:solidFill>
              <a:effectLst/>
              <a:uLnTx/>
              <a:uFillTx/>
              <a:latin typeface="Proximus" panose="00000500000000000000" pitchFamily="2" charset="0"/>
              <a:ea typeface="+mn-ea"/>
              <a:cs typeface="+mn-cs"/>
            </a:endParaRPr>
          </a:p>
        </p:txBody>
      </p:sp>
      <p:sp>
        <p:nvSpPr>
          <p:cNvPr id="11" name="Text Placeholder 10">
            <a:extLst>
              <a:ext uri="{FF2B5EF4-FFF2-40B4-BE49-F238E27FC236}">
                <a16:creationId xmlns:a16="http://schemas.microsoft.com/office/drawing/2014/main" id="{9345C777-8015-48A4-360B-4E03E1A02133}"/>
              </a:ext>
            </a:extLst>
          </p:cNvPr>
          <p:cNvSpPr>
            <a:spLocks noGrp="1"/>
          </p:cNvSpPr>
          <p:nvPr>
            <p:ph type="body" sz="quarter" idx="11" hasCustomPrompt="1"/>
          </p:nvPr>
        </p:nvSpPr>
        <p:spPr>
          <a:xfrm>
            <a:off x="656983" y="6421038"/>
            <a:ext cx="11091600" cy="200055"/>
          </a:xfrm>
          <a:prstGeom prst="rect">
            <a:avLst/>
          </a:prstGeom>
        </p:spPr>
        <p:txBody>
          <a:bodyPr lIns="0" tIns="0" rIns="0" bIns="0" anchor="b"/>
          <a:lstStyle>
            <a:lvl1pPr rtl="0">
              <a:defRPr sz="900">
                <a:solidFill>
                  <a:schemeClr val="tx1">
                    <a:lumMod val="50000"/>
                  </a:schemeClr>
                </a:solidFill>
              </a:defRPr>
            </a:lvl1pPr>
          </a:lstStyle>
          <a:p>
            <a:pPr lvl="0"/>
            <a:r>
              <a:rPr lang="en-US"/>
              <a:t>Click to add note</a:t>
            </a:r>
          </a:p>
        </p:txBody>
      </p:sp>
      <p:sp>
        <p:nvSpPr>
          <p:cNvPr id="7" name="Title 6">
            <a:extLst>
              <a:ext uri="{FF2B5EF4-FFF2-40B4-BE49-F238E27FC236}">
                <a16:creationId xmlns:a16="http://schemas.microsoft.com/office/drawing/2014/main" id="{C1303694-288A-C283-6E0A-84FB9CCB73CB}"/>
              </a:ext>
            </a:extLst>
          </p:cNvPr>
          <p:cNvSpPr>
            <a:spLocks noGrp="1"/>
          </p:cNvSpPr>
          <p:nvPr>
            <p:ph type="title"/>
          </p:nvPr>
        </p:nvSpPr>
        <p:spPr/>
        <p:txBody>
          <a:bodyPr vert="horz"/>
          <a:lstStyle>
            <a:lvl1pPr rtl="0">
              <a:defRPr/>
            </a:lvl1pPr>
          </a:lstStyle>
          <a:p>
            <a:r>
              <a:rPr lang="en-US"/>
              <a:t>Click to edit Master title style</a:t>
            </a:r>
          </a:p>
        </p:txBody>
      </p:sp>
    </p:spTree>
    <p:extLst>
      <p:ext uri="{BB962C8B-B14F-4D97-AF65-F5344CB8AC3E}">
        <p14:creationId xmlns:p14="http://schemas.microsoft.com/office/powerpoint/2010/main" val="388634294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Cover - Gradient">
    <p:bg>
      <p:bgPr>
        <a:solidFill>
          <a:srgbClr val="282233"/>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AE851BF-8E2A-A491-A2E2-05DC03CB8CAC}"/>
              </a:ext>
            </a:extLst>
          </p:cNvPr>
          <p:cNvGraphicFramePr>
            <a:graphicFrameLocks noChangeAspect="1"/>
          </p:cNvGraphicFramePr>
          <p:nvPr userDrawn="1">
            <p:custDataLst>
              <p:tags r:id="rId1"/>
            </p:custDataLst>
            <p:extLst>
              <p:ext uri="{D42A27DB-BD31-4B8C-83A1-F6EECF244321}">
                <p14:modId xmlns:p14="http://schemas.microsoft.com/office/powerpoint/2010/main" val="647407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4" name="think-cell data - do not delete" hidden="1">
                        <a:extLst>
                          <a:ext uri="{FF2B5EF4-FFF2-40B4-BE49-F238E27FC236}">
                            <a16:creationId xmlns:a16="http://schemas.microsoft.com/office/drawing/2014/main" id="{2AE851BF-8E2A-A491-A2E2-05DC03CB8C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a:xfrm>
            <a:off x="613836" y="504000"/>
            <a:ext cx="10962217" cy="1748400"/>
          </a:xfrm>
        </p:spPr>
        <p:txBody>
          <a:bodyPr vert="horz" anchor="b">
            <a:noAutofit/>
          </a:bodyPr>
          <a:lstStyle>
            <a:lvl1pPr rtl="0">
              <a:defRPr sz="5600" b="0">
                <a:solidFill>
                  <a:srgbClr val="FFFFFF"/>
                </a:solidFill>
                <a:latin typeface="Proximus ExtraBold" panose="00000900000000000000" pitchFamily="2" charset="0"/>
              </a:defRPr>
            </a:lvl1pPr>
          </a:lstStyle>
          <a:p>
            <a:r>
              <a:rPr lang="en-US"/>
              <a:t>Click to edit </a:t>
            </a:r>
            <a:br>
              <a:rPr lang="en-US"/>
            </a:br>
            <a:r>
              <a:rPr lang="en-US"/>
              <a:t>presentation title</a:t>
            </a:r>
          </a:p>
        </p:txBody>
      </p:sp>
      <p:sp>
        <p:nvSpPr>
          <p:cNvPr id="6" name="Subtitle 2">
            <a:extLst>
              <a:ext uri="{FF2B5EF4-FFF2-40B4-BE49-F238E27FC236}">
                <a16:creationId xmlns:a16="http://schemas.microsoft.com/office/drawing/2014/main" id="{56176E85-8408-4B89-A7FD-D33D192C3CE4}"/>
              </a:ext>
            </a:extLst>
          </p:cNvPr>
          <p:cNvSpPr>
            <a:spLocks noGrp="1"/>
          </p:cNvSpPr>
          <p:nvPr>
            <p:ph type="subTitle" idx="1" hasCustomPrompt="1"/>
          </p:nvPr>
        </p:nvSpPr>
        <p:spPr>
          <a:xfrm>
            <a:off x="613836" y="2624867"/>
            <a:ext cx="10962217" cy="1335741"/>
          </a:xfrm>
        </p:spPr>
        <p:txBody>
          <a:bodyPr/>
          <a:lstStyle>
            <a:lvl1pPr marL="0" indent="0" algn="l" rtl="0">
              <a:lnSpc>
                <a:spcPct val="100000"/>
              </a:lnSpc>
              <a:buNone/>
              <a:defRPr sz="3467">
                <a:solidFill>
                  <a:schemeClr val="tx1"/>
                </a:solidFill>
                <a:latin typeface="Proximus Light" panose="00000500000000000000" pitchFamily="2"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Subtitle</a:t>
            </a:r>
          </a:p>
        </p:txBody>
      </p:sp>
      <p:sp>
        <p:nvSpPr>
          <p:cNvPr id="3" name="Date Placeholder 8">
            <a:extLst>
              <a:ext uri="{FF2B5EF4-FFF2-40B4-BE49-F238E27FC236}">
                <a16:creationId xmlns:a16="http://schemas.microsoft.com/office/drawing/2014/main" id="{C6D253A4-9E71-17BB-14ED-6271A75930B9}"/>
              </a:ext>
            </a:extLst>
          </p:cNvPr>
          <p:cNvSpPr>
            <a:spLocks noGrp="1"/>
          </p:cNvSpPr>
          <p:nvPr>
            <p:ph type="dt" sz="half" idx="2"/>
          </p:nvPr>
        </p:nvSpPr>
        <p:spPr>
          <a:xfrm>
            <a:off x="613835" y="5821863"/>
            <a:ext cx="204560" cy="377528"/>
          </a:xfrm>
          <a:prstGeom prst="roundRect">
            <a:avLst>
              <a:gd name="adj" fmla="val 50000"/>
            </a:avLst>
          </a:prstGeom>
          <a:solidFill>
            <a:schemeClr val="tx1"/>
          </a:solidFill>
        </p:spPr>
        <p:txBody>
          <a:bodyPr vert="horz" wrap="none" lIns="72000" tIns="36000" rIns="72000" bIns="36000" rtlCol="0" anchor="ctr">
            <a:spAutoFit/>
          </a:bodyPr>
          <a:lstStyle>
            <a:lvl1pPr algn="l" rtl="0">
              <a:defRPr sz="1600">
                <a:solidFill>
                  <a:srgbClr val="282233"/>
                </a:solidFill>
              </a:defRPr>
            </a:lvl1pPr>
          </a:lstStyle>
          <a:p>
            <a:endParaRPr lang="en-US"/>
          </a:p>
        </p:txBody>
      </p:sp>
    </p:spTree>
    <p:extLst>
      <p:ext uri="{BB962C8B-B14F-4D97-AF65-F5344CB8AC3E}">
        <p14:creationId xmlns:p14="http://schemas.microsoft.com/office/powerpoint/2010/main" val="328908371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PhAnim="0"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CCB8619-3FCC-0EF8-E258-77211AE9EE24}"/>
              </a:ext>
            </a:extLst>
          </p:cNvPr>
          <p:cNvGraphicFramePr>
            <a:graphicFrameLocks noChangeAspect="1"/>
          </p:cNvGraphicFramePr>
          <p:nvPr userDrawn="1">
            <p:custDataLst>
              <p:tags r:id="rId1"/>
            </p:custDataLst>
            <p:extLst>
              <p:ext uri="{D42A27DB-BD31-4B8C-83A1-F6EECF244321}">
                <p14:modId xmlns:p14="http://schemas.microsoft.com/office/powerpoint/2010/main" val="2207893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50" progId="TCLayout.ActiveDocument.1">
                  <p:embed/>
                </p:oleObj>
              </mc:Choice>
              <mc:Fallback>
                <p:oleObj name="think-cell Slide" r:id="rId3" imgW="349" imgH="350" progId="TCLayout.ActiveDocument.1">
                  <p:embed/>
                  <p:pic>
                    <p:nvPicPr>
                      <p:cNvPr id="4" name="Object 3" hidden="1">
                        <a:extLst>
                          <a:ext uri="{FF2B5EF4-FFF2-40B4-BE49-F238E27FC236}">
                            <a16:creationId xmlns:a16="http://schemas.microsoft.com/office/drawing/2014/main" id="{ACCB8619-3FCC-0EF8-E258-77211AE9EE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Placeholder 1">
            <a:extLst>
              <a:ext uri="{FF2B5EF4-FFF2-40B4-BE49-F238E27FC236}">
                <a16:creationId xmlns:a16="http://schemas.microsoft.com/office/drawing/2014/main" id="{CA9EE022-1F91-8EF9-007F-7CEE235FD9C2}"/>
              </a:ext>
            </a:extLst>
          </p:cNvPr>
          <p:cNvSpPr>
            <a:spLocks noGrp="1"/>
          </p:cNvSpPr>
          <p:nvPr>
            <p:ph type="title"/>
          </p:nvPr>
        </p:nvSpPr>
        <p:spPr>
          <a:xfrm>
            <a:off x="403200" y="258578"/>
            <a:ext cx="10087200" cy="369332"/>
          </a:xfrm>
          <a:prstGeom prst="rect">
            <a:avLst/>
          </a:prstGeom>
        </p:spPr>
        <p:txBody>
          <a:bodyPr vert="horz" wrap="square" lIns="0" tIns="0" rIns="0" bIns="0" rtlCol="0" anchor="t" anchorCtr="0">
            <a:spAutoFit/>
          </a:bodyPr>
          <a:lstStyle>
            <a:lvl1pPr rtl="0">
              <a:defRPr>
                <a:latin typeface="+mj-lt"/>
                <a:cs typeface="+mj-cs"/>
              </a:defRPr>
            </a:lvl1pPr>
          </a:lstStyle>
          <a:p>
            <a:r>
              <a:rPr lang="en-US"/>
              <a:t>Click to edit Master title style</a:t>
            </a:r>
          </a:p>
        </p:txBody>
      </p:sp>
      <p:sp>
        <p:nvSpPr>
          <p:cNvPr id="2" name="Slide Number Placeholder 4">
            <a:extLst>
              <a:ext uri="{FF2B5EF4-FFF2-40B4-BE49-F238E27FC236}">
                <a16:creationId xmlns:a16="http://schemas.microsoft.com/office/drawing/2014/main" id="{0B7A08B7-52B8-B9A7-404C-61CE3E683F29}"/>
              </a:ext>
            </a:extLst>
          </p:cNvPr>
          <p:cNvSpPr txBox="1">
            <a:spLocks/>
          </p:cNvSpPr>
          <p:nvPr userDrawn="1"/>
        </p:nvSpPr>
        <p:spPr>
          <a:xfrm>
            <a:off x="11591364" y="80404"/>
            <a:ext cx="395319" cy="200055"/>
          </a:xfrm>
          <a:prstGeom prst="rect">
            <a:avLst/>
          </a:prstGeom>
        </p:spPr>
        <p:txBody>
          <a:bodyPr lIns="0" tIns="0" rIns="0" bIns="0" anchor="b"/>
          <a:lstStyle>
            <a:defPPr>
              <a:defRPr lang="en-US"/>
            </a:defPPr>
            <a:lvl1pPr marL="0" algn="r" defTabSz="544125" rtl="0" eaLnBrk="1" latinLnBrk="0" hangingPunct="1">
              <a:defRPr sz="800" kern="1200">
                <a:solidFill>
                  <a:schemeClr val="bg1"/>
                </a:solidFill>
                <a:latin typeface="Proximus" panose="00000500000000000000" pitchFamily="2" charset="0"/>
                <a:ea typeface="+mn-ea"/>
                <a:cs typeface="+mn-cs"/>
              </a:defRPr>
            </a:lvl1pPr>
            <a:lvl2pPr marL="544125" algn="l" defTabSz="544125" rtl="0" eaLnBrk="1" latinLnBrk="0" hangingPunct="1">
              <a:defRPr sz="2160" kern="1200">
                <a:solidFill>
                  <a:schemeClr val="tx1"/>
                </a:solidFill>
                <a:latin typeface="+mn-lt"/>
                <a:ea typeface="+mn-ea"/>
                <a:cs typeface="+mn-cs"/>
              </a:defRPr>
            </a:lvl2pPr>
            <a:lvl3pPr marL="1088251" algn="l" defTabSz="544125" rtl="0" eaLnBrk="1" latinLnBrk="0" hangingPunct="1">
              <a:defRPr sz="2160" kern="1200">
                <a:solidFill>
                  <a:schemeClr val="tx1"/>
                </a:solidFill>
                <a:latin typeface="+mn-lt"/>
                <a:ea typeface="+mn-ea"/>
                <a:cs typeface="+mn-cs"/>
              </a:defRPr>
            </a:lvl3pPr>
            <a:lvl4pPr marL="1632378" algn="l" defTabSz="544125" rtl="0" eaLnBrk="1" latinLnBrk="0" hangingPunct="1">
              <a:defRPr sz="2160" kern="1200">
                <a:solidFill>
                  <a:schemeClr val="tx1"/>
                </a:solidFill>
                <a:latin typeface="+mn-lt"/>
                <a:ea typeface="+mn-ea"/>
                <a:cs typeface="+mn-cs"/>
              </a:defRPr>
            </a:lvl4pPr>
            <a:lvl5pPr marL="2176504" algn="l" defTabSz="544125" rtl="0" eaLnBrk="1" latinLnBrk="0" hangingPunct="1">
              <a:defRPr sz="2160" kern="1200">
                <a:solidFill>
                  <a:schemeClr val="tx1"/>
                </a:solidFill>
                <a:latin typeface="+mn-lt"/>
                <a:ea typeface="+mn-ea"/>
                <a:cs typeface="+mn-cs"/>
              </a:defRPr>
            </a:lvl5pPr>
            <a:lvl6pPr marL="2720629" algn="l" defTabSz="544125" rtl="0" eaLnBrk="1" latinLnBrk="0" hangingPunct="1">
              <a:defRPr sz="2160" kern="1200">
                <a:solidFill>
                  <a:schemeClr val="tx1"/>
                </a:solidFill>
                <a:latin typeface="+mn-lt"/>
                <a:ea typeface="+mn-ea"/>
                <a:cs typeface="+mn-cs"/>
              </a:defRPr>
            </a:lvl6pPr>
            <a:lvl7pPr marL="3264757" algn="l" defTabSz="544125" rtl="0" eaLnBrk="1" latinLnBrk="0" hangingPunct="1">
              <a:defRPr sz="2160" kern="1200">
                <a:solidFill>
                  <a:schemeClr val="tx1"/>
                </a:solidFill>
                <a:latin typeface="+mn-lt"/>
                <a:ea typeface="+mn-ea"/>
                <a:cs typeface="+mn-cs"/>
              </a:defRPr>
            </a:lvl7pPr>
            <a:lvl8pPr marL="3808879" algn="l" defTabSz="544125" rtl="0" eaLnBrk="1" latinLnBrk="0" hangingPunct="1">
              <a:defRPr sz="2160" kern="1200">
                <a:solidFill>
                  <a:schemeClr val="tx1"/>
                </a:solidFill>
                <a:latin typeface="+mn-lt"/>
                <a:ea typeface="+mn-ea"/>
                <a:cs typeface="+mn-cs"/>
              </a:defRPr>
            </a:lvl8pPr>
            <a:lvl9pPr marL="4353007" algn="l" defTabSz="544125" rtl="0" eaLnBrk="1" latinLnBrk="0" hangingPunct="1">
              <a:defRPr sz="2160" kern="1200">
                <a:solidFill>
                  <a:schemeClr val="tx1"/>
                </a:solidFill>
                <a:latin typeface="+mn-lt"/>
                <a:ea typeface="+mn-ea"/>
                <a:cs typeface="+mn-cs"/>
              </a:defRPr>
            </a:lvl9pPr>
          </a:lstStyle>
          <a:p>
            <a:pPr marL="0" marR="0" lvl="0" indent="0" algn="r" defTabSz="544125" rtl="0" eaLnBrk="1" fontAlgn="auto" latinLnBrk="0" hangingPunct="1">
              <a:lnSpc>
                <a:spcPct val="100000"/>
              </a:lnSpc>
              <a:spcBef>
                <a:spcPts val="0"/>
              </a:spcBef>
              <a:spcAft>
                <a:spcPts val="0"/>
              </a:spcAft>
              <a:buClrTx/>
              <a:buSzTx/>
              <a:buFontTx/>
              <a:buNone/>
              <a:tabLst/>
              <a:defRPr/>
            </a:pPr>
            <a:fld id="{AF458780-3DEA-4093-8A6E-7C0E406A36AD}" type="slidenum">
              <a:rPr kumimoji="0" lang="en-US" sz="900" b="0" i="0" u="none" strike="noStrike" kern="1200" cap="none" spc="0" normalizeH="0" baseline="0" noProof="0" smtClean="0">
                <a:ln>
                  <a:noFill/>
                </a:ln>
                <a:solidFill>
                  <a:srgbClr val="000000">
                    <a:alpha val="70000"/>
                  </a:srgbClr>
                </a:solidFill>
                <a:effectLst/>
                <a:uLnTx/>
                <a:uFillTx/>
                <a:latin typeface="Proximus" panose="00000500000000000000" pitchFamily="2" charset="0"/>
                <a:ea typeface="+mn-ea"/>
                <a:cs typeface="+mn-cs"/>
              </a:rPr>
              <a:pPr marL="0" marR="0" lvl="0" indent="0" algn="r" defTabSz="544125"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alpha val="70000"/>
                </a:srgbClr>
              </a:solidFill>
              <a:effectLst/>
              <a:uLnTx/>
              <a:uFillTx/>
              <a:latin typeface="Proximus" panose="00000500000000000000" pitchFamily="2" charset="0"/>
              <a:ea typeface="+mn-ea"/>
              <a:cs typeface="+mn-cs"/>
            </a:endParaRPr>
          </a:p>
        </p:txBody>
      </p:sp>
    </p:spTree>
    <p:extLst>
      <p:ext uri="{BB962C8B-B14F-4D97-AF65-F5344CB8AC3E}">
        <p14:creationId xmlns:p14="http://schemas.microsoft.com/office/powerpoint/2010/main" val="11758947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XS ADA - title only - bg3">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4A2EE371-7CF5-9609-CAA1-42CE29042AA9}"/>
              </a:ext>
            </a:extLst>
          </p:cNvPr>
          <p:cNvGrpSpPr/>
          <p:nvPr userDrawn="1"/>
        </p:nvGrpSpPr>
        <p:grpSpPr>
          <a:xfrm>
            <a:off x="-1600" y="1"/>
            <a:ext cx="12193600" cy="6858225"/>
            <a:chOff x="-1200" y="0"/>
            <a:chExt cx="9145200" cy="5143669"/>
          </a:xfrm>
        </p:grpSpPr>
        <p:sp>
          <p:nvSpPr>
            <p:cNvPr id="7" name="Rectangle 6">
              <a:extLst>
                <a:ext uri="{FF2B5EF4-FFF2-40B4-BE49-F238E27FC236}">
                  <a16:creationId xmlns:a16="http://schemas.microsoft.com/office/drawing/2014/main" id="{28086E8B-5467-B782-5A40-EEE0101AABC2}"/>
                </a:ext>
              </a:extLst>
            </p:cNvPr>
            <p:cNvSpPr/>
            <p:nvPr userDrawn="1"/>
          </p:nvSpPr>
          <p:spPr>
            <a:xfrm>
              <a:off x="0" y="0"/>
              <a:ext cx="9144000" cy="504363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624517"/>
              <a:endParaRPr lang="en-US" sz="1867" err="1">
                <a:solidFill>
                  <a:schemeClr val="tx1"/>
                </a:solidFill>
                <a:latin typeface="Proximus" panose="00000500000000000000" pitchFamily="2" charset="0"/>
                <a:cs typeface="Proximus"/>
              </a:endParaRPr>
            </a:p>
          </p:txBody>
        </p:sp>
        <p:grpSp>
          <p:nvGrpSpPr>
            <p:cNvPr id="8" name="Group 7">
              <a:extLst>
                <a:ext uri="{FF2B5EF4-FFF2-40B4-BE49-F238E27FC236}">
                  <a16:creationId xmlns:a16="http://schemas.microsoft.com/office/drawing/2014/main" id="{A839F718-F36B-604C-AD41-8A260BCCC43F}"/>
                </a:ext>
              </a:extLst>
            </p:cNvPr>
            <p:cNvGrpSpPr/>
            <p:nvPr userDrawn="1"/>
          </p:nvGrpSpPr>
          <p:grpSpPr>
            <a:xfrm>
              <a:off x="2388230" y="0"/>
              <a:ext cx="6755770" cy="5143500"/>
              <a:chOff x="2394583" y="0"/>
              <a:chExt cx="6755770" cy="5143500"/>
            </a:xfrm>
            <a:solidFill>
              <a:schemeClr val="bg1">
                <a:alpha val="20000"/>
              </a:schemeClr>
            </a:solidFill>
          </p:grpSpPr>
          <p:pic>
            <p:nvPicPr>
              <p:cNvPr id="10" name="Graphic 9">
                <a:extLst>
                  <a:ext uri="{FF2B5EF4-FFF2-40B4-BE49-F238E27FC236}">
                    <a16:creationId xmlns:a16="http://schemas.microsoft.com/office/drawing/2014/main" id="{DCBD0BF2-81CD-86D9-FBDA-E00F1BED669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40699" r="46306"/>
              <a:stretch/>
            </p:blipFill>
            <p:spPr>
              <a:xfrm>
                <a:off x="6868313" y="0"/>
                <a:ext cx="2275687" cy="3490722"/>
              </a:xfrm>
              <a:prstGeom prst="rect">
                <a:avLst/>
              </a:prstGeom>
            </p:spPr>
          </p:pic>
          <p:pic>
            <p:nvPicPr>
              <p:cNvPr id="11" name="Graphic 10">
                <a:extLst>
                  <a:ext uri="{FF2B5EF4-FFF2-40B4-BE49-F238E27FC236}">
                    <a16:creationId xmlns:a16="http://schemas.microsoft.com/office/drawing/2014/main" id="{202150E9-3AF6-F758-BEEC-A692B54D8285}"/>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t="12793"/>
              <a:stretch/>
            </p:blipFill>
            <p:spPr>
              <a:xfrm>
                <a:off x="2394583" y="0"/>
                <a:ext cx="4473730" cy="3490722"/>
              </a:xfrm>
              <a:prstGeom prst="rect">
                <a:avLst/>
              </a:prstGeom>
            </p:spPr>
          </p:pic>
          <p:pic>
            <p:nvPicPr>
              <p:cNvPr id="12" name="Graphic 11">
                <a:extLst>
                  <a:ext uri="{FF2B5EF4-FFF2-40B4-BE49-F238E27FC236}">
                    <a16:creationId xmlns:a16="http://schemas.microsoft.com/office/drawing/2014/main" id="{A449083C-2341-BA4A-89E7-46A19A17920F}"/>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r="39532" b="65156"/>
              <a:stretch/>
            </p:blipFill>
            <p:spPr>
              <a:xfrm>
                <a:off x="6445175" y="3748762"/>
                <a:ext cx="2705178" cy="1394738"/>
              </a:xfrm>
              <a:prstGeom prst="rect">
                <a:avLst/>
              </a:prstGeom>
            </p:spPr>
          </p:pic>
        </p:grpSp>
        <p:sp>
          <p:nvSpPr>
            <p:cNvPr id="9" name="Rectangle 8">
              <a:extLst>
                <a:ext uri="{FF2B5EF4-FFF2-40B4-BE49-F238E27FC236}">
                  <a16:creationId xmlns:a16="http://schemas.microsoft.com/office/drawing/2014/main" id="{EE9E8E14-C49B-510E-8E07-FBF8FD8EC96D}"/>
                </a:ext>
              </a:extLst>
            </p:cNvPr>
            <p:cNvSpPr/>
            <p:nvPr userDrawn="1"/>
          </p:nvSpPr>
          <p:spPr>
            <a:xfrm>
              <a:off x="-1200" y="0"/>
              <a:ext cx="9145200" cy="5143669"/>
            </a:xfrm>
            <a:prstGeom prst="rect">
              <a:avLst/>
            </a:prstGeom>
            <a:gradFill>
              <a:gsLst>
                <a:gs pos="0">
                  <a:srgbClr val="5C2D91"/>
                </a:gs>
                <a:gs pos="60000">
                  <a:srgbClr val="5C2D91">
                    <a:alpha val="0"/>
                  </a:srgb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2400"/>
            </a:p>
          </p:txBody>
        </p:sp>
      </p:grpSp>
      <p:sp>
        <p:nvSpPr>
          <p:cNvPr id="2" name="Title 1"/>
          <p:cNvSpPr>
            <a:spLocks noGrp="1"/>
          </p:cNvSpPr>
          <p:nvPr>
            <p:ph type="title" hasCustomPrompt="1"/>
          </p:nvPr>
        </p:nvSpPr>
        <p:spPr/>
        <p:txBody>
          <a:bodyPr anchor="t"/>
          <a:lstStyle>
            <a:lvl1pPr>
              <a:defRPr b="0"/>
            </a:lvl1pPr>
          </a:lstStyle>
          <a:p>
            <a:r>
              <a:rPr lang="en-US"/>
              <a:t>Click to edit slide title</a:t>
            </a:r>
            <a:endParaRPr lang="nl-BE"/>
          </a:p>
        </p:txBody>
      </p:sp>
    </p:spTree>
    <p:extLst>
      <p:ext uri="{BB962C8B-B14F-4D97-AF65-F5344CB8AC3E}">
        <p14:creationId xmlns:p14="http://schemas.microsoft.com/office/powerpoint/2010/main" val="86864967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ver - Gradient">
    <p:bg>
      <p:bgPr>
        <a:gradFill>
          <a:gsLst>
            <a:gs pos="25000">
              <a:schemeClr val="bg1"/>
            </a:gs>
            <a:gs pos="100000">
              <a:srgbClr val="D12E67"/>
            </a:gs>
          </a:gsLst>
          <a:lin ang="3000000" scaled="0"/>
        </a:gra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13836" y="504000"/>
            <a:ext cx="10962217" cy="1748400"/>
          </a:xfrm>
        </p:spPr>
        <p:txBody>
          <a:bodyPr anchor="b">
            <a:noAutofit/>
          </a:bodyPr>
          <a:lstStyle>
            <a:lvl1pPr>
              <a:defRPr sz="5600" b="0">
                <a:solidFill>
                  <a:srgbClr val="FFFFFF"/>
                </a:solidFill>
                <a:latin typeface="Proximus ExtraBold" panose="00000900000000000000" pitchFamily="2" charset="0"/>
              </a:defRPr>
            </a:lvl1pPr>
          </a:lstStyle>
          <a:p>
            <a:r>
              <a:rPr lang="en-US"/>
              <a:t>Click to edit </a:t>
            </a:r>
            <a:br>
              <a:rPr lang="en-US"/>
            </a:br>
            <a:r>
              <a:rPr lang="en-US"/>
              <a:t>presentation title</a:t>
            </a:r>
            <a:endParaRPr lang="nl-BE"/>
          </a:p>
        </p:txBody>
      </p:sp>
      <p:sp>
        <p:nvSpPr>
          <p:cNvPr id="6" name="Subtitle 2">
            <a:extLst>
              <a:ext uri="{FF2B5EF4-FFF2-40B4-BE49-F238E27FC236}">
                <a16:creationId xmlns:a16="http://schemas.microsoft.com/office/drawing/2014/main" id="{56176E85-8408-4B89-A7FD-D33D192C3CE4}"/>
              </a:ext>
            </a:extLst>
          </p:cNvPr>
          <p:cNvSpPr>
            <a:spLocks noGrp="1"/>
          </p:cNvSpPr>
          <p:nvPr>
            <p:ph type="subTitle" idx="1" hasCustomPrompt="1"/>
          </p:nvPr>
        </p:nvSpPr>
        <p:spPr>
          <a:xfrm>
            <a:off x="613836" y="2624867"/>
            <a:ext cx="10962217" cy="1335741"/>
          </a:xfrm>
        </p:spPr>
        <p:txBody>
          <a:bodyPr/>
          <a:lstStyle>
            <a:lvl1pPr marL="0" indent="0" algn="l">
              <a:lnSpc>
                <a:spcPct val="100000"/>
              </a:lnSpc>
              <a:buNone/>
              <a:defRPr sz="3467">
                <a:solidFill>
                  <a:schemeClr val="tx1"/>
                </a:solidFill>
                <a:latin typeface="Proximus Light" panose="00000500000000000000" pitchFamily="2"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Subtitle</a:t>
            </a:r>
            <a:endParaRPr lang="nl-BE"/>
          </a:p>
        </p:txBody>
      </p:sp>
      <p:pic>
        <p:nvPicPr>
          <p:cNvPr id="5" name="Graphic 4">
            <a:extLst>
              <a:ext uri="{FF2B5EF4-FFF2-40B4-BE49-F238E27FC236}">
                <a16:creationId xmlns:a16="http://schemas.microsoft.com/office/drawing/2014/main" id="{FDB73C8E-6ED7-46A1-909B-13EF4FD2AEA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702899" y="5724528"/>
            <a:ext cx="889207" cy="720725"/>
          </a:xfrm>
          <a:prstGeom prst="rect">
            <a:avLst/>
          </a:prstGeom>
        </p:spPr>
      </p:pic>
      <p:sp>
        <p:nvSpPr>
          <p:cNvPr id="3" name="Date Placeholder 8">
            <a:extLst>
              <a:ext uri="{FF2B5EF4-FFF2-40B4-BE49-F238E27FC236}">
                <a16:creationId xmlns:a16="http://schemas.microsoft.com/office/drawing/2014/main" id="{C6D253A4-9E71-17BB-14ED-6271A75930B9}"/>
              </a:ext>
            </a:extLst>
          </p:cNvPr>
          <p:cNvSpPr>
            <a:spLocks noGrp="1"/>
          </p:cNvSpPr>
          <p:nvPr>
            <p:ph type="dt" sz="half" idx="2"/>
          </p:nvPr>
        </p:nvSpPr>
        <p:spPr>
          <a:xfrm>
            <a:off x="613833" y="5821863"/>
            <a:ext cx="204560" cy="377528"/>
          </a:xfrm>
          <a:prstGeom prst="roundRect">
            <a:avLst>
              <a:gd name="adj" fmla="val 50000"/>
            </a:avLst>
          </a:prstGeom>
          <a:solidFill>
            <a:schemeClr val="tx1"/>
          </a:solidFill>
        </p:spPr>
        <p:txBody>
          <a:bodyPr vert="horz" wrap="none" lIns="72000" tIns="36000" rIns="72000" bIns="36000" rtlCol="0" anchor="ctr">
            <a:spAutoFit/>
          </a:bodyPr>
          <a:lstStyle>
            <a:lvl1pPr algn="l">
              <a:defRPr sz="1600">
                <a:solidFill>
                  <a:schemeClr val="bg1"/>
                </a:solidFill>
              </a:defRPr>
            </a:lvl1pPr>
          </a:lstStyle>
          <a:p>
            <a:pPr defTabSz="544112">
              <a:defRPr/>
            </a:pPr>
            <a:endParaRPr lang="en-US">
              <a:solidFill>
                <a:srgbClr val="5C2D91"/>
              </a:solidFill>
            </a:endParaRPr>
          </a:p>
        </p:txBody>
      </p:sp>
    </p:spTree>
    <p:extLst>
      <p:ext uri="{BB962C8B-B14F-4D97-AF65-F5344CB8AC3E}">
        <p14:creationId xmlns:p14="http://schemas.microsoft.com/office/powerpoint/2010/main" val="360723959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ver - Gradient - Image">
    <p:bg>
      <p:bgPr>
        <a:gradFill>
          <a:gsLst>
            <a:gs pos="25000">
              <a:schemeClr val="bg1"/>
            </a:gs>
            <a:gs pos="100000">
              <a:srgbClr val="D12E67"/>
            </a:gs>
          </a:gsLst>
          <a:lin ang="3000000" scaled="0"/>
        </a:gradFill>
        <a:effectLst/>
      </p:bgPr>
    </p:bg>
    <p:spTree>
      <p:nvGrpSpPr>
        <p:cNvPr id="1" name=""/>
        <p:cNvGrpSpPr/>
        <p:nvPr/>
      </p:nvGrpSpPr>
      <p:grpSpPr>
        <a:xfrm>
          <a:off x="0" y="0"/>
          <a:ext cx="0" cy="0"/>
          <a:chOff x="0" y="0"/>
          <a:chExt cx="0" cy="0"/>
        </a:xfrm>
      </p:grpSpPr>
      <p:grpSp>
        <p:nvGrpSpPr>
          <p:cNvPr id="11" name="Graphic 4">
            <a:extLst>
              <a:ext uri="{FF2B5EF4-FFF2-40B4-BE49-F238E27FC236}">
                <a16:creationId xmlns:a16="http://schemas.microsoft.com/office/drawing/2014/main" id="{15EDE4F8-FC59-7BE7-1801-8537A16910DD}"/>
              </a:ext>
            </a:extLst>
          </p:cNvPr>
          <p:cNvGrpSpPr/>
          <p:nvPr userDrawn="1"/>
        </p:nvGrpSpPr>
        <p:grpSpPr>
          <a:xfrm>
            <a:off x="10706048" y="5727769"/>
            <a:ext cx="884432" cy="712555"/>
            <a:chOff x="8029536" y="4295826"/>
            <a:chExt cx="663324" cy="534416"/>
          </a:xfrm>
        </p:grpSpPr>
        <p:grpSp>
          <p:nvGrpSpPr>
            <p:cNvPr id="12" name="Graphic 4">
              <a:extLst>
                <a:ext uri="{FF2B5EF4-FFF2-40B4-BE49-F238E27FC236}">
                  <a16:creationId xmlns:a16="http://schemas.microsoft.com/office/drawing/2014/main" id="{6940611F-F0A4-39EB-FD9E-D5424E86FCE5}"/>
                </a:ext>
              </a:extLst>
            </p:cNvPr>
            <p:cNvGrpSpPr/>
            <p:nvPr userDrawn="1"/>
          </p:nvGrpSpPr>
          <p:grpSpPr>
            <a:xfrm>
              <a:off x="8029536" y="4708959"/>
              <a:ext cx="663324" cy="121283"/>
              <a:chOff x="8029536" y="4708959"/>
              <a:chExt cx="663324" cy="121283"/>
            </a:xfrm>
            <a:solidFill>
              <a:srgbClr val="FFFFFF"/>
            </a:solidFill>
          </p:grpSpPr>
          <p:sp>
            <p:nvSpPr>
              <p:cNvPr id="13" name="Freeform: Shape 12">
                <a:extLst>
                  <a:ext uri="{FF2B5EF4-FFF2-40B4-BE49-F238E27FC236}">
                    <a16:creationId xmlns:a16="http://schemas.microsoft.com/office/drawing/2014/main" id="{35DF712F-A3AE-145E-2BE5-0AC407A707EF}"/>
                  </a:ext>
                </a:extLst>
              </p:cNvPr>
              <p:cNvSpPr/>
              <p:nvPr userDrawn="1"/>
            </p:nvSpPr>
            <p:spPr>
              <a:xfrm>
                <a:off x="8029536" y="4708959"/>
                <a:ext cx="81783" cy="121283"/>
              </a:xfrm>
              <a:custGeom>
                <a:avLst/>
                <a:gdLst>
                  <a:gd name="connsiteX0" fmla="*/ 81784 w 81783"/>
                  <a:gd name="connsiteY0" fmla="*/ 44180 h 121283"/>
                  <a:gd name="connsiteX1" fmla="*/ 40740 w 81783"/>
                  <a:gd name="connsiteY1" fmla="*/ 88640 h 121283"/>
                  <a:gd name="connsiteX2" fmla="*/ 20522 w 81783"/>
                  <a:gd name="connsiteY2" fmla="*/ 82883 h 121283"/>
                  <a:gd name="connsiteX3" fmla="*/ 20522 w 81783"/>
                  <a:gd name="connsiteY3" fmla="*/ 121283 h 121283"/>
                  <a:gd name="connsiteX4" fmla="*/ 0 w 81783"/>
                  <a:gd name="connsiteY4" fmla="*/ 121283 h 121283"/>
                  <a:gd name="connsiteX5" fmla="*/ 0 w 81783"/>
                  <a:gd name="connsiteY5" fmla="*/ 43688 h 121283"/>
                  <a:gd name="connsiteX6" fmla="*/ 40740 w 81783"/>
                  <a:gd name="connsiteY6" fmla="*/ 0 h 121283"/>
                  <a:gd name="connsiteX7" fmla="*/ 81784 w 81783"/>
                  <a:gd name="connsiteY7" fmla="*/ 44180 h 121283"/>
                  <a:gd name="connsiteX8" fmla="*/ 61121 w 81783"/>
                  <a:gd name="connsiteY8" fmla="*/ 44180 h 121283"/>
                  <a:gd name="connsiteX9" fmla="*/ 40763 w 81783"/>
                  <a:gd name="connsiteY9" fmla="*/ 19469 h 121283"/>
                  <a:gd name="connsiteX10" fmla="*/ 20545 w 81783"/>
                  <a:gd name="connsiteY10" fmla="*/ 44180 h 121283"/>
                  <a:gd name="connsiteX11" fmla="*/ 40763 w 81783"/>
                  <a:gd name="connsiteY11" fmla="*/ 69218 h 121283"/>
                  <a:gd name="connsiteX12" fmla="*/ 61121 w 81783"/>
                  <a:gd name="connsiteY12" fmla="*/ 44180 h 121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1783" h="121283">
                    <a:moveTo>
                      <a:pt x="81784" y="44180"/>
                    </a:moveTo>
                    <a:cubicBezTo>
                      <a:pt x="81784" y="72798"/>
                      <a:pt x="64210" y="88640"/>
                      <a:pt x="40740" y="88640"/>
                    </a:cubicBezTo>
                    <a:cubicBezTo>
                      <a:pt x="33111" y="88640"/>
                      <a:pt x="26278" y="86768"/>
                      <a:pt x="20522" y="82883"/>
                    </a:cubicBezTo>
                    <a:lnTo>
                      <a:pt x="20522" y="121283"/>
                    </a:lnTo>
                    <a:lnTo>
                      <a:pt x="0" y="121283"/>
                    </a:lnTo>
                    <a:lnTo>
                      <a:pt x="0" y="43688"/>
                    </a:lnTo>
                    <a:cubicBezTo>
                      <a:pt x="0" y="15234"/>
                      <a:pt x="17410" y="0"/>
                      <a:pt x="40740" y="0"/>
                    </a:cubicBezTo>
                    <a:cubicBezTo>
                      <a:pt x="64210" y="23"/>
                      <a:pt x="81784" y="15725"/>
                      <a:pt x="81784" y="44180"/>
                    </a:cubicBezTo>
                    <a:close/>
                    <a:moveTo>
                      <a:pt x="61121" y="44180"/>
                    </a:moveTo>
                    <a:cubicBezTo>
                      <a:pt x="61121" y="26770"/>
                      <a:pt x="53189" y="19469"/>
                      <a:pt x="40763" y="19469"/>
                    </a:cubicBezTo>
                    <a:cubicBezTo>
                      <a:pt x="28478" y="19469"/>
                      <a:pt x="20545" y="26770"/>
                      <a:pt x="20545" y="44180"/>
                    </a:cubicBezTo>
                    <a:cubicBezTo>
                      <a:pt x="20545" y="61917"/>
                      <a:pt x="28478" y="69218"/>
                      <a:pt x="40763" y="69218"/>
                    </a:cubicBezTo>
                    <a:cubicBezTo>
                      <a:pt x="53189" y="69194"/>
                      <a:pt x="61121" y="61893"/>
                      <a:pt x="61121" y="44180"/>
                    </a:cubicBezTo>
                    <a:close/>
                  </a:path>
                </a:pathLst>
              </a:custGeom>
              <a:solidFill>
                <a:srgbClr val="FFFFF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4" name="Freeform: Shape 13">
                <a:extLst>
                  <a:ext uri="{FF2B5EF4-FFF2-40B4-BE49-F238E27FC236}">
                    <a16:creationId xmlns:a16="http://schemas.microsoft.com/office/drawing/2014/main" id="{0FF1B7DF-7CA9-52C1-7C8E-B6FBA392CD79}"/>
                  </a:ext>
                </a:extLst>
              </p:cNvPr>
              <p:cNvSpPr/>
              <p:nvPr userDrawn="1"/>
            </p:nvSpPr>
            <p:spPr>
              <a:xfrm>
                <a:off x="8126717" y="4708983"/>
                <a:ext cx="46191" cy="87072"/>
              </a:xfrm>
              <a:custGeom>
                <a:avLst/>
                <a:gdLst>
                  <a:gd name="connsiteX0" fmla="*/ 20522 w 46191"/>
                  <a:gd name="connsiteY0" fmla="*/ 87072 h 87072"/>
                  <a:gd name="connsiteX1" fmla="*/ 0 w 46191"/>
                  <a:gd name="connsiteY1" fmla="*/ 87072 h 87072"/>
                  <a:gd name="connsiteX2" fmla="*/ 0 w 46191"/>
                  <a:gd name="connsiteY2" fmla="*/ 36855 h 87072"/>
                  <a:gd name="connsiteX3" fmla="*/ 37791 w 46191"/>
                  <a:gd name="connsiteY3" fmla="*/ 0 h 87072"/>
                  <a:gd name="connsiteX4" fmla="*/ 46192 w 46191"/>
                  <a:gd name="connsiteY4" fmla="*/ 772 h 87072"/>
                  <a:gd name="connsiteX5" fmla="*/ 42776 w 46191"/>
                  <a:gd name="connsiteY5" fmla="*/ 20358 h 87072"/>
                  <a:gd name="connsiteX6" fmla="*/ 37791 w 46191"/>
                  <a:gd name="connsiteY6" fmla="*/ 20054 h 87072"/>
                  <a:gd name="connsiteX7" fmla="*/ 20522 w 46191"/>
                  <a:gd name="connsiteY7" fmla="*/ 38400 h 87072"/>
                  <a:gd name="connsiteX8" fmla="*/ 20522 w 46191"/>
                  <a:gd name="connsiteY8" fmla="*/ 87072 h 87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91" h="87072">
                    <a:moveTo>
                      <a:pt x="20522" y="87072"/>
                    </a:moveTo>
                    <a:lnTo>
                      <a:pt x="0" y="87072"/>
                    </a:lnTo>
                    <a:lnTo>
                      <a:pt x="0" y="36855"/>
                    </a:lnTo>
                    <a:cubicBezTo>
                      <a:pt x="0" y="15865"/>
                      <a:pt x="13689" y="0"/>
                      <a:pt x="37791" y="0"/>
                    </a:cubicBezTo>
                    <a:cubicBezTo>
                      <a:pt x="41840" y="0"/>
                      <a:pt x="44952" y="468"/>
                      <a:pt x="46192" y="772"/>
                    </a:cubicBezTo>
                    <a:lnTo>
                      <a:pt x="42776" y="20358"/>
                    </a:lnTo>
                    <a:cubicBezTo>
                      <a:pt x="41535" y="20194"/>
                      <a:pt x="39195" y="20054"/>
                      <a:pt x="37791" y="20054"/>
                    </a:cubicBezTo>
                    <a:cubicBezTo>
                      <a:pt x="25974" y="20054"/>
                      <a:pt x="20522" y="27214"/>
                      <a:pt x="20522" y="38400"/>
                    </a:cubicBezTo>
                    <a:lnTo>
                      <a:pt x="20522" y="87072"/>
                    </a:lnTo>
                    <a:close/>
                  </a:path>
                </a:pathLst>
              </a:custGeom>
              <a:solidFill>
                <a:srgbClr val="FFFFF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5" name="Freeform: Shape 14">
                <a:extLst>
                  <a:ext uri="{FF2B5EF4-FFF2-40B4-BE49-F238E27FC236}">
                    <a16:creationId xmlns:a16="http://schemas.microsoft.com/office/drawing/2014/main" id="{4D513318-B548-1E38-6DE2-BC4B8CED227D}"/>
                  </a:ext>
                </a:extLst>
              </p:cNvPr>
              <p:cNvSpPr/>
              <p:nvPr userDrawn="1"/>
            </p:nvSpPr>
            <p:spPr>
              <a:xfrm>
                <a:off x="8176629" y="4708983"/>
                <a:ext cx="83351" cy="88616"/>
              </a:xfrm>
              <a:custGeom>
                <a:avLst/>
                <a:gdLst>
                  <a:gd name="connsiteX0" fmla="*/ 41676 w 83351"/>
                  <a:gd name="connsiteY0" fmla="*/ 88616 h 88616"/>
                  <a:gd name="connsiteX1" fmla="*/ 0 w 83351"/>
                  <a:gd name="connsiteY1" fmla="*/ 44156 h 88616"/>
                  <a:gd name="connsiteX2" fmla="*/ 41676 w 83351"/>
                  <a:gd name="connsiteY2" fmla="*/ 0 h 88616"/>
                  <a:gd name="connsiteX3" fmla="*/ 83351 w 83351"/>
                  <a:gd name="connsiteY3" fmla="*/ 44156 h 88616"/>
                  <a:gd name="connsiteX4" fmla="*/ 41676 w 83351"/>
                  <a:gd name="connsiteY4" fmla="*/ 88616 h 88616"/>
                  <a:gd name="connsiteX5" fmla="*/ 41676 w 83351"/>
                  <a:gd name="connsiteY5" fmla="*/ 19422 h 88616"/>
                  <a:gd name="connsiteX6" fmla="*/ 20686 w 83351"/>
                  <a:gd name="connsiteY6" fmla="*/ 44297 h 88616"/>
                  <a:gd name="connsiteX7" fmla="*/ 41676 w 83351"/>
                  <a:gd name="connsiteY7" fmla="*/ 69171 h 88616"/>
                  <a:gd name="connsiteX8" fmla="*/ 62666 w 83351"/>
                  <a:gd name="connsiteY8" fmla="*/ 44297 h 88616"/>
                  <a:gd name="connsiteX9" fmla="*/ 41676 w 83351"/>
                  <a:gd name="connsiteY9" fmla="*/ 19422 h 88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351" h="88616">
                    <a:moveTo>
                      <a:pt x="41676" y="88616"/>
                    </a:moveTo>
                    <a:cubicBezTo>
                      <a:pt x="18205" y="88616"/>
                      <a:pt x="0" y="72915"/>
                      <a:pt x="0" y="44156"/>
                    </a:cubicBezTo>
                    <a:cubicBezTo>
                      <a:pt x="0" y="15701"/>
                      <a:pt x="18182" y="0"/>
                      <a:pt x="41676" y="0"/>
                    </a:cubicBezTo>
                    <a:cubicBezTo>
                      <a:pt x="65146" y="0"/>
                      <a:pt x="83351" y="15701"/>
                      <a:pt x="83351" y="44156"/>
                    </a:cubicBezTo>
                    <a:cubicBezTo>
                      <a:pt x="83351" y="72915"/>
                      <a:pt x="65146" y="88616"/>
                      <a:pt x="41676" y="88616"/>
                    </a:cubicBezTo>
                    <a:close/>
                    <a:moveTo>
                      <a:pt x="41676" y="19422"/>
                    </a:moveTo>
                    <a:cubicBezTo>
                      <a:pt x="29391" y="19422"/>
                      <a:pt x="20686" y="26723"/>
                      <a:pt x="20686" y="44297"/>
                    </a:cubicBezTo>
                    <a:cubicBezTo>
                      <a:pt x="20686" y="61870"/>
                      <a:pt x="29391" y="69171"/>
                      <a:pt x="41676" y="69171"/>
                    </a:cubicBezTo>
                    <a:cubicBezTo>
                      <a:pt x="53797" y="69171"/>
                      <a:pt x="62666" y="61870"/>
                      <a:pt x="62666" y="44297"/>
                    </a:cubicBezTo>
                    <a:cubicBezTo>
                      <a:pt x="62666" y="26723"/>
                      <a:pt x="53797" y="19422"/>
                      <a:pt x="41676" y="19422"/>
                    </a:cubicBezTo>
                    <a:close/>
                  </a:path>
                </a:pathLst>
              </a:custGeom>
              <a:solidFill>
                <a:srgbClr val="FFFFF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6" name="Freeform: Shape 15">
                <a:extLst>
                  <a:ext uri="{FF2B5EF4-FFF2-40B4-BE49-F238E27FC236}">
                    <a16:creationId xmlns:a16="http://schemas.microsoft.com/office/drawing/2014/main" id="{488B492F-3B08-F01C-AC04-3066CB281937}"/>
                  </a:ext>
                </a:extLst>
              </p:cNvPr>
              <p:cNvSpPr/>
              <p:nvPr userDrawn="1"/>
            </p:nvSpPr>
            <p:spPr>
              <a:xfrm>
                <a:off x="8262157" y="4710527"/>
                <a:ext cx="82415" cy="85527"/>
              </a:xfrm>
              <a:custGeom>
                <a:avLst/>
                <a:gdLst>
                  <a:gd name="connsiteX0" fmla="*/ 52557 w 82415"/>
                  <a:gd name="connsiteY0" fmla="*/ 42448 h 85527"/>
                  <a:gd name="connsiteX1" fmla="*/ 82415 w 82415"/>
                  <a:gd name="connsiteY1" fmla="*/ 85528 h 85527"/>
                  <a:gd name="connsiteX2" fmla="*/ 59717 w 82415"/>
                  <a:gd name="connsiteY2" fmla="*/ 85528 h 85527"/>
                  <a:gd name="connsiteX3" fmla="*/ 41208 w 82415"/>
                  <a:gd name="connsiteY3" fmla="*/ 57705 h 85527"/>
                  <a:gd name="connsiteX4" fmla="*/ 22698 w 82415"/>
                  <a:gd name="connsiteY4" fmla="*/ 85528 h 85527"/>
                  <a:gd name="connsiteX5" fmla="*/ 0 w 82415"/>
                  <a:gd name="connsiteY5" fmla="*/ 85528 h 85527"/>
                  <a:gd name="connsiteX6" fmla="*/ 29999 w 82415"/>
                  <a:gd name="connsiteY6" fmla="*/ 42448 h 85527"/>
                  <a:gd name="connsiteX7" fmla="*/ 0 w 82415"/>
                  <a:gd name="connsiteY7" fmla="*/ 0 h 85527"/>
                  <a:gd name="connsiteX8" fmla="*/ 22862 w 82415"/>
                  <a:gd name="connsiteY8" fmla="*/ 0 h 85527"/>
                  <a:gd name="connsiteX9" fmla="*/ 41208 w 82415"/>
                  <a:gd name="connsiteY9" fmla="*/ 27519 h 85527"/>
                  <a:gd name="connsiteX10" fmla="*/ 59553 w 82415"/>
                  <a:gd name="connsiteY10" fmla="*/ 0 h 85527"/>
                  <a:gd name="connsiteX11" fmla="*/ 82415 w 82415"/>
                  <a:gd name="connsiteY11" fmla="*/ 0 h 85527"/>
                  <a:gd name="connsiteX12" fmla="*/ 52557 w 82415"/>
                  <a:gd name="connsiteY12" fmla="*/ 42448 h 8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415" h="85527">
                    <a:moveTo>
                      <a:pt x="52557" y="42448"/>
                    </a:moveTo>
                    <a:lnTo>
                      <a:pt x="82415" y="85528"/>
                    </a:lnTo>
                    <a:lnTo>
                      <a:pt x="59717" y="85528"/>
                    </a:lnTo>
                    <a:lnTo>
                      <a:pt x="41208" y="57705"/>
                    </a:lnTo>
                    <a:lnTo>
                      <a:pt x="22698" y="85528"/>
                    </a:lnTo>
                    <a:lnTo>
                      <a:pt x="0" y="85528"/>
                    </a:lnTo>
                    <a:lnTo>
                      <a:pt x="29999" y="42448"/>
                    </a:lnTo>
                    <a:lnTo>
                      <a:pt x="0" y="0"/>
                    </a:lnTo>
                    <a:lnTo>
                      <a:pt x="22862" y="0"/>
                    </a:lnTo>
                    <a:lnTo>
                      <a:pt x="41208" y="27519"/>
                    </a:lnTo>
                    <a:lnTo>
                      <a:pt x="59553" y="0"/>
                    </a:lnTo>
                    <a:lnTo>
                      <a:pt x="82415" y="0"/>
                    </a:lnTo>
                    <a:lnTo>
                      <a:pt x="52557" y="42448"/>
                    </a:lnTo>
                    <a:close/>
                  </a:path>
                </a:pathLst>
              </a:custGeom>
              <a:solidFill>
                <a:srgbClr val="FFFFF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7" name="Freeform: Shape 16">
                <a:extLst>
                  <a:ext uri="{FF2B5EF4-FFF2-40B4-BE49-F238E27FC236}">
                    <a16:creationId xmlns:a16="http://schemas.microsoft.com/office/drawing/2014/main" id="{20FD94F1-C7F8-55C6-5A21-D125F19E6533}"/>
                  </a:ext>
                </a:extLst>
              </p:cNvPr>
              <p:cNvSpPr/>
              <p:nvPr userDrawn="1"/>
            </p:nvSpPr>
            <p:spPr>
              <a:xfrm>
                <a:off x="8356062" y="4710527"/>
                <a:ext cx="20521" cy="85504"/>
              </a:xfrm>
              <a:custGeom>
                <a:avLst/>
                <a:gdLst>
                  <a:gd name="connsiteX0" fmla="*/ 0 w 20521"/>
                  <a:gd name="connsiteY0" fmla="*/ 0 h 85504"/>
                  <a:gd name="connsiteX1" fmla="*/ 20522 w 20521"/>
                  <a:gd name="connsiteY1" fmla="*/ 0 h 85504"/>
                  <a:gd name="connsiteX2" fmla="*/ 20522 w 20521"/>
                  <a:gd name="connsiteY2" fmla="*/ 85504 h 85504"/>
                  <a:gd name="connsiteX3" fmla="*/ 0 w 20521"/>
                  <a:gd name="connsiteY3" fmla="*/ 85504 h 85504"/>
                  <a:gd name="connsiteX4" fmla="*/ 0 w 20521"/>
                  <a:gd name="connsiteY4" fmla="*/ 0 h 85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21" h="85504">
                    <a:moveTo>
                      <a:pt x="0" y="0"/>
                    </a:moveTo>
                    <a:lnTo>
                      <a:pt x="20522" y="0"/>
                    </a:lnTo>
                    <a:lnTo>
                      <a:pt x="20522" y="85504"/>
                    </a:lnTo>
                    <a:lnTo>
                      <a:pt x="0" y="85504"/>
                    </a:lnTo>
                    <a:lnTo>
                      <a:pt x="0" y="0"/>
                    </a:lnTo>
                    <a:close/>
                  </a:path>
                </a:pathLst>
              </a:custGeom>
              <a:solidFill>
                <a:srgbClr val="FFFFF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8" name="Freeform: Shape 17">
                <a:extLst>
                  <a:ext uri="{FF2B5EF4-FFF2-40B4-BE49-F238E27FC236}">
                    <a16:creationId xmlns:a16="http://schemas.microsoft.com/office/drawing/2014/main" id="{75796C52-1203-22F0-77EB-899192F32D36}"/>
                  </a:ext>
                </a:extLst>
              </p:cNvPr>
              <p:cNvSpPr/>
              <p:nvPr userDrawn="1"/>
            </p:nvSpPr>
            <p:spPr>
              <a:xfrm>
                <a:off x="8394508" y="4708983"/>
                <a:ext cx="124208" cy="87072"/>
              </a:xfrm>
              <a:custGeom>
                <a:avLst/>
                <a:gdLst>
                  <a:gd name="connsiteX0" fmla="*/ 124208 w 124208"/>
                  <a:gd name="connsiteY0" fmla="*/ 32643 h 87072"/>
                  <a:gd name="connsiteX1" fmla="*/ 124208 w 124208"/>
                  <a:gd name="connsiteY1" fmla="*/ 87072 h 87072"/>
                  <a:gd name="connsiteX2" fmla="*/ 103686 w 124208"/>
                  <a:gd name="connsiteY2" fmla="*/ 87072 h 87072"/>
                  <a:gd name="connsiteX3" fmla="*/ 103686 w 124208"/>
                  <a:gd name="connsiteY3" fmla="*/ 34047 h 87072"/>
                  <a:gd name="connsiteX4" fmla="*/ 88148 w 124208"/>
                  <a:gd name="connsiteY4" fmla="*/ 19422 h 87072"/>
                  <a:gd name="connsiteX5" fmla="*/ 72283 w 124208"/>
                  <a:gd name="connsiteY5" fmla="*/ 34047 h 87072"/>
                  <a:gd name="connsiteX6" fmla="*/ 72283 w 124208"/>
                  <a:gd name="connsiteY6" fmla="*/ 87072 h 87072"/>
                  <a:gd name="connsiteX7" fmla="*/ 51925 w 124208"/>
                  <a:gd name="connsiteY7" fmla="*/ 87072 h 87072"/>
                  <a:gd name="connsiteX8" fmla="*/ 51925 w 124208"/>
                  <a:gd name="connsiteY8" fmla="*/ 34047 h 87072"/>
                  <a:gd name="connsiteX9" fmla="*/ 36060 w 124208"/>
                  <a:gd name="connsiteY9" fmla="*/ 19422 h 87072"/>
                  <a:gd name="connsiteX10" fmla="*/ 20522 w 124208"/>
                  <a:gd name="connsiteY10" fmla="*/ 34047 h 87072"/>
                  <a:gd name="connsiteX11" fmla="*/ 20522 w 124208"/>
                  <a:gd name="connsiteY11" fmla="*/ 87072 h 87072"/>
                  <a:gd name="connsiteX12" fmla="*/ 0 w 124208"/>
                  <a:gd name="connsiteY12" fmla="*/ 87072 h 87072"/>
                  <a:gd name="connsiteX13" fmla="*/ 0 w 124208"/>
                  <a:gd name="connsiteY13" fmla="*/ 32643 h 87072"/>
                  <a:gd name="connsiteX14" fmla="*/ 36223 w 124208"/>
                  <a:gd name="connsiteY14" fmla="*/ 0 h 87072"/>
                  <a:gd name="connsiteX15" fmla="*/ 62338 w 124208"/>
                  <a:gd name="connsiteY15" fmla="*/ 10577 h 87072"/>
                  <a:gd name="connsiteX16" fmla="*/ 88148 w 124208"/>
                  <a:gd name="connsiteY16" fmla="*/ 0 h 87072"/>
                  <a:gd name="connsiteX17" fmla="*/ 124208 w 124208"/>
                  <a:gd name="connsiteY17" fmla="*/ 32643 h 87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4208" h="87072">
                    <a:moveTo>
                      <a:pt x="124208" y="32643"/>
                    </a:moveTo>
                    <a:lnTo>
                      <a:pt x="124208" y="87072"/>
                    </a:lnTo>
                    <a:lnTo>
                      <a:pt x="103686" y="87072"/>
                    </a:lnTo>
                    <a:lnTo>
                      <a:pt x="103686" y="34047"/>
                    </a:lnTo>
                    <a:cubicBezTo>
                      <a:pt x="103686" y="24243"/>
                      <a:pt x="98866" y="19422"/>
                      <a:pt x="88148" y="19422"/>
                    </a:cubicBezTo>
                    <a:cubicBezTo>
                      <a:pt x="75863" y="19422"/>
                      <a:pt x="72283" y="25319"/>
                      <a:pt x="72283" y="34047"/>
                    </a:cubicBezTo>
                    <a:lnTo>
                      <a:pt x="72283" y="87072"/>
                    </a:lnTo>
                    <a:lnTo>
                      <a:pt x="51925" y="87072"/>
                    </a:lnTo>
                    <a:lnTo>
                      <a:pt x="51925" y="34047"/>
                    </a:lnTo>
                    <a:cubicBezTo>
                      <a:pt x="51925" y="24243"/>
                      <a:pt x="47105" y="19422"/>
                      <a:pt x="36060" y="19422"/>
                    </a:cubicBezTo>
                    <a:cubicBezTo>
                      <a:pt x="23938" y="19422"/>
                      <a:pt x="20522" y="25319"/>
                      <a:pt x="20522" y="34047"/>
                    </a:cubicBezTo>
                    <a:lnTo>
                      <a:pt x="20522" y="87072"/>
                    </a:lnTo>
                    <a:lnTo>
                      <a:pt x="0" y="87072"/>
                    </a:lnTo>
                    <a:lnTo>
                      <a:pt x="0" y="32643"/>
                    </a:lnTo>
                    <a:cubicBezTo>
                      <a:pt x="0" y="10881"/>
                      <a:pt x="16170" y="0"/>
                      <a:pt x="36223" y="0"/>
                    </a:cubicBezTo>
                    <a:cubicBezTo>
                      <a:pt x="45560" y="0"/>
                      <a:pt x="55809" y="3884"/>
                      <a:pt x="62338" y="10577"/>
                    </a:cubicBezTo>
                    <a:cubicBezTo>
                      <a:pt x="68399" y="3884"/>
                      <a:pt x="78976" y="0"/>
                      <a:pt x="88148" y="0"/>
                    </a:cubicBezTo>
                    <a:cubicBezTo>
                      <a:pt x="107103" y="0"/>
                      <a:pt x="124208" y="9313"/>
                      <a:pt x="124208" y="32643"/>
                    </a:cubicBezTo>
                    <a:close/>
                  </a:path>
                </a:pathLst>
              </a:custGeom>
              <a:solidFill>
                <a:srgbClr val="FFFFF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9" name="Freeform: Shape 18">
                <a:extLst>
                  <a:ext uri="{FF2B5EF4-FFF2-40B4-BE49-F238E27FC236}">
                    <a16:creationId xmlns:a16="http://schemas.microsoft.com/office/drawing/2014/main" id="{8AE7ECFA-2993-7B80-C96F-67E5DBE065F1}"/>
                  </a:ext>
                </a:extLst>
              </p:cNvPr>
              <p:cNvSpPr/>
              <p:nvPr userDrawn="1"/>
            </p:nvSpPr>
            <p:spPr>
              <a:xfrm>
                <a:off x="8535027" y="4710527"/>
                <a:ext cx="76518" cy="87072"/>
              </a:xfrm>
              <a:custGeom>
                <a:avLst/>
                <a:gdLst>
                  <a:gd name="connsiteX0" fmla="*/ 76519 w 76518"/>
                  <a:gd name="connsiteY0" fmla="*/ 0 h 87072"/>
                  <a:gd name="connsiteX1" fmla="*/ 76519 w 76518"/>
                  <a:gd name="connsiteY1" fmla="*/ 48977 h 87072"/>
                  <a:gd name="connsiteX2" fmla="*/ 38259 w 76518"/>
                  <a:gd name="connsiteY2" fmla="*/ 87072 h 87072"/>
                  <a:gd name="connsiteX3" fmla="*/ 0 w 76518"/>
                  <a:gd name="connsiteY3" fmla="*/ 48977 h 87072"/>
                  <a:gd name="connsiteX4" fmla="*/ 0 w 76518"/>
                  <a:gd name="connsiteY4" fmla="*/ 0 h 87072"/>
                  <a:gd name="connsiteX5" fmla="*/ 20522 w 76518"/>
                  <a:gd name="connsiteY5" fmla="*/ 0 h 87072"/>
                  <a:gd name="connsiteX6" fmla="*/ 20522 w 76518"/>
                  <a:gd name="connsiteY6" fmla="*/ 48977 h 87072"/>
                  <a:gd name="connsiteX7" fmla="*/ 38236 w 76518"/>
                  <a:gd name="connsiteY7" fmla="*/ 67627 h 87072"/>
                  <a:gd name="connsiteX8" fmla="*/ 55950 w 76518"/>
                  <a:gd name="connsiteY8" fmla="*/ 48977 h 87072"/>
                  <a:gd name="connsiteX9" fmla="*/ 55950 w 76518"/>
                  <a:gd name="connsiteY9" fmla="*/ 0 h 87072"/>
                  <a:gd name="connsiteX10" fmla="*/ 76519 w 76518"/>
                  <a:gd name="connsiteY10" fmla="*/ 0 h 87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8" h="87072">
                    <a:moveTo>
                      <a:pt x="76519" y="0"/>
                    </a:moveTo>
                    <a:lnTo>
                      <a:pt x="76519" y="48977"/>
                    </a:lnTo>
                    <a:cubicBezTo>
                      <a:pt x="76519" y="74483"/>
                      <a:pt x="63461" y="87072"/>
                      <a:pt x="38259" y="87072"/>
                    </a:cubicBezTo>
                    <a:cubicBezTo>
                      <a:pt x="13221" y="87072"/>
                      <a:pt x="0" y="74483"/>
                      <a:pt x="0" y="48977"/>
                    </a:cubicBezTo>
                    <a:lnTo>
                      <a:pt x="0" y="0"/>
                    </a:lnTo>
                    <a:lnTo>
                      <a:pt x="20522" y="0"/>
                    </a:lnTo>
                    <a:lnTo>
                      <a:pt x="20522" y="48977"/>
                    </a:lnTo>
                    <a:cubicBezTo>
                      <a:pt x="20522" y="63134"/>
                      <a:pt x="28455" y="67627"/>
                      <a:pt x="38236" y="67627"/>
                    </a:cubicBezTo>
                    <a:cubicBezTo>
                      <a:pt x="48041" y="67627"/>
                      <a:pt x="55950" y="63110"/>
                      <a:pt x="55950" y="48977"/>
                    </a:cubicBezTo>
                    <a:lnTo>
                      <a:pt x="55950" y="0"/>
                    </a:lnTo>
                    <a:lnTo>
                      <a:pt x="76519" y="0"/>
                    </a:lnTo>
                    <a:close/>
                  </a:path>
                </a:pathLst>
              </a:custGeom>
              <a:solidFill>
                <a:srgbClr val="FFFFF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0" name="Freeform: Shape 19">
                <a:extLst>
                  <a:ext uri="{FF2B5EF4-FFF2-40B4-BE49-F238E27FC236}">
                    <a16:creationId xmlns:a16="http://schemas.microsoft.com/office/drawing/2014/main" id="{DD2F73A2-4A2C-ADD7-F1BF-8211B2562C2F}"/>
                  </a:ext>
                </a:extLst>
              </p:cNvPr>
              <p:cNvSpPr/>
              <p:nvPr userDrawn="1"/>
            </p:nvSpPr>
            <p:spPr>
              <a:xfrm>
                <a:off x="8624626" y="4708983"/>
                <a:ext cx="68234" cy="88616"/>
              </a:xfrm>
              <a:custGeom>
                <a:avLst/>
                <a:gdLst>
                  <a:gd name="connsiteX0" fmla="*/ 68235 w 68234"/>
                  <a:gd name="connsiteY0" fmla="*/ 61870 h 88616"/>
                  <a:gd name="connsiteX1" fmla="*/ 34351 w 68234"/>
                  <a:gd name="connsiteY1" fmla="*/ 88616 h 88616"/>
                  <a:gd name="connsiteX2" fmla="*/ 0 w 68234"/>
                  <a:gd name="connsiteY2" fmla="*/ 81152 h 88616"/>
                  <a:gd name="connsiteX3" fmla="*/ 4820 w 68234"/>
                  <a:gd name="connsiteY3" fmla="*/ 63274 h 88616"/>
                  <a:gd name="connsiteX4" fmla="*/ 33439 w 68234"/>
                  <a:gd name="connsiteY4" fmla="*/ 70271 h 88616"/>
                  <a:gd name="connsiteX5" fmla="*/ 47736 w 68234"/>
                  <a:gd name="connsiteY5" fmla="*/ 62502 h 88616"/>
                  <a:gd name="connsiteX6" fmla="*/ 32339 w 68234"/>
                  <a:gd name="connsiteY6" fmla="*/ 51785 h 88616"/>
                  <a:gd name="connsiteX7" fmla="*/ 26419 w 68234"/>
                  <a:gd name="connsiteY7" fmla="*/ 49608 h 88616"/>
                  <a:gd name="connsiteX8" fmla="*/ 1240 w 68234"/>
                  <a:gd name="connsiteY8" fmla="*/ 25038 h 88616"/>
                  <a:gd name="connsiteX9" fmla="*/ 32503 w 68234"/>
                  <a:gd name="connsiteY9" fmla="*/ 0 h 88616"/>
                  <a:gd name="connsiteX10" fmla="*/ 63602 w 68234"/>
                  <a:gd name="connsiteY10" fmla="*/ 4657 h 88616"/>
                  <a:gd name="connsiteX11" fmla="*/ 59717 w 68234"/>
                  <a:gd name="connsiteY11" fmla="*/ 22230 h 88616"/>
                  <a:gd name="connsiteX12" fmla="*/ 32362 w 68234"/>
                  <a:gd name="connsiteY12" fmla="*/ 18182 h 88616"/>
                  <a:gd name="connsiteX13" fmla="*/ 21786 w 68234"/>
                  <a:gd name="connsiteY13" fmla="*/ 24102 h 88616"/>
                  <a:gd name="connsiteX14" fmla="*/ 35615 w 68234"/>
                  <a:gd name="connsiteY14" fmla="*/ 33275 h 88616"/>
                  <a:gd name="connsiteX15" fmla="*/ 41840 w 68234"/>
                  <a:gd name="connsiteY15" fmla="*/ 35615 h 88616"/>
                  <a:gd name="connsiteX16" fmla="*/ 68235 w 68234"/>
                  <a:gd name="connsiteY16" fmla="*/ 61870 h 88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8234" h="88616">
                    <a:moveTo>
                      <a:pt x="68235" y="61870"/>
                    </a:moveTo>
                    <a:cubicBezTo>
                      <a:pt x="68235" y="76636"/>
                      <a:pt x="59834" y="88616"/>
                      <a:pt x="34351" y="88616"/>
                    </a:cubicBezTo>
                    <a:cubicBezTo>
                      <a:pt x="21598" y="88616"/>
                      <a:pt x="9313" y="85668"/>
                      <a:pt x="0" y="81152"/>
                    </a:cubicBezTo>
                    <a:lnTo>
                      <a:pt x="4820" y="63274"/>
                    </a:lnTo>
                    <a:cubicBezTo>
                      <a:pt x="14625" y="67322"/>
                      <a:pt x="23798" y="70271"/>
                      <a:pt x="33439" y="70271"/>
                    </a:cubicBezTo>
                    <a:cubicBezTo>
                      <a:pt x="43548" y="70271"/>
                      <a:pt x="47736" y="66995"/>
                      <a:pt x="47736" y="62502"/>
                    </a:cubicBezTo>
                    <a:cubicBezTo>
                      <a:pt x="47736" y="57377"/>
                      <a:pt x="42612" y="55505"/>
                      <a:pt x="32339" y="51785"/>
                    </a:cubicBezTo>
                    <a:lnTo>
                      <a:pt x="26419" y="49608"/>
                    </a:lnTo>
                    <a:cubicBezTo>
                      <a:pt x="8541" y="43244"/>
                      <a:pt x="1240" y="38891"/>
                      <a:pt x="1240" y="25038"/>
                    </a:cubicBezTo>
                    <a:cubicBezTo>
                      <a:pt x="1240" y="12285"/>
                      <a:pt x="7137" y="0"/>
                      <a:pt x="32503" y="0"/>
                    </a:cubicBezTo>
                    <a:cubicBezTo>
                      <a:pt x="43852" y="0"/>
                      <a:pt x="57541" y="2644"/>
                      <a:pt x="63602" y="4657"/>
                    </a:cubicBezTo>
                    <a:lnTo>
                      <a:pt x="59717" y="22230"/>
                    </a:lnTo>
                    <a:cubicBezTo>
                      <a:pt x="53189" y="20522"/>
                      <a:pt x="40436" y="18182"/>
                      <a:pt x="32362" y="18182"/>
                    </a:cubicBezTo>
                    <a:cubicBezTo>
                      <a:pt x="25202" y="18182"/>
                      <a:pt x="21786" y="19726"/>
                      <a:pt x="21786" y="24102"/>
                    </a:cubicBezTo>
                    <a:cubicBezTo>
                      <a:pt x="21786" y="28150"/>
                      <a:pt x="24594" y="29227"/>
                      <a:pt x="35615" y="33275"/>
                    </a:cubicBezTo>
                    <a:lnTo>
                      <a:pt x="41840" y="35615"/>
                    </a:lnTo>
                    <a:cubicBezTo>
                      <a:pt x="60606" y="42448"/>
                      <a:pt x="68235" y="48181"/>
                      <a:pt x="68235" y="61870"/>
                    </a:cubicBezTo>
                    <a:close/>
                  </a:path>
                </a:pathLst>
              </a:custGeom>
              <a:solidFill>
                <a:srgbClr val="FFFFF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grpSp>
        <p:grpSp>
          <p:nvGrpSpPr>
            <p:cNvPr id="21" name="Graphic 4">
              <a:extLst>
                <a:ext uri="{FF2B5EF4-FFF2-40B4-BE49-F238E27FC236}">
                  <a16:creationId xmlns:a16="http://schemas.microsoft.com/office/drawing/2014/main" id="{A3FBB68A-DC56-B89A-3EC9-6AE0F6299B82}"/>
                </a:ext>
              </a:extLst>
            </p:cNvPr>
            <p:cNvGrpSpPr/>
            <p:nvPr userDrawn="1"/>
          </p:nvGrpSpPr>
          <p:grpSpPr>
            <a:xfrm>
              <a:off x="8195045" y="4295826"/>
              <a:ext cx="332188" cy="331794"/>
              <a:chOff x="8195045" y="4295826"/>
              <a:chExt cx="332188" cy="331794"/>
            </a:xfrm>
          </p:grpSpPr>
          <p:grpSp>
            <p:nvGrpSpPr>
              <p:cNvPr id="22" name="Graphic 4">
                <a:extLst>
                  <a:ext uri="{FF2B5EF4-FFF2-40B4-BE49-F238E27FC236}">
                    <a16:creationId xmlns:a16="http://schemas.microsoft.com/office/drawing/2014/main" id="{8187DE17-F357-2A22-F20C-458844AE72D2}"/>
                  </a:ext>
                </a:extLst>
              </p:cNvPr>
              <p:cNvGrpSpPr/>
              <p:nvPr userDrawn="1"/>
            </p:nvGrpSpPr>
            <p:grpSpPr>
              <a:xfrm>
                <a:off x="8315884" y="4398907"/>
                <a:ext cx="90535" cy="125635"/>
                <a:chOff x="8315884" y="4398907"/>
                <a:chExt cx="90534" cy="125635"/>
              </a:xfrm>
              <a:solidFill>
                <a:srgbClr val="B1B8CC"/>
              </a:solidFill>
            </p:grpSpPr>
            <p:sp>
              <p:nvSpPr>
                <p:cNvPr id="23" name="Freeform: Shape 22">
                  <a:extLst>
                    <a:ext uri="{FF2B5EF4-FFF2-40B4-BE49-F238E27FC236}">
                      <a16:creationId xmlns:a16="http://schemas.microsoft.com/office/drawing/2014/main" id="{F0CE3E14-D941-AE41-0093-3CAEE8F4C2CB}"/>
                    </a:ext>
                  </a:extLst>
                </p:cNvPr>
                <p:cNvSpPr/>
                <p:nvPr userDrawn="1"/>
              </p:nvSpPr>
              <p:spPr>
                <a:xfrm>
                  <a:off x="8315907" y="4480082"/>
                  <a:ext cx="90511" cy="44460"/>
                </a:xfrm>
                <a:custGeom>
                  <a:avLst/>
                  <a:gdLst>
                    <a:gd name="connsiteX0" fmla="*/ 84428 w 90511"/>
                    <a:gd name="connsiteY0" fmla="*/ 44460 h 44460"/>
                    <a:gd name="connsiteX1" fmla="*/ 45209 w 90511"/>
                    <a:gd name="connsiteY1" fmla="*/ 41582 h 44460"/>
                    <a:gd name="connsiteX2" fmla="*/ 6061 w 90511"/>
                    <a:gd name="connsiteY2" fmla="*/ 44460 h 44460"/>
                    <a:gd name="connsiteX3" fmla="*/ 0 w 90511"/>
                    <a:gd name="connsiteY3" fmla="*/ 3253 h 44460"/>
                    <a:gd name="connsiteX4" fmla="*/ 45233 w 90511"/>
                    <a:gd name="connsiteY4" fmla="*/ 0 h 44460"/>
                    <a:gd name="connsiteX5" fmla="*/ 90512 w 90511"/>
                    <a:gd name="connsiteY5" fmla="*/ 3253 h 44460"/>
                    <a:gd name="connsiteX6" fmla="*/ 84428 w 90511"/>
                    <a:gd name="connsiteY6" fmla="*/ 44460 h 44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511" h="44460">
                      <a:moveTo>
                        <a:pt x="84428" y="44460"/>
                      </a:moveTo>
                      <a:cubicBezTo>
                        <a:pt x="71768" y="42588"/>
                        <a:pt x="58571" y="41606"/>
                        <a:pt x="45209" y="41582"/>
                      </a:cubicBezTo>
                      <a:cubicBezTo>
                        <a:pt x="31894" y="41606"/>
                        <a:pt x="18720" y="42588"/>
                        <a:pt x="6061" y="44460"/>
                      </a:cubicBezTo>
                      <a:lnTo>
                        <a:pt x="0" y="3253"/>
                      </a:lnTo>
                      <a:cubicBezTo>
                        <a:pt x="14625" y="1100"/>
                        <a:pt x="29859" y="23"/>
                        <a:pt x="45233" y="0"/>
                      </a:cubicBezTo>
                      <a:cubicBezTo>
                        <a:pt x="60677" y="23"/>
                        <a:pt x="75887" y="1076"/>
                        <a:pt x="90512" y="3253"/>
                      </a:cubicBezTo>
                      <a:lnTo>
                        <a:pt x="84428" y="44460"/>
                      </a:lnTo>
                      <a:close/>
                    </a:path>
                  </a:pathLst>
                </a:custGeom>
                <a:solidFill>
                  <a:srgbClr val="B1B8C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4" name="Freeform: Shape 23">
                  <a:extLst>
                    <a:ext uri="{FF2B5EF4-FFF2-40B4-BE49-F238E27FC236}">
                      <a16:creationId xmlns:a16="http://schemas.microsoft.com/office/drawing/2014/main" id="{FC5B55BA-6298-5E03-56E1-BC001D8A8023}"/>
                    </a:ext>
                  </a:extLst>
                </p:cNvPr>
                <p:cNvSpPr/>
                <p:nvPr userDrawn="1"/>
              </p:nvSpPr>
              <p:spPr>
                <a:xfrm>
                  <a:off x="8315884" y="4398907"/>
                  <a:ext cx="90488" cy="44436"/>
                </a:xfrm>
                <a:custGeom>
                  <a:avLst/>
                  <a:gdLst>
                    <a:gd name="connsiteX0" fmla="*/ 45279 w 90488"/>
                    <a:gd name="connsiteY0" fmla="*/ 44437 h 44436"/>
                    <a:gd name="connsiteX1" fmla="*/ 0 w 90488"/>
                    <a:gd name="connsiteY1" fmla="*/ 41208 h 44436"/>
                    <a:gd name="connsiteX2" fmla="*/ 6061 w 90488"/>
                    <a:gd name="connsiteY2" fmla="*/ 0 h 44436"/>
                    <a:gd name="connsiteX3" fmla="*/ 45279 w 90488"/>
                    <a:gd name="connsiteY3" fmla="*/ 2878 h 44436"/>
                    <a:gd name="connsiteX4" fmla="*/ 84428 w 90488"/>
                    <a:gd name="connsiteY4" fmla="*/ 0 h 44436"/>
                    <a:gd name="connsiteX5" fmla="*/ 90488 w 90488"/>
                    <a:gd name="connsiteY5" fmla="*/ 41208 h 44436"/>
                    <a:gd name="connsiteX6" fmla="*/ 45279 w 90488"/>
                    <a:gd name="connsiteY6" fmla="*/ 44437 h 44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488" h="44436">
                      <a:moveTo>
                        <a:pt x="45279" y="44437"/>
                      </a:moveTo>
                      <a:cubicBezTo>
                        <a:pt x="29835" y="44414"/>
                        <a:pt x="14625" y="43361"/>
                        <a:pt x="0" y="41208"/>
                      </a:cubicBezTo>
                      <a:lnTo>
                        <a:pt x="6061" y="0"/>
                      </a:lnTo>
                      <a:cubicBezTo>
                        <a:pt x="18720" y="1872"/>
                        <a:pt x="31918" y="2855"/>
                        <a:pt x="45279" y="2878"/>
                      </a:cubicBezTo>
                      <a:cubicBezTo>
                        <a:pt x="58594" y="2855"/>
                        <a:pt x="71768" y="1872"/>
                        <a:pt x="84428" y="0"/>
                      </a:cubicBezTo>
                      <a:lnTo>
                        <a:pt x="90488" y="41208"/>
                      </a:lnTo>
                      <a:cubicBezTo>
                        <a:pt x="75863" y="43361"/>
                        <a:pt x="60653" y="44414"/>
                        <a:pt x="45279" y="44437"/>
                      </a:cubicBezTo>
                      <a:close/>
                    </a:path>
                  </a:pathLst>
                </a:custGeom>
                <a:solidFill>
                  <a:srgbClr val="B1B8C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grpSp>
          <p:grpSp>
            <p:nvGrpSpPr>
              <p:cNvPr id="25" name="Graphic 4">
                <a:extLst>
                  <a:ext uri="{FF2B5EF4-FFF2-40B4-BE49-F238E27FC236}">
                    <a16:creationId xmlns:a16="http://schemas.microsoft.com/office/drawing/2014/main" id="{F51543B4-B646-2EB5-79C2-129CEBBE59B6}"/>
                  </a:ext>
                </a:extLst>
              </p:cNvPr>
              <p:cNvGrpSpPr/>
              <p:nvPr userDrawn="1"/>
            </p:nvGrpSpPr>
            <p:grpSpPr>
              <a:xfrm>
                <a:off x="8195045" y="4333223"/>
                <a:ext cx="332188" cy="107360"/>
                <a:chOff x="8195045" y="4333223"/>
                <a:chExt cx="332189" cy="107360"/>
              </a:xfrm>
            </p:grpSpPr>
            <p:grpSp>
              <p:nvGrpSpPr>
                <p:cNvPr id="26" name="Graphic 4">
                  <a:extLst>
                    <a:ext uri="{FF2B5EF4-FFF2-40B4-BE49-F238E27FC236}">
                      <a16:creationId xmlns:a16="http://schemas.microsoft.com/office/drawing/2014/main" id="{D81D0BA9-7100-FAB3-491E-2527FC434561}"/>
                    </a:ext>
                  </a:extLst>
                </p:cNvPr>
                <p:cNvGrpSpPr/>
                <p:nvPr userDrawn="1"/>
              </p:nvGrpSpPr>
              <p:grpSpPr>
                <a:xfrm>
                  <a:off x="8195045" y="4333223"/>
                  <a:ext cx="144893" cy="107360"/>
                  <a:chOff x="8195045" y="4333223"/>
                  <a:chExt cx="144893" cy="107359"/>
                </a:xfrm>
              </p:grpSpPr>
              <p:sp>
                <p:nvSpPr>
                  <p:cNvPr id="27" name="Freeform: Shape 26">
                    <a:extLst>
                      <a:ext uri="{FF2B5EF4-FFF2-40B4-BE49-F238E27FC236}">
                        <a16:creationId xmlns:a16="http://schemas.microsoft.com/office/drawing/2014/main" id="{0948CA29-F1EA-5323-4AC3-93C95AE6867A}"/>
                      </a:ext>
                    </a:extLst>
                  </p:cNvPr>
                  <p:cNvSpPr/>
                  <p:nvPr userDrawn="1"/>
                </p:nvSpPr>
                <p:spPr>
                  <a:xfrm>
                    <a:off x="8297842" y="439850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1B8C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8" name="Freeform: Shape 27">
                    <a:extLst>
                      <a:ext uri="{FF2B5EF4-FFF2-40B4-BE49-F238E27FC236}">
                        <a16:creationId xmlns:a16="http://schemas.microsoft.com/office/drawing/2014/main" id="{6F42DCFC-1BC2-A01A-B27A-ACE57A5113D3}"/>
                      </a:ext>
                    </a:extLst>
                  </p:cNvPr>
                  <p:cNvSpPr/>
                  <p:nvPr userDrawn="1"/>
                </p:nvSpPr>
                <p:spPr>
                  <a:xfrm>
                    <a:off x="8297281" y="439843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43"/>
                          <a:pt x="42097" y="21037"/>
                        </a:cubicBezTo>
                        <a:close/>
                      </a:path>
                    </a:pathLst>
                  </a:custGeom>
                  <a:solidFill>
                    <a:srgbClr val="B1B8C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9" name="Freeform: Shape 28">
                    <a:extLst>
                      <a:ext uri="{FF2B5EF4-FFF2-40B4-BE49-F238E27FC236}">
                        <a16:creationId xmlns:a16="http://schemas.microsoft.com/office/drawing/2014/main" id="{A63513B6-C4C7-5EBE-C4BF-DD48FBB60CBA}"/>
                      </a:ext>
                    </a:extLst>
                  </p:cNvPr>
                  <p:cNvSpPr/>
                  <p:nvPr userDrawn="1"/>
                </p:nvSpPr>
                <p:spPr>
                  <a:xfrm>
                    <a:off x="8296719" y="4398345"/>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B2B9C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0" name="Freeform: Shape 29">
                    <a:extLst>
                      <a:ext uri="{FF2B5EF4-FFF2-40B4-BE49-F238E27FC236}">
                        <a16:creationId xmlns:a16="http://schemas.microsoft.com/office/drawing/2014/main" id="{4CF84CFB-1D22-CFE4-7D7A-48AB9F7B3C68}"/>
                      </a:ext>
                    </a:extLst>
                  </p:cNvPr>
                  <p:cNvSpPr/>
                  <p:nvPr userDrawn="1"/>
                </p:nvSpPr>
                <p:spPr>
                  <a:xfrm>
                    <a:off x="8296158" y="4398252"/>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2B9C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1" name="Freeform: Shape 30">
                    <a:extLst>
                      <a:ext uri="{FF2B5EF4-FFF2-40B4-BE49-F238E27FC236}">
                        <a16:creationId xmlns:a16="http://schemas.microsoft.com/office/drawing/2014/main" id="{45B4B2F5-FCAE-3043-50EC-C8474809FDF3}"/>
                      </a:ext>
                    </a:extLst>
                  </p:cNvPr>
                  <p:cNvSpPr/>
                  <p:nvPr userDrawn="1"/>
                </p:nvSpPr>
                <p:spPr>
                  <a:xfrm>
                    <a:off x="8295596" y="439818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43"/>
                          <a:pt x="42097" y="21037"/>
                        </a:cubicBezTo>
                        <a:close/>
                      </a:path>
                    </a:pathLst>
                  </a:custGeom>
                  <a:solidFill>
                    <a:srgbClr val="B2B9C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2" name="Freeform: Shape 31">
                    <a:extLst>
                      <a:ext uri="{FF2B5EF4-FFF2-40B4-BE49-F238E27FC236}">
                        <a16:creationId xmlns:a16="http://schemas.microsoft.com/office/drawing/2014/main" id="{80A44563-27AF-2AC1-56B2-91251AA0EBC0}"/>
                      </a:ext>
                    </a:extLst>
                  </p:cNvPr>
                  <p:cNvSpPr/>
                  <p:nvPr userDrawn="1"/>
                </p:nvSpPr>
                <p:spPr>
                  <a:xfrm>
                    <a:off x="8295034" y="4398088"/>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43"/>
                          <a:pt x="42097" y="21037"/>
                        </a:cubicBezTo>
                        <a:close/>
                      </a:path>
                    </a:pathLst>
                  </a:custGeom>
                  <a:solidFill>
                    <a:srgbClr val="B3B9C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3" name="Freeform: Shape 32">
                    <a:extLst>
                      <a:ext uri="{FF2B5EF4-FFF2-40B4-BE49-F238E27FC236}">
                        <a16:creationId xmlns:a16="http://schemas.microsoft.com/office/drawing/2014/main" id="{9C655716-1BBC-7C8A-66B6-9F4CAE778342}"/>
                      </a:ext>
                    </a:extLst>
                  </p:cNvPr>
                  <p:cNvSpPr/>
                  <p:nvPr userDrawn="1"/>
                </p:nvSpPr>
                <p:spPr>
                  <a:xfrm>
                    <a:off x="8294449" y="4397994"/>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3BAC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4" name="Freeform: Shape 33">
                    <a:extLst>
                      <a:ext uri="{FF2B5EF4-FFF2-40B4-BE49-F238E27FC236}">
                        <a16:creationId xmlns:a16="http://schemas.microsoft.com/office/drawing/2014/main" id="{47A8CC21-2223-A1B9-4DC5-FC3B50B21D43}"/>
                      </a:ext>
                    </a:extLst>
                  </p:cNvPr>
                  <p:cNvSpPr/>
                  <p:nvPr userDrawn="1"/>
                </p:nvSpPr>
                <p:spPr>
                  <a:xfrm>
                    <a:off x="8293888" y="439790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3BAC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5" name="Freeform: Shape 34">
                    <a:extLst>
                      <a:ext uri="{FF2B5EF4-FFF2-40B4-BE49-F238E27FC236}">
                        <a16:creationId xmlns:a16="http://schemas.microsoft.com/office/drawing/2014/main" id="{042C32FA-1CA1-8506-E5E5-B486A7F5F6AE}"/>
                      </a:ext>
                    </a:extLst>
                  </p:cNvPr>
                  <p:cNvSpPr/>
                  <p:nvPr userDrawn="1"/>
                </p:nvSpPr>
                <p:spPr>
                  <a:xfrm>
                    <a:off x="8293326" y="4397807"/>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3BAC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6" name="Freeform: Shape 35">
                    <a:extLst>
                      <a:ext uri="{FF2B5EF4-FFF2-40B4-BE49-F238E27FC236}">
                        <a16:creationId xmlns:a16="http://schemas.microsoft.com/office/drawing/2014/main" id="{8F1B69FC-497F-C27D-8E64-B16EAA9C642C}"/>
                      </a:ext>
                    </a:extLst>
                  </p:cNvPr>
                  <p:cNvSpPr/>
                  <p:nvPr userDrawn="1"/>
                </p:nvSpPr>
                <p:spPr>
                  <a:xfrm>
                    <a:off x="8292764" y="4397713"/>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4BBC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7" name="Freeform: Shape 36">
                    <a:extLst>
                      <a:ext uri="{FF2B5EF4-FFF2-40B4-BE49-F238E27FC236}">
                        <a16:creationId xmlns:a16="http://schemas.microsoft.com/office/drawing/2014/main" id="{B201881B-EE47-C37C-990E-183C3FB41AA8}"/>
                      </a:ext>
                    </a:extLst>
                  </p:cNvPr>
                  <p:cNvSpPr/>
                  <p:nvPr userDrawn="1"/>
                </p:nvSpPr>
                <p:spPr>
                  <a:xfrm>
                    <a:off x="8292203" y="439762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4BBC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8" name="Freeform: Shape 37">
                    <a:extLst>
                      <a:ext uri="{FF2B5EF4-FFF2-40B4-BE49-F238E27FC236}">
                        <a16:creationId xmlns:a16="http://schemas.microsoft.com/office/drawing/2014/main" id="{7555418D-BCF3-113B-6424-F63F942B29A3}"/>
                      </a:ext>
                    </a:extLst>
                  </p:cNvPr>
                  <p:cNvSpPr/>
                  <p:nvPr userDrawn="1"/>
                </p:nvSpPr>
                <p:spPr>
                  <a:xfrm>
                    <a:off x="8291641" y="4397526"/>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43"/>
                          <a:pt x="42097" y="21037"/>
                        </a:cubicBezTo>
                        <a:close/>
                      </a:path>
                    </a:pathLst>
                  </a:custGeom>
                  <a:solidFill>
                    <a:srgbClr val="B4BBC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9" name="Freeform: Shape 38">
                    <a:extLst>
                      <a:ext uri="{FF2B5EF4-FFF2-40B4-BE49-F238E27FC236}">
                        <a16:creationId xmlns:a16="http://schemas.microsoft.com/office/drawing/2014/main" id="{FEEA0CC4-E6DE-3107-36F8-F3943C4DCD4D}"/>
                      </a:ext>
                    </a:extLst>
                  </p:cNvPr>
                  <p:cNvSpPr/>
                  <p:nvPr userDrawn="1"/>
                </p:nvSpPr>
                <p:spPr>
                  <a:xfrm>
                    <a:off x="8291080" y="4397433"/>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43"/>
                          <a:pt x="42097" y="21037"/>
                        </a:cubicBezTo>
                        <a:close/>
                      </a:path>
                    </a:pathLst>
                  </a:custGeom>
                  <a:solidFill>
                    <a:srgbClr val="B5BBC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0" name="Freeform: Shape 39">
                    <a:extLst>
                      <a:ext uri="{FF2B5EF4-FFF2-40B4-BE49-F238E27FC236}">
                        <a16:creationId xmlns:a16="http://schemas.microsoft.com/office/drawing/2014/main" id="{377C7ADB-EC11-0C0B-65CB-63BFB1118E50}"/>
                      </a:ext>
                    </a:extLst>
                  </p:cNvPr>
                  <p:cNvSpPr/>
                  <p:nvPr userDrawn="1"/>
                </p:nvSpPr>
                <p:spPr>
                  <a:xfrm>
                    <a:off x="8290518" y="4397316"/>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5BCC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1" name="Freeform: Shape 40">
                    <a:extLst>
                      <a:ext uri="{FF2B5EF4-FFF2-40B4-BE49-F238E27FC236}">
                        <a16:creationId xmlns:a16="http://schemas.microsoft.com/office/drawing/2014/main" id="{B9D84B9A-DAB9-69A7-C045-994A3F9747C7}"/>
                      </a:ext>
                    </a:extLst>
                  </p:cNvPr>
                  <p:cNvSpPr/>
                  <p:nvPr userDrawn="1"/>
                </p:nvSpPr>
                <p:spPr>
                  <a:xfrm>
                    <a:off x="8289956" y="4397222"/>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5BCC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2" name="Freeform: Shape 41">
                    <a:extLst>
                      <a:ext uri="{FF2B5EF4-FFF2-40B4-BE49-F238E27FC236}">
                        <a16:creationId xmlns:a16="http://schemas.microsoft.com/office/drawing/2014/main" id="{CCE84C10-F79F-860B-5BB8-25FBC4DF75F1}"/>
                      </a:ext>
                    </a:extLst>
                  </p:cNvPr>
                  <p:cNvSpPr/>
                  <p:nvPr userDrawn="1"/>
                </p:nvSpPr>
                <p:spPr>
                  <a:xfrm>
                    <a:off x="8289418" y="4397128"/>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43"/>
                          <a:pt x="42097" y="21037"/>
                        </a:cubicBezTo>
                        <a:close/>
                      </a:path>
                    </a:pathLst>
                  </a:custGeom>
                  <a:solidFill>
                    <a:srgbClr val="B6BCC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3" name="Freeform: Shape 42">
                    <a:extLst>
                      <a:ext uri="{FF2B5EF4-FFF2-40B4-BE49-F238E27FC236}">
                        <a16:creationId xmlns:a16="http://schemas.microsoft.com/office/drawing/2014/main" id="{14903043-909C-E7C9-21D6-7C1165A3F017}"/>
                      </a:ext>
                    </a:extLst>
                  </p:cNvPr>
                  <p:cNvSpPr/>
                  <p:nvPr userDrawn="1"/>
                </p:nvSpPr>
                <p:spPr>
                  <a:xfrm>
                    <a:off x="8288857" y="439701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6BCC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4" name="Freeform: Shape 43">
                    <a:extLst>
                      <a:ext uri="{FF2B5EF4-FFF2-40B4-BE49-F238E27FC236}">
                        <a16:creationId xmlns:a16="http://schemas.microsoft.com/office/drawing/2014/main" id="{DA651C90-9546-9D98-A594-E21D97C37190}"/>
                      </a:ext>
                    </a:extLst>
                  </p:cNvPr>
                  <p:cNvSpPr/>
                  <p:nvPr userDrawn="1"/>
                </p:nvSpPr>
                <p:spPr>
                  <a:xfrm>
                    <a:off x="8288295" y="4396918"/>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B6BDC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5" name="Freeform: Shape 44">
                    <a:extLst>
                      <a:ext uri="{FF2B5EF4-FFF2-40B4-BE49-F238E27FC236}">
                        <a16:creationId xmlns:a16="http://schemas.microsoft.com/office/drawing/2014/main" id="{E8304E13-6A30-7F03-595C-F7502DEA472E}"/>
                      </a:ext>
                    </a:extLst>
                  </p:cNvPr>
                  <p:cNvSpPr/>
                  <p:nvPr userDrawn="1"/>
                </p:nvSpPr>
                <p:spPr>
                  <a:xfrm>
                    <a:off x="8287733" y="439680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7BDD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6" name="Freeform: Shape 45">
                    <a:extLst>
                      <a:ext uri="{FF2B5EF4-FFF2-40B4-BE49-F238E27FC236}">
                        <a16:creationId xmlns:a16="http://schemas.microsoft.com/office/drawing/2014/main" id="{44B7C382-3543-A689-2AAA-128718743CAD}"/>
                      </a:ext>
                    </a:extLst>
                  </p:cNvPr>
                  <p:cNvSpPr/>
                  <p:nvPr userDrawn="1"/>
                </p:nvSpPr>
                <p:spPr>
                  <a:xfrm>
                    <a:off x="8287172" y="4396707"/>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43"/>
                          <a:pt x="42097" y="21037"/>
                        </a:cubicBezTo>
                        <a:close/>
                      </a:path>
                    </a:pathLst>
                  </a:custGeom>
                  <a:solidFill>
                    <a:srgbClr val="B7BDD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7" name="Freeform: Shape 46">
                    <a:extLst>
                      <a:ext uri="{FF2B5EF4-FFF2-40B4-BE49-F238E27FC236}">
                        <a16:creationId xmlns:a16="http://schemas.microsoft.com/office/drawing/2014/main" id="{0635088B-1798-BD17-98EF-41FF8BB59472}"/>
                      </a:ext>
                    </a:extLst>
                  </p:cNvPr>
                  <p:cNvSpPr/>
                  <p:nvPr userDrawn="1"/>
                </p:nvSpPr>
                <p:spPr>
                  <a:xfrm>
                    <a:off x="8286634" y="439659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7BED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8" name="Freeform: Shape 47">
                    <a:extLst>
                      <a:ext uri="{FF2B5EF4-FFF2-40B4-BE49-F238E27FC236}">
                        <a16:creationId xmlns:a16="http://schemas.microsoft.com/office/drawing/2014/main" id="{240147AE-E4A5-4A94-272E-F01E251CF294}"/>
                      </a:ext>
                    </a:extLst>
                  </p:cNvPr>
                  <p:cNvSpPr/>
                  <p:nvPr userDrawn="1"/>
                </p:nvSpPr>
                <p:spPr>
                  <a:xfrm>
                    <a:off x="8286072" y="4396473"/>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7BED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9" name="Freeform: Shape 48">
                    <a:extLst>
                      <a:ext uri="{FF2B5EF4-FFF2-40B4-BE49-F238E27FC236}">
                        <a16:creationId xmlns:a16="http://schemas.microsoft.com/office/drawing/2014/main" id="{6853573F-7F95-7E98-D535-6A7BB652403C}"/>
                      </a:ext>
                    </a:extLst>
                  </p:cNvPr>
                  <p:cNvSpPr/>
                  <p:nvPr userDrawn="1"/>
                </p:nvSpPr>
                <p:spPr>
                  <a:xfrm>
                    <a:off x="8285510" y="439638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43"/>
                          <a:pt x="42097" y="21037"/>
                        </a:cubicBezTo>
                        <a:close/>
                      </a:path>
                    </a:pathLst>
                  </a:custGeom>
                  <a:solidFill>
                    <a:srgbClr val="B8BED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0" name="Freeform: Shape 49">
                    <a:extLst>
                      <a:ext uri="{FF2B5EF4-FFF2-40B4-BE49-F238E27FC236}">
                        <a16:creationId xmlns:a16="http://schemas.microsoft.com/office/drawing/2014/main" id="{3C13D6E3-DF26-AC8D-34F6-0B21EDDD5A3B}"/>
                      </a:ext>
                    </a:extLst>
                  </p:cNvPr>
                  <p:cNvSpPr/>
                  <p:nvPr userDrawn="1"/>
                </p:nvSpPr>
                <p:spPr>
                  <a:xfrm>
                    <a:off x="8284972" y="4396263"/>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B8BED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1" name="Freeform: Shape 50">
                    <a:extLst>
                      <a:ext uri="{FF2B5EF4-FFF2-40B4-BE49-F238E27FC236}">
                        <a16:creationId xmlns:a16="http://schemas.microsoft.com/office/drawing/2014/main" id="{75F1BAB0-AC7B-394A-2568-87A765642479}"/>
                      </a:ext>
                    </a:extLst>
                  </p:cNvPr>
                  <p:cNvSpPr/>
                  <p:nvPr userDrawn="1"/>
                </p:nvSpPr>
                <p:spPr>
                  <a:xfrm>
                    <a:off x="8284411" y="4396146"/>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8BFD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2" name="Freeform: Shape 51">
                    <a:extLst>
                      <a:ext uri="{FF2B5EF4-FFF2-40B4-BE49-F238E27FC236}">
                        <a16:creationId xmlns:a16="http://schemas.microsoft.com/office/drawing/2014/main" id="{EA7FED37-08C5-27E2-D426-097F1FC55A57}"/>
                      </a:ext>
                    </a:extLst>
                  </p:cNvPr>
                  <p:cNvSpPr/>
                  <p:nvPr userDrawn="1"/>
                </p:nvSpPr>
                <p:spPr>
                  <a:xfrm>
                    <a:off x="8283849" y="439602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9BFD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3" name="Freeform: Shape 52">
                    <a:extLst>
                      <a:ext uri="{FF2B5EF4-FFF2-40B4-BE49-F238E27FC236}">
                        <a16:creationId xmlns:a16="http://schemas.microsoft.com/office/drawing/2014/main" id="{C6FEAD57-EB2A-D7C4-39C4-ADCF9738C510}"/>
                      </a:ext>
                    </a:extLst>
                  </p:cNvPr>
                  <p:cNvSpPr/>
                  <p:nvPr userDrawn="1"/>
                </p:nvSpPr>
                <p:spPr>
                  <a:xfrm>
                    <a:off x="8283311" y="4395912"/>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9BFD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4" name="Freeform: Shape 53">
                    <a:extLst>
                      <a:ext uri="{FF2B5EF4-FFF2-40B4-BE49-F238E27FC236}">
                        <a16:creationId xmlns:a16="http://schemas.microsoft.com/office/drawing/2014/main" id="{110F19B0-8E2E-790C-652B-49640C80EFC9}"/>
                      </a:ext>
                    </a:extLst>
                  </p:cNvPr>
                  <p:cNvSpPr/>
                  <p:nvPr userDrawn="1"/>
                </p:nvSpPr>
                <p:spPr>
                  <a:xfrm>
                    <a:off x="8282749" y="4395795"/>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9C0D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5" name="Freeform: Shape 54">
                    <a:extLst>
                      <a:ext uri="{FF2B5EF4-FFF2-40B4-BE49-F238E27FC236}">
                        <a16:creationId xmlns:a16="http://schemas.microsoft.com/office/drawing/2014/main" id="{79CCB09A-9AF1-C4B6-4353-705004E92391}"/>
                      </a:ext>
                    </a:extLst>
                  </p:cNvPr>
                  <p:cNvSpPr/>
                  <p:nvPr userDrawn="1"/>
                </p:nvSpPr>
                <p:spPr>
                  <a:xfrm>
                    <a:off x="8282211" y="4395678"/>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AC0D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6" name="Freeform: Shape 55">
                    <a:extLst>
                      <a:ext uri="{FF2B5EF4-FFF2-40B4-BE49-F238E27FC236}">
                        <a16:creationId xmlns:a16="http://schemas.microsoft.com/office/drawing/2014/main" id="{5B0DD83D-3F6D-33FA-9F6B-C77F13F2B825}"/>
                      </a:ext>
                    </a:extLst>
                  </p:cNvPr>
                  <p:cNvSpPr/>
                  <p:nvPr userDrawn="1"/>
                </p:nvSpPr>
                <p:spPr>
                  <a:xfrm>
                    <a:off x="8281649" y="439556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AC0D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7" name="Freeform: Shape 56">
                    <a:extLst>
                      <a:ext uri="{FF2B5EF4-FFF2-40B4-BE49-F238E27FC236}">
                        <a16:creationId xmlns:a16="http://schemas.microsoft.com/office/drawing/2014/main" id="{73B83A36-011C-0F83-E5C8-D7A8D9D97550}"/>
                      </a:ext>
                    </a:extLst>
                  </p:cNvPr>
                  <p:cNvSpPr/>
                  <p:nvPr userDrawn="1"/>
                </p:nvSpPr>
                <p:spPr>
                  <a:xfrm>
                    <a:off x="8281111" y="4395444"/>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AC0D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8" name="Freeform: Shape 57">
                    <a:extLst>
                      <a:ext uri="{FF2B5EF4-FFF2-40B4-BE49-F238E27FC236}">
                        <a16:creationId xmlns:a16="http://schemas.microsoft.com/office/drawing/2014/main" id="{E2BAB487-8EAF-2BFE-0EF2-27B540B1654F}"/>
                      </a:ext>
                    </a:extLst>
                  </p:cNvPr>
                  <p:cNvSpPr/>
                  <p:nvPr userDrawn="1"/>
                </p:nvSpPr>
                <p:spPr>
                  <a:xfrm>
                    <a:off x="8280550" y="4395327"/>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AC1D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9" name="Freeform: Shape 58">
                    <a:extLst>
                      <a:ext uri="{FF2B5EF4-FFF2-40B4-BE49-F238E27FC236}">
                        <a16:creationId xmlns:a16="http://schemas.microsoft.com/office/drawing/2014/main" id="{33493F8B-E14E-BAE2-063E-2A633972C0F9}"/>
                      </a:ext>
                    </a:extLst>
                  </p:cNvPr>
                  <p:cNvSpPr/>
                  <p:nvPr userDrawn="1"/>
                </p:nvSpPr>
                <p:spPr>
                  <a:xfrm>
                    <a:off x="8280011" y="439521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43"/>
                          <a:pt x="42097" y="21037"/>
                        </a:cubicBezTo>
                        <a:close/>
                      </a:path>
                    </a:pathLst>
                  </a:custGeom>
                  <a:solidFill>
                    <a:srgbClr val="BBC1D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0" name="Freeform: Shape 59">
                    <a:extLst>
                      <a:ext uri="{FF2B5EF4-FFF2-40B4-BE49-F238E27FC236}">
                        <a16:creationId xmlns:a16="http://schemas.microsoft.com/office/drawing/2014/main" id="{6A43FAD8-3BE2-526F-7F08-29B0CED643D1}"/>
                      </a:ext>
                    </a:extLst>
                  </p:cNvPr>
                  <p:cNvSpPr/>
                  <p:nvPr userDrawn="1"/>
                </p:nvSpPr>
                <p:spPr>
                  <a:xfrm>
                    <a:off x="8279473" y="439506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BC1D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1" name="Freeform: Shape 60">
                    <a:extLst>
                      <a:ext uri="{FF2B5EF4-FFF2-40B4-BE49-F238E27FC236}">
                        <a16:creationId xmlns:a16="http://schemas.microsoft.com/office/drawing/2014/main" id="{6FF792E6-76F5-65D2-17D8-C77DCD9EEEAC}"/>
                      </a:ext>
                    </a:extLst>
                  </p:cNvPr>
                  <p:cNvSpPr/>
                  <p:nvPr userDrawn="1"/>
                </p:nvSpPr>
                <p:spPr>
                  <a:xfrm>
                    <a:off x="8278912" y="4394952"/>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BC1D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2" name="Freeform: Shape 61">
                    <a:extLst>
                      <a:ext uri="{FF2B5EF4-FFF2-40B4-BE49-F238E27FC236}">
                        <a16:creationId xmlns:a16="http://schemas.microsoft.com/office/drawing/2014/main" id="{423FE69C-13D2-4228-0681-EF2E4554CD85}"/>
                      </a:ext>
                    </a:extLst>
                  </p:cNvPr>
                  <p:cNvSpPr/>
                  <p:nvPr userDrawn="1"/>
                </p:nvSpPr>
                <p:spPr>
                  <a:xfrm>
                    <a:off x="8278373" y="4394835"/>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BCC2D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3" name="Freeform: Shape 62">
                    <a:extLst>
                      <a:ext uri="{FF2B5EF4-FFF2-40B4-BE49-F238E27FC236}">
                        <a16:creationId xmlns:a16="http://schemas.microsoft.com/office/drawing/2014/main" id="{5E5982F0-67C7-986F-7CEB-D702236A1E9A}"/>
                      </a:ext>
                    </a:extLst>
                  </p:cNvPr>
                  <p:cNvSpPr/>
                  <p:nvPr userDrawn="1"/>
                </p:nvSpPr>
                <p:spPr>
                  <a:xfrm>
                    <a:off x="8277835" y="4394695"/>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CC2D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4" name="Freeform: Shape 63">
                    <a:extLst>
                      <a:ext uri="{FF2B5EF4-FFF2-40B4-BE49-F238E27FC236}">
                        <a16:creationId xmlns:a16="http://schemas.microsoft.com/office/drawing/2014/main" id="{FD859D96-7AFE-D9B0-3F4B-191023BF2A09}"/>
                      </a:ext>
                    </a:extLst>
                  </p:cNvPr>
                  <p:cNvSpPr/>
                  <p:nvPr userDrawn="1"/>
                </p:nvSpPr>
                <p:spPr>
                  <a:xfrm>
                    <a:off x="8277297" y="4394578"/>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BCC2D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5" name="Freeform: Shape 64">
                    <a:extLst>
                      <a:ext uri="{FF2B5EF4-FFF2-40B4-BE49-F238E27FC236}">
                        <a16:creationId xmlns:a16="http://schemas.microsoft.com/office/drawing/2014/main" id="{1B070C48-0FAF-B794-610A-E4EE5388919A}"/>
                      </a:ext>
                    </a:extLst>
                  </p:cNvPr>
                  <p:cNvSpPr/>
                  <p:nvPr userDrawn="1"/>
                </p:nvSpPr>
                <p:spPr>
                  <a:xfrm>
                    <a:off x="8276759" y="4394437"/>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DC3D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6" name="Freeform: Shape 65">
                    <a:extLst>
                      <a:ext uri="{FF2B5EF4-FFF2-40B4-BE49-F238E27FC236}">
                        <a16:creationId xmlns:a16="http://schemas.microsoft.com/office/drawing/2014/main" id="{D30B3E50-F0B6-67B0-D133-2397C9C40CFC}"/>
                      </a:ext>
                    </a:extLst>
                  </p:cNvPr>
                  <p:cNvSpPr/>
                  <p:nvPr userDrawn="1"/>
                </p:nvSpPr>
                <p:spPr>
                  <a:xfrm>
                    <a:off x="8276197" y="439432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43"/>
                          <a:pt x="42097" y="21037"/>
                        </a:cubicBezTo>
                        <a:close/>
                      </a:path>
                    </a:pathLst>
                  </a:custGeom>
                  <a:solidFill>
                    <a:srgbClr val="BDC3D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7" name="Freeform: Shape 66">
                    <a:extLst>
                      <a:ext uri="{FF2B5EF4-FFF2-40B4-BE49-F238E27FC236}">
                        <a16:creationId xmlns:a16="http://schemas.microsoft.com/office/drawing/2014/main" id="{51D518F5-FB44-66CE-246B-C435BA075BF0}"/>
                      </a:ext>
                    </a:extLst>
                  </p:cNvPr>
                  <p:cNvSpPr/>
                  <p:nvPr userDrawn="1"/>
                </p:nvSpPr>
                <p:spPr>
                  <a:xfrm>
                    <a:off x="8275659" y="439418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DC3D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8" name="Freeform: Shape 67">
                    <a:extLst>
                      <a:ext uri="{FF2B5EF4-FFF2-40B4-BE49-F238E27FC236}">
                        <a16:creationId xmlns:a16="http://schemas.microsoft.com/office/drawing/2014/main" id="{9F301C91-75BE-40E6-8559-9A6D5754169C}"/>
                      </a:ext>
                    </a:extLst>
                  </p:cNvPr>
                  <p:cNvSpPr/>
                  <p:nvPr userDrawn="1"/>
                </p:nvSpPr>
                <p:spPr>
                  <a:xfrm>
                    <a:off x="8275121" y="439404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EC3D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9" name="Freeform: Shape 68">
                    <a:extLst>
                      <a:ext uri="{FF2B5EF4-FFF2-40B4-BE49-F238E27FC236}">
                        <a16:creationId xmlns:a16="http://schemas.microsoft.com/office/drawing/2014/main" id="{DF95538C-DE1B-0243-362B-215068410555}"/>
                      </a:ext>
                    </a:extLst>
                  </p:cNvPr>
                  <p:cNvSpPr/>
                  <p:nvPr userDrawn="1"/>
                </p:nvSpPr>
                <p:spPr>
                  <a:xfrm>
                    <a:off x="8274583" y="4393923"/>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43"/>
                          <a:pt x="42097" y="21037"/>
                        </a:cubicBezTo>
                        <a:close/>
                      </a:path>
                    </a:pathLst>
                  </a:custGeom>
                  <a:solidFill>
                    <a:srgbClr val="BEC4D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0" name="Freeform: Shape 69">
                    <a:extLst>
                      <a:ext uri="{FF2B5EF4-FFF2-40B4-BE49-F238E27FC236}">
                        <a16:creationId xmlns:a16="http://schemas.microsoft.com/office/drawing/2014/main" id="{B1189488-3C3C-68EE-A863-EF7C47CFEADC}"/>
                      </a:ext>
                    </a:extLst>
                  </p:cNvPr>
                  <p:cNvSpPr/>
                  <p:nvPr userDrawn="1"/>
                </p:nvSpPr>
                <p:spPr>
                  <a:xfrm>
                    <a:off x="8274044" y="4393782"/>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EC4D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1" name="Freeform: Shape 70">
                    <a:extLst>
                      <a:ext uri="{FF2B5EF4-FFF2-40B4-BE49-F238E27FC236}">
                        <a16:creationId xmlns:a16="http://schemas.microsoft.com/office/drawing/2014/main" id="{0C95FD9C-5BDB-801A-51BF-ADF7D808BF91}"/>
                      </a:ext>
                    </a:extLst>
                  </p:cNvPr>
                  <p:cNvSpPr/>
                  <p:nvPr userDrawn="1"/>
                </p:nvSpPr>
                <p:spPr>
                  <a:xfrm>
                    <a:off x="8273506" y="4393642"/>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EC4D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2" name="Freeform: Shape 71">
                    <a:extLst>
                      <a:ext uri="{FF2B5EF4-FFF2-40B4-BE49-F238E27FC236}">
                        <a16:creationId xmlns:a16="http://schemas.microsoft.com/office/drawing/2014/main" id="{6DA12769-5C14-5315-F99A-CFE2375E3938}"/>
                      </a:ext>
                    </a:extLst>
                  </p:cNvPr>
                  <p:cNvSpPr/>
                  <p:nvPr userDrawn="1"/>
                </p:nvSpPr>
                <p:spPr>
                  <a:xfrm>
                    <a:off x="8272991" y="439350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FC5D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3" name="Freeform: Shape 72">
                    <a:extLst>
                      <a:ext uri="{FF2B5EF4-FFF2-40B4-BE49-F238E27FC236}">
                        <a16:creationId xmlns:a16="http://schemas.microsoft.com/office/drawing/2014/main" id="{F79F2643-7724-7B3F-189D-0A89084A5480}"/>
                      </a:ext>
                    </a:extLst>
                  </p:cNvPr>
                  <p:cNvSpPr/>
                  <p:nvPr userDrawn="1"/>
                </p:nvSpPr>
                <p:spPr>
                  <a:xfrm>
                    <a:off x="8272453" y="439336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FC5D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4" name="Freeform: Shape 73">
                    <a:extLst>
                      <a:ext uri="{FF2B5EF4-FFF2-40B4-BE49-F238E27FC236}">
                        <a16:creationId xmlns:a16="http://schemas.microsoft.com/office/drawing/2014/main" id="{10B4A79F-157F-D5BF-E856-5D3945A69380}"/>
                      </a:ext>
                    </a:extLst>
                  </p:cNvPr>
                  <p:cNvSpPr/>
                  <p:nvPr userDrawn="1"/>
                </p:nvSpPr>
                <p:spPr>
                  <a:xfrm>
                    <a:off x="8271915" y="439322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FC5D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5" name="Freeform: Shape 74">
                    <a:extLst>
                      <a:ext uri="{FF2B5EF4-FFF2-40B4-BE49-F238E27FC236}">
                        <a16:creationId xmlns:a16="http://schemas.microsoft.com/office/drawing/2014/main" id="{369F2842-08D8-7323-0660-D046BA7329AF}"/>
                      </a:ext>
                    </a:extLst>
                  </p:cNvPr>
                  <p:cNvSpPr/>
                  <p:nvPr userDrawn="1"/>
                </p:nvSpPr>
                <p:spPr>
                  <a:xfrm>
                    <a:off x="8271377" y="439308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C0C5D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6" name="Freeform: Shape 75">
                    <a:extLst>
                      <a:ext uri="{FF2B5EF4-FFF2-40B4-BE49-F238E27FC236}">
                        <a16:creationId xmlns:a16="http://schemas.microsoft.com/office/drawing/2014/main" id="{6EF84239-22A1-1C91-B6EE-C2C45BEA916C}"/>
                      </a:ext>
                    </a:extLst>
                  </p:cNvPr>
                  <p:cNvSpPr/>
                  <p:nvPr userDrawn="1"/>
                </p:nvSpPr>
                <p:spPr>
                  <a:xfrm>
                    <a:off x="8270862" y="439294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C0C6D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7" name="Freeform: Shape 76">
                    <a:extLst>
                      <a:ext uri="{FF2B5EF4-FFF2-40B4-BE49-F238E27FC236}">
                        <a16:creationId xmlns:a16="http://schemas.microsoft.com/office/drawing/2014/main" id="{41059B14-5D18-A81C-AA2A-B759D4BDA850}"/>
                      </a:ext>
                    </a:extLst>
                  </p:cNvPr>
                  <p:cNvSpPr/>
                  <p:nvPr userDrawn="1"/>
                </p:nvSpPr>
                <p:spPr>
                  <a:xfrm>
                    <a:off x="8270324" y="439279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C0C6D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8" name="Freeform: Shape 77">
                    <a:extLst>
                      <a:ext uri="{FF2B5EF4-FFF2-40B4-BE49-F238E27FC236}">
                        <a16:creationId xmlns:a16="http://schemas.microsoft.com/office/drawing/2014/main" id="{D15EDBEA-A775-2F54-AEE7-E32AD11474C6}"/>
                      </a:ext>
                    </a:extLst>
                  </p:cNvPr>
                  <p:cNvSpPr/>
                  <p:nvPr userDrawn="1"/>
                </p:nvSpPr>
                <p:spPr>
                  <a:xfrm>
                    <a:off x="8269786" y="439265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C1C6D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9" name="Freeform: Shape 78">
                    <a:extLst>
                      <a:ext uri="{FF2B5EF4-FFF2-40B4-BE49-F238E27FC236}">
                        <a16:creationId xmlns:a16="http://schemas.microsoft.com/office/drawing/2014/main" id="{F829B9D4-B293-DFE3-0172-17D88A206225}"/>
                      </a:ext>
                    </a:extLst>
                  </p:cNvPr>
                  <p:cNvSpPr/>
                  <p:nvPr userDrawn="1"/>
                </p:nvSpPr>
                <p:spPr>
                  <a:xfrm>
                    <a:off x="8269271" y="439251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C1C6D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0" name="Freeform: Shape 79">
                    <a:extLst>
                      <a:ext uri="{FF2B5EF4-FFF2-40B4-BE49-F238E27FC236}">
                        <a16:creationId xmlns:a16="http://schemas.microsoft.com/office/drawing/2014/main" id="{6849034D-102C-BBFF-3889-EA6DF18ED95B}"/>
                      </a:ext>
                    </a:extLst>
                  </p:cNvPr>
                  <p:cNvSpPr/>
                  <p:nvPr userDrawn="1"/>
                </p:nvSpPr>
                <p:spPr>
                  <a:xfrm>
                    <a:off x="8268733" y="4392378"/>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43"/>
                          <a:pt x="42097" y="21037"/>
                        </a:cubicBezTo>
                        <a:close/>
                      </a:path>
                    </a:pathLst>
                  </a:custGeom>
                  <a:solidFill>
                    <a:srgbClr val="C1C7D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1" name="Freeform: Shape 80">
                    <a:extLst>
                      <a:ext uri="{FF2B5EF4-FFF2-40B4-BE49-F238E27FC236}">
                        <a16:creationId xmlns:a16="http://schemas.microsoft.com/office/drawing/2014/main" id="{402FF4B4-C6DE-55A2-90B3-E17057BDE2E5}"/>
                      </a:ext>
                    </a:extLst>
                  </p:cNvPr>
                  <p:cNvSpPr/>
                  <p:nvPr userDrawn="1"/>
                </p:nvSpPr>
                <p:spPr>
                  <a:xfrm>
                    <a:off x="8268218" y="4392214"/>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C2C7D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2" name="Freeform: Shape 81">
                    <a:extLst>
                      <a:ext uri="{FF2B5EF4-FFF2-40B4-BE49-F238E27FC236}">
                        <a16:creationId xmlns:a16="http://schemas.microsoft.com/office/drawing/2014/main" id="{3B50DCAD-063F-24C7-8566-5F9FE4C5DFDF}"/>
                      </a:ext>
                    </a:extLst>
                  </p:cNvPr>
                  <p:cNvSpPr/>
                  <p:nvPr userDrawn="1"/>
                </p:nvSpPr>
                <p:spPr>
                  <a:xfrm>
                    <a:off x="8267680" y="4392074"/>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C2C7D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3" name="Freeform: Shape 82">
                    <a:extLst>
                      <a:ext uri="{FF2B5EF4-FFF2-40B4-BE49-F238E27FC236}">
                        <a16:creationId xmlns:a16="http://schemas.microsoft.com/office/drawing/2014/main" id="{455D7766-8F28-03FF-2A5A-7FEDE7918F43}"/>
                      </a:ext>
                    </a:extLst>
                  </p:cNvPr>
                  <p:cNvSpPr/>
                  <p:nvPr userDrawn="1"/>
                </p:nvSpPr>
                <p:spPr>
                  <a:xfrm>
                    <a:off x="8267165" y="439191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C2C8D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4" name="Freeform: Shape 83">
                    <a:extLst>
                      <a:ext uri="{FF2B5EF4-FFF2-40B4-BE49-F238E27FC236}">
                        <a16:creationId xmlns:a16="http://schemas.microsoft.com/office/drawing/2014/main" id="{7D1E659B-C3FC-FEA4-C003-FF201157437E}"/>
                      </a:ext>
                    </a:extLst>
                  </p:cNvPr>
                  <p:cNvSpPr/>
                  <p:nvPr userDrawn="1"/>
                </p:nvSpPr>
                <p:spPr>
                  <a:xfrm>
                    <a:off x="8266650" y="439177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C2C8D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5" name="Freeform: Shape 84">
                    <a:extLst>
                      <a:ext uri="{FF2B5EF4-FFF2-40B4-BE49-F238E27FC236}">
                        <a16:creationId xmlns:a16="http://schemas.microsoft.com/office/drawing/2014/main" id="{81B30F5E-0A9D-E430-34D7-9E8119F931B5}"/>
                      </a:ext>
                    </a:extLst>
                  </p:cNvPr>
                  <p:cNvSpPr/>
                  <p:nvPr userDrawn="1"/>
                </p:nvSpPr>
                <p:spPr>
                  <a:xfrm>
                    <a:off x="8266112" y="439162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43"/>
                          <a:pt x="42097" y="21037"/>
                        </a:cubicBezTo>
                        <a:close/>
                      </a:path>
                    </a:pathLst>
                  </a:custGeom>
                  <a:solidFill>
                    <a:srgbClr val="C3C8D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6" name="Freeform: Shape 85">
                    <a:extLst>
                      <a:ext uri="{FF2B5EF4-FFF2-40B4-BE49-F238E27FC236}">
                        <a16:creationId xmlns:a16="http://schemas.microsoft.com/office/drawing/2014/main" id="{2B2B6BA5-6C57-DBCA-34A6-2153CE2C659A}"/>
                      </a:ext>
                    </a:extLst>
                  </p:cNvPr>
                  <p:cNvSpPr/>
                  <p:nvPr userDrawn="1"/>
                </p:nvSpPr>
                <p:spPr>
                  <a:xfrm>
                    <a:off x="8265597" y="4391466"/>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C3C8D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7" name="Freeform: Shape 86">
                    <a:extLst>
                      <a:ext uri="{FF2B5EF4-FFF2-40B4-BE49-F238E27FC236}">
                        <a16:creationId xmlns:a16="http://schemas.microsoft.com/office/drawing/2014/main" id="{EE056D1E-BBC7-CE0A-FBDD-D1F8E34BD9F2}"/>
                      </a:ext>
                    </a:extLst>
                  </p:cNvPr>
                  <p:cNvSpPr/>
                  <p:nvPr userDrawn="1"/>
                </p:nvSpPr>
                <p:spPr>
                  <a:xfrm>
                    <a:off x="8265082" y="4391302"/>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C3C9D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8" name="Freeform: Shape 87">
                    <a:extLst>
                      <a:ext uri="{FF2B5EF4-FFF2-40B4-BE49-F238E27FC236}">
                        <a16:creationId xmlns:a16="http://schemas.microsoft.com/office/drawing/2014/main" id="{188700DB-EDC7-B2BB-EA0B-6AC2790ECA25}"/>
                      </a:ext>
                    </a:extLst>
                  </p:cNvPr>
                  <p:cNvSpPr/>
                  <p:nvPr userDrawn="1"/>
                </p:nvSpPr>
                <p:spPr>
                  <a:xfrm>
                    <a:off x="8264567" y="439116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C4C9D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9" name="Freeform: Shape 88">
                    <a:extLst>
                      <a:ext uri="{FF2B5EF4-FFF2-40B4-BE49-F238E27FC236}">
                        <a16:creationId xmlns:a16="http://schemas.microsoft.com/office/drawing/2014/main" id="{9F1F3101-56C6-C2B3-D599-1608AE5BC983}"/>
                      </a:ext>
                    </a:extLst>
                  </p:cNvPr>
                  <p:cNvSpPr/>
                  <p:nvPr userDrawn="1"/>
                </p:nvSpPr>
                <p:spPr>
                  <a:xfrm>
                    <a:off x="8264052" y="4390998"/>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C4C9D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0" name="Freeform: Shape 89">
                    <a:extLst>
                      <a:ext uri="{FF2B5EF4-FFF2-40B4-BE49-F238E27FC236}">
                        <a16:creationId xmlns:a16="http://schemas.microsoft.com/office/drawing/2014/main" id="{9636668D-E9CF-9742-27C3-501716595CB2}"/>
                      </a:ext>
                    </a:extLst>
                  </p:cNvPr>
                  <p:cNvSpPr/>
                  <p:nvPr userDrawn="1"/>
                </p:nvSpPr>
                <p:spPr>
                  <a:xfrm>
                    <a:off x="8263538" y="4390834"/>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C4CAD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1" name="Freeform: Shape 90">
                    <a:extLst>
                      <a:ext uri="{FF2B5EF4-FFF2-40B4-BE49-F238E27FC236}">
                        <a16:creationId xmlns:a16="http://schemas.microsoft.com/office/drawing/2014/main" id="{8C45112E-9A19-5812-1D44-AF758C5C8791}"/>
                      </a:ext>
                    </a:extLst>
                  </p:cNvPr>
                  <p:cNvSpPr/>
                  <p:nvPr userDrawn="1"/>
                </p:nvSpPr>
                <p:spPr>
                  <a:xfrm>
                    <a:off x="8263023" y="4390693"/>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43"/>
                          <a:pt x="42097" y="21037"/>
                        </a:cubicBezTo>
                        <a:close/>
                      </a:path>
                    </a:pathLst>
                  </a:custGeom>
                  <a:solidFill>
                    <a:srgbClr val="C5CAD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2" name="Freeform: Shape 91">
                    <a:extLst>
                      <a:ext uri="{FF2B5EF4-FFF2-40B4-BE49-F238E27FC236}">
                        <a16:creationId xmlns:a16="http://schemas.microsoft.com/office/drawing/2014/main" id="{553BAB46-1C04-5E6E-0858-55EC07464F02}"/>
                      </a:ext>
                    </a:extLst>
                  </p:cNvPr>
                  <p:cNvSpPr/>
                  <p:nvPr userDrawn="1"/>
                </p:nvSpPr>
                <p:spPr>
                  <a:xfrm>
                    <a:off x="8262508" y="439053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C5CAD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3" name="Freeform: Shape 92">
                    <a:extLst>
                      <a:ext uri="{FF2B5EF4-FFF2-40B4-BE49-F238E27FC236}">
                        <a16:creationId xmlns:a16="http://schemas.microsoft.com/office/drawing/2014/main" id="{66B1D75C-BEFC-F70C-7378-D8850C92DC5D}"/>
                      </a:ext>
                    </a:extLst>
                  </p:cNvPr>
                  <p:cNvSpPr/>
                  <p:nvPr userDrawn="1"/>
                </p:nvSpPr>
                <p:spPr>
                  <a:xfrm>
                    <a:off x="8261993" y="439036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5CAD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4" name="Freeform: Shape 93">
                    <a:extLst>
                      <a:ext uri="{FF2B5EF4-FFF2-40B4-BE49-F238E27FC236}">
                        <a16:creationId xmlns:a16="http://schemas.microsoft.com/office/drawing/2014/main" id="{3172E871-A650-A111-0D7A-F9E5B51317FD}"/>
                      </a:ext>
                    </a:extLst>
                  </p:cNvPr>
                  <p:cNvSpPr/>
                  <p:nvPr userDrawn="1"/>
                </p:nvSpPr>
                <p:spPr>
                  <a:xfrm>
                    <a:off x="8261478" y="439020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5CBD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5" name="Freeform: Shape 94">
                    <a:extLst>
                      <a:ext uri="{FF2B5EF4-FFF2-40B4-BE49-F238E27FC236}">
                        <a16:creationId xmlns:a16="http://schemas.microsoft.com/office/drawing/2014/main" id="{5C7AF20C-E447-F17C-C73F-85B65C31A13F}"/>
                      </a:ext>
                    </a:extLst>
                  </p:cNvPr>
                  <p:cNvSpPr/>
                  <p:nvPr userDrawn="1"/>
                </p:nvSpPr>
                <p:spPr>
                  <a:xfrm>
                    <a:off x="8260964" y="439003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C6CBD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6" name="Freeform: Shape 95">
                    <a:extLst>
                      <a:ext uri="{FF2B5EF4-FFF2-40B4-BE49-F238E27FC236}">
                        <a16:creationId xmlns:a16="http://schemas.microsoft.com/office/drawing/2014/main" id="{7E1495C9-DB5B-061E-868E-0FE1CEC3C89E}"/>
                      </a:ext>
                    </a:extLst>
                  </p:cNvPr>
                  <p:cNvSpPr/>
                  <p:nvPr userDrawn="1"/>
                </p:nvSpPr>
                <p:spPr>
                  <a:xfrm>
                    <a:off x="8260472" y="438987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6CBD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7" name="Freeform: Shape 96">
                    <a:extLst>
                      <a:ext uri="{FF2B5EF4-FFF2-40B4-BE49-F238E27FC236}">
                        <a16:creationId xmlns:a16="http://schemas.microsoft.com/office/drawing/2014/main" id="{9DBB5C34-6BDF-EDB5-703F-5EA3B3529C09}"/>
                      </a:ext>
                    </a:extLst>
                  </p:cNvPr>
                  <p:cNvSpPr/>
                  <p:nvPr userDrawn="1"/>
                </p:nvSpPr>
                <p:spPr>
                  <a:xfrm>
                    <a:off x="8259957" y="438971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6CBD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8" name="Freeform: Shape 97">
                    <a:extLst>
                      <a:ext uri="{FF2B5EF4-FFF2-40B4-BE49-F238E27FC236}">
                        <a16:creationId xmlns:a16="http://schemas.microsoft.com/office/drawing/2014/main" id="{E06ED34C-9879-A40F-EF6A-577C9281E385}"/>
                      </a:ext>
                    </a:extLst>
                  </p:cNvPr>
                  <p:cNvSpPr/>
                  <p:nvPr userDrawn="1"/>
                </p:nvSpPr>
                <p:spPr>
                  <a:xfrm>
                    <a:off x="8259443" y="438954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C7CCD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9" name="Freeform: Shape 98">
                    <a:extLst>
                      <a:ext uri="{FF2B5EF4-FFF2-40B4-BE49-F238E27FC236}">
                        <a16:creationId xmlns:a16="http://schemas.microsoft.com/office/drawing/2014/main" id="{E3D1304D-726C-F70F-7EA2-6EBF7429C477}"/>
                      </a:ext>
                    </a:extLst>
                  </p:cNvPr>
                  <p:cNvSpPr/>
                  <p:nvPr userDrawn="1"/>
                </p:nvSpPr>
                <p:spPr>
                  <a:xfrm>
                    <a:off x="8258951" y="438938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7CCD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0" name="Freeform: Shape 99">
                    <a:extLst>
                      <a:ext uri="{FF2B5EF4-FFF2-40B4-BE49-F238E27FC236}">
                        <a16:creationId xmlns:a16="http://schemas.microsoft.com/office/drawing/2014/main" id="{FF54C1F2-633F-9569-BDFE-3F9BF1F95A6A}"/>
                      </a:ext>
                    </a:extLst>
                  </p:cNvPr>
                  <p:cNvSpPr/>
                  <p:nvPr userDrawn="1"/>
                </p:nvSpPr>
                <p:spPr>
                  <a:xfrm>
                    <a:off x="8258436" y="438921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C7CCD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1" name="Freeform: Shape 100">
                    <a:extLst>
                      <a:ext uri="{FF2B5EF4-FFF2-40B4-BE49-F238E27FC236}">
                        <a16:creationId xmlns:a16="http://schemas.microsoft.com/office/drawing/2014/main" id="{89FF5A25-9475-E936-0401-4598B6F2ED60}"/>
                      </a:ext>
                    </a:extLst>
                  </p:cNvPr>
                  <p:cNvSpPr/>
                  <p:nvPr userDrawn="1"/>
                </p:nvSpPr>
                <p:spPr>
                  <a:xfrm>
                    <a:off x="8257945" y="438903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8CDD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2" name="Freeform: Shape 101">
                    <a:extLst>
                      <a:ext uri="{FF2B5EF4-FFF2-40B4-BE49-F238E27FC236}">
                        <a16:creationId xmlns:a16="http://schemas.microsoft.com/office/drawing/2014/main" id="{534156AE-9CC4-A0BB-29E6-FF8F7EF8438B}"/>
                      </a:ext>
                    </a:extLst>
                  </p:cNvPr>
                  <p:cNvSpPr/>
                  <p:nvPr userDrawn="1"/>
                </p:nvSpPr>
                <p:spPr>
                  <a:xfrm>
                    <a:off x="8257430" y="438886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C8CDD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3" name="Freeform: Shape 102">
                    <a:extLst>
                      <a:ext uri="{FF2B5EF4-FFF2-40B4-BE49-F238E27FC236}">
                        <a16:creationId xmlns:a16="http://schemas.microsoft.com/office/drawing/2014/main" id="{B591BB52-0EB7-AEA1-3CB2-CA6EF608CF63}"/>
                      </a:ext>
                    </a:extLst>
                  </p:cNvPr>
                  <p:cNvSpPr/>
                  <p:nvPr userDrawn="1"/>
                </p:nvSpPr>
                <p:spPr>
                  <a:xfrm>
                    <a:off x="8256939" y="438870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8CDD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4" name="Freeform: Shape 103">
                    <a:extLst>
                      <a:ext uri="{FF2B5EF4-FFF2-40B4-BE49-F238E27FC236}">
                        <a16:creationId xmlns:a16="http://schemas.microsoft.com/office/drawing/2014/main" id="{8F15B7D0-4202-E5A9-D6D1-84C26373E4C3}"/>
                      </a:ext>
                    </a:extLst>
                  </p:cNvPr>
                  <p:cNvSpPr/>
                  <p:nvPr userDrawn="1"/>
                </p:nvSpPr>
                <p:spPr>
                  <a:xfrm>
                    <a:off x="8256447" y="438851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9CDD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5" name="Freeform: Shape 104">
                    <a:extLst>
                      <a:ext uri="{FF2B5EF4-FFF2-40B4-BE49-F238E27FC236}">
                        <a16:creationId xmlns:a16="http://schemas.microsoft.com/office/drawing/2014/main" id="{B1C4A633-80F2-AD5D-E202-EE36B7FB4E3E}"/>
                      </a:ext>
                    </a:extLst>
                  </p:cNvPr>
                  <p:cNvSpPr/>
                  <p:nvPr userDrawn="1"/>
                </p:nvSpPr>
                <p:spPr>
                  <a:xfrm>
                    <a:off x="8255956" y="438835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9CED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6" name="Freeform: Shape 105">
                    <a:extLst>
                      <a:ext uri="{FF2B5EF4-FFF2-40B4-BE49-F238E27FC236}">
                        <a16:creationId xmlns:a16="http://schemas.microsoft.com/office/drawing/2014/main" id="{4DC88251-B9B4-EFFD-0EBB-CB09296CECBC}"/>
                      </a:ext>
                    </a:extLst>
                  </p:cNvPr>
                  <p:cNvSpPr/>
                  <p:nvPr userDrawn="1"/>
                </p:nvSpPr>
                <p:spPr>
                  <a:xfrm>
                    <a:off x="8255465" y="438816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9CED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7" name="Freeform: Shape 106">
                    <a:extLst>
                      <a:ext uri="{FF2B5EF4-FFF2-40B4-BE49-F238E27FC236}">
                        <a16:creationId xmlns:a16="http://schemas.microsoft.com/office/drawing/2014/main" id="{7DD8E78E-526B-E91C-6381-24D579B3807F}"/>
                      </a:ext>
                    </a:extLst>
                  </p:cNvPr>
                  <p:cNvSpPr/>
                  <p:nvPr userDrawn="1"/>
                </p:nvSpPr>
                <p:spPr>
                  <a:xfrm>
                    <a:off x="8254950" y="438800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C9CED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8" name="Freeform: Shape 107">
                    <a:extLst>
                      <a:ext uri="{FF2B5EF4-FFF2-40B4-BE49-F238E27FC236}">
                        <a16:creationId xmlns:a16="http://schemas.microsoft.com/office/drawing/2014/main" id="{ADA26229-E89E-6513-A8E8-0726D80E8FB3}"/>
                      </a:ext>
                    </a:extLst>
                  </p:cNvPr>
                  <p:cNvSpPr/>
                  <p:nvPr userDrawn="1"/>
                </p:nvSpPr>
                <p:spPr>
                  <a:xfrm>
                    <a:off x="8254458" y="438781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CACFD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9" name="Freeform: Shape 108">
                    <a:extLst>
                      <a:ext uri="{FF2B5EF4-FFF2-40B4-BE49-F238E27FC236}">
                        <a16:creationId xmlns:a16="http://schemas.microsoft.com/office/drawing/2014/main" id="{E19F32E2-F0A4-CF5B-A6AD-6AFC967A98E7}"/>
                      </a:ext>
                    </a:extLst>
                  </p:cNvPr>
                  <p:cNvSpPr/>
                  <p:nvPr userDrawn="1"/>
                </p:nvSpPr>
                <p:spPr>
                  <a:xfrm>
                    <a:off x="8253967" y="438765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CACFD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10" name="Freeform: Shape 109">
                    <a:extLst>
                      <a:ext uri="{FF2B5EF4-FFF2-40B4-BE49-F238E27FC236}">
                        <a16:creationId xmlns:a16="http://schemas.microsoft.com/office/drawing/2014/main" id="{52FE1E2C-68AC-657F-5E67-326E4C9C064E}"/>
                      </a:ext>
                    </a:extLst>
                  </p:cNvPr>
                  <p:cNvSpPr/>
                  <p:nvPr userDrawn="1"/>
                </p:nvSpPr>
                <p:spPr>
                  <a:xfrm>
                    <a:off x="8253499" y="438746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ACFD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11" name="Freeform: Shape 110">
                    <a:extLst>
                      <a:ext uri="{FF2B5EF4-FFF2-40B4-BE49-F238E27FC236}">
                        <a16:creationId xmlns:a16="http://schemas.microsoft.com/office/drawing/2014/main" id="{C9C3E0E9-1AA4-5F17-75AE-D7864AFC73F2}"/>
                      </a:ext>
                    </a:extLst>
                  </p:cNvPr>
                  <p:cNvSpPr/>
                  <p:nvPr userDrawn="1"/>
                </p:nvSpPr>
                <p:spPr>
                  <a:xfrm>
                    <a:off x="8253008" y="438730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CBCFD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12" name="Freeform: Shape 111">
                    <a:extLst>
                      <a:ext uri="{FF2B5EF4-FFF2-40B4-BE49-F238E27FC236}">
                        <a16:creationId xmlns:a16="http://schemas.microsoft.com/office/drawing/2014/main" id="{DA3DA573-A534-EFF2-D1B3-FBBEFEA9118E}"/>
                      </a:ext>
                    </a:extLst>
                  </p:cNvPr>
                  <p:cNvSpPr/>
                  <p:nvPr userDrawn="1"/>
                </p:nvSpPr>
                <p:spPr>
                  <a:xfrm>
                    <a:off x="8252516" y="438711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BD0D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13" name="Freeform: Shape 112">
                    <a:extLst>
                      <a:ext uri="{FF2B5EF4-FFF2-40B4-BE49-F238E27FC236}">
                        <a16:creationId xmlns:a16="http://schemas.microsoft.com/office/drawing/2014/main" id="{D3620381-EC2E-F258-AE41-1258CBDEA4E8}"/>
                      </a:ext>
                    </a:extLst>
                  </p:cNvPr>
                  <p:cNvSpPr/>
                  <p:nvPr userDrawn="1"/>
                </p:nvSpPr>
                <p:spPr>
                  <a:xfrm>
                    <a:off x="8252025" y="438692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CBD0D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14" name="Freeform: Shape 113">
                    <a:extLst>
                      <a:ext uri="{FF2B5EF4-FFF2-40B4-BE49-F238E27FC236}">
                        <a16:creationId xmlns:a16="http://schemas.microsoft.com/office/drawing/2014/main" id="{2B8E2D03-A592-4BF0-1E38-A90A93AEFEC1}"/>
                      </a:ext>
                    </a:extLst>
                  </p:cNvPr>
                  <p:cNvSpPr/>
                  <p:nvPr userDrawn="1"/>
                </p:nvSpPr>
                <p:spPr>
                  <a:xfrm>
                    <a:off x="8251557" y="438673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CD0D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15" name="Freeform: Shape 114">
                    <a:extLst>
                      <a:ext uri="{FF2B5EF4-FFF2-40B4-BE49-F238E27FC236}">
                        <a16:creationId xmlns:a16="http://schemas.microsoft.com/office/drawing/2014/main" id="{B395B38F-36B3-621A-128F-72C1AF190DFD}"/>
                      </a:ext>
                    </a:extLst>
                  </p:cNvPr>
                  <p:cNvSpPr/>
                  <p:nvPr userDrawn="1"/>
                </p:nvSpPr>
                <p:spPr>
                  <a:xfrm>
                    <a:off x="8251065" y="438655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CD0D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16" name="Freeform: Shape 115">
                    <a:extLst>
                      <a:ext uri="{FF2B5EF4-FFF2-40B4-BE49-F238E27FC236}">
                        <a16:creationId xmlns:a16="http://schemas.microsoft.com/office/drawing/2014/main" id="{6D5F45F9-4B00-6D8D-5E86-C16921CDD972}"/>
                      </a:ext>
                    </a:extLst>
                  </p:cNvPr>
                  <p:cNvSpPr/>
                  <p:nvPr userDrawn="1"/>
                </p:nvSpPr>
                <p:spPr>
                  <a:xfrm>
                    <a:off x="8250574" y="438638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CCD1D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17" name="Freeform: Shape 116">
                    <a:extLst>
                      <a:ext uri="{FF2B5EF4-FFF2-40B4-BE49-F238E27FC236}">
                        <a16:creationId xmlns:a16="http://schemas.microsoft.com/office/drawing/2014/main" id="{7D43D512-3EE2-ADB5-F34C-23E811FFC186}"/>
                      </a:ext>
                    </a:extLst>
                  </p:cNvPr>
                  <p:cNvSpPr/>
                  <p:nvPr userDrawn="1"/>
                </p:nvSpPr>
                <p:spPr>
                  <a:xfrm>
                    <a:off x="8250106" y="438620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CDD1D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18" name="Freeform: Shape 117">
                    <a:extLst>
                      <a:ext uri="{FF2B5EF4-FFF2-40B4-BE49-F238E27FC236}">
                        <a16:creationId xmlns:a16="http://schemas.microsoft.com/office/drawing/2014/main" id="{88B83B20-7320-3890-BB35-C0208A563498}"/>
                      </a:ext>
                    </a:extLst>
                  </p:cNvPr>
                  <p:cNvSpPr/>
                  <p:nvPr userDrawn="1"/>
                </p:nvSpPr>
                <p:spPr>
                  <a:xfrm>
                    <a:off x="8249638" y="438601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CDD1D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19" name="Freeform: Shape 118">
                    <a:extLst>
                      <a:ext uri="{FF2B5EF4-FFF2-40B4-BE49-F238E27FC236}">
                        <a16:creationId xmlns:a16="http://schemas.microsoft.com/office/drawing/2014/main" id="{4C34CC4E-DFE6-EE8A-F33F-D209F8EA17AB}"/>
                      </a:ext>
                    </a:extLst>
                  </p:cNvPr>
                  <p:cNvSpPr/>
                  <p:nvPr userDrawn="1"/>
                </p:nvSpPr>
                <p:spPr>
                  <a:xfrm>
                    <a:off x="8249147" y="438582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CDD2D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20" name="Freeform: Shape 119">
                    <a:extLst>
                      <a:ext uri="{FF2B5EF4-FFF2-40B4-BE49-F238E27FC236}">
                        <a16:creationId xmlns:a16="http://schemas.microsoft.com/office/drawing/2014/main" id="{2BEBE90C-35D5-FCC7-A352-C82A8DFC9790}"/>
                      </a:ext>
                    </a:extLst>
                  </p:cNvPr>
                  <p:cNvSpPr/>
                  <p:nvPr userDrawn="1"/>
                </p:nvSpPr>
                <p:spPr>
                  <a:xfrm>
                    <a:off x="8248679" y="438563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CDD2D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21" name="Freeform: Shape 120">
                    <a:extLst>
                      <a:ext uri="{FF2B5EF4-FFF2-40B4-BE49-F238E27FC236}">
                        <a16:creationId xmlns:a16="http://schemas.microsoft.com/office/drawing/2014/main" id="{439E64F6-E32E-4F1B-38FA-7C610158E70E}"/>
                      </a:ext>
                    </a:extLst>
                  </p:cNvPr>
                  <p:cNvSpPr/>
                  <p:nvPr userDrawn="1"/>
                </p:nvSpPr>
                <p:spPr>
                  <a:xfrm>
                    <a:off x="8248211" y="438542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ED2D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22" name="Freeform: Shape 121">
                    <a:extLst>
                      <a:ext uri="{FF2B5EF4-FFF2-40B4-BE49-F238E27FC236}">
                        <a16:creationId xmlns:a16="http://schemas.microsoft.com/office/drawing/2014/main" id="{8CE1AF12-98B4-E5E6-20F2-0C2F40E9A42B}"/>
                      </a:ext>
                    </a:extLst>
                  </p:cNvPr>
                  <p:cNvSpPr/>
                  <p:nvPr userDrawn="1"/>
                </p:nvSpPr>
                <p:spPr>
                  <a:xfrm>
                    <a:off x="8247743" y="438524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ED2D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23" name="Freeform: Shape 122">
                    <a:extLst>
                      <a:ext uri="{FF2B5EF4-FFF2-40B4-BE49-F238E27FC236}">
                        <a16:creationId xmlns:a16="http://schemas.microsoft.com/office/drawing/2014/main" id="{A752A530-54F0-DB07-6FF6-5D7BF59D4D7F}"/>
                      </a:ext>
                    </a:extLst>
                  </p:cNvPr>
                  <p:cNvSpPr/>
                  <p:nvPr userDrawn="1"/>
                </p:nvSpPr>
                <p:spPr>
                  <a:xfrm>
                    <a:off x="8247275" y="438505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ED3D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24" name="Freeform: Shape 123">
                    <a:extLst>
                      <a:ext uri="{FF2B5EF4-FFF2-40B4-BE49-F238E27FC236}">
                        <a16:creationId xmlns:a16="http://schemas.microsoft.com/office/drawing/2014/main" id="{B996F33B-2B09-EA54-3885-AC4187A682AD}"/>
                      </a:ext>
                    </a:extLst>
                  </p:cNvPr>
                  <p:cNvSpPr/>
                  <p:nvPr userDrawn="1"/>
                </p:nvSpPr>
                <p:spPr>
                  <a:xfrm>
                    <a:off x="8246807" y="438486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FD3D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25" name="Freeform: Shape 124">
                    <a:extLst>
                      <a:ext uri="{FF2B5EF4-FFF2-40B4-BE49-F238E27FC236}">
                        <a16:creationId xmlns:a16="http://schemas.microsoft.com/office/drawing/2014/main" id="{1B202053-9904-90D5-E4AE-F77B50D647E3}"/>
                      </a:ext>
                    </a:extLst>
                  </p:cNvPr>
                  <p:cNvSpPr/>
                  <p:nvPr userDrawn="1"/>
                </p:nvSpPr>
                <p:spPr>
                  <a:xfrm>
                    <a:off x="8246339" y="438468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CFD3E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26" name="Freeform: Shape 125">
                    <a:extLst>
                      <a:ext uri="{FF2B5EF4-FFF2-40B4-BE49-F238E27FC236}">
                        <a16:creationId xmlns:a16="http://schemas.microsoft.com/office/drawing/2014/main" id="{2FC585E9-4BCC-9EAB-444A-3256CF155865}"/>
                      </a:ext>
                    </a:extLst>
                  </p:cNvPr>
                  <p:cNvSpPr/>
                  <p:nvPr userDrawn="1"/>
                </p:nvSpPr>
                <p:spPr>
                  <a:xfrm>
                    <a:off x="8245871" y="438446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FD4E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27" name="Freeform: Shape 126">
                    <a:extLst>
                      <a:ext uri="{FF2B5EF4-FFF2-40B4-BE49-F238E27FC236}">
                        <a16:creationId xmlns:a16="http://schemas.microsoft.com/office/drawing/2014/main" id="{D4D95733-D1CC-8A60-2AAD-AED90FF1DAB0}"/>
                      </a:ext>
                    </a:extLst>
                  </p:cNvPr>
                  <p:cNvSpPr/>
                  <p:nvPr userDrawn="1"/>
                </p:nvSpPr>
                <p:spPr>
                  <a:xfrm>
                    <a:off x="8245403" y="438428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0D4E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28" name="Freeform: Shape 127">
                    <a:extLst>
                      <a:ext uri="{FF2B5EF4-FFF2-40B4-BE49-F238E27FC236}">
                        <a16:creationId xmlns:a16="http://schemas.microsoft.com/office/drawing/2014/main" id="{777683B3-DC6D-61C2-7B8B-6179356A7383}"/>
                      </a:ext>
                    </a:extLst>
                  </p:cNvPr>
                  <p:cNvSpPr/>
                  <p:nvPr userDrawn="1"/>
                </p:nvSpPr>
                <p:spPr>
                  <a:xfrm>
                    <a:off x="8244935" y="438409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D0D4E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29" name="Freeform: Shape 128">
                    <a:extLst>
                      <a:ext uri="{FF2B5EF4-FFF2-40B4-BE49-F238E27FC236}">
                        <a16:creationId xmlns:a16="http://schemas.microsoft.com/office/drawing/2014/main" id="{6EE9522D-1FA3-D256-0297-A4B2DEBCCF9E}"/>
                      </a:ext>
                    </a:extLst>
                  </p:cNvPr>
                  <p:cNvSpPr/>
                  <p:nvPr userDrawn="1"/>
                </p:nvSpPr>
                <p:spPr>
                  <a:xfrm>
                    <a:off x="8244490" y="438388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0D4E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30" name="Freeform: Shape 129">
                    <a:extLst>
                      <a:ext uri="{FF2B5EF4-FFF2-40B4-BE49-F238E27FC236}">
                        <a16:creationId xmlns:a16="http://schemas.microsoft.com/office/drawing/2014/main" id="{4E8E1E33-6B67-5482-3108-8945AD1D0D9D}"/>
                      </a:ext>
                    </a:extLst>
                  </p:cNvPr>
                  <p:cNvSpPr/>
                  <p:nvPr userDrawn="1"/>
                </p:nvSpPr>
                <p:spPr>
                  <a:xfrm>
                    <a:off x="8244022" y="438369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D1D5E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31" name="Freeform: Shape 130">
                    <a:extLst>
                      <a:ext uri="{FF2B5EF4-FFF2-40B4-BE49-F238E27FC236}">
                        <a16:creationId xmlns:a16="http://schemas.microsoft.com/office/drawing/2014/main" id="{F2CA6D24-78AF-C896-741F-94D568F4FDD6}"/>
                      </a:ext>
                    </a:extLst>
                  </p:cNvPr>
                  <p:cNvSpPr/>
                  <p:nvPr userDrawn="1"/>
                </p:nvSpPr>
                <p:spPr>
                  <a:xfrm>
                    <a:off x="8243577" y="438348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1D5E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32" name="Freeform: Shape 131">
                    <a:extLst>
                      <a:ext uri="{FF2B5EF4-FFF2-40B4-BE49-F238E27FC236}">
                        <a16:creationId xmlns:a16="http://schemas.microsoft.com/office/drawing/2014/main" id="{620A47D3-00B8-8945-4DBA-472F87631E2B}"/>
                      </a:ext>
                    </a:extLst>
                  </p:cNvPr>
                  <p:cNvSpPr/>
                  <p:nvPr userDrawn="1"/>
                </p:nvSpPr>
                <p:spPr>
                  <a:xfrm>
                    <a:off x="8243109" y="438329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D1D5E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33" name="Freeform: Shape 132">
                    <a:extLst>
                      <a:ext uri="{FF2B5EF4-FFF2-40B4-BE49-F238E27FC236}">
                        <a16:creationId xmlns:a16="http://schemas.microsoft.com/office/drawing/2014/main" id="{0E1AAE15-2A0F-EACE-A547-D30DED052214}"/>
                      </a:ext>
                    </a:extLst>
                  </p:cNvPr>
                  <p:cNvSpPr/>
                  <p:nvPr userDrawn="1"/>
                </p:nvSpPr>
                <p:spPr>
                  <a:xfrm>
                    <a:off x="8242665" y="438308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1D6E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34" name="Freeform: Shape 133">
                    <a:extLst>
                      <a:ext uri="{FF2B5EF4-FFF2-40B4-BE49-F238E27FC236}">
                        <a16:creationId xmlns:a16="http://schemas.microsoft.com/office/drawing/2014/main" id="{A5001617-2A5F-68ED-80E3-FF38020640A8}"/>
                      </a:ext>
                    </a:extLst>
                  </p:cNvPr>
                  <p:cNvSpPr/>
                  <p:nvPr userDrawn="1"/>
                </p:nvSpPr>
                <p:spPr>
                  <a:xfrm>
                    <a:off x="8242220" y="438287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2D6E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35" name="Freeform: Shape 134">
                    <a:extLst>
                      <a:ext uri="{FF2B5EF4-FFF2-40B4-BE49-F238E27FC236}">
                        <a16:creationId xmlns:a16="http://schemas.microsoft.com/office/drawing/2014/main" id="{AE5E9859-CCE2-D799-7EA6-D9D7BBFFEEAD}"/>
                      </a:ext>
                    </a:extLst>
                  </p:cNvPr>
                  <p:cNvSpPr/>
                  <p:nvPr userDrawn="1"/>
                </p:nvSpPr>
                <p:spPr>
                  <a:xfrm>
                    <a:off x="8241776" y="438269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D2D6E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36" name="Freeform: Shape 135">
                    <a:extLst>
                      <a:ext uri="{FF2B5EF4-FFF2-40B4-BE49-F238E27FC236}">
                        <a16:creationId xmlns:a16="http://schemas.microsoft.com/office/drawing/2014/main" id="{23D8204E-C59A-18F4-C702-D7BB5D929FC4}"/>
                      </a:ext>
                    </a:extLst>
                  </p:cNvPr>
                  <p:cNvSpPr/>
                  <p:nvPr userDrawn="1"/>
                </p:nvSpPr>
                <p:spPr>
                  <a:xfrm>
                    <a:off x="8241308" y="438248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D2D6E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37" name="Freeform: Shape 136">
                    <a:extLst>
                      <a:ext uri="{FF2B5EF4-FFF2-40B4-BE49-F238E27FC236}">
                        <a16:creationId xmlns:a16="http://schemas.microsoft.com/office/drawing/2014/main" id="{82F76516-44F3-249D-D8B4-DD56DC93B769}"/>
                      </a:ext>
                    </a:extLst>
                  </p:cNvPr>
                  <p:cNvSpPr/>
                  <p:nvPr userDrawn="1"/>
                </p:nvSpPr>
                <p:spPr>
                  <a:xfrm>
                    <a:off x="8240863" y="438226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3D7E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38" name="Freeform: Shape 137">
                    <a:extLst>
                      <a:ext uri="{FF2B5EF4-FFF2-40B4-BE49-F238E27FC236}">
                        <a16:creationId xmlns:a16="http://schemas.microsoft.com/office/drawing/2014/main" id="{6CA2FA66-4AE0-9F5E-1EB6-ED1B1915F11F}"/>
                      </a:ext>
                    </a:extLst>
                  </p:cNvPr>
                  <p:cNvSpPr/>
                  <p:nvPr userDrawn="1"/>
                </p:nvSpPr>
                <p:spPr>
                  <a:xfrm>
                    <a:off x="8240418" y="438205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3D7E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39" name="Freeform: Shape 138">
                    <a:extLst>
                      <a:ext uri="{FF2B5EF4-FFF2-40B4-BE49-F238E27FC236}">
                        <a16:creationId xmlns:a16="http://schemas.microsoft.com/office/drawing/2014/main" id="{5877F0AF-54E4-70C2-AC61-A29DAF051328}"/>
                      </a:ext>
                    </a:extLst>
                  </p:cNvPr>
                  <p:cNvSpPr/>
                  <p:nvPr userDrawn="1"/>
                </p:nvSpPr>
                <p:spPr>
                  <a:xfrm>
                    <a:off x="8239997" y="438184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3D7E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40" name="Freeform: Shape 139">
                    <a:extLst>
                      <a:ext uri="{FF2B5EF4-FFF2-40B4-BE49-F238E27FC236}">
                        <a16:creationId xmlns:a16="http://schemas.microsoft.com/office/drawing/2014/main" id="{06F0436B-A1AC-8BB0-B44D-4625D97487F9}"/>
                      </a:ext>
                    </a:extLst>
                  </p:cNvPr>
                  <p:cNvSpPr/>
                  <p:nvPr userDrawn="1"/>
                </p:nvSpPr>
                <p:spPr>
                  <a:xfrm>
                    <a:off x="8239552" y="438166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D4D7E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41" name="Freeform: Shape 140">
                    <a:extLst>
                      <a:ext uri="{FF2B5EF4-FFF2-40B4-BE49-F238E27FC236}">
                        <a16:creationId xmlns:a16="http://schemas.microsoft.com/office/drawing/2014/main" id="{0D150B3B-78E2-B2FE-FDB0-4E6D2C8ADA4F}"/>
                      </a:ext>
                    </a:extLst>
                  </p:cNvPr>
                  <p:cNvSpPr/>
                  <p:nvPr userDrawn="1"/>
                </p:nvSpPr>
                <p:spPr>
                  <a:xfrm>
                    <a:off x="8239108" y="438145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4D8E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42" name="Freeform: Shape 141">
                    <a:extLst>
                      <a:ext uri="{FF2B5EF4-FFF2-40B4-BE49-F238E27FC236}">
                        <a16:creationId xmlns:a16="http://schemas.microsoft.com/office/drawing/2014/main" id="{419BEA29-D264-B79B-B5E6-956EA7DC5538}"/>
                      </a:ext>
                    </a:extLst>
                  </p:cNvPr>
                  <p:cNvSpPr/>
                  <p:nvPr userDrawn="1"/>
                </p:nvSpPr>
                <p:spPr>
                  <a:xfrm>
                    <a:off x="8238663" y="438124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D4D8E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43" name="Freeform: Shape 142">
                    <a:extLst>
                      <a:ext uri="{FF2B5EF4-FFF2-40B4-BE49-F238E27FC236}">
                        <a16:creationId xmlns:a16="http://schemas.microsoft.com/office/drawing/2014/main" id="{A44BAA69-4A7A-45E9-7C1E-5B97C6CCC6B5}"/>
                      </a:ext>
                    </a:extLst>
                  </p:cNvPr>
                  <p:cNvSpPr/>
                  <p:nvPr userDrawn="1"/>
                </p:nvSpPr>
                <p:spPr>
                  <a:xfrm>
                    <a:off x="8238242" y="438102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4D8E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44" name="Freeform: Shape 143">
                    <a:extLst>
                      <a:ext uri="{FF2B5EF4-FFF2-40B4-BE49-F238E27FC236}">
                        <a16:creationId xmlns:a16="http://schemas.microsoft.com/office/drawing/2014/main" id="{B0D670CD-BCDA-62AB-81ED-8F91C179F774}"/>
                      </a:ext>
                    </a:extLst>
                  </p:cNvPr>
                  <p:cNvSpPr/>
                  <p:nvPr userDrawn="1"/>
                </p:nvSpPr>
                <p:spPr>
                  <a:xfrm>
                    <a:off x="8237797" y="438081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D5D9E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45" name="Freeform: Shape 144">
                    <a:extLst>
                      <a:ext uri="{FF2B5EF4-FFF2-40B4-BE49-F238E27FC236}">
                        <a16:creationId xmlns:a16="http://schemas.microsoft.com/office/drawing/2014/main" id="{C77FA1BB-2879-858A-A156-216DD2544C97}"/>
                      </a:ext>
                    </a:extLst>
                  </p:cNvPr>
                  <p:cNvSpPr/>
                  <p:nvPr userDrawn="1"/>
                </p:nvSpPr>
                <p:spPr>
                  <a:xfrm>
                    <a:off x="8237376" y="438060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D5D9E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46" name="Freeform: Shape 145">
                    <a:extLst>
                      <a:ext uri="{FF2B5EF4-FFF2-40B4-BE49-F238E27FC236}">
                        <a16:creationId xmlns:a16="http://schemas.microsoft.com/office/drawing/2014/main" id="{BD769A55-FC8A-F50F-29E0-7635893564A5}"/>
                      </a:ext>
                    </a:extLst>
                  </p:cNvPr>
                  <p:cNvSpPr/>
                  <p:nvPr userDrawn="1"/>
                </p:nvSpPr>
                <p:spPr>
                  <a:xfrm>
                    <a:off x="8236932" y="438037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5D9E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47" name="Freeform: Shape 146">
                    <a:extLst>
                      <a:ext uri="{FF2B5EF4-FFF2-40B4-BE49-F238E27FC236}">
                        <a16:creationId xmlns:a16="http://schemas.microsoft.com/office/drawing/2014/main" id="{7515514C-C7E4-8829-416A-0848F599CF3E}"/>
                      </a:ext>
                    </a:extLst>
                  </p:cNvPr>
                  <p:cNvSpPr/>
                  <p:nvPr userDrawn="1"/>
                </p:nvSpPr>
                <p:spPr>
                  <a:xfrm>
                    <a:off x="8236510" y="438016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6D9E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48" name="Freeform: Shape 147">
                    <a:extLst>
                      <a:ext uri="{FF2B5EF4-FFF2-40B4-BE49-F238E27FC236}">
                        <a16:creationId xmlns:a16="http://schemas.microsoft.com/office/drawing/2014/main" id="{495819BC-B58B-0677-CEA2-4DD85CB0C24C}"/>
                      </a:ext>
                    </a:extLst>
                  </p:cNvPr>
                  <p:cNvSpPr/>
                  <p:nvPr userDrawn="1"/>
                </p:nvSpPr>
                <p:spPr>
                  <a:xfrm>
                    <a:off x="8236089" y="437995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6DAE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49" name="Freeform: Shape 148">
                    <a:extLst>
                      <a:ext uri="{FF2B5EF4-FFF2-40B4-BE49-F238E27FC236}">
                        <a16:creationId xmlns:a16="http://schemas.microsoft.com/office/drawing/2014/main" id="{87784435-C46D-7227-C85A-ECC41D0C582C}"/>
                      </a:ext>
                    </a:extLst>
                  </p:cNvPr>
                  <p:cNvSpPr/>
                  <p:nvPr userDrawn="1"/>
                </p:nvSpPr>
                <p:spPr>
                  <a:xfrm>
                    <a:off x="8235668" y="437974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6DAE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50" name="Freeform: Shape 149">
                    <a:extLst>
                      <a:ext uri="{FF2B5EF4-FFF2-40B4-BE49-F238E27FC236}">
                        <a16:creationId xmlns:a16="http://schemas.microsoft.com/office/drawing/2014/main" id="{67F594C7-6829-1693-5E71-866989326841}"/>
                      </a:ext>
                    </a:extLst>
                  </p:cNvPr>
                  <p:cNvSpPr/>
                  <p:nvPr userDrawn="1"/>
                </p:nvSpPr>
                <p:spPr>
                  <a:xfrm>
                    <a:off x="8235247" y="437953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D7DAE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51" name="Freeform: Shape 150">
                    <a:extLst>
                      <a:ext uri="{FF2B5EF4-FFF2-40B4-BE49-F238E27FC236}">
                        <a16:creationId xmlns:a16="http://schemas.microsoft.com/office/drawing/2014/main" id="{D17BA0A2-9006-F78B-F5C2-0319B68183A9}"/>
                      </a:ext>
                    </a:extLst>
                  </p:cNvPr>
                  <p:cNvSpPr/>
                  <p:nvPr userDrawn="1"/>
                </p:nvSpPr>
                <p:spPr>
                  <a:xfrm>
                    <a:off x="8234826" y="437929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7DBE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52" name="Freeform: Shape 151">
                    <a:extLst>
                      <a:ext uri="{FF2B5EF4-FFF2-40B4-BE49-F238E27FC236}">
                        <a16:creationId xmlns:a16="http://schemas.microsoft.com/office/drawing/2014/main" id="{500C0FE3-DD2E-EA35-80AB-EF60480DBB15}"/>
                      </a:ext>
                    </a:extLst>
                  </p:cNvPr>
                  <p:cNvSpPr/>
                  <p:nvPr userDrawn="1"/>
                </p:nvSpPr>
                <p:spPr>
                  <a:xfrm>
                    <a:off x="8234404" y="437908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7DBE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53" name="Freeform: Shape 152">
                    <a:extLst>
                      <a:ext uri="{FF2B5EF4-FFF2-40B4-BE49-F238E27FC236}">
                        <a16:creationId xmlns:a16="http://schemas.microsoft.com/office/drawing/2014/main" id="{808D7DB1-F591-3542-7C46-05CA0C769351}"/>
                      </a:ext>
                    </a:extLst>
                  </p:cNvPr>
                  <p:cNvSpPr/>
                  <p:nvPr userDrawn="1"/>
                </p:nvSpPr>
                <p:spPr>
                  <a:xfrm>
                    <a:off x="8233983" y="437887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D8DBE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54" name="Freeform: Shape 153">
                    <a:extLst>
                      <a:ext uri="{FF2B5EF4-FFF2-40B4-BE49-F238E27FC236}">
                        <a16:creationId xmlns:a16="http://schemas.microsoft.com/office/drawing/2014/main" id="{3CB1170E-E1B6-3760-2873-648163861A50}"/>
                      </a:ext>
                    </a:extLst>
                  </p:cNvPr>
                  <p:cNvSpPr/>
                  <p:nvPr userDrawn="1"/>
                </p:nvSpPr>
                <p:spPr>
                  <a:xfrm>
                    <a:off x="8233585" y="437864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8DBE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55" name="Freeform: Shape 154">
                    <a:extLst>
                      <a:ext uri="{FF2B5EF4-FFF2-40B4-BE49-F238E27FC236}">
                        <a16:creationId xmlns:a16="http://schemas.microsoft.com/office/drawing/2014/main" id="{8480305D-FE5F-12F0-A5BC-1F44071DB6E3}"/>
                      </a:ext>
                    </a:extLst>
                  </p:cNvPr>
                  <p:cNvSpPr/>
                  <p:nvPr userDrawn="1"/>
                </p:nvSpPr>
                <p:spPr>
                  <a:xfrm>
                    <a:off x="8233164" y="437843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D8DCE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56" name="Freeform: Shape 155">
                    <a:extLst>
                      <a:ext uri="{FF2B5EF4-FFF2-40B4-BE49-F238E27FC236}">
                        <a16:creationId xmlns:a16="http://schemas.microsoft.com/office/drawing/2014/main" id="{BDEF1486-2565-0B8F-E281-784B980A14F0}"/>
                      </a:ext>
                    </a:extLst>
                  </p:cNvPr>
                  <p:cNvSpPr/>
                  <p:nvPr userDrawn="1"/>
                </p:nvSpPr>
                <p:spPr>
                  <a:xfrm>
                    <a:off x="8232766" y="437819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8DCE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57" name="Freeform: Shape 156">
                    <a:extLst>
                      <a:ext uri="{FF2B5EF4-FFF2-40B4-BE49-F238E27FC236}">
                        <a16:creationId xmlns:a16="http://schemas.microsoft.com/office/drawing/2014/main" id="{CE207E22-82EA-ED77-04B8-C4885FC677A1}"/>
                      </a:ext>
                    </a:extLst>
                  </p:cNvPr>
                  <p:cNvSpPr/>
                  <p:nvPr userDrawn="1"/>
                </p:nvSpPr>
                <p:spPr>
                  <a:xfrm>
                    <a:off x="8232345" y="437798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D9DCE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58" name="Freeform: Shape 157">
                    <a:extLst>
                      <a:ext uri="{FF2B5EF4-FFF2-40B4-BE49-F238E27FC236}">
                        <a16:creationId xmlns:a16="http://schemas.microsoft.com/office/drawing/2014/main" id="{C41EA700-35E1-0D7D-86DD-A48E27EBDDE4}"/>
                      </a:ext>
                    </a:extLst>
                  </p:cNvPr>
                  <p:cNvSpPr/>
                  <p:nvPr userDrawn="1"/>
                </p:nvSpPr>
                <p:spPr>
                  <a:xfrm>
                    <a:off x="8231947" y="437775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9DCE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59" name="Freeform: Shape 158">
                    <a:extLst>
                      <a:ext uri="{FF2B5EF4-FFF2-40B4-BE49-F238E27FC236}">
                        <a16:creationId xmlns:a16="http://schemas.microsoft.com/office/drawing/2014/main" id="{FEA4C86F-776E-F10B-830A-84F68885E1A0}"/>
                      </a:ext>
                    </a:extLst>
                  </p:cNvPr>
                  <p:cNvSpPr/>
                  <p:nvPr userDrawn="1"/>
                </p:nvSpPr>
                <p:spPr>
                  <a:xfrm>
                    <a:off x="8231550" y="437751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9DDE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60" name="Freeform: Shape 159">
                    <a:extLst>
                      <a:ext uri="{FF2B5EF4-FFF2-40B4-BE49-F238E27FC236}">
                        <a16:creationId xmlns:a16="http://schemas.microsoft.com/office/drawing/2014/main" id="{98151E9C-021E-FA4E-0EC1-B9233B7763B2}"/>
                      </a:ext>
                    </a:extLst>
                  </p:cNvPr>
                  <p:cNvSpPr/>
                  <p:nvPr userDrawn="1"/>
                </p:nvSpPr>
                <p:spPr>
                  <a:xfrm>
                    <a:off x="8231152" y="437730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ADDE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61" name="Freeform: Shape 160">
                    <a:extLst>
                      <a:ext uri="{FF2B5EF4-FFF2-40B4-BE49-F238E27FC236}">
                        <a16:creationId xmlns:a16="http://schemas.microsoft.com/office/drawing/2014/main" id="{6CA67D08-5F86-D5A9-6B78-BC2A5D3B8036}"/>
                      </a:ext>
                    </a:extLst>
                  </p:cNvPr>
                  <p:cNvSpPr/>
                  <p:nvPr userDrawn="1"/>
                </p:nvSpPr>
                <p:spPr>
                  <a:xfrm>
                    <a:off x="8230731" y="437707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ADDE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62" name="Freeform: Shape 161">
                    <a:extLst>
                      <a:ext uri="{FF2B5EF4-FFF2-40B4-BE49-F238E27FC236}">
                        <a16:creationId xmlns:a16="http://schemas.microsoft.com/office/drawing/2014/main" id="{81063E14-E4F3-D809-0231-DE75BCE6D21A}"/>
                      </a:ext>
                    </a:extLst>
                  </p:cNvPr>
                  <p:cNvSpPr/>
                  <p:nvPr userDrawn="1"/>
                </p:nvSpPr>
                <p:spPr>
                  <a:xfrm>
                    <a:off x="8230333" y="437684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ADEE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63" name="Freeform: Shape 162">
                    <a:extLst>
                      <a:ext uri="{FF2B5EF4-FFF2-40B4-BE49-F238E27FC236}">
                        <a16:creationId xmlns:a16="http://schemas.microsoft.com/office/drawing/2014/main" id="{0F507248-E028-64F6-13A3-BA06DD8D3E4F}"/>
                      </a:ext>
                    </a:extLst>
                  </p:cNvPr>
                  <p:cNvSpPr/>
                  <p:nvPr userDrawn="1"/>
                </p:nvSpPr>
                <p:spPr>
                  <a:xfrm>
                    <a:off x="8229958" y="437663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DBDEE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64" name="Freeform: Shape 163">
                    <a:extLst>
                      <a:ext uri="{FF2B5EF4-FFF2-40B4-BE49-F238E27FC236}">
                        <a16:creationId xmlns:a16="http://schemas.microsoft.com/office/drawing/2014/main" id="{D19C53DF-0AC2-C406-B017-C0FF7352C6A4}"/>
                      </a:ext>
                    </a:extLst>
                  </p:cNvPr>
                  <p:cNvSpPr/>
                  <p:nvPr userDrawn="1"/>
                </p:nvSpPr>
                <p:spPr>
                  <a:xfrm>
                    <a:off x="8229561" y="437639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BDEE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65" name="Freeform: Shape 164">
                    <a:extLst>
                      <a:ext uri="{FF2B5EF4-FFF2-40B4-BE49-F238E27FC236}">
                        <a16:creationId xmlns:a16="http://schemas.microsoft.com/office/drawing/2014/main" id="{3BA99382-6C7E-0B4E-EDA8-F0DBEF3232E8}"/>
                      </a:ext>
                    </a:extLst>
                  </p:cNvPr>
                  <p:cNvSpPr/>
                  <p:nvPr userDrawn="1"/>
                </p:nvSpPr>
                <p:spPr>
                  <a:xfrm>
                    <a:off x="8229163" y="437616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BDEE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66" name="Freeform: Shape 165">
                    <a:extLst>
                      <a:ext uri="{FF2B5EF4-FFF2-40B4-BE49-F238E27FC236}">
                        <a16:creationId xmlns:a16="http://schemas.microsoft.com/office/drawing/2014/main" id="{7A5EEC98-A485-9DB4-0CCE-E7B4A1247DFA}"/>
                      </a:ext>
                    </a:extLst>
                  </p:cNvPr>
                  <p:cNvSpPr/>
                  <p:nvPr userDrawn="1"/>
                </p:nvSpPr>
                <p:spPr>
                  <a:xfrm>
                    <a:off x="8228765" y="437592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CDFE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67" name="Freeform: Shape 166">
                    <a:extLst>
                      <a:ext uri="{FF2B5EF4-FFF2-40B4-BE49-F238E27FC236}">
                        <a16:creationId xmlns:a16="http://schemas.microsoft.com/office/drawing/2014/main" id="{40F31ED3-CFBE-2814-633B-1C9C21D7F067}"/>
                      </a:ext>
                    </a:extLst>
                  </p:cNvPr>
                  <p:cNvSpPr/>
                  <p:nvPr userDrawn="1"/>
                </p:nvSpPr>
                <p:spPr>
                  <a:xfrm>
                    <a:off x="8228391" y="437569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CDFE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68" name="Freeform: Shape 167">
                    <a:extLst>
                      <a:ext uri="{FF2B5EF4-FFF2-40B4-BE49-F238E27FC236}">
                        <a16:creationId xmlns:a16="http://schemas.microsoft.com/office/drawing/2014/main" id="{844BC83D-5F4B-CF30-DDB3-2D83B30C4423}"/>
                      </a:ext>
                    </a:extLst>
                  </p:cNvPr>
                  <p:cNvSpPr/>
                  <p:nvPr userDrawn="1"/>
                </p:nvSpPr>
                <p:spPr>
                  <a:xfrm>
                    <a:off x="8227993" y="437546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CDFE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69" name="Freeform: Shape 168">
                    <a:extLst>
                      <a:ext uri="{FF2B5EF4-FFF2-40B4-BE49-F238E27FC236}">
                        <a16:creationId xmlns:a16="http://schemas.microsoft.com/office/drawing/2014/main" id="{C4003866-A337-63A8-65EB-FBD807EC2472}"/>
                      </a:ext>
                    </a:extLst>
                  </p:cNvPr>
                  <p:cNvSpPr/>
                  <p:nvPr userDrawn="1"/>
                </p:nvSpPr>
                <p:spPr>
                  <a:xfrm>
                    <a:off x="8227618" y="437522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CE0E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70" name="Freeform: Shape 169">
                    <a:extLst>
                      <a:ext uri="{FF2B5EF4-FFF2-40B4-BE49-F238E27FC236}">
                        <a16:creationId xmlns:a16="http://schemas.microsoft.com/office/drawing/2014/main" id="{1F41DB75-7D85-2863-8B24-0D00C15DAA68}"/>
                      </a:ext>
                    </a:extLst>
                  </p:cNvPr>
                  <p:cNvSpPr/>
                  <p:nvPr userDrawn="1"/>
                </p:nvSpPr>
                <p:spPr>
                  <a:xfrm>
                    <a:off x="8227244" y="437499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DE0E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71" name="Freeform: Shape 170">
                    <a:extLst>
                      <a:ext uri="{FF2B5EF4-FFF2-40B4-BE49-F238E27FC236}">
                        <a16:creationId xmlns:a16="http://schemas.microsoft.com/office/drawing/2014/main" id="{A20D138F-CB75-673E-C0C1-AC4D78C17C14}"/>
                      </a:ext>
                    </a:extLst>
                  </p:cNvPr>
                  <p:cNvSpPr/>
                  <p:nvPr userDrawn="1"/>
                </p:nvSpPr>
                <p:spPr>
                  <a:xfrm>
                    <a:off x="8226870" y="437475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DE0E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72" name="Freeform: Shape 171">
                    <a:extLst>
                      <a:ext uri="{FF2B5EF4-FFF2-40B4-BE49-F238E27FC236}">
                        <a16:creationId xmlns:a16="http://schemas.microsoft.com/office/drawing/2014/main" id="{9670DE8B-A8F9-ED5F-2B7B-BC430AD1DA9C}"/>
                      </a:ext>
                    </a:extLst>
                  </p:cNvPr>
                  <p:cNvSpPr/>
                  <p:nvPr userDrawn="1"/>
                </p:nvSpPr>
                <p:spPr>
                  <a:xfrm>
                    <a:off x="8226495" y="437452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DE0E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73" name="Freeform: Shape 172">
                    <a:extLst>
                      <a:ext uri="{FF2B5EF4-FFF2-40B4-BE49-F238E27FC236}">
                        <a16:creationId xmlns:a16="http://schemas.microsoft.com/office/drawing/2014/main" id="{3ABF72E1-B8BC-572A-E5CE-CBDC6B3D1A0C}"/>
                      </a:ext>
                    </a:extLst>
                  </p:cNvPr>
                  <p:cNvSpPr/>
                  <p:nvPr userDrawn="1"/>
                </p:nvSpPr>
                <p:spPr>
                  <a:xfrm>
                    <a:off x="8226121" y="437429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EE1E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74" name="Freeform: Shape 173">
                    <a:extLst>
                      <a:ext uri="{FF2B5EF4-FFF2-40B4-BE49-F238E27FC236}">
                        <a16:creationId xmlns:a16="http://schemas.microsoft.com/office/drawing/2014/main" id="{987319E8-0B85-479A-AFA0-4DC818AEE7EF}"/>
                      </a:ext>
                    </a:extLst>
                  </p:cNvPr>
                  <p:cNvSpPr/>
                  <p:nvPr userDrawn="1"/>
                </p:nvSpPr>
                <p:spPr>
                  <a:xfrm>
                    <a:off x="8225746" y="437405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EE1E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75" name="Freeform: Shape 174">
                    <a:extLst>
                      <a:ext uri="{FF2B5EF4-FFF2-40B4-BE49-F238E27FC236}">
                        <a16:creationId xmlns:a16="http://schemas.microsoft.com/office/drawing/2014/main" id="{83AB330C-F48F-82A7-473B-A84887B6C780}"/>
                      </a:ext>
                    </a:extLst>
                  </p:cNvPr>
                  <p:cNvSpPr/>
                  <p:nvPr userDrawn="1"/>
                </p:nvSpPr>
                <p:spPr>
                  <a:xfrm>
                    <a:off x="8225372" y="437382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DEE1E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76" name="Freeform: Shape 175">
                    <a:extLst>
                      <a:ext uri="{FF2B5EF4-FFF2-40B4-BE49-F238E27FC236}">
                        <a16:creationId xmlns:a16="http://schemas.microsoft.com/office/drawing/2014/main" id="{84D913E4-D106-D7B9-FD5A-446AA3E9582C}"/>
                      </a:ext>
                    </a:extLst>
                  </p:cNvPr>
                  <p:cNvSpPr/>
                  <p:nvPr userDrawn="1"/>
                </p:nvSpPr>
                <p:spPr>
                  <a:xfrm>
                    <a:off x="8224998" y="437356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FE1E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77" name="Freeform: Shape 176">
                    <a:extLst>
                      <a:ext uri="{FF2B5EF4-FFF2-40B4-BE49-F238E27FC236}">
                        <a16:creationId xmlns:a16="http://schemas.microsoft.com/office/drawing/2014/main" id="{1C3436EB-F631-080D-AE60-97C34CF1D292}"/>
                      </a:ext>
                    </a:extLst>
                  </p:cNvPr>
                  <p:cNvSpPr/>
                  <p:nvPr userDrawn="1"/>
                </p:nvSpPr>
                <p:spPr>
                  <a:xfrm>
                    <a:off x="8224647" y="437333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FE2E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78" name="Freeform: Shape 177">
                    <a:extLst>
                      <a:ext uri="{FF2B5EF4-FFF2-40B4-BE49-F238E27FC236}">
                        <a16:creationId xmlns:a16="http://schemas.microsoft.com/office/drawing/2014/main" id="{9035355C-2440-3976-9064-54B88D4AFA4A}"/>
                      </a:ext>
                    </a:extLst>
                  </p:cNvPr>
                  <p:cNvSpPr/>
                  <p:nvPr userDrawn="1"/>
                </p:nvSpPr>
                <p:spPr>
                  <a:xfrm>
                    <a:off x="8224272" y="437309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DFE2E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79" name="Freeform: Shape 178">
                    <a:extLst>
                      <a:ext uri="{FF2B5EF4-FFF2-40B4-BE49-F238E27FC236}">
                        <a16:creationId xmlns:a16="http://schemas.microsoft.com/office/drawing/2014/main" id="{5C1BFD18-292B-9ADA-8F5E-CAA8EF07B031}"/>
                      </a:ext>
                    </a:extLst>
                  </p:cNvPr>
                  <p:cNvSpPr/>
                  <p:nvPr userDrawn="1"/>
                </p:nvSpPr>
                <p:spPr>
                  <a:xfrm>
                    <a:off x="8223921" y="437283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FE2E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80" name="Freeform: Shape 179">
                    <a:extLst>
                      <a:ext uri="{FF2B5EF4-FFF2-40B4-BE49-F238E27FC236}">
                        <a16:creationId xmlns:a16="http://schemas.microsoft.com/office/drawing/2014/main" id="{FE87D75E-9617-9D98-91C0-D86317E5A35A}"/>
                      </a:ext>
                    </a:extLst>
                  </p:cNvPr>
                  <p:cNvSpPr/>
                  <p:nvPr userDrawn="1"/>
                </p:nvSpPr>
                <p:spPr>
                  <a:xfrm>
                    <a:off x="8223570" y="437260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0E3E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81" name="Freeform: Shape 180">
                    <a:extLst>
                      <a:ext uri="{FF2B5EF4-FFF2-40B4-BE49-F238E27FC236}">
                        <a16:creationId xmlns:a16="http://schemas.microsoft.com/office/drawing/2014/main" id="{3F7ABC2D-5EF3-443A-0BD1-70659F64919A}"/>
                      </a:ext>
                    </a:extLst>
                  </p:cNvPr>
                  <p:cNvSpPr/>
                  <p:nvPr userDrawn="1"/>
                </p:nvSpPr>
                <p:spPr>
                  <a:xfrm>
                    <a:off x="8223196" y="437237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0E3E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82" name="Freeform: Shape 181">
                    <a:extLst>
                      <a:ext uri="{FF2B5EF4-FFF2-40B4-BE49-F238E27FC236}">
                        <a16:creationId xmlns:a16="http://schemas.microsoft.com/office/drawing/2014/main" id="{96E23D1C-29E4-CE9E-DE65-3DAB5D9616EC}"/>
                      </a:ext>
                    </a:extLst>
                  </p:cNvPr>
                  <p:cNvSpPr/>
                  <p:nvPr userDrawn="1"/>
                </p:nvSpPr>
                <p:spPr>
                  <a:xfrm>
                    <a:off x="8222845" y="437211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0E3E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83" name="Freeform: Shape 182">
                    <a:extLst>
                      <a:ext uri="{FF2B5EF4-FFF2-40B4-BE49-F238E27FC236}">
                        <a16:creationId xmlns:a16="http://schemas.microsoft.com/office/drawing/2014/main" id="{F0AA9324-1A9E-1338-739C-BE4D78515728}"/>
                      </a:ext>
                    </a:extLst>
                  </p:cNvPr>
                  <p:cNvSpPr/>
                  <p:nvPr userDrawn="1"/>
                </p:nvSpPr>
                <p:spPr>
                  <a:xfrm>
                    <a:off x="8222494" y="437188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1E3E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84" name="Freeform: Shape 183">
                    <a:extLst>
                      <a:ext uri="{FF2B5EF4-FFF2-40B4-BE49-F238E27FC236}">
                        <a16:creationId xmlns:a16="http://schemas.microsoft.com/office/drawing/2014/main" id="{B863D5E8-335B-BD6E-8204-311169B21058}"/>
                      </a:ext>
                    </a:extLst>
                  </p:cNvPr>
                  <p:cNvSpPr/>
                  <p:nvPr userDrawn="1"/>
                </p:nvSpPr>
                <p:spPr>
                  <a:xfrm>
                    <a:off x="8222166" y="437162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1E4E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85" name="Freeform: Shape 184">
                    <a:extLst>
                      <a:ext uri="{FF2B5EF4-FFF2-40B4-BE49-F238E27FC236}">
                        <a16:creationId xmlns:a16="http://schemas.microsoft.com/office/drawing/2014/main" id="{71D338DC-9071-0D71-3F25-A5B7AB1DDB30}"/>
                      </a:ext>
                    </a:extLst>
                  </p:cNvPr>
                  <p:cNvSpPr/>
                  <p:nvPr userDrawn="1"/>
                </p:nvSpPr>
                <p:spPr>
                  <a:xfrm>
                    <a:off x="8221815" y="437138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E1E4E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86" name="Freeform: Shape 185">
                    <a:extLst>
                      <a:ext uri="{FF2B5EF4-FFF2-40B4-BE49-F238E27FC236}">
                        <a16:creationId xmlns:a16="http://schemas.microsoft.com/office/drawing/2014/main" id="{92707191-62AE-AD21-971C-DC8CA385992D}"/>
                      </a:ext>
                    </a:extLst>
                  </p:cNvPr>
                  <p:cNvSpPr/>
                  <p:nvPr userDrawn="1"/>
                </p:nvSpPr>
                <p:spPr>
                  <a:xfrm>
                    <a:off x="8221464" y="437113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2E4E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87" name="Freeform: Shape 186">
                    <a:extLst>
                      <a:ext uri="{FF2B5EF4-FFF2-40B4-BE49-F238E27FC236}">
                        <a16:creationId xmlns:a16="http://schemas.microsoft.com/office/drawing/2014/main" id="{1B617B35-FF8C-E300-0116-356310A7E4EA}"/>
                      </a:ext>
                    </a:extLst>
                  </p:cNvPr>
                  <p:cNvSpPr/>
                  <p:nvPr userDrawn="1"/>
                </p:nvSpPr>
                <p:spPr>
                  <a:xfrm>
                    <a:off x="8221113" y="437087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2E5E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88" name="Freeform: Shape 187">
                    <a:extLst>
                      <a:ext uri="{FF2B5EF4-FFF2-40B4-BE49-F238E27FC236}">
                        <a16:creationId xmlns:a16="http://schemas.microsoft.com/office/drawing/2014/main" id="{9BFE5C7C-AC67-92BB-EEAD-640798643463}"/>
                      </a:ext>
                    </a:extLst>
                  </p:cNvPr>
                  <p:cNvSpPr/>
                  <p:nvPr userDrawn="1"/>
                </p:nvSpPr>
                <p:spPr>
                  <a:xfrm>
                    <a:off x="8220786" y="437063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E2E5E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89" name="Freeform: Shape 188">
                    <a:extLst>
                      <a:ext uri="{FF2B5EF4-FFF2-40B4-BE49-F238E27FC236}">
                        <a16:creationId xmlns:a16="http://schemas.microsoft.com/office/drawing/2014/main" id="{9783952E-BEEF-34D0-924D-A711F48C425B}"/>
                      </a:ext>
                    </a:extLst>
                  </p:cNvPr>
                  <p:cNvSpPr/>
                  <p:nvPr userDrawn="1"/>
                </p:nvSpPr>
                <p:spPr>
                  <a:xfrm>
                    <a:off x="8220458" y="437038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3E5E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90" name="Freeform: Shape 189">
                    <a:extLst>
                      <a:ext uri="{FF2B5EF4-FFF2-40B4-BE49-F238E27FC236}">
                        <a16:creationId xmlns:a16="http://schemas.microsoft.com/office/drawing/2014/main" id="{B5145C2A-3054-EB61-55D6-DD6C794CDB5E}"/>
                      </a:ext>
                    </a:extLst>
                  </p:cNvPr>
                  <p:cNvSpPr/>
                  <p:nvPr userDrawn="1"/>
                </p:nvSpPr>
                <p:spPr>
                  <a:xfrm>
                    <a:off x="8220107" y="437012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3E5E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91" name="Freeform: Shape 190">
                    <a:extLst>
                      <a:ext uri="{FF2B5EF4-FFF2-40B4-BE49-F238E27FC236}">
                        <a16:creationId xmlns:a16="http://schemas.microsoft.com/office/drawing/2014/main" id="{311582B4-5621-E96E-E2DE-B0F8F6B75660}"/>
                      </a:ext>
                    </a:extLst>
                  </p:cNvPr>
                  <p:cNvSpPr/>
                  <p:nvPr userDrawn="1"/>
                </p:nvSpPr>
                <p:spPr>
                  <a:xfrm>
                    <a:off x="8219779" y="436989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3E6E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92" name="Freeform: Shape 191">
                    <a:extLst>
                      <a:ext uri="{FF2B5EF4-FFF2-40B4-BE49-F238E27FC236}">
                        <a16:creationId xmlns:a16="http://schemas.microsoft.com/office/drawing/2014/main" id="{907EEBB1-0D59-5398-9AB0-BD7DFE3D83B8}"/>
                      </a:ext>
                    </a:extLst>
                  </p:cNvPr>
                  <p:cNvSpPr/>
                  <p:nvPr userDrawn="1"/>
                </p:nvSpPr>
                <p:spPr>
                  <a:xfrm>
                    <a:off x="8219452" y="436963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3E6E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93" name="Freeform: Shape 192">
                    <a:extLst>
                      <a:ext uri="{FF2B5EF4-FFF2-40B4-BE49-F238E27FC236}">
                        <a16:creationId xmlns:a16="http://schemas.microsoft.com/office/drawing/2014/main" id="{2D7898C0-09D8-CB01-B5EE-85CA003A096C}"/>
                      </a:ext>
                    </a:extLst>
                  </p:cNvPr>
                  <p:cNvSpPr/>
                  <p:nvPr userDrawn="1"/>
                </p:nvSpPr>
                <p:spPr>
                  <a:xfrm>
                    <a:off x="8219124" y="436937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4E6E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94" name="Freeform: Shape 193">
                    <a:extLst>
                      <a:ext uri="{FF2B5EF4-FFF2-40B4-BE49-F238E27FC236}">
                        <a16:creationId xmlns:a16="http://schemas.microsoft.com/office/drawing/2014/main" id="{97C8B81D-CD63-28E2-F270-1500C80B9E12}"/>
                      </a:ext>
                    </a:extLst>
                  </p:cNvPr>
                  <p:cNvSpPr/>
                  <p:nvPr userDrawn="1"/>
                </p:nvSpPr>
                <p:spPr>
                  <a:xfrm>
                    <a:off x="8218797" y="436911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4E6E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95" name="Freeform: Shape 194">
                    <a:extLst>
                      <a:ext uri="{FF2B5EF4-FFF2-40B4-BE49-F238E27FC236}">
                        <a16:creationId xmlns:a16="http://schemas.microsoft.com/office/drawing/2014/main" id="{30F52B53-F890-D934-237C-6D95E719F5BB}"/>
                      </a:ext>
                    </a:extLst>
                  </p:cNvPr>
                  <p:cNvSpPr/>
                  <p:nvPr userDrawn="1"/>
                </p:nvSpPr>
                <p:spPr>
                  <a:xfrm>
                    <a:off x="8218492" y="436886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4E7E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96" name="Freeform: Shape 195">
                    <a:extLst>
                      <a:ext uri="{FF2B5EF4-FFF2-40B4-BE49-F238E27FC236}">
                        <a16:creationId xmlns:a16="http://schemas.microsoft.com/office/drawing/2014/main" id="{CC37D068-731E-9857-D164-3799FD2B3DCD}"/>
                      </a:ext>
                    </a:extLst>
                  </p:cNvPr>
                  <p:cNvSpPr/>
                  <p:nvPr userDrawn="1"/>
                </p:nvSpPr>
                <p:spPr>
                  <a:xfrm>
                    <a:off x="8218165" y="436860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5E7E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97" name="Freeform: Shape 196">
                    <a:extLst>
                      <a:ext uri="{FF2B5EF4-FFF2-40B4-BE49-F238E27FC236}">
                        <a16:creationId xmlns:a16="http://schemas.microsoft.com/office/drawing/2014/main" id="{0E76261B-9291-19B5-7514-B566106761EE}"/>
                      </a:ext>
                    </a:extLst>
                  </p:cNvPr>
                  <p:cNvSpPr/>
                  <p:nvPr userDrawn="1"/>
                </p:nvSpPr>
                <p:spPr>
                  <a:xfrm>
                    <a:off x="8217837" y="436837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E5E7E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98" name="Freeform: Shape 197">
                    <a:extLst>
                      <a:ext uri="{FF2B5EF4-FFF2-40B4-BE49-F238E27FC236}">
                        <a16:creationId xmlns:a16="http://schemas.microsoft.com/office/drawing/2014/main" id="{8A2E7B2E-F920-ED98-481A-5783630473E3}"/>
                      </a:ext>
                    </a:extLst>
                  </p:cNvPr>
                  <p:cNvSpPr/>
                  <p:nvPr userDrawn="1"/>
                </p:nvSpPr>
                <p:spPr>
                  <a:xfrm>
                    <a:off x="8217533" y="436811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E5E8E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99" name="Freeform: Shape 198">
                    <a:extLst>
                      <a:ext uri="{FF2B5EF4-FFF2-40B4-BE49-F238E27FC236}">
                        <a16:creationId xmlns:a16="http://schemas.microsoft.com/office/drawing/2014/main" id="{A8FC33E9-2605-F156-4141-EFF7F3FF7095}"/>
                      </a:ext>
                    </a:extLst>
                  </p:cNvPr>
                  <p:cNvSpPr/>
                  <p:nvPr userDrawn="1"/>
                </p:nvSpPr>
                <p:spPr>
                  <a:xfrm>
                    <a:off x="8217112" y="436776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6E8E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00" name="Freeform: Shape 199">
                    <a:extLst>
                      <a:ext uri="{FF2B5EF4-FFF2-40B4-BE49-F238E27FC236}">
                        <a16:creationId xmlns:a16="http://schemas.microsoft.com/office/drawing/2014/main" id="{C90425BA-76EE-7357-6C76-8175D43282A2}"/>
                      </a:ext>
                    </a:extLst>
                  </p:cNvPr>
                  <p:cNvSpPr/>
                  <p:nvPr userDrawn="1"/>
                </p:nvSpPr>
                <p:spPr>
                  <a:xfrm>
                    <a:off x="8216620" y="436736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6E8E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01" name="Freeform: Shape 200">
                    <a:extLst>
                      <a:ext uri="{FF2B5EF4-FFF2-40B4-BE49-F238E27FC236}">
                        <a16:creationId xmlns:a16="http://schemas.microsoft.com/office/drawing/2014/main" id="{297D6FC5-F4A7-539B-3EDB-48260EE2C718}"/>
                      </a:ext>
                    </a:extLst>
                  </p:cNvPr>
                  <p:cNvSpPr/>
                  <p:nvPr userDrawn="1"/>
                </p:nvSpPr>
                <p:spPr>
                  <a:xfrm>
                    <a:off x="8216152" y="436694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6E8E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02" name="Freeform: Shape 201">
                    <a:extLst>
                      <a:ext uri="{FF2B5EF4-FFF2-40B4-BE49-F238E27FC236}">
                        <a16:creationId xmlns:a16="http://schemas.microsoft.com/office/drawing/2014/main" id="{584BECDA-2CC1-91F0-9B86-2C201C247E0E}"/>
                      </a:ext>
                    </a:extLst>
                  </p:cNvPr>
                  <p:cNvSpPr/>
                  <p:nvPr userDrawn="1"/>
                </p:nvSpPr>
                <p:spPr>
                  <a:xfrm>
                    <a:off x="8215684" y="436654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E7E9E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03" name="Freeform: Shape 202">
                    <a:extLst>
                      <a:ext uri="{FF2B5EF4-FFF2-40B4-BE49-F238E27FC236}">
                        <a16:creationId xmlns:a16="http://schemas.microsoft.com/office/drawing/2014/main" id="{A03BC760-34FF-049E-E103-EA744CCC3F0D}"/>
                      </a:ext>
                    </a:extLst>
                  </p:cNvPr>
                  <p:cNvSpPr/>
                  <p:nvPr userDrawn="1"/>
                </p:nvSpPr>
                <p:spPr>
                  <a:xfrm>
                    <a:off x="8215193" y="436612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7E9E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04" name="Freeform: Shape 203">
                    <a:extLst>
                      <a:ext uri="{FF2B5EF4-FFF2-40B4-BE49-F238E27FC236}">
                        <a16:creationId xmlns:a16="http://schemas.microsoft.com/office/drawing/2014/main" id="{9A773DAB-E4C4-25F6-7C2A-DE7F8D72F018}"/>
                      </a:ext>
                    </a:extLst>
                  </p:cNvPr>
                  <p:cNvSpPr/>
                  <p:nvPr userDrawn="1"/>
                </p:nvSpPr>
                <p:spPr>
                  <a:xfrm>
                    <a:off x="8214725" y="436572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7E9E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05" name="Freeform: Shape 204">
                    <a:extLst>
                      <a:ext uri="{FF2B5EF4-FFF2-40B4-BE49-F238E27FC236}">
                        <a16:creationId xmlns:a16="http://schemas.microsoft.com/office/drawing/2014/main" id="{0F8EEB04-AAC2-8EC8-940F-B9975ED1E89A}"/>
                      </a:ext>
                    </a:extLst>
                  </p:cNvPr>
                  <p:cNvSpPr/>
                  <p:nvPr userDrawn="1"/>
                </p:nvSpPr>
                <p:spPr>
                  <a:xfrm>
                    <a:off x="8214280" y="436530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7EAF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06" name="Freeform: Shape 205">
                    <a:extLst>
                      <a:ext uri="{FF2B5EF4-FFF2-40B4-BE49-F238E27FC236}">
                        <a16:creationId xmlns:a16="http://schemas.microsoft.com/office/drawing/2014/main" id="{5DB8C716-8C4B-1781-E6EB-47D3BAE63BF2}"/>
                      </a:ext>
                    </a:extLst>
                  </p:cNvPr>
                  <p:cNvSpPr/>
                  <p:nvPr userDrawn="1"/>
                </p:nvSpPr>
                <p:spPr>
                  <a:xfrm>
                    <a:off x="8213812" y="436490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8EAF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07" name="Freeform: Shape 206">
                    <a:extLst>
                      <a:ext uri="{FF2B5EF4-FFF2-40B4-BE49-F238E27FC236}">
                        <a16:creationId xmlns:a16="http://schemas.microsoft.com/office/drawing/2014/main" id="{FA496C79-8547-3397-0EF3-4A4C2DB044B9}"/>
                      </a:ext>
                    </a:extLst>
                  </p:cNvPr>
                  <p:cNvSpPr/>
                  <p:nvPr userDrawn="1"/>
                </p:nvSpPr>
                <p:spPr>
                  <a:xfrm>
                    <a:off x="8213368" y="436448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8EAF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08" name="Freeform: Shape 207">
                    <a:extLst>
                      <a:ext uri="{FF2B5EF4-FFF2-40B4-BE49-F238E27FC236}">
                        <a16:creationId xmlns:a16="http://schemas.microsoft.com/office/drawing/2014/main" id="{4027AAA9-BDBA-27C1-6096-785756C7C144}"/>
                      </a:ext>
                    </a:extLst>
                  </p:cNvPr>
                  <p:cNvSpPr/>
                  <p:nvPr userDrawn="1"/>
                </p:nvSpPr>
                <p:spPr>
                  <a:xfrm>
                    <a:off x="8212923" y="436406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8EAF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09" name="Freeform: Shape 208">
                    <a:extLst>
                      <a:ext uri="{FF2B5EF4-FFF2-40B4-BE49-F238E27FC236}">
                        <a16:creationId xmlns:a16="http://schemas.microsoft.com/office/drawing/2014/main" id="{512E5A57-4A86-D215-76BE-10D131F50540}"/>
                      </a:ext>
                    </a:extLst>
                  </p:cNvPr>
                  <p:cNvSpPr/>
                  <p:nvPr userDrawn="1"/>
                </p:nvSpPr>
                <p:spPr>
                  <a:xfrm>
                    <a:off x="8212478" y="436366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9EBF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10" name="Freeform: Shape 209">
                    <a:extLst>
                      <a:ext uri="{FF2B5EF4-FFF2-40B4-BE49-F238E27FC236}">
                        <a16:creationId xmlns:a16="http://schemas.microsoft.com/office/drawing/2014/main" id="{2F392DD5-17CA-4438-8C44-30B9B6E0FDE2}"/>
                      </a:ext>
                    </a:extLst>
                  </p:cNvPr>
                  <p:cNvSpPr/>
                  <p:nvPr userDrawn="1"/>
                </p:nvSpPr>
                <p:spPr>
                  <a:xfrm>
                    <a:off x="8212057" y="436324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9EBF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11" name="Freeform: Shape 210">
                    <a:extLst>
                      <a:ext uri="{FF2B5EF4-FFF2-40B4-BE49-F238E27FC236}">
                        <a16:creationId xmlns:a16="http://schemas.microsoft.com/office/drawing/2014/main" id="{40B3C471-F804-75D2-5298-0D54AA29D113}"/>
                      </a:ext>
                    </a:extLst>
                  </p:cNvPr>
                  <p:cNvSpPr/>
                  <p:nvPr userDrawn="1"/>
                </p:nvSpPr>
                <p:spPr>
                  <a:xfrm>
                    <a:off x="8211613" y="436282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9EBF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12" name="Freeform: Shape 211">
                    <a:extLst>
                      <a:ext uri="{FF2B5EF4-FFF2-40B4-BE49-F238E27FC236}">
                        <a16:creationId xmlns:a16="http://schemas.microsoft.com/office/drawing/2014/main" id="{C47EC5E4-7842-ED96-627B-6206BB0E0631}"/>
                      </a:ext>
                    </a:extLst>
                  </p:cNvPr>
                  <p:cNvSpPr/>
                  <p:nvPr userDrawn="1"/>
                </p:nvSpPr>
                <p:spPr>
                  <a:xfrm>
                    <a:off x="8211191" y="436242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AECF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13" name="Freeform: Shape 212">
                    <a:extLst>
                      <a:ext uri="{FF2B5EF4-FFF2-40B4-BE49-F238E27FC236}">
                        <a16:creationId xmlns:a16="http://schemas.microsoft.com/office/drawing/2014/main" id="{79000186-2802-51FF-516F-3B5BFC3A9396}"/>
                      </a:ext>
                    </a:extLst>
                  </p:cNvPr>
                  <p:cNvSpPr/>
                  <p:nvPr userDrawn="1"/>
                </p:nvSpPr>
                <p:spPr>
                  <a:xfrm>
                    <a:off x="8210770" y="436200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AECF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14" name="Freeform: Shape 213">
                    <a:extLst>
                      <a:ext uri="{FF2B5EF4-FFF2-40B4-BE49-F238E27FC236}">
                        <a16:creationId xmlns:a16="http://schemas.microsoft.com/office/drawing/2014/main" id="{89630B95-28DF-129F-07A2-E2CACDA26C9F}"/>
                      </a:ext>
                    </a:extLst>
                  </p:cNvPr>
                  <p:cNvSpPr/>
                  <p:nvPr userDrawn="1"/>
                </p:nvSpPr>
                <p:spPr>
                  <a:xfrm>
                    <a:off x="8210372" y="436158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AECF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15" name="Freeform: Shape 214">
                    <a:extLst>
                      <a:ext uri="{FF2B5EF4-FFF2-40B4-BE49-F238E27FC236}">
                        <a16:creationId xmlns:a16="http://schemas.microsoft.com/office/drawing/2014/main" id="{53D4FBAE-846A-C453-41B0-A5E21033C9AC}"/>
                      </a:ext>
                    </a:extLst>
                  </p:cNvPr>
                  <p:cNvSpPr/>
                  <p:nvPr userDrawn="1"/>
                </p:nvSpPr>
                <p:spPr>
                  <a:xfrm>
                    <a:off x="8209951" y="436118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BECF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16" name="Freeform: Shape 215">
                    <a:extLst>
                      <a:ext uri="{FF2B5EF4-FFF2-40B4-BE49-F238E27FC236}">
                        <a16:creationId xmlns:a16="http://schemas.microsoft.com/office/drawing/2014/main" id="{632DE907-3EC4-6A47-E6E6-370AF0FFDF30}"/>
                      </a:ext>
                    </a:extLst>
                  </p:cNvPr>
                  <p:cNvSpPr/>
                  <p:nvPr userDrawn="1"/>
                </p:nvSpPr>
                <p:spPr>
                  <a:xfrm>
                    <a:off x="8209553" y="436076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BEDF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17" name="Freeform: Shape 216">
                    <a:extLst>
                      <a:ext uri="{FF2B5EF4-FFF2-40B4-BE49-F238E27FC236}">
                        <a16:creationId xmlns:a16="http://schemas.microsoft.com/office/drawing/2014/main" id="{6F757FDE-78D8-8973-99A9-85801E8DB22B}"/>
                      </a:ext>
                    </a:extLst>
                  </p:cNvPr>
                  <p:cNvSpPr/>
                  <p:nvPr userDrawn="1"/>
                </p:nvSpPr>
                <p:spPr>
                  <a:xfrm>
                    <a:off x="8209156" y="436034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BEDF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18" name="Freeform: Shape 217">
                    <a:extLst>
                      <a:ext uri="{FF2B5EF4-FFF2-40B4-BE49-F238E27FC236}">
                        <a16:creationId xmlns:a16="http://schemas.microsoft.com/office/drawing/2014/main" id="{FA7941B0-917A-02E3-243B-F2049D2920EF}"/>
                      </a:ext>
                    </a:extLst>
                  </p:cNvPr>
                  <p:cNvSpPr/>
                  <p:nvPr userDrawn="1"/>
                </p:nvSpPr>
                <p:spPr>
                  <a:xfrm>
                    <a:off x="8208758" y="435992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BEDF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19" name="Freeform: Shape 218">
                    <a:extLst>
                      <a:ext uri="{FF2B5EF4-FFF2-40B4-BE49-F238E27FC236}">
                        <a16:creationId xmlns:a16="http://schemas.microsoft.com/office/drawing/2014/main" id="{39E03FA3-FFF5-F8F0-8084-AD4A7DAB8661}"/>
                      </a:ext>
                    </a:extLst>
                  </p:cNvPr>
                  <p:cNvSpPr/>
                  <p:nvPr userDrawn="1"/>
                </p:nvSpPr>
                <p:spPr>
                  <a:xfrm>
                    <a:off x="8208383" y="435950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CEDF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20" name="Freeform: Shape 219">
                    <a:extLst>
                      <a:ext uri="{FF2B5EF4-FFF2-40B4-BE49-F238E27FC236}">
                        <a16:creationId xmlns:a16="http://schemas.microsoft.com/office/drawing/2014/main" id="{3D6FD4D8-9016-2E9C-EB72-B0C35B9B074C}"/>
                      </a:ext>
                    </a:extLst>
                  </p:cNvPr>
                  <p:cNvSpPr/>
                  <p:nvPr userDrawn="1"/>
                </p:nvSpPr>
                <p:spPr>
                  <a:xfrm>
                    <a:off x="8207986" y="435910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CEEF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21" name="Freeform: Shape 220">
                    <a:extLst>
                      <a:ext uri="{FF2B5EF4-FFF2-40B4-BE49-F238E27FC236}">
                        <a16:creationId xmlns:a16="http://schemas.microsoft.com/office/drawing/2014/main" id="{C4B3CB2E-6447-ACA4-2E16-246A0D7DF0CF}"/>
                      </a:ext>
                    </a:extLst>
                  </p:cNvPr>
                  <p:cNvSpPr/>
                  <p:nvPr userDrawn="1"/>
                </p:nvSpPr>
                <p:spPr>
                  <a:xfrm>
                    <a:off x="8207611" y="435868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CEEF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22" name="Freeform: Shape 221">
                    <a:extLst>
                      <a:ext uri="{FF2B5EF4-FFF2-40B4-BE49-F238E27FC236}">
                        <a16:creationId xmlns:a16="http://schemas.microsoft.com/office/drawing/2014/main" id="{C6632025-BD52-FD35-8077-C3EE8951FC60}"/>
                      </a:ext>
                    </a:extLst>
                  </p:cNvPr>
                  <p:cNvSpPr/>
                  <p:nvPr userDrawn="1"/>
                </p:nvSpPr>
                <p:spPr>
                  <a:xfrm>
                    <a:off x="8207237" y="435826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DEEF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23" name="Freeform: Shape 222">
                    <a:extLst>
                      <a:ext uri="{FF2B5EF4-FFF2-40B4-BE49-F238E27FC236}">
                        <a16:creationId xmlns:a16="http://schemas.microsoft.com/office/drawing/2014/main" id="{41EDDA1B-D83D-C5BD-12C9-CE720754D3CA}"/>
                      </a:ext>
                    </a:extLst>
                  </p:cNvPr>
                  <p:cNvSpPr/>
                  <p:nvPr userDrawn="1"/>
                </p:nvSpPr>
                <p:spPr>
                  <a:xfrm>
                    <a:off x="8206886" y="435784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DEFF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24" name="Freeform: Shape 223">
                    <a:extLst>
                      <a:ext uri="{FF2B5EF4-FFF2-40B4-BE49-F238E27FC236}">
                        <a16:creationId xmlns:a16="http://schemas.microsoft.com/office/drawing/2014/main" id="{28AA38E2-87DD-66CB-ED8F-2E462E1050C6}"/>
                      </a:ext>
                    </a:extLst>
                  </p:cNvPr>
                  <p:cNvSpPr/>
                  <p:nvPr userDrawn="1"/>
                </p:nvSpPr>
                <p:spPr>
                  <a:xfrm>
                    <a:off x="8206511" y="435741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DEFF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25" name="Freeform: Shape 224">
                    <a:extLst>
                      <a:ext uri="{FF2B5EF4-FFF2-40B4-BE49-F238E27FC236}">
                        <a16:creationId xmlns:a16="http://schemas.microsoft.com/office/drawing/2014/main" id="{9A83A45A-2B1C-9250-7E46-47F5233691EB}"/>
                      </a:ext>
                    </a:extLst>
                  </p:cNvPr>
                  <p:cNvSpPr/>
                  <p:nvPr userDrawn="1"/>
                </p:nvSpPr>
                <p:spPr>
                  <a:xfrm>
                    <a:off x="8206160" y="435699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EEFF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26" name="Freeform: Shape 225">
                    <a:extLst>
                      <a:ext uri="{FF2B5EF4-FFF2-40B4-BE49-F238E27FC236}">
                        <a16:creationId xmlns:a16="http://schemas.microsoft.com/office/drawing/2014/main" id="{14FB0618-7593-9A71-0A49-4F211D42A201}"/>
                      </a:ext>
                    </a:extLst>
                  </p:cNvPr>
                  <p:cNvSpPr/>
                  <p:nvPr userDrawn="1"/>
                </p:nvSpPr>
                <p:spPr>
                  <a:xfrm>
                    <a:off x="8205809" y="435657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EEFF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27" name="Freeform: Shape 226">
                    <a:extLst>
                      <a:ext uri="{FF2B5EF4-FFF2-40B4-BE49-F238E27FC236}">
                        <a16:creationId xmlns:a16="http://schemas.microsoft.com/office/drawing/2014/main" id="{807BDEA3-19FD-2D27-F0E0-3C4586788802}"/>
                      </a:ext>
                    </a:extLst>
                  </p:cNvPr>
                  <p:cNvSpPr/>
                  <p:nvPr userDrawn="1"/>
                </p:nvSpPr>
                <p:spPr>
                  <a:xfrm>
                    <a:off x="8205458" y="435617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EF0F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28" name="Freeform: Shape 227">
                    <a:extLst>
                      <a:ext uri="{FF2B5EF4-FFF2-40B4-BE49-F238E27FC236}">
                        <a16:creationId xmlns:a16="http://schemas.microsoft.com/office/drawing/2014/main" id="{C85191A9-829C-4957-0426-7615ADD28D1E}"/>
                      </a:ext>
                    </a:extLst>
                  </p:cNvPr>
                  <p:cNvSpPr/>
                  <p:nvPr userDrawn="1"/>
                </p:nvSpPr>
                <p:spPr>
                  <a:xfrm>
                    <a:off x="8205131" y="435575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EEF0F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29" name="Freeform: Shape 228">
                    <a:extLst>
                      <a:ext uri="{FF2B5EF4-FFF2-40B4-BE49-F238E27FC236}">
                        <a16:creationId xmlns:a16="http://schemas.microsoft.com/office/drawing/2014/main" id="{11D8A396-7953-702A-C43F-3A90C8185F61}"/>
                      </a:ext>
                    </a:extLst>
                  </p:cNvPr>
                  <p:cNvSpPr/>
                  <p:nvPr userDrawn="1"/>
                </p:nvSpPr>
                <p:spPr>
                  <a:xfrm>
                    <a:off x="8204803" y="435533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EFF0F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30" name="Freeform: Shape 229">
                    <a:extLst>
                      <a:ext uri="{FF2B5EF4-FFF2-40B4-BE49-F238E27FC236}">
                        <a16:creationId xmlns:a16="http://schemas.microsoft.com/office/drawing/2014/main" id="{B4740FEA-873F-1EB3-BA15-5A09995D7192}"/>
                      </a:ext>
                    </a:extLst>
                  </p:cNvPr>
                  <p:cNvSpPr/>
                  <p:nvPr userDrawn="1"/>
                </p:nvSpPr>
                <p:spPr>
                  <a:xfrm>
                    <a:off x="8204476" y="435491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EFF1F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31" name="Freeform: Shape 230">
                    <a:extLst>
                      <a:ext uri="{FF2B5EF4-FFF2-40B4-BE49-F238E27FC236}">
                        <a16:creationId xmlns:a16="http://schemas.microsoft.com/office/drawing/2014/main" id="{E952A3B0-207D-DDA7-CC7F-44387D54912D}"/>
                      </a:ext>
                    </a:extLst>
                  </p:cNvPr>
                  <p:cNvSpPr/>
                  <p:nvPr userDrawn="1"/>
                </p:nvSpPr>
                <p:spPr>
                  <a:xfrm>
                    <a:off x="8204148" y="435449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FF1F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32" name="Freeform: Shape 231">
                    <a:extLst>
                      <a:ext uri="{FF2B5EF4-FFF2-40B4-BE49-F238E27FC236}">
                        <a16:creationId xmlns:a16="http://schemas.microsoft.com/office/drawing/2014/main" id="{9642865E-2FB1-DBF8-1A13-A8D344B94458}"/>
                      </a:ext>
                    </a:extLst>
                  </p:cNvPr>
                  <p:cNvSpPr/>
                  <p:nvPr userDrawn="1"/>
                </p:nvSpPr>
                <p:spPr>
                  <a:xfrm>
                    <a:off x="8203820" y="435407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F0F1F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33" name="Freeform: Shape 232">
                    <a:extLst>
                      <a:ext uri="{FF2B5EF4-FFF2-40B4-BE49-F238E27FC236}">
                        <a16:creationId xmlns:a16="http://schemas.microsoft.com/office/drawing/2014/main" id="{54F61961-47E0-908B-A234-E4872D5E3DA7}"/>
                      </a:ext>
                    </a:extLst>
                  </p:cNvPr>
                  <p:cNvSpPr/>
                  <p:nvPr userDrawn="1"/>
                </p:nvSpPr>
                <p:spPr>
                  <a:xfrm>
                    <a:off x="8203516" y="435365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F0F1F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34" name="Freeform: Shape 233">
                    <a:extLst>
                      <a:ext uri="{FF2B5EF4-FFF2-40B4-BE49-F238E27FC236}">
                        <a16:creationId xmlns:a16="http://schemas.microsoft.com/office/drawing/2014/main" id="{AAA1C27A-859E-792F-D2FD-29D3DA0BCFDE}"/>
                      </a:ext>
                    </a:extLst>
                  </p:cNvPr>
                  <p:cNvSpPr/>
                  <p:nvPr userDrawn="1"/>
                </p:nvSpPr>
                <p:spPr>
                  <a:xfrm>
                    <a:off x="8203212" y="435323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F0F2F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35" name="Freeform: Shape 234">
                    <a:extLst>
                      <a:ext uri="{FF2B5EF4-FFF2-40B4-BE49-F238E27FC236}">
                        <a16:creationId xmlns:a16="http://schemas.microsoft.com/office/drawing/2014/main" id="{3A86E0FA-7EF6-1454-9478-7622E69F6B45}"/>
                      </a:ext>
                    </a:extLst>
                  </p:cNvPr>
                  <p:cNvSpPr/>
                  <p:nvPr userDrawn="1"/>
                </p:nvSpPr>
                <p:spPr>
                  <a:xfrm>
                    <a:off x="8202908" y="435280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F1F2F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36" name="Freeform: Shape 235">
                    <a:extLst>
                      <a:ext uri="{FF2B5EF4-FFF2-40B4-BE49-F238E27FC236}">
                        <a16:creationId xmlns:a16="http://schemas.microsoft.com/office/drawing/2014/main" id="{6DB267B9-79BA-4E72-205A-EA0D4414F342}"/>
                      </a:ext>
                    </a:extLst>
                  </p:cNvPr>
                  <p:cNvSpPr/>
                  <p:nvPr userDrawn="1"/>
                </p:nvSpPr>
                <p:spPr>
                  <a:xfrm>
                    <a:off x="8202604" y="435238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F1F2F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37" name="Freeform: Shape 236">
                    <a:extLst>
                      <a:ext uri="{FF2B5EF4-FFF2-40B4-BE49-F238E27FC236}">
                        <a16:creationId xmlns:a16="http://schemas.microsoft.com/office/drawing/2014/main" id="{4B1826F7-5DD8-5DDD-2BC1-2DCD690567C3}"/>
                      </a:ext>
                    </a:extLst>
                  </p:cNvPr>
                  <p:cNvSpPr/>
                  <p:nvPr userDrawn="1"/>
                </p:nvSpPr>
                <p:spPr>
                  <a:xfrm>
                    <a:off x="8202323" y="435196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F1F2F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38" name="Freeform: Shape 237">
                    <a:extLst>
                      <a:ext uri="{FF2B5EF4-FFF2-40B4-BE49-F238E27FC236}">
                        <a16:creationId xmlns:a16="http://schemas.microsoft.com/office/drawing/2014/main" id="{010EE647-FE59-3BAF-C5B4-15DA25357DE5}"/>
                      </a:ext>
                    </a:extLst>
                  </p:cNvPr>
                  <p:cNvSpPr/>
                  <p:nvPr userDrawn="1"/>
                </p:nvSpPr>
                <p:spPr>
                  <a:xfrm>
                    <a:off x="8202042" y="435154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F2F3F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39" name="Freeform: Shape 238">
                    <a:extLst>
                      <a:ext uri="{FF2B5EF4-FFF2-40B4-BE49-F238E27FC236}">
                        <a16:creationId xmlns:a16="http://schemas.microsoft.com/office/drawing/2014/main" id="{2631769D-5AE2-54DC-E855-94107678B1C2}"/>
                      </a:ext>
                    </a:extLst>
                  </p:cNvPr>
                  <p:cNvSpPr/>
                  <p:nvPr userDrawn="1"/>
                </p:nvSpPr>
                <p:spPr>
                  <a:xfrm>
                    <a:off x="8201761" y="435112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F2F3F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40" name="Freeform: Shape 239">
                    <a:extLst>
                      <a:ext uri="{FF2B5EF4-FFF2-40B4-BE49-F238E27FC236}">
                        <a16:creationId xmlns:a16="http://schemas.microsoft.com/office/drawing/2014/main" id="{77788780-55EE-3E26-821B-05DBFC7B4A72}"/>
                      </a:ext>
                    </a:extLst>
                  </p:cNvPr>
                  <p:cNvSpPr/>
                  <p:nvPr userDrawn="1"/>
                </p:nvSpPr>
                <p:spPr>
                  <a:xfrm>
                    <a:off x="8201480" y="435070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F2F3F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41" name="Freeform: Shape 240">
                    <a:extLst>
                      <a:ext uri="{FF2B5EF4-FFF2-40B4-BE49-F238E27FC236}">
                        <a16:creationId xmlns:a16="http://schemas.microsoft.com/office/drawing/2014/main" id="{0AED1328-53C2-67D3-D288-45C63E07903A}"/>
                      </a:ext>
                    </a:extLst>
                  </p:cNvPr>
                  <p:cNvSpPr/>
                  <p:nvPr userDrawn="1"/>
                </p:nvSpPr>
                <p:spPr>
                  <a:xfrm>
                    <a:off x="8201223" y="435028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F2F4F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42" name="Freeform: Shape 241">
                    <a:extLst>
                      <a:ext uri="{FF2B5EF4-FFF2-40B4-BE49-F238E27FC236}">
                        <a16:creationId xmlns:a16="http://schemas.microsoft.com/office/drawing/2014/main" id="{1DAEF082-46B4-AE1B-199E-1D600E4EF175}"/>
                      </a:ext>
                    </a:extLst>
                  </p:cNvPr>
                  <p:cNvSpPr/>
                  <p:nvPr userDrawn="1"/>
                </p:nvSpPr>
                <p:spPr>
                  <a:xfrm>
                    <a:off x="8200966" y="4349860"/>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3F4F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43" name="Freeform: Shape 242">
                    <a:extLst>
                      <a:ext uri="{FF2B5EF4-FFF2-40B4-BE49-F238E27FC236}">
                        <a16:creationId xmlns:a16="http://schemas.microsoft.com/office/drawing/2014/main" id="{1EC83FBE-9C47-DB1F-23F5-5EABC4399715}"/>
                      </a:ext>
                    </a:extLst>
                  </p:cNvPr>
                  <p:cNvSpPr/>
                  <p:nvPr userDrawn="1"/>
                </p:nvSpPr>
                <p:spPr>
                  <a:xfrm>
                    <a:off x="8200708" y="4349439"/>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3F4F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44" name="Freeform: Shape 243">
                    <a:extLst>
                      <a:ext uri="{FF2B5EF4-FFF2-40B4-BE49-F238E27FC236}">
                        <a16:creationId xmlns:a16="http://schemas.microsoft.com/office/drawing/2014/main" id="{CB0E754A-4C7A-FDFC-B37D-0D6B59C3A6E3}"/>
                      </a:ext>
                    </a:extLst>
                  </p:cNvPr>
                  <p:cNvSpPr/>
                  <p:nvPr userDrawn="1"/>
                </p:nvSpPr>
                <p:spPr>
                  <a:xfrm>
                    <a:off x="8200474" y="4349018"/>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3F4F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45" name="Freeform: Shape 244">
                    <a:extLst>
                      <a:ext uri="{FF2B5EF4-FFF2-40B4-BE49-F238E27FC236}">
                        <a16:creationId xmlns:a16="http://schemas.microsoft.com/office/drawing/2014/main" id="{BD81FC2F-043D-DC83-1360-9687EE87C326}"/>
                      </a:ext>
                    </a:extLst>
                  </p:cNvPr>
                  <p:cNvSpPr/>
                  <p:nvPr userDrawn="1"/>
                </p:nvSpPr>
                <p:spPr>
                  <a:xfrm>
                    <a:off x="8200217" y="4348597"/>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4F5F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46" name="Freeform: Shape 245">
                    <a:extLst>
                      <a:ext uri="{FF2B5EF4-FFF2-40B4-BE49-F238E27FC236}">
                        <a16:creationId xmlns:a16="http://schemas.microsoft.com/office/drawing/2014/main" id="{CCD4F35B-2C25-024F-6B9B-E8E315A45AD7}"/>
                      </a:ext>
                    </a:extLst>
                  </p:cNvPr>
                  <p:cNvSpPr/>
                  <p:nvPr userDrawn="1"/>
                </p:nvSpPr>
                <p:spPr>
                  <a:xfrm>
                    <a:off x="8199983" y="4348175"/>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4F5F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47" name="Freeform: Shape 246">
                    <a:extLst>
                      <a:ext uri="{FF2B5EF4-FFF2-40B4-BE49-F238E27FC236}">
                        <a16:creationId xmlns:a16="http://schemas.microsoft.com/office/drawing/2014/main" id="{B968BCFA-437E-D4CD-CF5C-FDD73F023781}"/>
                      </a:ext>
                    </a:extLst>
                  </p:cNvPr>
                  <p:cNvSpPr/>
                  <p:nvPr userDrawn="1"/>
                </p:nvSpPr>
                <p:spPr>
                  <a:xfrm>
                    <a:off x="8199749" y="4347754"/>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4F5F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48" name="Freeform: Shape 247">
                    <a:extLst>
                      <a:ext uri="{FF2B5EF4-FFF2-40B4-BE49-F238E27FC236}">
                        <a16:creationId xmlns:a16="http://schemas.microsoft.com/office/drawing/2014/main" id="{805978F9-417A-E28D-DAD3-C5EADA76697A}"/>
                      </a:ext>
                    </a:extLst>
                  </p:cNvPr>
                  <p:cNvSpPr/>
                  <p:nvPr userDrawn="1"/>
                </p:nvSpPr>
                <p:spPr>
                  <a:xfrm>
                    <a:off x="8199515" y="4347356"/>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5F6F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49" name="Freeform: Shape 248">
                    <a:extLst>
                      <a:ext uri="{FF2B5EF4-FFF2-40B4-BE49-F238E27FC236}">
                        <a16:creationId xmlns:a16="http://schemas.microsoft.com/office/drawing/2014/main" id="{DF054F90-9004-F945-286A-FD126AE367AA}"/>
                      </a:ext>
                    </a:extLst>
                  </p:cNvPr>
                  <p:cNvSpPr/>
                  <p:nvPr userDrawn="1"/>
                </p:nvSpPr>
                <p:spPr>
                  <a:xfrm>
                    <a:off x="8199281" y="4346935"/>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74"/>
                          <a:pt x="42074" y="32667"/>
                          <a:pt x="42074" y="21037"/>
                        </a:cubicBezTo>
                        <a:close/>
                      </a:path>
                    </a:pathLst>
                  </a:custGeom>
                  <a:solidFill>
                    <a:srgbClr val="F5F6F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50" name="Freeform: Shape 249">
                    <a:extLst>
                      <a:ext uri="{FF2B5EF4-FFF2-40B4-BE49-F238E27FC236}">
                        <a16:creationId xmlns:a16="http://schemas.microsoft.com/office/drawing/2014/main" id="{1143852B-E3EB-E1D4-4C15-D4195AB6B301}"/>
                      </a:ext>
                    </a:extLst>
                  </p:cNvPr>
                  <p:cNvSpPr/>
                  <p:nvPr userDrawn="1"/>
                </p:nvSpPr>
                <p:spPr>
                  <a:xfrm>
                    <a:off x="8199070" y="4346514"/>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5F6F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51" name="Freeform: Shape 250">
                    <a:extLst>
                      <a:ext uri="{FF2B5EF4-FFF2-40B4-BE49-F238E27FC236}">
                        <a16:creationId xmlns:a16="http://schemas.microsoft.com/office/drawing/2014/main" id="{33B04E21-B2D9-7DCF-B37D-2C5AD78F1C24}"/>
                      </a:ext>
                    </a:extLst>
                  </p:cNvPr>
                  <p:cNvSpPr/>
                  <p:nvPr userDrawn="1"/>
                </p:nvSpPr>
                <p:spPr>
                  <a:xfrm>
                    <a:off x="8198860" y="4346093"/>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6F6F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52" name="Freeform: Shape 251">
                    <a:extLst>
                      <a:ext uri="{FF2B5EF4-FFF2-40B4-BE49-F238E27FC236}">
                        <a16:creationId xmlns:a16="http://schemas.microsoft.com/office/drawing/2014/main" id="{02EA62B5-52EA-20D1-6DA1-809524EE9A41}"/>
                      </a:ext>
                    </a:extLst>
                  </p:cNvPr>
                  <p:cNvSpPr/>
                  <p:nvPr userDrawn="1"/>
                </p:nvSpPr>
                <p:spPr>
                  <a:xfrm>
                    <a:off x="8198649" y="4345671"/>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6F7F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53" name="Freeform: Shape 252">
                    <a:extLst>
                      <a:ext uri="{FF2B5EF4-FFF2-40B4-BE49-F238E27FC236}">
                        <a16:creationId xmlns:a16="http://schemas.microsoft.com/office/drawing/2014/main" id="{C1674430-4CF7-6AA0-AB65-7B3AB942FD23}"/>
                      </a:ext>
                    </a:extLst>
                  </p:cNvPr>
                  <p:cNvSpPr/>
                  <p:nvPr userDrawn="1"/>
                </p:nvSpPr>
                <p:spPr>
                  <a:xfrm>
                    <a:off x="8198438" y="4345250"/>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6F7F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54" name="Freeform: Shape 253">
                    <a:extLst>
                      <a:ext uri="{FF2B5EF4-FFF2-40B4-BE49-F238E27FC236}">
                        <a16:creationId xmlns:a16="http://schemas.microsoft.com/office/drawing/2014/main" id="{EFE846FB-C562-0B02-3187-A7EA8B2944C5}"/>
                      </a:ext>
                    </a:extLst>
                  </p:cNvPr>
                  <p:cNvSpPr/>
                  <p:nvPr userDrawn="1"/>
                </p:nvSpPr>
                <p:spPr>
                  <a:xfrm>
                    <a:off x="8198251" y="4344829"/>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6F7F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55" name="Freeform: Shape 254">
                    <a:extLst>
                      <a:ext uri="{FF2B5EF4-FFF2-40B4-BE49-F238E27FC236}">
                        <a16:creationId xmlns:a16="http://schemas.microsoft.com/office/drawing/2014/main" id="{05D606C2-8759-B074-F21E-8333172A619A}"/>
                      </a:ext>
                    </a:extLst>
                  </p:cNvPr>
                  <p:cNvSpPr/>
                  <p:nvPr userDrawn="1"/>
                </p:nvSpPr>
                <p:spPr>
                  <a:xfrm>
                    <a:off x="8198064" y="4344408"/>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7F7F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56" name="Freeform: Shape 255">
                    <a:extLst>
                      <a:ext uri="{FF2B5EF4-FFF2-40B4-BE49-F238E27FC236}">
                        <a16:creationId xmlns:a16="http://schemas.microsoft.com/office/drawing/2014/main" id="{4227ABE0-21E9-A5CF-F95F-3CF513FC9A3D}"/>
                      </a:ext>
                    </a:extLst>
                  </p:cNvPr>
                  <p:cNvSpPr/>
                  <p:nvPr userDrawn="1"/>
                </p:nvSpPr>
                <p:spPr>
                  <a:xfrm>
                    <a:off x="8197877" y="4343987"/>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7F8F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57" name="Freeform: Shape 256">
                    <a:extLst>
                      <a:ext uri="{FF2B5EF4-FFF2-40B4-BE49-F238E27FC236}">
                        <a16:creationId xmlns:a16="http://schemas.microsoft.com/office/drawing/2014/main" id="{93D289CC-C8BC-3EE0-1B24-57BD23F62A12}"/>
                      </a:ext>
                    </a:extLst>
                  </p:cNvPr>
                  <p:cNvSpPr/>
                  <p:nvPr userDrawn="1"/>
                </p:nvSpPr>
                <p:spPr>
                  <a:xfrm>
                    <a:off x="8197690" y="4343565"/>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7F8F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58" name="Freeform: Shape 257">
                    <a:extLst>
                      <a:ext uri="{FF2B5EF4-FFF2-40B4-BE49-F238E27FC236}">
                        <a16:creationId xmlns:a16="http://schemas.microsoft.com/office/drawing/2014/main" id="{0DD0CEDF-41A7-4EA0-A311-D47D86F924CE}"/>
                      </a:ext>
                    </a:extLst>
                  </p:cNvPr>
                  <p:cNvSpPr/>
                  <p:nvPr userDrawn="1"/>
                </p:nvSpPr>
                <p:spPr>
                  <a:xfrm>
                    <a:off x="8197526" y="4343144"/>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8F8F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59" name="Freeform: Shape 258">
                    <a:extLst>
                      <a:ext uri="{FF2B5EF4-FFF2-40B4-BE49-F238E27FC236}">
                        <a16:creationId xmlns:a16="http://schemas.microsoft.com/office/drawing/2014/main" id="{B834FF05-5F71-1317-5AE4-105D1C39123C}"/>
                      </a:ext>
                    </a:extLst>
                  </p:cNvPr>
                  <p:cNvSpPr/>
                  <p:nvPr userDrawn="1"/>
                </p:nvSpPr>
                <p:spPr>
                  <a:xfrm>
                    <a:off x="8197362" y="4342723"/>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90"/>
                          <a:pt x="42074" y="21037"/>
                        </a:cubicBezTo>
                        <a:close/>
                      </a:path>
                    </a:pathLst>
                  </a:custGeom>
                  <a:solidFill>
                    <a:srgbClr val="F8F9F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60" name="Freeform: Shape 259">
                    <a:extLst>
                      <a:ext uri="{FF2B5EF4-FFF2-40B4-BE49-F238E27FC236}">
                        <a16:creationId xmlns:a16="http://schemas.microsoft.com/office/drawing/2014/main" id="{B3CA0CF5-176D-1E7F-4F7C-E0FCA0791F0D}"/>
                      </a:ext>
                    </a:extLst>
                  </p:cNvPr>
                  <p:cNvSpPr/>
                  <p:nvPr userDrawn="1"/>
                </p:nvSpPr>
                <p:spPr>
                  <a:xfrm>
                    <a:off x="8197198" y="4342325"/>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8F9F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61" name="Freeform: Shape 260">
                    <a:extLst>
                      <a:ext uri="{FF2B5EF4-FFF2-40B4-BE49-F238E27FC236}">
                        <a16:creationId xmlns:a16="http://schemas.microsoft.com/office/drawing/2014/main" id="{B3A090FC-4D13-4729-C4F4-C8641E7DB2E5}"/>
                      </a:ext>
                    </a:extLst>
                  </p:cNvPr>
                  <p:cNvSpPr/>
                  <p:nvPr userDrawn="1"/>
                </p:nvSpPr>
                <p:spPr>
                  <a:xfrm>
                    <a:off x="8197034" y="4341904"/>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9F9F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62" name="Freeform: Shape 261">
                    <a:extLst>
                      <a:ext uri="{FF2B5EF4-FFF2-40B4-BE49-F238E27FC236}">
                        <a16:creationId xmlns:a16="http://schemas.microsoft.com/office/drawing/2014/main" id="{879171E9-17BF-EBD5-067B-E21A9B097118}"/>
                      </a:ext>
                    </a:extLst>
                  </p:cNvPr>
                  <p:cNvSpPr/>
                  <p:nvPr userDrawn="1"/>
                </p:nvSpPr>
                <p:spPr>
                  <a:xfrm>
                    <a:off x="8196871" y="4341483"/>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9F9F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63" name="Freeform: Shape 262">
                    <a:extLst>
                      <a:ext uri="{FF2B5EF4-FFF2-40B4-BE49-F238E27FC236}">
                        <a16:creationId xmlns:a16="http://schemas.microsoft.com/office/drawing/2014/main" id="{5F29C9B3-5747-4339-02DA-F0064B83C22B}"/>
                      </a:ext>
                    </a:extLst>
                  </p:cNvPr>
                  <p:cNvSpPr/>
                  <p:nvPr userDrawn="1"/>
                </p:nvSpPr>
                <p:spPr>
                  <a:xfrm>
                    <a:off x="8196730" y="4341062"/>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9FAF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64" name="Freeform: Shape 263">
                    <a:extLst>
                      <a:ext uri="{FF2B5EF4-FFF2-40B4-BE49-F238E27FC236}">
                        <a16:creationId xmlns:a16="http://schemas.microsoft.com/office/drawing/2014/main" id="{86652CBE-7ACB-AE46-D71E-46B11AA52BDA}"/>
                      </a:ext>
                    </a:extLst>
                  </p:cNvPr>
                  <p:cNvSpPr/>
                  <p:nvPr userDrawn="1"/>
                </p:nvSpPr>
                <p:spPr>
                  <a:xfrm>
                    <a:off x="8196590" y="4340640"/>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9FAF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65" name="Freeform: Shape 264">
                    <a:extLst>
                      <a:ext uri="{FF2B5EF4-FFF2-40B4-BE49-F238E27FC236}">
                        <a16:creationId xmlns:a16="http://schemas.microsoft.com/office/drawing/2014/main" id="{5DCA820A-2C22-DB9A-D97A-D576023D8F1D}"/>
                      </a:ext>
                    </a:extLst>
                  </p:cNvPr>
                  <p:cNvSpPr/>
                  <p:nvPr userDrawn="1"/>
                </p:nvSpPr>
                <p:spPr>
                  <a:xfrm>
                    <a:off x="8196449" y="4340243"/>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74"/>
                          <a:pt x="42074" y="32667"/>
                          <a:pt x="42074" y="21037"/>
                        </a:cubicBezTo>
                        <a:close/>
                      </a:path>
                    </a:pathLst>
                  </a:custGeom>
                  <a:solidFill>
                    <a:srgbClr val="FAFAF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66" name="Freeform: Shape 265">
                    <a:extLst>
                      <a:ext uri="{FF2B5EF4-FFF2-40B4-BE49-F238E27FC236}">
                        <a16:creationId xmlns:a16="http://schemas.microsoft.com/office/drawing/2014/main" id="{60A84E2B-9C2A-CB1D-F492-A37930B5978D}"/>
                      </a:ext>
                    </a:extLst>
                  </p:cNvPr>
                  <p:cNvSpPr/>
                  <p:nvPr userDrawn="1"/>
                </p:nvSpPr>
                <p:spPr>
                  <a:xfrm>
                    <a:off x="8196332" y="4339821"/>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AFBF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67" name="Freeform: Shape 266">
                    <a:extLst>
                      <a:ext uri="{FF2B5EF4-FFF2-40B4-BE49-F238E27FC236}">
                        <a16:creationId xmlns:a16="http://schemas.microsoft.com/office/drawing/2014/main" id="{F919F7CE-4550-2031-5DE2-21624437F66B}"/>
                      </a:ext>
                    </a:extLst>
                  </p:cNvPr>
                  <p:cNvSpPr/>
                  <p:nvPr userDrawn="1"/>
                </p:nvSpPr>
                <p:spPr>
                  <a:xfrm>
                    <a:off x="8196215" y="4339400"/>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AFBF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68" name="Freeform: Shape 267">
                    <a:extLst>
                      <a:ext uri="{FF2B5EF4-FFF2-40B4-BE49-F238E27FC236}">
                        <a16:creationId xmlns:a16="http://schemas.microsoft.com/office/drawing/2014/main" id="{72212B73-74F2-59A9-EBA9-B07FC11FA9E3}"/>
                      </a:ext>
                    </a:extLst>
                  </p:cNvPr>
                  <p:cNvSpPr/>
                  <p:nvPr userDrawn="1"/>
                </p:nvSpPr>
                <p:spPr>
                  <a:xfrm>
                    <a:off x="8196098" y="4338979"/>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BFBF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69" name="Freeform: Shape 268">
                    <a:extLst>
                      <a:ext uri="{FF2B5EF4-FFF2-40B4-BE49-F238E27FC236}">
                        <a16:creationId xmlns:a16="http://schemas.microsoft.com/office/drawing/2014/main" id="{6A3672C8-9F7E-20E7-45A3-A1F2BEFCEA71}"/>
                      </a:ext>
                    </a:extLst>
                  </p:cNvPr>
                  <p:cNvSpPr/>
                  <p:nvPr userDrawn="1"/>
                </p:nvSpPr>
                <p:spPr>
                  <a:xfrm>
                    <a:off x="8195981" y="4338581"/>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BFBF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70" name="Freeform: Shape 269">
                    <a:extLst>
                      <a:ext uri="{FF2B5EF4-FFF2-40B4-BE49-F238E27FC236}">
                        <a16:creationId xmlns:a16="http://schemas.microsoft.com/office/drawing/2014/main" id="{71489268-5EF8-692C-4518-4E7DECCD5419}"/>
                      </a:ext>
                    </a:extLst>
                  </p:cNvPr>
                  <p:cNvSpPr/>
                  <p:nvPr userDrawn="1"/>
                </p:nvSpPr>
                <p:spPr>
                  <a:xfrm>
                    <a:off x="8195864" y="4338160"/>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BFCF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71" name="Freeform: Shape 270">
                    <a:extLst>
                      <a:ext uri="{FF2B5EF4-FFF2-40B4-BE49-F238E27FC236}">
                        <a16:creationId xmlns:a16="http://schemas.microsoft.com/office/drawing/2014/main" id="{E8BBA3EC-571D-D368-325F-B87E56B1504F}"/>
                      </a:ext>
                    </a:extLst>
                  </p:cNvPr>
                  <p:cNvSpPr/>
                  <p:nvPr userDrawn="1"/>
                </p:nvSpPr>
                <p:spPr>
                  <a:xfrm>
                    <a:off x="8195771" y="4337739"/>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CFCF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72" name="Freeform: Shape 271">
                    <a:extLst>
                      <a:ext uri="{FF2B5EF4-FFF2-40B4-BE49-F238E27FC236}">
                        <a16:creationId xmlns:a16="http://schemas.microsoft.com/office/drawing/2014/main" id="{F95CA3AC-281D-F499-EDD3-0CED97345081}"/>
                      </a:ext>
                    </a:extLst>
                  </p:cNvPr>
                  <p:cNvSpPr/>
                  <p:nvPr userDrawn="1"/>
                </p:nvSpPr>
                <p:spPr>
                  <a:xfrm>
                    <a:off x="8195677" y="4337341"/>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CFCF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73" name="Freeform: Shape 272">
                    <a:extLst>
                      <a:ext uri="{FF2B5EF4-FFF2-40B4-BE49-F238E27FC236}">
                        <a16:creationId xmlns:a16="http://schemas.microsoft.com/office/drawing/2014/main" id="{13315A20-9445-5503-05A1-7E81CE34491A}"/>
                      </a:ext>
                    </a:extLst>
                  </p:cNvPr>
                  <p:cNvSpPr/>
                  <p:nvPr userDrawn="1"/>
                </p:nvSpPr>
                <p:spPr>
                  <a:xfrm>
                    <a:off x="8195584" y="4336920"/>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CFCF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74" name="Freeform: Shape 273">
                    <a:extLst>
                      <a:ext uri="{FF2B5EF4-FFF2-40B4-BE49-F238E27FC236}">
                        <a16:creationId xmlns:a16="http://schemas.microsoft.com/office/drawing/2014/main" id="{7AC2FB25-7CBB-1BB8-041B-EC0795882B84}"/>
                      </a:ext>
                    </a:extLst>
                  </p:cNvPr>
                  <p:cNvSpPr/>
                  <p:nvPr userDrawn="1"/>
                </p:nvSpPr>
                <p:spPr>
                  <a:xfrm>
                    <a:off x="8195490" y="4336499"/>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DFDF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75" name="Freeform: Shape 274">
                    <a:extLst>
                      <a:ext uri="{FF2B5EF4-FFF2-40B4-BE49-F238E27FC236}">
                        <a16:creationId xmlns:a16="http://schemas.microsoft.com/office/drawing/2014/main" id="{BFB5427D-BEA7-6E90-D85C-7CE4588176A3}"/>
                      </a:ext>
                    </a:extLst>
                  </p:cNvPr>
                  <p:cNvSpPr/>
                  <p:nvPr userDrawn="1"/>
                </p:nvSpPr>
                <p:spPr>
                  <a:xfrm>
                    <a:off x="8195420" y="4336101"/>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74"/>
                          <a:pt x="42074" y="32667"/>
                          <a:pt x="42074" y="21037"/>
                        </a:cubicBezTo>
                        <a:close/>
                      </a:path>
                    </a:pathLst>
                  </a:custGeom>
                  <a:solidFill>
                    <a:srgbClr val="FDFDF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76" name="Freeform: Shape 275">
                    <a:extLst>
                      <a:ext uri="{FF2B5EF4-FFF2-40B4-BE49-F238E27FC236}">
                        <a16:creationId xmlns:a16="http://schemas.microsoft.com/office/drawing/2014/main" id="{7AA5D70E-45CA-0ECF-5059-584875FC178B}"/>
                      </a:ext>
                    </a:extLst>
                  </p:cNvPr>
                  <p:cNvSpPr/>
                  <p:nvPr userDrawn="1"/>
                </p:nvSpPr>
                <p:spPr>
                  <a:xfrm>
                    <a:off x="8195350" y="4335680"/>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DFDF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77" name="Freeform: Shape 276">
                    <a:extLst>
                      <a:ext uri="{FF2B5EF4-FFF2-40B4-BE49-F238E27FC236}">
                        <a16:creationId xmlns:a16="http://schemas.microsoft.com/office/drawing/2014/main" id="{068E562C-610C-3532-7EA5-9EC4041ACE66}"/>
                      </a:ext>
                    </a:extLst>
                  </p:cNvPr>
                  <p:cNvSpPr/>
                  <p:nvPr userDrawn="1"/>
                </p:nvSpPr>
                <p:spPr>
                  <a:xfrm>
                    <a:off x="8195279" y="4335282"/>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74"/>
                          <a:pt x="42074" y="32667"/>
                          <a:pt x="42074" y="21037"/>
                        </a:cubicBezTo>
                        <a:close/>
                      </a:path>
                    </a:pathLst>
                  </a:custGeom>
                  <a:solidFill>
                    <a:srgbClr val="FDFEF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78" name="Freeform: Shape 277">
                    <a:extLst>
                      <a:ext uri="{FF2B5EF4-FFF2-40B4-BE49-F238E27FC236}">
                        <a16:creationId xmlns:a16="http://schemas.microsoft.com/office/drawing/2014/main" id="{1E2BEF22-909C-736B-94B2-1F83D5F6EAB5}"/>
                      </a:ext>
                    </a:extLst>
                  </p:cNvPr>
                  <p:cNvSpPr/>
                  <p:nvPr userDrawn="1"/>
                </p:nvSpPr>
                <p:spPr>
                  <a:xfrm>
                    <a:off x="8195233" y="4334861"/>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EFEF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79" name="Freeform: Shape 278">
                    <a:extLst>
                      <a:ext uri="{FF2B5EF4-FFF2-40B4-BE49-F238E27FC236}">
                        <a16:creationId xmlns:a16="http://schemas.microsoft.com/office/drawing/2014/main" id="{FB4A7BB1-8D6A-EE1B-F046-8B7055F4F3A2}"/>
                      </a:ext>
                    </a:extLst>
                  </p:cNvPr>
                  <p:cNvSpPr/>
                  <p:nvPr userDrawn="1"/>
                </p:nvSpPr>
                <p:spPr>
                  <a:xfrm>
                    <a:off x="8195162" y="4334463"/>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74"/>
                          <a:pt x="42074" y="32667"/>
                          <a:pt x="42074" y="21037"/>
                        </a:cubicBezTo>
                        <a:close/>
                      </a:path>
                    </a:pathLst>
                  </a:custGeom>
                  <a:solidFill>
                    <a:srgbClr val="FEFEF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80" name="Freeform: Shape 279">
                    <a:extLst>
                      <a:ext uri="{FF2B5EF4-FFF2-40B4-BE49-F238E27FC236}">
                        <a16:creationId xmlns:a16="http://schemas.microsoft.com/office/drawing/2014/main" id="{9CB41E50-B55A-5EEA-51AC-B46AF42B8767}"/>
                      </a:ext>
                    </a:extLst>
                  </p:cNvPr>
                  <p:cNvSpPr/>
                  <p:nvPr userDrawn="1"/>
                </p:nvSpPr>
                <p:spPr>
                  <a:xfrm>
                    <a:off x="8195116" y="4334042"/>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EFEF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81" name="Freeform: Shape 280">
                    <a:extLst>
                      <a:ext uri="{FF2B5EF4-FFF2-40B4-BE49-F238E27FC236}">
                        <a16:creationId xmlns:a16="http://schemas.microsoft.com/office/drawing/2014/main" id="{2A7B4462-BC98-934B-8CAE-C5C5655BB824}"/>
                      </a:ext>
                    </a:extLst>
                  </p:cNvPr>
                  <p:cNvSpPr/>
                  <p:nvPr userDrawn="1"/>
                </p:nvSpPr>
                <p:spPr>
                  <a:xfrm>
                    <a:off x="8195069" y="4333644"/>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74"/>
                          <a:pt x="42074" y="32667"/>
                          <a:pt x="42074" y="21037"/>
                        </a:cubicBezTo>
                        <a:close/>
                      </a:path>
                    </a:pathLst>
                  </a:custGeom>
                  <a:solidFill>
                    <a:srgbClr val="FFFFF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82" name="Freeform: Shape 281">
                    <a:extLst>
                      <a:ext uri="{FF2B5EF4-FFF2-40B4-BE49-F238E27FC236}">
                        <a16:creationId xmlns:a16="http://schemas.microsoft.com/office/drawing/2014/main" id="{F59EC5E6-E91C-C4B1-88F1-82697EB3233D}"/>
                      </a:ext>
                    </a:extLst>
                  </p:cNvPr>
                  <p:cNvSpPr/>
                  <p:nvPr userDrawn="1"/>
                </p:nvSpPr>
                <p:spPr>
                  <a:xfrm>
                    <a:off x="8195045" y="4333223"/>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FFFF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grpSp>
            <p:grpSp>
              <p:nvGrpSpPr>
                <p:cNvPr id="283" name="Graphic 4">
                  <a:extLst>
                    <a:ext uri="{FF2B5EF4-FFF2-40B4-BE49-F238E27FC236}">
                      <a16:creationId xmlns:a16="http://schemas.microsoft.com/office/drawing/2014/main" id="{B85C0367-B953-932B-189B-15278C301AD0}"/>
                    </a:ext>
                  </a:extLst>
                </p:cNvPr>
                <p:cNvGrpSpPr/>
                <p:nvPr userDrawn="1"/>
              </p:nvGrpSpPr>
              <p:grpSpPr>
                <a:xfrm>
                  <a:off x="8382317" y="4333223"/>
                  <a:ext cx="144917" cy="107360"/>
                  <a:chOff x="8382317" y="4333223"/>
                  <a:chExt cx="144917" cy="107359"/>
                </a:xfrm>
              </p:grpSpPr>
              <p:sp>
                <p:nvSpPr>
                  <p:cNvPr id="284" name="Freeform: Shape 283">
                    <a:extLst>
                      <a:ext uri="{FF2B5EF4-FFF2-40B4-BE49-F238E27FC236}">
                        <a16:creationId xmlns:a16="http://schemas.microsoft.com/office/drawing/2014/main" id="{59C558CF-6F7C-6A62-B850-55D22DE95BE1}"/>
                      </a:ext>
                    </a:extLst>
                  </p:cNvPr>
                  <p:cNvSpPr/>
                  <p:nvPr userDrawn="1"/>
                </p:nvSpPr>
                <p:spPr>
                  <a:xfrm>
                    <a:off x="8382317" y="439850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1B8C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85" name="Freeform: Shape 284">
                    <a:extLst>
                      <a:ext uri="{FF2B5EF4-FFF2-40B4-BE49-F238E27FC236}">
                        <a16:creationId xmlns:a16="http://schemas.microsoft.com/office/drawing/2014/main" id="{E8CE9AF9-43BB-BB8F-59F4-487BA072C3E8}"/>
                      </a:ext>
                    </a:extLst>
                  </p:cNvPr>
                  <p:cNvSpPr/>
                  <p:nvPr userDrawn="1"/>
                </p:nvSpPr>
                <p:spPr>
                  <a:xfrm>
                    <a:off x="8382902" y="439843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74"/>
                          <a:pt x="0" y="32643"/>
                          <a:pt x="0" y="21037"/>
                        </a:cubicBezTo>
                        <a:close/>
                      </a:path>
                    </a:pathLst>
                  </a:custGeom>
                  <a:solidFill>
                    <a:srgbClr val="B1B8C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86" name="Freeform: Shape 285">
                    <a:extLst>
                      <a:ext uri="{FF2B5EF4-FFF2-40B4-BE49-F238E27FC236}">
                        <a16:creationId xmlns:a16="http://schemas.microsoft.com/office/drawing/2014/main" id="{D38BD378-E4C9-102F-E881-43DD1B0A50CD}"/>
                      </a:ext>
                    </a:extLst>
                  </p:cNvPr>
                  <p:cNvSpPr/>
                  <p:nvPr userDrawn="1"/>
                </p:nvSpPr>
                <p:spPr>
                  <a:xfrm>
                    <a:off x="8383464" y="4398345"/>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74"/>
                          <a:pt x="0" y="32667"/>
                          <a:pt x="0" y="21037"/>
                        </a:cubicBezTo>
                        <a:close/>
                      </a:path>
                    </a:pathLst>
                  </a:custGeom>
                  <a:solidFill>
                    <a:srgbClr val="B2B9C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87" name="Freeform: Shape 286">
                    <a:extLst>
                      <a:ext uri="{FF2B5EF4-FFF2-40B4-BE49-F238E27FC236}">
                        <a16:creationId xmlns:a16="http://schemas.microsoft.com/office/drawing/2014/main" id="{41782DF0-C4B6-5766-B20A-C1BF64125B59}"/>
                      </a:ext>
                    </a:extLst>
                  </p:cNvPr>
                  <p:cNvSpPr/>
                  <p:nvPr userDrawn="1"/>
                </p:nvSpPr>
                <p:spPr>
                  <a:xfrm>
                    <a:off x="8384025" y="4398252"/>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2B9C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88" name="Freeform: Shape 287">
                    <a:extLst>
                      <a:ext uri="{FF2B5EF4-FFF2-40B4-BE49-F238E27FC236}">
                        <a16:creationId xmlns:a16="http://schemas.microsoft.com/office/drawing/2014/main" id="{B8B49F8F-7B45-BA22-553B-4ABD5881CE12}"/>
                      </a:ext>
                    </a:extLst>
                  </p:cNvPr>
                  <p:cNvSpPr/>
                  <p:nvPr userDrawn="1"/>
                </p:nvSpPr>
                <p:spPr>
                  <a:xfrm>
                    <a:off x="8384587" y="439818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2B9C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89" name="Freeform: Shape 288">
                    <a:extLst>
                      <a:ext uri="{FF2B5EF4-FFF2-40B4-BE49-F238E27FC236}">
                        <a16:creationId xmlns:a16="http://schemas.microsoft.com/office/drawing/2014/main" id="{F3AB1B7D-DE3A-CB5E-7BAD-37F21DEE17F1}"/>
                      </a:ext>
                    </a:extLst>
                  </p:cNvPr>
                  <p:cNvSpPr/>
                  <p:nvPr userDrawn="1"/>
                </p:nvSpPr>
                <p:spPr>
                  <a:xfrm>
                    <a:off x="8385148" y="4398088"/>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3B9C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90" name="Freeform: Shape 289">
                    <a:extLst>
                      <a:ext uri="{FF2B5EF4-FFF2-40B4-BE49-F238E27FC236}">
                        <a16:creationId xmlns:a16="http://schemas.microsoft.com/office/drawing/2014/main" id="{9DAF8641-969C-7C39-1C26-BECBFD3DAFDF}"/>
                      </a:ext>
                    </a:extLst>
                  </p:cNvPr>
                  <p:cNvSpPr/>
                  <p:nvPr userDrawn="1"/>
                </p:nvSpPr>
                <p:spPr>
                  <a:xfrm>
                    <a:off x="8385710" y="4397994"/>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3BAC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91" name="Freeform: Shape 290">
                    <a:extLst>
                      <a:ext uri="{FF2B5EF4-FFF2-40B4-BE49-F238E27FC236}">
                        <a16:creationId xmlns:a16="http://schemas.microsoft.com/office/drawing/2014/main" id="{39D51C1B-DF4F-1C56-BD42-7ACF58D80C2C}"/>
                      </a:ext>
                    </a:extLst>
                  </p:cNvPr>
                  <p:cNvSpPr/>
                  <p:nvPr userDrawn="1"/>
                </p:nvSpPr>
                <p:spPr>
                  <a:xfrm>
                    <a:off x="8386272" y="439790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3BAC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92" name="Freeform: Shape 291">
                    <a:extLst>
                      <a:ext uri="{FF2B5EF4-FFF2-40B4-BE49-F238E27FC236}">
                        <a16:creationId xmlns:a16="http://schemas.microsoft.com/office/drawing/2014/main" id="{CEB1BD3A-1C40-C857-8663-3EBE05B6870C}"/>
                      </a:ext>
                    </a:extLst>
                  </p:cNvPr>
                  <p:cNvSpPr/>
                  <p:nvPr userDrawn="1"/>
                </p:nvSpPr>
                <p:spPr>
                  <a:xfrm>
                    <a:off x="8386833" y="4397807"/>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3BAC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93" name="Freeform: Shape 292">
                    <a:extLst>
                      <a:ext uri="{FF2B5EF4-FFF2-40B4-BE49-F238E27FC236}">
                        <a16:creationId xmlns:a16="http://schemas.microsoft.com/office/drawing/2014/main" id="{DFFB522F-0600-AED8-AE62-C16AB58C0B04}"/>
                      </a:ext>
                    </a:extLst>
                  </p:cNvPr>
                  <p:cNvSpPr/>
                  <p:nvPr userDrawn="1"/>
                </p:nvSpPr>
                <p:spPr>
                  <a:xfrm>
                    <a:off x="8387395" y="4397713"/>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4BBC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94" name="Freeform: Shape 293">
                    <a:extLst>
                      <a:ext uri="{FF2B5EF4-FFF2-40B4-BE49-F238E27FC236}">
                        <a16:creationId xmlns:a16="http://schemas.microsoft.com/office/drawing/2014/main" id="{28BEC592-FF48-4D60-7DE1-3924FB3E9C96}"/>
                      </a:ext>
                    </a:extLst>
                  </p:cNvPr>
                  <p:cNvSpPr/>
                  <p:nvPr userDrawn="1"/>
                </p:nvSpPr>
                <p:spPr>
                  <a:xfrm>
                    <a:off x="8387956" y="439762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4BBC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95" name="Freeform: Shape 294">
                    <a:extLst>
                      <a:ext uri="{FF2B5EF4-FFF2-40B4-BE49-F238E27FC236}">
                        <a16:creationId xmlns:a16="http://schemas.microsoft.com/office/drawing/2014/main" id="{DCC07CA6-02A3-FF6A-D951-534901303A33}"/>
                      </a:ext>
                    </a:extLst>
                  </p:cNvPr>
                  <p:cNvSpPr/>
                  <p:nvPr userDrawn="1"/>
                </p:nvSpPr>
                <p:spPr>
                  <a:xfrm>
                    <a:off x="8388518" y="4397526"/>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4BBC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96" name="Freeform: Shape 295">
                    <a:extLst>
                      <a:ext uri="{FF2B5EF4-FFF2-40B4-BE49-F238E27FC236}">
                        <a16:creationId xmlns:a16="http://schemas.microsoft.com/office/drawing/2014/main" id="{35C931B7-8431-35FB-7130-9C496C9B568E}"/>
                      </a:ext>
                    </a:extLst>
                  </p:cNvPr>
                  <p:cNvSpPr/>
                  <p:nvPr userDrawn="1"/>
                </p:nvSpPr>
                <p:spPr>
                  <a:xfrm>
                    <a:off x="8389080" y="4397433"/>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5BBC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97" name="Freeform: Shape 296">
                    <a:extLst>
                      <a:ext uri="{FF2B5EF4-FFF2-40B4-BE49-F238E27FC236}">
                        <a16:creationId xmlns:a16="http://schemas.microsoft.com/office/drawing/2014/main" id="{3534FEE9-AD4A-ACFA-3A9B-C893E0443D30}"/>
                      </a:ext>
                    </a:extLst>
                  </p:cNvPr>
                  <p:cNvSpPr/>
                  <p:nvPr userDrawn="1"/>
                </p:nvSpPr>
                <p:spPr>
                  <a:xfrm>
                    <a:off x="8389641" y="4397316"/>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5BCC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98" name="Freeform: Shape 297">
                    <a:extLst>
                      <a:ext uri="{FF2B5EF4-FFF2-40B4-BE49-F238E27FC236}">
                        <a16:creationId xmlns:a16="http://schemas.microsoft.com/office/drawing/2014/main" id="{EE1E83C5-DFBF-5630-C341-60781762E260}"/>
                      </a:ext>
                    </a:extLst>
                  </p:cNvPr>
                  <p:cNvSpPr/>
                  <p:nvPr userDrawn="1"/>
                </p:nvSpPr>
                <p:spPr>
                  <a:xfrm>
                    <a:off x="8390203" y="4397222"/>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5BCC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299" name="Freeform: Shape 298">
                    <a:extLst>
                      <a:ext uri="{FF2B5EF4-FFF2-40B4-BE49-F238E27FC236}">
                        <a16:creationId xmlns:a16="http://schemas.microsoft.com/office/drawing/2014/main" id="{6742C993-3B0B-DF7C-AF40-B1542C341CA0}"/>
                      </a:ext>
                    </a:extLst>
                  </p:cNvPr>
                  <p:cNvSpPr/>
                  <p:nvPr userDrawn="1"/>
                </p:nvSpPr>
                <p:spPr>
                  <a:xfrm>
                    <a:off x="8390764" y="4397128"/>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6BCC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00" name="Freeform: Shape 299">
                    <a:extLst>
                      <a:ext uri="{FF2B5EF4-FFF2-40B4-BE49-F238E27FC236}">
                        <a16:creationId xmlns:a16="http://schemas.microsoft.com/office/drawing/2014/main" id="{9FCE8BEC-C445-2865-28EC-D7C14A0849EC}"/>
                      </a:ext>
                    </a:extLst>
                  </p:cNvPr>
                  <p:cNvSpPr/>
                  <p:nvPr userDrawn="1"/>
                </p:nvSpPr>
                <p:spPr>
                  <a:xfrm>
                    <a:off x="8391326" y="439701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6BCC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01" name="Freeform: Shape 300">
                    <a:extLst>
                      <a:ext uri="{FF2B5EF4-FFF2-40B4-BE49-F238E27FC236}">
                        <a16:creationId xmlns:a16="http://schemas.microsoft.com/office/drawing/2014/main" id="{556146A0-BE39-8D4D-82B7-DB45080F30D4}"/>
                      </a:ext>
                    </a:extLst>
                  </p:cNvPr>
                  <p:cNvSpPr/>
                  <p:nvPr userDrawn="1"/>
                </p:nvSpPr>
                <p:spPr>
                  <a:xfrm>
                    <a:off x="8391888" y="4396918"/>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74"/>
                          <a:pt x="0" y="32667"/>
                          <a:pt x="0" y="21037"/>
                        </a:cubicBezTo>
                        <a:close/>
                      </a:path>
                    </a:pathLst>
                  </a:custGeom>
                  <a:solidFill>
                    <a:srgbClr val="B6BDC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02" name="Freeform: Shape 301">
                    <a:extLst>
                      <a:ext uri="{FF2B5EF4-FFF2-40B4-BE49-F238E27FC236}">
                        <a16:creationId xmlns:a16="http://schemas.microsoft.com/office/drawing/2014/main" id="{1C851EE6-3565-BC07-C89F-20C434EE83DF}"/>
                      </a:ext>
                    </a:extLst>
                  </p:cNvPr>
                  <p:cNvSpPr/>
                  <p:nvPr userDrawn="1"/>
                </p:nvSpPr>
                <p:spPr>
                  <a:xfrm>
                    <a:off x="8392449" y="439680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97"/>
                          <a:pt x="0" y="32667"/>
                          <a:pt x="0" y="21037"/>
                        </a:cubicBezTo>
                        <a:close/>
                      </a:path>
                    </a:pathLst>
                  </a:custGeom>
                  <a:solidFill>
                    <a:srgbClr val="B7BDD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03" name="Freeform: Shape 302">
                    <a:extLst>
                      <a:ext uri="{FF2B5EF4-FFF2-40B4-BE49-F238E27FC236}">
                        <a16:creationId xmlns:a16="http://schemas.microsoft.com/office/drawing/2014/main" id="{DDCFC538-364C-C92B-FC87-663143564EDB}"/>
                      </a:ext>
                    </a:extLst>
                  </p:cNvPr>
                  <p:cNvSpPr/>
                  <p:nvPr userDrawn="1"/>
                </p:nvSpPr>
                <p:spPr>
                  <a:xfrm>
                    <a:off x="8392987" y="4396707"/>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7BDD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04" name="Freeform: Shape 303">
                    <a:extLst>
                      <a:ext uri="{FF2B5EF4-FFF2-40B4-BE49-F238E27FC236}">
                        <a16:creationId xmlns:a16="http://schemas.microsoft.com/office/drawing/2014/main" id="{69E9B8ED-22A4-27FE-7373-713620B6E445}"/>
                      </a:ext>
                    </a:extLst>
                  </p:cNvPr>
                  <p:cNvSpPr/>
                  <p:nvPr userDrawn="1"/>
                </p:nvSpPr>
                <p:spPr>
                  <a:xfrm>
                    <a:off x="8393549" y="439659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7BED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05" name="Freeform: Shape 304">
                    <a:extLst>
                      <a:ext uri="{FF2B5EF4-FFF2-40B4-BE49-F238E27FC236}">
                        <a16:creationId xmlns:a16="http://schemas.microsoft.com/office/drawing/2014/main" id="{3BDAEBD6-5FE5-A928-8F40-37BB73A5E0B9}"/>
                      </a:ext>
                    </a:extLst>
                  </p:cNvPr>
                  <p:cNvSpPr/>
                  <p:nvPr userDrawn="1"/>
                </p:nvSpPr>
                <p:spPr>
                  <a:xfrm>
                    <a:off x="8394111" y="4396473"/>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7BED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06" name="Freeform: Shape 305">
                    <a:extLst>
                      <a:ext uri="{FF2B5EF4-FFF2-40B4-BE49-F238E27FC236}">
                        <a16:creationId xmlns:a16="http://schemas.microsoft.com/office/drawing/2014/main" id="{67AC3052-5D7C-A9A8-C035-A31C7CCD3F40}"/>
                      </a:ext>
                    </a:extLst>
                  </p:cNvPr>
                  <p:cNvSpPr/>
                  <p:nvPr userDrawn="1"/>
                </p:nvSpPr>
                <p:spPr>
                  <a:xfrm>
                    <a:off x="8394672" y="439638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74"/>
                          <a:pt x="0" y="32643"/>
                          <a:pt x="0" y="21037"/>
                        </a:cubicBezTo>
                        <a:close/>
                      </a:path>
                    </a:pathLst>
                  </a:custGeom>
                  <a:solidFill>
                    <a:srgbClr val="B8BED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07" name="Freeform: Shape 306">
                    <a:extLst>
                      <a:ext uri="{FF2B5EF4-FFF2-40B4-BE49-F238E27FC236}">
                        <a16:creationId xmlns:a16="http://schemas.microsoft.com/office/drawing/2014/main" id="{96F05156-CC63-E7AE-5D1F-A8166A088464}"/>
                      </a:ext>
                    </a:extLst>
                  </p:cNvPr>
                  <p:cNvSpPr/>
                  <p:nvPr userDrawn="1"/>
                </p:nvSpPr>
                <p:spPr>
                  <a:xfrm>
                    <a:off x="8395210" y="4396263"/>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8BED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08" name="Freeform: Shape 307">
                    <a:extLst>
                      <a:ext uri="{FF2B5EF4-FFF2-40B4-BE49-F238E27FC236}">
                        <a16:creationId xmlns:a16="http://schemas.microsoft.com/office/drawing/2014/main" id="{DE248BF9-A088-0C45-229A-C9BE2D394BF4}"/>
                      </a:ext>
                    </a:extLst>
                  </p:cNvPr>
                  <p:cNvSpPr/>
                  <p:nvPr userDrawn="1"/>
                </p:nvSpPr>
                <p:spPr>
                  <a:xfrm>
                    <a:off x="8395772" y="4396146"/>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8BFD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09" name="Freeform: Shape 308">
                    <a:extLst>
                      <a:ext uri="{FF2B5EF4-FFF2-40B4-BE49-F238E27FC236}">
                        <a16:creationId xmlns:a16="http://schemas.microsoft.com/office/drawing/2014/main" id="{A260C83D-4F3C-F1FC-CCE2-5AA5F27F131E}"/>
                      </a:ext>
                    </a:extLst>
                  </p:cNvPr>
                  <p:cNvSpPr/>
                  <p:nvPr userDrawn="1"/>
                </p:nvSpPr>
                <p:spPr>
                  <a:xfrm>
                    <a:off x="8396310" y="439602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9BFD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10" name="Freeform: Shape 309">
                    <a:extLst>
                      <a:ext uri="{FF2B5EF4-FFF2-40B4-BE49-F238E27FC236}">
                        <a16:creationId xmlns:a16="http://schemas.microsoft.com/office/drawing/2014/main" id="{9939232B-C94F-58F4-12F0-88CA333A4466}"/>
                      </a:ext>
                    </a:extLst>
                  </p:cNvPr>
                  <p:cNvSpPr/>
                  <p:nvPr userDrawn="1"/>
                </p:nvSpPr>
                <p:spPr>
                  <a:xfrm>
                    <a:off x="8396872" y="4395912"/>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9BFD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11" name="Freeform: Shape 310">
                    <a:extLst>
                      <a:ext uri="{FF2B5EF4-FFF2-40B4-BE49-F238E27FC236}">
                        <a16:creationId xmlns:a16="http://schemas.microsoft.com/office/drawing/2014/main" id="{AFCA68CF-A6A6-674E-C1B8-F1F0E34972B5}"/>
                      </a:ext>
                    </a:extLst>
                  </p:cNvPr>
                  <p:cNvSpPr/>
                  <p:nvPr userDrawn="1"/>
                </p:nvSpPr>
                <p:spPr>
                  <a:xfrm>
                    <a:off x="8397433" y="4395795"/>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97"/>
                          <a:pt x="0" y="32667"/>
                          <a:pt x="0" y="21037"/>
                        </a:cubicBezTo>
                        <a:close/>
                      </a:path>
                    </a:pathLst>
                  </a:custGeom>
                  <a:solidFill>
                    <a:srgbClr val="B9C0D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12" name="Freeform: Shape 311">
                    <a:extLst>
                      <a:ext uri="{FF2B5EF4-FFF2-40B4-BE49-F238E27FC236}">
                        <a16:creationId xmlns:a16="http://schemas.microsoft.com/office/drawing/2014/main" id="{B3AE7595-A535-6BFB-7361-8EFADFD17B4A}"/>
                      </a:ext>
                    </a:extLst>
                  </p:cNvPr>
                  <p:cNvSpPr/>
                  <p:nvPr userDrawn="1"/>
                </p:nvSpPr>
                <p:spPr>
                  <a:xfrm>
                    <a:off x="8397972" y="4395678"/>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AC0D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13" name="Freeform: Shape 312">
                    <a:extLst>
                      <a:ext uri="{FF2B5EF4-FFF2-40B4-BE49-F238E27FC236}">
                        <a16:creationId xmlns:a16="http://schemas.microsoft.com/office/drawing/2014/main" id="{2C94D8FC-CFF4-A285-7BEF-9D7328D0F9D0}"/>
                      </a:ext>
                    </a:extLst>
                  </p:cNvPr>
                  <p:cNvSpPr/>
                  <p:nvPr userDrawn="1"/>
                </p:nvSpPr>
                <p:spPr>
                  <a:xfrm>
                    <a:off x="8398510" y="439556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AC0D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14" name="Freeform: Shape 313">
                    <a:extLst>
                      <a:ext uri="{FF2B5EF4-FFF2-40B4-BE49-F238E27FC236}">
                        <a16:creationId xmlns:a16="http://schemas.microsoft.com/office/drawing/2014/main" id="{97AFC678-9209-B912-72A5-9B58D7A2E216}"/>
                      </a:ext>
                    </a:extLst>
                  </p:cNvPr>
                  <p:cNvSpPr/>
                  <p:nvPr userDrawn="1"/>
                </p:nvSpPr>
                <p:spPr>
                  <a:xfrm>
                    <a:off x="8399071" y="4395444"/>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AC0D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15" name="Freeform: Shape 314">
                    <a:extLst>
                      <a:ext uri="{FF2B5EF4-FFF2-40B4-BE49-F238E27FC236}">
                        <a16:creationId xmlns:a16="http://schemas.microsoft.com/office/drawing/2014/main" id="{69E1E69B-1612-36DC-3431-70D8D2D872B7}"/>
                      </a:ext>
                    </a:extLst>
                  </p:cNvPr>
                  <p:cNvSpPr/>
                  <p:nvPr userDrawn="1"/>
                </p:nvSpPr>
                <p:spPr>
                  <a:xfrm>
                    <a:off x="8399610" y="4395327"/>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AC1D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16" name="Freeform: Shape 315">
                    <a:extLst>
                      <a:ext uri="{FF2B5EF4-FFF2-40B4-BE49-F238E27FC236}">
                        <a16:creationId xmlns:a16="http://schemas.microsoft.com/office/drawing/2014/main" id="{4A724DC5-1D71-6CF3-984A-74AD93E5AA47}"/>
                      </a:ext>
                    </a:extLst>
                  </p:cNvPr>
                  <p:cNvSpPr/>
                  <p:nvPr userDrawn="1"/>
                </p:nvSpPr>
                <p:spPr>
                  <a:xfrm>
                    <a:off x="8400171" y="439521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74"/>
                          <a:pt x="0" y="32643"/>
                          <a:pt x="0" y="21037"/>
                        </a:cubicBezTo>
                        <a:close/>
                      </a:path>
                    </a:pathLst>
                  </a:custGeom>
                  <a:solidFill>
                    <a:srgbClr val="BBC1D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17" name="Freeform: Shape 316">
                    <a:extLst>
                      <a:ext uri="{FF2B5EF4-FFF2-40B4-BE49-F238E27FC236}">
                        <a16:creationId xmlns:a16="http://schemas.microsoft.com/office/drawing/2014/main" id="{B1CE94A7-5DC0-4C75-25F2-AB496C20F173}"/>
                      </a:ext>
                    </a:extLst>
                  </p:cNvPr>
                  <p:cNvSpPr/>
                  <p:nvPr userDrawn="1"/>
                </p:nvSpPr>
                <p:spPr>
                  <a:xfrm>
                    <a:off x="8400710" y="439506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BC1D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18" name="Freeform: Shape 317">
                    <a:extLst>
                      <a:ext uri="{FF2B5EF4-FFF2-40B4-BE49-F238E27FC236}">
                        <a16:creationId xmlns:a16="http://schemas.microsoft.com/office/drawing/2014/main" id="{2D9E30FC-AB4A-4DA7-371B-714B3F57A275}"/>
                      </a:ext>
                    </a:extLst>
                  </p:cNvPr>
                  <p:cNvSpPr/>
                  <p:nvPr userDrawn="1"/>
                </p:nvSpPr>
                <p:spPr>
                  <a:xfrm>
                    <a:off x="8401248" y="4394952"/>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BC1D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19" name="Freeform: Shape 318">
                    <a:extLst>
                      <a:ext uri="{FF2B5EF4-FFF2-40B4-BE49-F238E27FC236}">
                        <a16:creationId xmlns:a16="http://schemas.microsoft.com/office/drawing/2014/main" id="{32A4B276-6F73-2757-ABF7-09B28C2CBD74}"/>
                      </a:ext>
                    </a:extLst>
                  </p:cNvPr>
                  <p:cNvSpPr/>
                  <p:nvPr userDrawn="1"/>
                </p:nvSpPr>
                <p:spPr>
                  <a:xfrm>
                    <a:off x="8401809" y="4394835"/>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74"/>
                          <a:pt x="0" y="32667"/>
                          <a:pt x="0" y="21037"/>
                        </a:cubicBezTo>
                        <a:close/>
                      </a:path>
                    </a:pathLst>
                  </a:custGeom>
                  <a:solidFill>
                    <a:srgbClr val="BCC2D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20" name="Freeform: Shape 319">
                    <a:extLst>
                      <a:ext uri="{FF2B5EF4-FFF2-40B4-BE49-F238E27FC236}">
                        <a16:creationId xmlns:a16="http://schemas.microsoft.com/office/drawing/2014/main" id="{2DBE3DA1-B226-0A24-40A7-44AE30D309F6}"/>
                      </a:ext>
                    </a:extLst>
                  </p:cNvPr>
                  <p:cNvSpPr/>
                  <p:nvPr userDrawn="1"/>
                </p:nvSpPr>
                <p:spPr>
                  <a:xfrm>
                    <a:off x="8402348" y="4394695"/>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97"/>
                          <a:pt x="0" y="32667"/>
                          <a:pt x="0" y="21037"/>
                        </a:cubicBezTo>
                        <a:close/>
                      </a:path>
                    </a:pathLst>
                  </a:custGeom>
                  <a:solidFill>
                    <a:srgbClr val="BCC2D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21" name="Freeform: Shape 320">
                    <a:extLst>
                      <a:ext uri="{FF2B5EF4-FFF2-40B4-BE49-F238E27FC236}">
                        <a16:creationId xmlns:a16="http://schemas.microsoft.com/office/drawing/2014/main" id="{00E34CEF-AFE8-3C2E-760E-2A7DF036E25B}"/>
                      </a:ext>
                    </a:extLst>
                  </p:cNvPr>
                  <p:cNvSpPr/>
                  <p:nvPr userDrawn="1"/>
                </p:nvSpPr>
                <p:spPr>
                  <a:xfrm>
                    <a:off x="8402886" y="4394578"/>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CC2D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22" name="Freeform: Shape 321">
                    <a:extLst>
                      <a:ext uri="{FF2B5EF4-FFF2-40B4-BE49-F238E27FC236}">
                        <a16:creationId xmlns:a16="http://schemas.microsoft.com/office/drawing/2014/main" id="{92E0AED2-BF75-2E78-FC40-80BB5C1C4611}"/>
                      </a:ext>
                    </a:extLst>
                  </p:cNvPr>
                  <p:cNvSpPr/>
                  <p:nvPr userDrawn="1"/>
                </p:nvSpPr>
                <p:spPr>
                  <a:xfrm>
                    <a:off x="8403424" y="4394437"/>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DC3D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23" name="Freeform: Shape 322">
                    <a:extLst>
                      <a:ext uri="{FF2B5EF4-FFF2-40B4-BE49-F238E27FC236}">
                        <a16:creationId xmlns:a16="http://schemas.microsoft.com/office/drawing/2014/main" id="{1F2EA07B-67A0-5655-B838-F7C3413B02F3}"/>
                      </a:ext>
                    </a:extLst>
                  </p:cNvPr>
                  <p:cNvSpPr/>
                  <p:nvPr userDrawn="1"/>
                </p:nvSpPr>
                <p:spPr>
                  <a:xfrm>
                    <a:off x="8403962" y="439432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DC3D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24" name="Freeform: Shape 323">
                    <a:extLst>
                      <a:ext uri="{FF2B5EF4-FFF2-40B4-BE49-F238E27FC236}">
                        <a16:creationId xmlns:a16="http://schemas.microsoft.com/office/drawing/2014/main" id="{A1C4DC74-5F1E-F7B4-C409-8EBB76CA8CDB}"/>
                      </a:ext>
                    </a:extLst>
                  </p:cNvPr>
                  <p:cNvSpPr/>
                  <p:nvPr userDrawn="1"/>
                </p:nvSpPr>
                <p:spPr>
                  <a:xfrm>
                    <a:off x="8404500" y="439418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DC3D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25" name="Freeform: Shape 324">
                    <a:extLst>
                      <a:ext uri="{FF2B5EF4-FFF2-40B4-BE49-F238E27FC236}">
                        <a16:creationId xmlns:a16="http://schemas.microsoft.com/office/drawing/2014/main" id="{8A38DCE1-0D0B-25E9-F4B0-6C051325B7FB}"/>
                      </a:ext>
                    </a:extLst>
                  </p:cNvPr>
                  <p:cNvSpPr/>
                  <p:nvPr userDrawn="1"/>
                </p:nvSpPr>
                <p:spPr>
                  <a:xfrm>
                    <a:off x="8405039" y="439404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EC3D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26" name="Freeform: Shape 325">
                    <a:extLst>
                      <a:ext uri="{FF2B5EF4-FFF2-40B4-BE49-F238E27FC236}">
                        <a16:creationId xmlns:a16="http://schemas.microsoft.com/office/drawing/2014/main" id="{37C976AD-A969-4873-5AF7-48C8B032513B}"/>
                      </a:ext>
                    </a:extLst>
                  </p:cNvPr>
                  <p:cNvSpPr/>
                  <p:nvPr userDrawn="1"/>
                </p:nvSpPr>
                <p:spPr>
                  <a:xfrm>
                    <a:off x="8405577" y="4393923"/>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EC4D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27" name="Freeform: Shape 326">
                    <a:extLst>
                      <a:ext uri="{FF2B5EF4-FFF2-40B4-BE49-F238E27FC236}">
                        <a16:creationId xmlns:a16="http://schemas.microsoft.com/office/drawing/2014/main" id="{5929F8C2-BE75-7540-872B-3D58356C9DE4}"/>
                      </a:ext>
                    </a:extLst>
                  </p:cNvPr>
                  <p:cNvSpPr/>
                  <p:nvPr userDrawn="1"/>
                </p:nvSpPr>
                <p:spPr>
                  <a:xfrm>
                    <a:off x="8406115" y="4393782"/>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EC4D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28" name="Freeform: Shape 327">
                    <a:extLst>
                      <a:ext uri="{FF2B5EF4-FFF2-40B4-BE49-F238E27FC236}">
                        <a16:creationId xmlns:a16="http://schemas.microsoft.com/office/drawing/2014/main" id="{B18F891F-7209-1C92-2B0B-0FB4DE5804BD}"/>
                      </a:ext>
                    </a:extLst>
                  </p:cNvPr>
                  <p:cNvSpPr/>
                  <p:nvPr userDrawn="1"/>
                </p:nvSpPr>
                <p:spPr>
                  <a:xfrm>
                    <a:off x="8406653" y="4393642"/>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EC4D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29" name="Freeform: Shape 328">
                    <a:extLst>
                      <a:ext uri="{FF2B5EF4-FFF2-40B4-BE49-F238E27FC236}">
                        <a16:creationId xmlns:a16="http://schemas.microsoft.com/office/drawing/2014/main" id="{EE1C0AA4-8515-4FEF-0275-79C3A7F8DE31}"/>
                      </a:ext>
                    </a:extLst>
                  </p:cNvPr>
                  <p:cNvSpPr/>
                  <p:nvPr userDrawn="1"/>
                </p:nvSpPr>
                <p:spPr>
                  <a:xfrm>
                    <a:off x="8407191" y="439350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FC5D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30" name="Freeform: Shape 329">
                    <a:extLst>
                      <a:ext uri="{FF2B5EF4-FFF2-40B4-BE49-F238E27FC236}">
                        <a16:creationId xmlns:a16="http://schemas.microsoft.com/office/drawing/2014/main" id="{DA1D6DAB-6F5D-911F-69CA-4CEF2A591126}"/>
                      </a:ext>
                    </a:extLst>
                  </p:cNvPr>
                  <p:cNvSpPr/>
                  <p:nvPr userDrawn="1"/>
                </p:nvSpPr>
                <p:spPr>
                  <a:xfrm>
                    <a:off x="8407730" y="439336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FC5D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31" name="Freeform: Shape 330">
                    <a:extLst>
                      <a:ext uri="{FF2B5EF4-FFF2-40B4-BE49-F238E27FC236}">
                        <a16:creationId xmlns:a16="http://schemas.microsoft.com/office/drawing/2014/main" id="{0AB76237-89DE-9135-8690-985B4DEB70F3}"/>
                      </a:ext>
                    </a:extLst>
                  </p:cNvPr>
                  <p:cNvSpPr/>
                  <p:nvPr userDrawn="1"/>
                </p:nvSpPr>
                <p:spPr>
                  <a:xfrm>
                    <a:off x="8408268" y="439322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97"/>
                          <a:pt x="0" y="32667"/>
                          <a:pt x="0" y="21037"/>
                        </a:cubicBezTo>
                        <a:close/>
                      </a:path>
                    </a:pathLst>
                  </a:custGeom>
                  <a:solidFill>
                    <a:srgbClr val="BFC5D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32" name="Freeform: Shape 331">
                    <a:extLst>
                      <a:ext uri="{FF2B5EF4-FFF2-40B4-BE49-F238E27FC236}">
                        <a16:creationId xmlns:a16="http://schemas.microsoft.com/office/drawing/2014/main" id="{9B383ED3-164A-89C9-36CC-2AF377911D2B}"/>
                      </a:ext>
                    </a:extLst>
                  </p:cNvPr>
                  <p:cNvSpPr/>
                  <p:nvPr userDrawn="1"/>
                </p:nvSpPr>
                <p:spPr>
                  <a:xfrm>
                    <a:off x="8408783" y="439308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C0C5D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33" name="Freeform: Shape 332">
                    <a:extLst>
                      <a:ext uri="{FF2B5EF4-FFF2-40B4-BE49-F238E27FC236}">
                        <a16:creationId xmlns:a16="http://schemas.microsoft.com/office/drawing/2014/main" id="{236A5C22-144D-BE95-F8D9-064C508E5691}"/>
                      </a:ext>
                    </a:extLst>
                  </p:cNvPr>
                  <p:cNvSpPr/>
                  <p:nvPr userDrawn="1"/>
                </p:nvSpPr>
                <p:spPr>
                  <a:xfrm>
                    <a:off x="8409321" y="439294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C0C6D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34" name="Freeform: Shape 333">
                    <a:extLst>
                      <a:ext uri="{FF2B5EF4-FFF2-40B4-BE49-F238E27FC236}">
                        <a16:creationId xmlns:a16="http://schemas.microsoft.com/office/drawing/2014/main" id="{BF4A8413-475A-5488-23A6-82368920D274}"/>
                      </a:ext>
                    </a:extLst>
                  </p:cNvPr>
                  <p:cNvSpPr/>
                  <p:nvPr userDrawn="1"/>
                </p:nvSpPr>
                <p:spPr>
                  <a:xfrm>
                    <a:off x="8409859" y="439279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97"/>
                          <a:pt x="0" y="32667"/>
                          <a:pt x="0" y="21037"/>
                        </a:cubicBezTo>
                        <a:close/>
                      </a:path>
                    </a:pathLst>
                  </a:custGeom>
                  <a:solidFill>
                    <a:srgbClr val="C0C6D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35" name="Freeform: Shape 334">
                    <a:extLst>
                      <a:ext uri="{FF2B5EF4-FFF2-40B4-BE49-F238E27FC236}">
                        <a16:creationId xmlns:a16="http://schemas.microsoft.com/office/drawing/2014/main" id="{01465BCA-6E2D-6B13-4745-841B8BC3EBFE}"/>
                      </a:ext>
                    </a:extLst>
                  </p:cNvPr>
                  <p:cNvSpPr/>
                  <p:nvPr userDrawn="1"/>
                </p:nvSpPr>
                <p:spPr>
                  <a:xfrm>
                    <a:off x="8410374" y="439265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C1C6D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36" name="Freeform: Shape 335">
                    <a:extLst>
                      <a:ext uri="{FF2B5EF4-FFF2-40B4-BE49-F238E27FC236}">
                        <a16:creationId xmlns:a16="http://schemas.microsoft.com/office/drawing/2014/main" id="{FB1D64CE-B457-2EDE-719A-74D144A7151E}"/>
                      </a:ext>
                    </a:extLst>
                  </p:cNvPr>
                  <p:cNvSpPr/>
                  <p:nvPr userDrawn="1"/>
                </p:nvSpPr>
                <p:spPr>
                  <a:xfrm>
                    <a:off x="8410912" y="439251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C1C6D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37" name="Freeform: Shape 336">
                    <a:extLst>
                      <a:ext uri="{FF2B5EF4-FFF2-40B4-BE49-F238E27FC236}">
                        <a16:creationId xmlns:a16="http://schemas.microsoft.com/office/drawing/2014/main" id="{5368474E-C7DD-B5BF-142A-BA49D226E862}"/>
                      </a:ext>
                    </a:extLst>
                  </p:cNvPr>
                  <p:cNvSpPr/>
                  <p:nvPr userDrawn="1"/>
                </p:nvSpPr>
                <p:spPr>
                  <a:xfrm>
                    <a:off x="8411427" y="4392378"/>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C1C7D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38" name="Freeform: Shape 337">
                    <a:extLst>
                      <a:ext uri="{FF2B5EF4-FFF2-40B4-BE49-F238E27FC236}">
                        <a16:creationId xmlns:a16="http://schemas.microsoft.com/office/drawing/2014/main" id="{F295AFD4-253A-68BE-53A8-D78DC089CA28}"/>
                      </a:ext>
                    </a:extLst>
                  </p:cNvPr>
                  <p:cNvSpPr/>
                  <p:nvPr userDrawn="1"/>
                </p:nvSpPr>
                <p:spPr>
                  <a:xfrm>
                    <a:off x="8411965" y="4392214"/>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C2C7D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39" name="Freeform: Shape 338">
                    <a:extLst>
                      <a:ext uri="{FF2B5EF4-FFF2-40B4-BE49-F238E27FC236}">
                        <a16:creationId xmlns:a16="http://schemas.microsoft.com/office/drawing/2014/main" id="{868423E6-7B0A-4474-2BD2-63DDEDBAE1AA}"/>
                      </a:ext>
                    </a:extLst>
                  </p:cNvPr>
                  <p:cNvSpPr/>
                  <p:nvPr userDrawn="1"/>
                </p:nvSpPr>
                <p:spPr>
                  <a:xfrm>
                    <a:off x="8412480" y="4392074"/>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C2C7D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40" name="Freeform: Shape 339">
                    <a:extLst>
                      <a:ext uri="{FF2B5EF4-FFF2-40B4-BE49-F238E27FC236}">
                        <a16:creationId xmlns:a16="http://schemas.microsoft.com/office/drawing/2014/main" id="{303C6F54-701B-C41D-E199-E1FE6D355FC9}"/>
                      </a:ext>
                    </a:extLst>
                  </p:cNvPr>
                  <p:cNvSpPr/>
                  <p:nvPr userDrawn="1"/>
                </p:nvSpPr>
                <p:spPr>
                  <a:xfrm>
                    <a:off x="8413018" y="439191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97"/>
                          <a:pt x="0" y="32667"/>
                          <a:pt x="0" y="21037"/>
                        </a:cubicBezTo>
                        <a:close/>
                      </a:path>
                    </a:pathLst>
                  </a:custGeom>
                  <a:solidFill>
                    <a:srgbClr val="C2C8D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41" name="Freeform: Shape 340">
                    <a:extLst>
                      <a:ext uri="{FF2B5EF4-FFF2-40B4-BE49-F238E27FC236}">
                        <a16:creationId xmlns:a16="http://schemas.microsoft.com/office/drawing/2014/main" id="{57F04E31-F3B7-3A1D-4F15-191739FB351B}"/>
                      </a:ext>
                    </a:extLst>
                  </p:cNvPr>
                  <p:cNvSpPr/>
                  <p:nvPr userDrawn="1"/>
                </p:nvSpPr>
                <p:spPr>
                  <a:xfrm>
                    <a:off x="8413533" y="439177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C2C8D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42" name="Freeform: Shape 341">
                    <a:extLst>
                      <a:ext uri="{FF2B5EF4-FFF2-40B4-BE49-F238E27FC236}">
                        <a16:creationId xmlns:a16="http://schemas.microsoft.com/office/drawing/2014/main" id="{4E993F20-7E7F-881A-8550-7D0B7A7F40D4}"/>
                      </a:ext>
                    </a:extLst>
                  </p:cNvPr>
                  <p:cNvSpPr/>
                  <p:nvPr userDrawn="1"/>
                </p:nvSpPr>
                <p:spPr>
                  <a:xfrm>
                    <a:off x="8414048" y="439162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C3C8D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43" name="Freeform: Shape 342">
                    <a:extLst>
                      <a:ext uri="{FF2B5EF4-FFF2-40B4-BE49-F238E27FC236}">
                        <a16:creationId xmlns:a16="http://schemas.microsoft.com/office/drawing/2014/main" id="{72A8E494-3657-543E-7136-5020B67FBEC7}"/>
                      </a:ext>
                    </a:extLst>
                  </p:cNvPr>
                  <p:cNvSpPr/>
                  <p:nvPr userDrawn="1"/>
                </p:nvSpPr>
                <p:spPr>
                  <a:xfrm>
                    <a:off x="8414586" y="4391466"/>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74"/>
                          <a:pt x="0" y="32667"/>
                          <a:pt x="0" y="21037"/>
                        </a:cubicBezTo>
                        <a:close/>
                      </a:path>
                    </a:pathLst>
                  </a:custGeom>
                  <a:solidFill>
                    <a:srgbClr val="C3C8D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44" name="Freeform: Shape 343">
                    <a:extLst>
                      <a:ext uri="{FF2B5EF4-FFF2-40B4-BE49-F238E27FC236}">
                        <a16:creationId xmlns:a16="http://schemas.microsoft.com/office/drawing/2014/main" id="{E502BC6F-1B1F-CF2D-5851-404A60A16E46}"/>
                      </a:ext>
                    </a:extLst>
                  </p:cNvPr>
                  <p:cNvSpPr/>
                  <p:nvPr userDrawn="1"/>
                </p:nvSpPr>
                <p:spPr>
                  <a:xfrm>
                    <a:off x="8415101" y="4391302"/>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97"/>
                          <a:pt x="0" y="32667"/>
                          <a:pt x="0" y="21037"/>
                        </a:cubicBezTo>
                        <a:close/>
                      </a:path>
                    </a:pathLst>
                  </a:custGeom>
                  <a:solidFill>
                    <a:srgbClr val="C3C9D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45" name="Freeform: Shape 344">
                    <a:extLst>
                      <a:ext uri="{FF2B5EF4-FFF2-40B4-BE49-F238E27FC236}">
                        <a16:creationId xmlns:a16="http://schemas.microsoft.com/office/drawing/2014/main" id="{59988F96-3431-0F62-843A-D2C3C21D26FB}"/>
                      </a:ext>
                    </a:extLst>
                  </p:cNvPr>
                  <p:cNvSpPr/>
                  <p:nvPr userDrawn="1"/>
                </p:nvSpPr>
                <p:spPr>
                  <a:xfrm>
                    <a:off x="8415615" y="439116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C4C9D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46" name="Freeform: Shape 345">
                    <a:extLst>
                      <a:ext uri="{FF2B5EF4-FFF2-40B4-BE49-F238E27FC236}">
                        <a16:creationId xmlns:a16="http://schemas.microsoft.com/office/drawing/2014/main" id="{D75DBA2F-C36E-D7D4-315A-7080A91B9912}"/>
                      </a:ext>
                    </a:extLst>
                  </p:cNvPr>
                  <p:cNvSpPr/>
                  <p:nvPr userDrawn="1"/>
                </p:nvSpPr>
                <p:spPr>
                  <a:xfrm>
                    <a:off x="8416130" y="4390998"/>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C4C9D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47" name="Freeform: Shape 346">
                    <a:extLst>
                      <a:ext uri="{FF2B5EF4-FFF2-40B4-BE49-F238E27FC236}">
                        <a16:creationId xmlns:a16="http://schemas.microsoft.com/office/drawing/2014/main" id="{2D5A2DE2-5C1A-9EA2-5170-94A6CFB56291}"/>
                      </a:ext>
                    </a:extLst>
                  </p:cNvPr>
                  <p:cNvSpPr/>
                  <p:nvPr userDrawn="1"/>
                </p:nvSpPr>
                <p:spPr>
                  <a:xfrm>
                    <a:off x="8416645" y="4390834"/>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C4CAD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48" name="Freeform: Shape 347">
                    <a:extLst>
                      <a:ext uri="{FF2B5EF4-FFF2-40B4-BE49-F238E27FC236}">
                        <a16:creationId xmlns:a16="http://schemas.microsoft.com/office/drawing/2014/main" id="{16AA86D9-A0E8-0299-A7FC-1A55DD7C6BDA}"/>
                      </a:ext>
                    </a:extLst>
                  </p:cNvPr>
                  <p:cNvSpPr/>
                  <p:nvPr userDrawn="1"/>
                </p:nvSpPr>
                <p:spPr>
                  <a:xfrm>
                    <a:off x="8417160" y="4390693"/>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C5CAD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49" name="Freeform: Shape 348">
                    <a:extLst>
                      <a:ext uri="{FF2B5EF4-FFF2-40B4-BE49-F238E27FC236}">
                        <a16:creationId xmlns:a16="http://schemas.microsoft.com/office/drawing/2014/main" id="{24DAF25C-020D-F648-7297-2E5B1125160A}"/>
                      </a:ext>
                    </a:extLst>
                  </p:cNvPr>
                  <p:cNvSpPr/>
                  <p:nvPr userDrawn="1"/>
                </p:nvSpPr>
                <p:spPr>
                  <a:xfrm>
                    <a:off x="8417675" y="439053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C5CAD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50" name="Freeform: Shape 349">
                    <a:extLst>
                      <a:ext uri="{FF2B5EF4-FFF2-40B4-BE49-F238E27FC236}">
                        <a16:creationId xmlns:a16="http://schemas.microsoft.com/office/drawing/2014/main" id="{60220BBB-DE5E-B6B0-60F0-6BFE4E2E4AFC}"/>
                      </a:ext>
                    </a:extLst>
                  </p:cNvPr>
                  <p:cNvSpPr/>
                  <p:nvPr userDrawn="1"/>
                </p:nvSpPr>
                <p:spPr>
                  <a:xfrm>
                    <a:off x="8418189" y="439036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C5CAD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51" name="Freeform: Shape 350">
                    <a:extLst>
                      <a:ext uri="{FF2B5EF4-FFF2-40B4-BE49-F238E27FC236}">
                        <a16:creationId xmlns:a16="http://schemas.microsoft.com/office/drawing/2014/main" id="{7B8C5855-97FA-4B89-FAC7-50891AD35A50}"/>
                      </a:ext>
                    </a:extLst>
                  </p:cNvPr>
                  <p:cNvSpPr/>
                  <p:nvPr userDrawn="1"/>
                </p:nvSpPr>
                <p:spPr>
                  <a:xfrm>
                    <a:off x="8418704" y="439020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C5CBD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52" name="Freeform: Shape 351">
                    <a:extLst>
                      <a:ext uri="{FF2B5EF4-FFF2-40B4-BE49-F238E27FC236}">
                        <a16:creationId xmlns:a16="http://schemas.microsoft.com/office/drawing/2014/main" id="{E346958C-F38F-0A2E-8079-E689CB3473CF}"/>
                      </a:ext>
                    </a:extLst>
                  </p:cNvPr>
                  <p:cNvSpPr/>
                  <p:nvPr userDrawn="1"/>
                </p:nvSpPr>
                <p:spPr>
                  <a:xfrm>
                    <a:off x="8419196" y="439003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6CBD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53" name="Freeform: Shape 352">
                    <a:extLst>
                      <a:ext uri="{FF2B5EF4-FFF2-40B4-BE49-F238E27FC236}">
                        <a16:creationId xmlns:a16="http://schemas.microsoft.com/office/drawing/2014/main" id="{F939E530-1521-4637-30DA-CFF7C1C93BBE}"/>
                      </a:ext>
                    </a:extLst>
                  </p:cNvPr>
                  <p:cNvSpPr/>
                  <p:nvPr userDrawn="1"/>
                </p:nvSpPr>
                <p:spPr>
                  <a:xfrm>
                    <a:off x="8419710" y="438987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6CBD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54" name="Freeform: Shape 353">
                    <a:extLst>
                      <a:ext uri="{FF2B5EF4-FFF2-40B4-BE49-F238E27FC236}">
                        <a16:creationId xmlns:a16="http://schemas.microsoft.com/office/drawing/2014/main" id="{734D8566-83C5-1912-B6DE-77625C6A2F45}"/>
                      </a:ext>
                    </a:extLst>
                  </p:cNvPr>
                  <p:cNvSpPr/>
                  <p:nvPr userDrawn="1"/>
                </p:nvSpPr>
                <p:spPr>
                  <a:xfrm>
                    <a:off x="8420225" y="438971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C6CBD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55" name="Freeform: Shape 354">
                    <a:extLst>
                      <a:ext uri="{FF2B5EF4-FFF2-40B4-BE49-F238E27FC236}">
                        <a16:creationId xmlns:a16="http://schemas.microsoft.com/office/drawing/2014/main" id="{E7C56A60-7707-B636-E82A-6E9B0DB4589B}"/>
                      </a:ext>
                    </a:extLst>
                  </p:cNvPr>
                  <p:cNvSpPr/>
                  <p:nvPr userDrawn="1"/>
                </p:nvSpPr>
                <p:spPr>
                  <a:xfrm>
                    <a:off x="8420717" y="438954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C7CCD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56" name="Freeform: Shape 355">
                    <a:extLst>
                      <a:ext uri="{FF2B5EF4-FFF2-40B4-BE49-F238E27FC236}">
                        <a16:creationId xmlns:a16="http://schemas.microsoft.com/office/drawing/2014/main" id="{AFEC5015-926D-6338-BBED-3A1D38BE7E8E}"/>
                      </a:ext>
                    </a:extLst>
                  </p:cNvPr>
                  <p:cNvSpPr/>
                  <p:nvPr userDrawn="1"/>
                </p:nvSpPr>
                <p:spPr>
                  <a:xfrm>
                    <a:off x="8421231" y="438938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C7CCD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57" name="Freeform: Shape 356">
                    <a:extLst>
                      <a:ext uri="{FF2B5EF4-FFF2-40B4-BE49-F238E27FC236}">
                        <a16:creationId xmlns:a16="http://schemas.microsoft.com/office/drawing/2014/main" id="{2DE302CC-0918-C919-53C4-6DFB39063D24}"/>
                      </a:ext>
                    </a:extLst>
                  </p:cNvPr>
                  <p:cNvSpPr/>
                  <p:nvPr userDrawn="1"/>
                </p:nvSpPr>
                <p:spPr>
                  <a:xfrm>
                    <a:off x="8421723" y="438921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C7CCD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58" name="Freeform: Shape 357">
                    <a:extLst>
                      <a:ext uri="{FF2B5EF4-FFF2-40B4-BE49-F238E27FC236}">
                        <a16:creationId xmlns:a16="http://schemas.microsoft.com/office/drawing/2014/main" id="{CC9093CB-6DED-902A-CECC-4890B431ABC2}"/>
                      </a:ext>
                    </a:extLst>
                  </p:cNvPr>
                  <p:cNvSpPr/>
                  <p:nvPr userDrawn="1"/>
                </p:nvSpPr>
                <p:spPr>
                  <a:xfrm>
                    <a:off x="8422238" y="438903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8CDD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59" name="Freeform: Shape 358">
                    <a:extLst>
                      <a:ext uri="{FF2B5EF4-FFF2-40B4-BE49-F238E27FC236}">
                        <a16:creationId xmlns:a16="http://schemas.microsoft.com/office/drawing/2014/main" id="{9E52D8C0-CFD9-8AE1-F1C3-A77ABB77F6CE}"/>
                      </a:ext>
                    </a:extLst>
                  </p:cNvPr>
                  <p:cNvSpPr/>
                  <p:nvPr userDrawn="1"/>
                </p:nvSpPr>
                <p:spPr>
                  <a:xfrm>
                    <a:off x="8422729" y="438886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8CDD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60" name="Freeform: Shape 359">
                    <a:extLst>
                      <a:ext uri="{FF2B5EF4-FFF2-40B4-BE49-F238E27FC236}">
                        <a16:creationId xmlns:a16="http://schemas.microsoft.com/office/drawing/2014/main" id="{1F0A4EA7-2F6F-9923-D07D-4607C518B918}"/>
                      </a:ext>
                    </a:extLst>
                  </p:cNvPr>
                  <p:cNvSpPr/>
                  <p:nvPr userDrawn="1"/>
                </p:nvSpPr>
                <p:spPr>
                  <a:xfrm>
                    <a:off x="8423244" y="438870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C8CDD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61" name="Freeform: Shape 360">
                    <a:extLst>
                      <a:ext uri="{FF2B5EF4-FFF2-40B4-BE49-F238E27FC236}">
                        <a16:creationId xmlns:a16="http://schemas.microsoft.com/office/drawing/2014/main" id="{572E3919-D174-F391-1464-898B77C4E410}"/>
                      </a:ext>
                    </a:extLst>
                  </p:cNvPr>
                  <p:cNvSpPr/>
                  <p:nvPr userDrawn="1"/>
                </p:nvSpPr>
                <p:spPr>
                  <a:xfrm>
                    <a:off x="8423735" y="438851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C9CDD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62" name="Freeform: Shape 361">
                    <a:extLst>
                      <a:ext uri="{FF2B5EF4-FFF2-40B4-BE49-F238E27FC236}">
                        <a16:creationId xmlns:a16="http://schemas.microsoft.com/office/drawing/2014/main" id="{176FD044-A17F-A0EE-9DBF-6DE7934874CB}"/>
                      </a:ext>
                    </a:extLst>
                  </p:cNvPr>
                  <p:cNvSpPr/>
                  <p:nvPr userDrawn="1"/>
                </p:nvSpPr>
                <p:spPr>
                  <a:xfrm>
                    <a:off x="8424227" y="438835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C9CED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63" name="Freeform: Shape 362">
                    <a:extLst>
                      <a:ext uri="{FF2B5EF4-FFF2-40B4-BE49-F238E27FC236}">
                        <a16:creationId xmlns:a16="http://schemas.microsoft.com/office/drawing/2014/main" id="{60804BC0-B81C-74DE-A434-33BF7B20EEEE}"/>
                      </a:ext>
                    </a:extLst>
                  </p:cNvPr>
                  <p:cNvSpPr/>
                  <p:nvPr userDrawn="1"/>
                </p:nvSpPr>
                <p:spPr>
                  <a:xfrm>
                    <a:off x="8424718" y="438816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9CED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64" name="Freeform: Shape 363">
                    <a:extLst>
                      <a:ext uri="{FF2B5EF4-FFF2-40B4-BE49-F238E27FC236}">
                        <a16:creationId xmlns:a16="http://schemas.microsoft.com/office/drawing/2014/main" id="{137C3F88-E2F6-39D6-C290-AC54C3486115}"/>
                      </a:ext>
                    </a:extLst>
                  </p:cNvPr>
                  <p:cNvSpPr/>
                  <p:nvPr userDrawn="1"/>
                </p:nvSpPr>
                <p:spPr>
                  <a:xfrm>
                    <a:off x="8425209" y="438800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C9CED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65" name="Freeform: Shape 364">
                    <a:extLst>
                      <a:ext uri="{FF2B5EF4-FFF2-40B4-BE49-F238E27FC236}">
                        <a16:creationId xmlns:a16="http://schemas.microsoft.com/office/drawing/2014/main" id="{0D1208E3-5E81-DC53-45DA-B40DF0FB91F6}"/>
                      </a:ext>
                    </a:extLst>
                  </p:cNvPr>
                  <p:cNvSpPr/>
                  <p:nvPr userDrawn="1"/>
                </p:nvSpPr>
                <p:spPr>
                  <a:xfrm>
                    <a:off x="8425701" y="438781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ACFD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66" name="Freeform: Shape 365">
                    <a:extLst>
                      <a:ext uri="{FF2B5EF4-FFF2-40B4-BE49-F238E27FC236}">
                        <a16:creationId xmlns:a16="http://schemas.microsoft.com/office/drawing/2014/main" id="{6B7516E3-B712-F9D5-4DB6-7E6512A885C6}"/>
                      </a:ext>
                    </a:extLst>
                  </p:cNvPr>
                  <p:cNvSpPr/>
                  <p:nvPr userDrawn="1"/>
                </p:nvSpPr>
                <p:spPr>
                  <a:xfrm>
                    <a:off x="8426192" y="438765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CACFD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67" name="Freeform: Shape 366">
                    <a:extLst>
                      <a:ext uri="{FF2B5EF4-FFF2-40B4-BE49-F238E27FC236}">
                        <a16:creationId xmlns:a16="http://schemas.microsoft.com/office/drawing/2014/main" id="{F8C25286-6BC7-3268-17FD-EA9798001F01}"/>
                      </a:ext>
                    </a:extLst>
                  </p:cNvPr>
                  <p:cNvSpPr/>
                  <p:nvPr userDrawn="1"/>
                </p:nvSpPr>
                <p:spPr>
                  <a:xfrm>
                    <a:off x="8426684" y="438746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ACFD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68" name="Freeform: Shape 367">
                    <a:extLst>
                      <a:ext uri="{FF2B5EF4-FFF2-40B4-BE49-F238E27FC236}">
                        <a16:creationId xmlns:a16="http://schemas.microsoft.com/office/drawing/2014/main" id="{64372DE9-C994-25C0-A7E6-EEDAEC78F82C}"/>
                      </a:ext>
                    </a:extLst>
                  </p:cNvPr>
                  <p:cNvSpPr/>
                  <p:nvPr userDrawn="1"/>
                </p:nvSpPr>
                <p:spPr>
                  <a:xfrm>
                    <a:off x="8427175" y="438730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CBCFD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69" name="Freeform: Shape 368">
                    <a:extLst>
                      <a:ext uri="{FF2B5EF4-FFF2-40B4-BE49-F238E27FC236}">
                        <a16:creationId xmlns:a16="http://schemas.microsoft.com/office/drawing/2014/main" id="{45A59E0A-F915-DEE7-0EB4-524D00393CEC}"/>
                      </a:ext>
                    </a:extLst>
                  </p:cNvPr>
                  <p:cNvSpPr/>
                  <p:nvPr userDrawn="1"/>
                </p:nvSpPr>
                <p:spPr>
                  <a:xfrm>
                    <a:off x="8427666" y="438711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CBD0D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70" name="Freeform: Shape 369">
                    <a:extLst>
                      <a:ext uri="{FF2B5EF4-FFF2-40B4-BE49-F238E27FC236}">
                        <a16:creationId xmlns:a16="http://schemas.microsoft.com/office/drawing/2014/main" id="{2FCAD4A7-0ABF-3B45-4430-8406BB8829DA}"/>
                      </a:ext>
                    </a:extLst>
                  </p:cNvPr>
                  <p:cNvSpPr/>
                  <p:nvPr userDrawn="1"/>
                </p:nvSpPr>
                <p:spPr>
                  <a:xfrm>
                    <a:off x="8428135" y="438692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BD0D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71" name="Freeform: Shape 370">
                    <a:extLst>
                      <a:ext uri="{FF2B5EF4-FFF2-40B4-BE49-F238E27FC236}">
                        <a16:creationId xmlns:a16="http://schemas.microsoft.com/office/drawing/2014/main" id="{48BDD046-CC80-CF9A-E4E9-8853D32AEC2A}"/>
                      </a:ext>
                    </a:extLst>
                  </p:cNvPr>
                  <p:cNvSpPr/>
                  <p:nvPr userDrawn="1"/>
                </p:nvSpPr>
                <p:spPr>
                  <a:xfrm>
                    <a:off x="8428626" y="438673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CD0D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72" name="Freeform: Shape 371">
                    <a:extLst>
                      <a:ext uri="{FF2B5EF4-FFF2-40B4-BE49-F238E27FC236}">
                        <a16:creationId xmlns:a16="http://schemas.microsoft.com/office/drawing/2014/main" id="{6BDECC4C-19DE-16DD-8421-AC80765077AF}"/>
                      </a:ext>
                    </a:extLst>
                  </p:cNvPr>
                  <p:cNvSpPr/>
                  <p:nvPr userDrawn="1"/>
                </p:nvSpPr>
                <p:spPr>
                  <a:xfrm>
                    <a:off x="8429117" y="438655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CCD0D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73" name="Freeform: Shape 372">
                    <a:extLst>
                      <a:ext uri="{FF2B5EF4-FFF2-40B4-BE49-F238E27FC236}">
                        <a16:creationId xmlns:a16="http://schemas.microsoft.com/office/drawing/2014/main" id="{DD08563D-0AEB-64CD-82AF-507B2470C41C}"/>
                      </a:ext>
                    </a:extLst>
                  </p:cNvPr>
                  <p:cNvSpPr/>
                  <p:nvPr userDrawn="1"/>
                </p:nvSpPr>
                <p:spPr>
                  <a:xfrm>
                    <a:off x="8429585" y="438638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CCD1D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74" name="Freeform: Shape 373">
                    <a:extLst>
                      <a:ext uri="{FF2B5EF4-FFF2-40B4-BE49-F238E27FC236}">
                        <a16:creationId xmlns:a16="http://schemas.microsoft.com/office/drawing/2014/main" id="{1795E0F4-2AE3-F852-2E57-37A5E2601765}"/>
                      </a:ext>
                    </a:extLst>
                  </p:cNvPr>
                  <p:cNvSpPr/>
                  <p:nvPr userDrawn="1"/>
                </p:nvSpPr>
                <p:spPr>
                  <a:xfrm>
                    <a:off x="8430077" y="438620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43"/>
                          <a:pt x="0" y="21037"/>
                        </a:cubicBezTo>
                        <a:close/>
                      </a:path>
                    </a:pathLst>
                  </a:custGeom>
                  <a:solidFill>
                    <a:srgbClr val="CDD1D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75" name="Freeform: Shape 374">
                    <a:extLst>
                      <a:ext uri="{FF2B5EF4-FFF2-40B4-BE49-F238E27FC236}">
                        <a16:creationId xmlns:a16="http://schemas.microsoft.com/office/drawing/2014/main" id="{324A5045-0EA9-A447-46CB-DEDC3E9FE1BE}"/>
                      </a:ext>
                    </a:extLst>
                  </p:cNvPr>
                  <p:cNvSpPr/>
                  <p:nvPr userDrawn="1"/>
                </p:nvSpPr>
                <p:spPr>
                  <a:xfrm>
                    <a:off x="8430545" y="438601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CDD1D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76" name="Freeform: Shape 375">
                    <a:extLst>
                      <a:ext uri="{FF2B5EF4-FFF2-40B4-BE49-F238E27FC236}">
                        <a16:creationId xmlns:a16="http://schemas.microsoft.com/office/drawing/2014/main" id="{6CB39175-7478-BA68-6C26-5444F358FC79}"/>
                      </a:ext>
                    </a:extLst>
                  </p:cNvPr>
                  <p:cNvSpPr/>
                  <p:nvPr userDrawn="1"/>
                </p:nvSpPr>
                <p:spPr>
                  <a:xfrm>
                    <a:off x="8431013" y="438582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CDD2D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77" name="Freeform: Shape 376">
                    <a:extLst>
                      <a:ext uri="{FF2B5EF4-FFF2-40B4-BE49-F238E27FC236}">
                        <a16:creationId xmlns:a16="http://schemas.microsoft.com/office/drawing/2014/main" id="{3C43FD3E-580D-4D97-929E-EB3E61E8FA7F}"/>
                      </a:ext>
                    </a:extLst>
                  </p:cNvPr>
                  <p:cNvSpPr/>
                  <p:nvPr userDrawn="1"/>
                </p:nvSpPr>
                <p:spPr>
                  <a:xfrm>
                    <a:off x="8431504" y="438563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43"/>
                          <a:pt x="0" y="21037"/>
                        </a:cubicBezTo>
                        <a:close/>
                      </a:path>
                    </a:pathLst>
                  </a:custGeom>
                  <a:solidFill>
                    <a:srgbClr val="CDD2D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78" name="Freeform: Shape 377">
                    <a:extLst>
                      <a:ext uri="{FF2B5EF4-FFF2-40B4-BE49-F238E27FC236}">
                        <a16:creationId xmlns:a16="http://schemas.microsoft.com/office/drawing/2014/main" id="{B28A74D4-7510-7E0E-1C3A-85F74C84443E}"/>
                      </a:ext>
                    </a:extLst>
                  </p:cNvPr>
                  <p:cNvSpPr/>
                  <p:nvPr userDrawn="1"/>
                </p:nvSpPr>
                <p:spPr>
                  <a:xfrm>
                    <a:off x="8431972" y="438542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ED2D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79" name="Freeform: Shape 378">
                    <a:extLst>
                      <a:ext uri="{FF2B5EF4-FFF2-40B4-BE49-F238E27FC236}">
                        <a16:creationId xmlns:a16="http://schemas.microsoft.com/office/drawing/2014/main" id="{1A38C5B8-407C-8E56-D703-88721853398D}"/>
                      </a:ext>
                    </a:extLst>
                  </p:cNvPr>
                  <p:cNvSpPr/>
                  <p:nvPr userDrawn="1"/>
                </p:nvSpPr>
                <p:spPr>
                  <a:xfrm>
                    <a:off x="8432440" y="438524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ED2D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80" name="Freeform: Shape 379">
                    <a:extLst>
                      <a:ext uri="{FF2B5EF4-FFF2-40B4-BE49-F238E27FC236}">
                        <a16:creationId xmlns:a16="http://schemas.microsoft.com/office/drawing/2014/main" id="{7FBC0DAD-BCCC-24B0-68D4-CB99205C7856}"/>
                      </a:ext>
                    </a:extLst>
                  </p:cNvPr>
                  <p:cNvSpPr/>
                  <p:nvPr userDrawn="1"/>
                </p:nvSpPr>
                <p:spPr>
                  <a:xfrm>
                    <a:off x="8432908" y="438505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ED3D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81" name="Freeform: Shape 380">
                    <a:extLst>
                      <a:ext uri="{FF2B5EF4-FFF2-40B4-BE49-F238E27FC236}">
                        <a16:creationId xmlns:a16="http://schemas.microsoft.com/office/drawing/2014/main" id="{594AAFCC-CFD4-4707-2276-2549C38554FF}"/>
                      </a:ext>
                    </a:extLst>
                  </p:cNvPr>
                  <p:cNvSpPr/>
                  <p:nvPr userDrawn="1"/>
                </p:nvSpPr>
                <p:spPr>
                  <a:xfrm>
                    <a:off x="8433376" y="438486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CFD3D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82" name="Freeform: Shape 381">
                    <a:extLst>
                      <a:ext uri="{FF2B5EF4-FFF2-40B4-BE49-F238E27FC236}">
                        <a16:creationId xmlns:a16="http://schemas.microsoft.com/office/drawing/2014/main" id="{ED6069CC-95C0-3A5D-1345-36BBA48E650E}"/>
                      </a:ext>
                    </a:extLst>
                  </p:cNvPr>
                  <p:cNvSpPr/>
                  <p:nvPr userDrawn="1"/>
                </p:nvSpPr>
                <p:spPr>
                  <a:xfrm>
                    <a:off x="8433844" y="438468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CFD3E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83" name="Freeform: Shape 382">
                    <a:extLst>
                      <a:ext uri="{FF2B5EF4-FFF2-40B4-BE49-F238E27FC236}">
                        <a16:creationId xmlns:a16="http://schemas.microsoft.com/office/drawing/2014/main" id="{A825F7D3-3965-5989-947B-C4ACB18D7D13}"/>
                      </a:ext>
                    </a:extLst>
                  </p:cNvPr>
                  <p:cNvSpPr/>
                  <p:nvPr userDrawn="1"/>
                </p:nvSpPr>
                <p:spPr>
                  <a:xfrm>
                    <a:off x="8434312" y="438446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CFD4E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84" name="Freeform: Shape 383">
                    <a:extLst>
                      <a:ext uri="{FF2B5EF4-FFF2-40B4-BE49-F238E27FC236}">
                        <a16:creationId xmlns:a16="http://schemas.microsoft.com/office/drawing/2014/main" id="{1B8986A1-1476-A89B-0F2E-876451C01E64}"/>
                      </a:ext>
                    </a:extLst>
                  </p:cNvPr>
                  <p:cNvSpPr/>
                  <p:nvPr userDrawn="1"/>
                </p:nvSpPr>
                <p:spPr>
                  <a:xfrm>
                    <a:off x="8434780" y="438428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D0D4E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85" name="Freeform: Shape 384">
                    <a:extLst>
                      <a:ext uri="{FF2B5EF4-FFF2-40B4-BE49-F238E27FC236}">
                        <a16:creationId xmlns:a16="http://schemas.microsoft.com/office/drawing/2014/main" id="{C73B4115-5F4A-B557-F4BA-A57BB1418590}"/>
                      </a:ext>
                    </a:extLst>
                  </p:cNvPr>
                  <p:cNvSpPr/>
                  <p:nvPr userDrawn="1"/>
                </p:nvSpPr>
                <p:spPr>
                  <a:xfrm>
                    <a:off x="8435225" y="438409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0D4E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86" name="Freeform: Shape 385">
                    <a:extLst>
                      <a:ext uri="{FF2B5EF4-FFF2-40B4-BE49-F238E27FC236}">
                        <a16:creationId xmlns:a16="http://schemas.microsoft.com/office/drawing/2014/main" id="{B6B91C9E-8D52-F3E0-71EB-9D419FB46B14}"/>
                      </a:ext>
                    </a:extLst>
                  </p:cNvPr>
                  <p:cNvSpPr/>
                  <p:nvPr userDrawn="1"/>
                </p:nvSpPr>
                <p:spPr>
                  <a:xfrm>
                    <a:off x="8435693" y="438388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0D4E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87" name="Freeform: Shape 386">
                    <a:extLst>
                      <a:ext uri="{FF2B5EF4-FFF2-40B4-BE49-F238E27FC236}">
                        <a16:creationId xmlns:a16="http://schemas.microsoft.com/office/drawing/2014/main" id="{60D9B1D8-BD52-8288-CF1B-5DDA726C3322}"/>
                      </a:ext>
                    </a:extLst>
                  </p:cNvPr>
                  <p:cNvSpPr/>
                  <p:nvPr userDrawn="1"/>
                </p:nvSpPr>
                <p:spPr>
                  <a:xfrm>
                    <a:off x="8436137" y="438369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1D5E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88" name="Freeform: Shape 387">
                    <a:extLst>
                      <a:ext uri="{FF2B5EF4-FFF2-40B4-BE49-F238E27FC236}">
                        <a16:creationId xmlns:a16="http://schemas.microsoft.com/office/drawing/2014/main" id="{DB2BA04F-24FE-2F94-A737-F712D93E274D}"/>
                      </a:ext>
                    </a:extLst>
                  </p:cNvPr>
                  <p:cNvSpPr/>
                  <p:nvPr userDrawn="1"/>
                </p:nvSpPr>
                <p:spPr>
                  <a:xfrm>
                    <a:off x="8436605" y="438348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1D5E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89" name="Freeform: Shape 388">
                    <a:extLst>
                      <a:ext uri="{FF2B5EF4-FFF2-40B4-BE49-F238E27FC236}">
                        <a16:creationId xmlns:a16="http://schemas.microsoft.com/office/drawing/2014/main" id="{F79752B7-C4DC-4AAC-EDA5-DAA94DB832DF}"/>
                      </a:ext>
                    </a:extLst>
                  </p:cNvPr>
                  <p:cNvSpPr/>
                  <p:nvPr userDrawn="1"/>
                </p:nvSpPr>
                <p:spPr>
                  <a:xfrm>
                    <a:off x="8437050" y="438329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1D5E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90" name="Freeform: Shape 389">
                    <a:extLst>
                      <a:ext uri="{FF2B5EF4-FFF2-40B4-BE49-F238E27FC236}">
                        <a16:creationId xmlns:a16="http://schemas.microsoft.com/office/drawing/2014/main" id="{7CDAF092-8EA5-BA98-B01B-219CE81AFFD1}"/>
                      </a:ext>
                    </a:extLst>
                  </p:cNvPr>
                  <p:cNvSpPr/>
                  <p:nvPr userDrawn="1"/>
                </p:nvSpPr>
                <p:spPr>
                  <a:xfrm>
                    <a:off x="8437518" y="438308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D1D6E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91" name="Freeform: Shape 390">
                    <a:extLst>
                      <a:ext uri="{FF2B5EF4-FFF2-40B4-BE49-F238E27FC236}">
                        <a16:creationId xmlns:a16="http://schemas.microsoft.com/office/drawing/2014/main" id="{710B3214-7A4A-D0AC-6940-3EE433CA5E25}"/>
                      </a:ext>
                    </a:extLst>
                  </p:cNvPr>
                  <p:cNvSpPr/>
                  <p:nvPr userDrawn="1"/>
                </p:nvSpPr>
                <p:spPr>
                  <a:xfrm>
                    <a:off x="8437963" y="438287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2D6E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92" name="Freeform: Shape 391">
                    <a:extLst>
                      <a:ext uri="{FF2B5EF4-FFF2-40B4-BE49-F238E27FC236}">
                        <a16:creationId xmlns:a16="http://schemas.microsoft.com/office/drawing/2014/main" id="{3003BED7-3B7B-72DA-9511-7D640052D103}"/>
                      </a:ext>
                    </a:extLst>
                  </p:cNvPr>
                  <p:cNvSpPr/>
                  <p:nvPr userDrawn="1"/>
                </p:nvSpPr>
                <p:spPr>
                  <a:xfrm>
                    <a:off x="8438407" y="438269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2D6E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93" name="Freeform: Shape 392">
                    <a:extLst>
                      <a:ext uri="{FF2B5EF4-FFF2-40B4-BE49-F238E27FC236}">
                        <a16:creationId xmlns:a16="http://schemas.microsoft.com/office/drawing/2014/main" id="{1A8C4ACB-9A1B-EFFA-4158-6FC8A1E7BE10}"/>
                      </a:ext>
                    </a:extLst>
                  </p:cNvPr>
                  <p:cNvSpPr/>
                  <p:nvPr userDrawn="1"/>
                </p:nvSpPr>
                <p:spPr>
                  <a:xfrm>
                    <a:off x="8438852" y="438248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D2D6E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94" name="Freeform: Shape 393">
                    <a:extLst>
                      <a:ext uri="{FF2B5EF4-FFF2-40B4-BE49-F238E27FC236}">
                        <a16:creationId xmlns:a16="http://schemas.microsoft.com/office/drawing/2014/main" id="{12F860E9-81E1-C994-10AA-B87870E85DA5}"/>
                      </a:ext>
                    </a:extLst>
                  </p:cNvPr>
                  <p:cNvSpPr/>
                  <p:nvPr userDrawn="1"/>
                </p:nvSpPr>
                <p:spPr>
                  <a:xfrm>
                    <a:off x="8439296" y="438226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3D7E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95" name="Freeform: Shape 394">
                    <a:extLst>
                      <a:ext uri="{FF2B5EF4-FFF2-40B4-BE49-F238E27FC236}">
                        <a16:creationId xmlns:a16="http://schemas.microsoft.com/office/drawing/2014/main" id="{C86B665D-8AFC-0405-4446-6956961C76CD}"/>
                      </a:ext>
                    </a:extLst>
                  </p:cNvPr>
                  <p:cNvSpPr/>
                  <p:nvPr userDrawn="1"/>
                </p:nvSpPr>
                <p:spPr>
                  <a:xfrm>
                    <a:off x="8439741" y="438205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3D7E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96" name="Freeform: Shape 395">
                    <a:extLst>
                      <a:ext uri="{FF2B5EF4-FFF2-40B4-BE49-F238E27FC236}">
                        <a16:creationId xmlns:a16="http://schemas.microsoft.com/office/drawing/2014/main" id="{97E3603F-B402-923D-B4FF-81A25C5027E6}"/>
                      </a:ext>
                    </a:extLst>
                  </p:cNvPr>
                  <p:cNvSpPr/>
                  <p:nvPr userDrawn="1"/>
                </p:nvSpPr>
                <p:spPr>
                  <a:xfrm>
                    <a:off x="8440186" y="438184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3D7E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97" name="Freeform: Shape 396">
                    <a:extLst>
                      <a:ext uri="{FF2B5EF4-FFF2-40B4-BE49-F238E27FC236}">
                        <a16:creationId xmlns:a16="http://schemas.microsoft.com/office/drawing/2014/main" id="{A5C663A0-C499-8827-60D8-19FD35DAAAF2}"/>
                      </a:ext>
                    </a:extLst>
                  </p:cNvPr>
                  <p:cNvSpPr/>
                  <p:nvPr userDrawn="1"/>
                </p:nvSpPr>
                <p:spPr>
                  <a:xfrm>
                    <a:off x="8440630" y="438166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4D7E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98" name="Freeform: Shape 397">
                    <a:extLst>
                      <a:ext uri="{FF2B5EF4-FFF2-40B4-BE49-F238E27FC236}">
                        <a16:creationId xmlns:a16="http://schemas.microsoft.com/office/drawing/2014/main" id="{CAC7F53E-153C-EB60-5F4C-70CC9CDB86FF}"/>
                      </a:ext>
                    </a:extLst>
                  </p:cNvPr>
                  <p:cNvSpPr/>
                  <p:nvPr userDrawn="1"/>
                </p:nvSpPr>
                <p:spPr>
                  <a:xfrm>
                    <a:off x="8441075" y="438145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D4D8E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399" name="Freeform: Shape 398">
                    <a:extLst>
                      <a:ext uri="{FF2B5EF4-FFF2-40B4-BE49-F238E27FC236}">
                        <a16:creationId xmlns:a16="http://schemas.microsoft.com/office/drawing/2014/main" id="{E238312C-2E33-122D-D2BA-86FB5514ED5B}"/>
                      </a:ext>
                    </a:extLst>
                  </p:cNvPr>
                  <p:cNvSpPr/>
                  <p:nvPr userDrawn="1"/>
                </p:nvSpPr>
                <p:spPr>
                  <a:xfrm>
                    <a:off x="8441496" y="438124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D4D8E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00" name="Freeform: Shape 399">
                    <a:extLst>
                      <a:ext uri="{FF2B5EF4-FFF2-40B4-BE49-F238E27FC236}">
                        <a16:creationId xmlns:a16="http://schemas.microsoft.com/office/drawing/2014/main" id="{F7C63CCE-3D04-B1B7-6B99-C1B54E3A3C17}"/>
                      </a:ext>
                    </a:extLst>
                  </p:cNvPr>
                  <p:cNvSpPr/>
                  <p:nvPr userDrawn="1"/>
                </p:nvSpPr>
                <p:spPr>
                  <a:xfrm>
                    <a:off x="8441941" y="438102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D4D8E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01" name="Freeform: Shape 400">
                    <a:extLst>
                      <a:ext uri="{FF2B5EF4-FFF2-40B4-BE49-F238E27FC236}">
                        <a16:creationId xmlns:a16="http://schemas.microsoft.com/office/drawing/2014/main" id="{C05D2F79-48C2-8A83-0204-9F52DD199D45}"/>
                      </a:ext>
                    </a:extLst>
                  </p:cNvPr>
                  <p:cNvSpPr/>
                  <p:nvPr userDrawn="1"/>
                </p:nvSpPr>
                <p:spPr>
                  <a:xfrm>
                    <a:off x="8442362" y="438081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D5D9E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02" name="Freeform: Shape 401">
                    <a:extLst>
                      <a:ext uri="{FF2B5EF4-FFF2-40B4-BE49-F238E27FC236}">
                        <a16:creationId xmlns:a16="http://schemas.microsoft.com/office/drawing/2014/main" id="{9197AA2D-5807-B5BE-4247-1FB104A6E083}"/>
                      </a:ext>
                    </a:extLst>
                  </p:cNvPr>
                  <p:cNvSpPr/>
                  <p:nvPr userDrawn="1"/>
                </p:nvSpPr>
                <p:spPr>
                  <a:xfrm>
                    <a:off x="8442806" y="438060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5D9E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03" name="Freeform: Shape 402">
                    <a:extLst>
                      <a:ext uri="{FF2B5EF4-FFF2-40B4-BE49-F238E27FC236}">
                        <a16:creationId xmlns:a16="http://schemas.microsoft.com/office/drawing/2014/main" id="{9CFD8C9E-2181-9658-84C9-A3018DFBBA4A}"/>
                      </a:ext>
                    </a:extLst>
                  </p:cNvPr>
                  <p:cNvSpPr/>
                  <p:nvPr userDrawn="1"/>
                </p:nvSpPr>
                <p:spPr>
                  <a:xfrm>
                    <a:off x="8443228" y="438037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5D9E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04" name="Freeform: Shape 403">
                    <a:extLst>
                      <a:ext uri="{FF2B5EF4-FFF2-40B4-BE49-F238E27FC236}">
                        <a16:creationId xmlns:a16="http://schemas.microsoft.com/office/drawing/2014/main" id="{E3374B48-FE84-DEAC-A4DF-1317A263AFE3}"/>
                      </a:ext>
                    </a:extLst>
                  </p:cNvPr>
                  <p:cNvSpPr/>
                  <p:nvPr userDrawn="1"/>
                </p:nvSpPr>
                <p:spPr>
                  <a:xfrm>
                    <a:off x="8443649" y="438016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6D9E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05" name="Freeform: Shape 404">
                    <a:extLst>
                      <a:ext uri="{FF2B5EF4-FFF2-40B4-BE49-F238E27FC236}">
                        <a16:creationId xmlns:a16="http://schemas.microsoft.com/office/drawing/2014/main" id="{3A0AD63E-FB47-C5E3-770B-5D1F3ABDD389}"/>
                      </a:ext>
                    </a:extLst>
                  </p:cNvPr>
                  <p:cNvSpPr/>
                  <p:nvPr userDrawn="1"/>
                </p:nvSpPr>
                <p:spPr>
                  <a:xfrm>
                    <a:off x="8444093" y="437995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6DAE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06" name="Freeform: Shape 405">
                    <a:extLst>
                      <a:ext uri="{FF2B5EF4-FFF2-40B4-BE49-F238E27FC236}">
                        <a16:creationId xmlns:a16="http://schemas.microsoft.com/office/drawing/2014/main" id="{C09CBE37-2297-76C7-71AA-9D69F15C95A4}"/>
                      </a:ext>
                    </a:extLst>
                  </p:cNvPr>
                  <p:cNvSpPr/>
                  <p:nvPr userDrawn="1"/>
                </p:nvSpPr>
                <p:spPr>
                  <a:xfrm>
                    <a:off x="8444515" y="437974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D6DAE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07" name="Freeform: Shape 406">
                    <a:extLst>
                      <a:ext uri="{FF2B5EF4-FFF2-40B4-BE49-F238E27FC236}">
                        <a16:creationId xmlns:a16="http://schemas.microsoft.com/office/drawing/2014/main" id="{8D90156C-52DD-C1A2-9E21-4C21FB341933}"/>
                      </a:ext>
                    </a:extLst>
                  </p:cNvPr>
                  <p:cNvSpPr/>
                  <p:nvPr userDrawn="1"/>
                </p:nvSpPr>
                <p:spPr>
                  <a:xfrm>
                    <a:off x="8444936" y="437953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43"/>
                          <a:pt x="0" y="21037"/>
                        </a:cubicBezTo>
                        <a:close/>
                      </a:path>
                    </a:pathLst>
                  </a:custGeom>
                  <a:solidFill>
                    <a:srgbClr val="D7DAE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08" name="Freeform: Shape 407">
                    <a:extLst>
                      <a:ext uri="{FF2B5EF4-FFF2-40B4-BE49-F238E27FC236}">
                        <a16:creationId xmlns:a16="http://schemas.microsoft.com/office/drawing/2014/main" id="{62333208-0D17-E50A-573E-AD4BD02AAE0C}"/>
                      </a:ext>
                    </a:extLst>
                  </p:cNvPr>
                  <p:cNvSpPr/>
                  <p:nvPr userDrawn="1"/>
                </p:nvSpPr>
                <p:spPr>
                  <a:xfrm>
                    <a:off x="8445357" y="437929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7DBE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09" name="Freeform: Shape 408">
                    <a:extLst>
                      <a:ext uri="{FF2B5EF4-FFF2-40B4-BE49-F238E27FC236}">
                        <a16:creationId xmlns:a16="http://schemas.microsoft.com/office/drawing/2014/main" id="{D8E2826F-1419-81EF-4988-7FD590160E92}"/>
                      </a:ext>
                    </a:extLst>
                  </p:cNvPr>
                  <p:cNvSpPr/>
                  <p:nvPr userDrawn="1"/>
                </p:nvSpPr>
                <p:spPr>
                  <a:xfrm>
                    <a:off x="8445778" y="437908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7DBE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10" name="Freeform: Shape 409">
                    <a:extLst>
                      <a:ext uri="{FF2B5EF4-FFF2-40B4-BE49-F238E27FC236}">
                        <a16:creationId xmlns:a16="http://schemas.microsoft.com/office/drawing/2014/main" id="{BA4D808E-F7E6-B366-C5F5-318E1CB6B629}"/>
                      </a:ext>
                    </a:extLst>
                  </p:cNvPr>
                  <p:cNvSpPr/>
                  <p:nvPr userDrawn="1"/>
                </p:nvSpPr>
                <p:spPr>
                  <a:xfrm>
                    <a:off x="8446176" y="437887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8DBE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11" name="Freeform: Shape 410">
                    <a:extLst>
                      <a:ext uri="{FF2B5EF4-FFF2-40B4-BE49-F238E27FC236}">
                        <a16:creationId xmlns:a16="http://schemas.microsoft.com/office/drawing/2014/main" id="{3805DE3E-43E4-6301-9826-2BCFA53FD0A9}"/>
                      </a:ext>
                    </a:extLst>
                  </p:cNvPr>
                  <p:cNvSpPr/>
                  <p:nvPr userDrawn="1"/>
                </p:nvSpPr>
                <p:spPr>
                  <a:xfrm>
                    <a:off x="8446597" y="437864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8DBE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12" name="Freeform: Shape 411">
                    <a:extLst>
                      <a:ext uri="{FF2B5EF4-FFF2-40B4-BE49-F238E27FC236}">
                        <a16:creationId xmlns:a16="http://schemas.microsoft.com/office/drawing/2014/main" id="{6A06AA9E-2ADC-3A8B-3AE2-378CB96769C7}"/>
                      </a:ext>
                    </a:extLst>
                  </p:cNvPr>
                  <p:cNvSpPr/>
                  <p:nvPr userDrawn="1"/>
                </p:nvSpPr>
                <p:spPr>
                  <a:xfrm>
                    <a:off x="8447018" y="437843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D8DCE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13" name="Freeform: Shape 412">
                    <a:extLst>
                      <a:ext uri="{FF2B5EF4-FFF2-40B4-BE49-F238E27FC236}">
                        <a16:creationId xmlns:a16="http://schemas.microsoft.com/office/drawing/2014/main" id="{5AFB8B8F-E3C0-79C6-456D-D1CCFC9A153B}"/>
                      </a:ext>
                    </a:extLst>
                  </p:cNvPr>
                  <p:cNvSpPr/>
                  <p:nvPr userDrawn="1"/>
                </p:nvSpPr>
                <p:spPr>
                  <a:xfrm>
                    <a:off x="8447416" y="437819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8DCE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14" name="Freeform: Shape 413">
                    <a:extLst>
                      <a:ext uri="{FF2B5EF4-FFF2-40B4-BE49-F238E27FC236}">
                        <a16:creationId xmlns:a16="http://schemas.microsoft.com/office/drawing/2014/main" id="{1831B771-94DB-7407-44CC-ECC59FF3484F}"/>
                      </a:ext>
                    </a:extLst>
                  </p:cNvPr>
                  <p:cNvSpPr/>
                  <p:nvPr userDrawn="1"/>
                </p:nvSpPr>
                <p:spPr>
                  <a:xfrm>
                    <a:off x="8447814" y="437798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9DCE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15" name="Freeform: Shape 414">
                    <a:extLst>
                      <a:ext uri="{FF2B5EF4-FFF2-40B4-BE49-F238E27FC236}">
                        <a16:creationId xmlns:a16="http://schemas.microsoft.com/office/drawing/2014/main" id="{D5AE51A5-B741-CC5B-EF75-8B1C6F3910CA}"/>
                      </a:ext>
                    </a:extLst>
                  </p:cNvPr>
                  <p:cNvSpPr/>
                  <p:nvPr userDrawn="1"/>
                </p:nvSpPr>
                <p:spPr>
                  <a:xfrm>
                    <a:off x="8448235" y="437775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9DCE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16" name="Freeform: Shape 415">
                    <a:extLst>
                      <a:ext uri="{FF2B5EF4-FFF2-40B4-BE49-F238E27FC236}">
                        <a16:creationId xmlns:a16="http://schemas.microsoft.com/office/drawing/2014/main" id="{53AF27A3-FE2E-6066-A009-841B3CD848A0}"/>
                      </a:ext>
                    </a:extLst>
                  </p:cNvPr>
                  <p:cNvSpPr/>
                  <p:nvPr userDrawn="1"/>
                </p:nvSpPr>
                <p:spPr>
                  <a:xfrm>
                    <a:off x="8448633" y="437751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9DDE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17" name="Freeform: Shape 416">
                    <a:extLst>
                      <a:ext uri="{FF2B5EF4-FFF2-40B4-BE49-F238E27FC236}">
                        <a16:creationId xmlns:a16="http://schemas.microsoft.com/office/drawing/2014/main" id="{EA52C698-021B-FC68-82B8-D471F9E39E46}"/>
                      </a:ext>
                    </a:extLst>
                  </p:cNvPr>
                  <p:cNvSpPr/>
                  <p:nvPr userDrawn="1"/>
                </p:nvSpPr>
                <p:spPr>
                  <a:xfrm>
                    <a:off x="8449031" y="437730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DADDE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18" name="Freeform: Shape 417">
                    <a:extLst>
                      <a:ext uri="{FF2B5EF4-FFF2-40B4-BE49-F238E27FC236}">
                        <a16:creationId xmlns:a16="http://schemas.microsoft.com/office/drawing/2014/main" id="{EAE2B3AE-D5EB-B78E-96B6-D9E135B31601}"/>
                      </a:ext>
                    </a:extLst>
                  </p:cNvPr>
                  <p:cNvSpPr/>
                  <p:nvPr userDrawn="1"/>
                </p:nvSpPr>
                <p:spPr>
                  <a:xfrm>
                    <a:off x="8449429" y="437707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ADDE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19" name="Freeform: Shape 418">
                    <a:extLst>
                      <a:ext uri="{FF2B5EF4-FFF2-40B4-BE49-F238E27FC236}">
                        <a16:creationId xmlns:a16="http://schemas.microsoft.com/office/drawing/2014/main" id="{6C548EF1-F4EC-AFB1-C456-F2B3FB6F0845}"/>
                      </a:ext>
                    </a:extLst>
                  </p:cNvPr>
                  <p:cNvSpPr/>
                  <p:nvPr userDrawn="1"/>
                </p:nvSpPr>
                <p:spPr>
                  <a:xfrm>
                    <a:off x="8449826" y="437684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ADEE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20" name="Freeform: Shape 419">
                    <a:extLst>
                      <a:ext uri="{FF2B5EF4-FFF2-40B4-BE49-F238E27FC236}">
                        <a16:creationId xmlns:a16="http://schemas.microsoft.com/office/drawing/2014/main" id="{B985A7AE-4B40-F9FF-5E56-C227D6A8D191}"/>
                      </a:ext>
                    </a:extLst>
                  </p:cNvPr>
                  <p:cNvSpPr/>
                  <p:nvPr userDrawn="1"/>
                </p:nvSpPr>
                <p:spPr>
                  <a:xfrm>
                    <a:off x="8450224" y="437663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BDEE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21" name="Freeform: Shape 420">
                    <a:extLst>
                      <a:ext uri="{FF2B5EF4-FFF2-40B4-BE49-F238E27FC236}">
                        <a16:creationId xmlns:a16="http://schemas.microsoft.com/office/drawing/2014/main" id="{91A4414E-69D5-2C9D-3AED-6794E5E064CE}"/>
                      </a:ext>
                    </a:extLst>
                  </p:cNvPr>
                  <p:cNvSpPr/>
                  <p:nvPr userDrawn="1"/>
                </p:nvSpPr>
                <p:spPr>
                  <a:xfrm>
                    <a:off x="8450622" y="437639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DBDEE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22" name="Freeform: Shape 421">
                    <a:extLst>
                      <a:ext uri="{FF2B5EF4-FFF2-40B4-BE49-F238E27FC236}">
                        <a16:creationId xmlns:a16="http://schemas.microsoft.com/office/drawing/2014/main" id="{443D24D2-6D8C-7F52-9ED6-9125D9B14E31}"/>
                      </a:ext>
                    </a:extLst>
                  </p:cNvPr>
                  <p:cNvSpPr/>
                  <p:nvPr userDrawn="1"/>
                </p:nvSpPr>
                <p:spPr>
                  <a:xfrm>
                    <a:off x="8451020" y="437616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BDEE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23" name="Freeform: Shape 422">
                    <a:extLst>
                      <a:ext uri="{FF2B5EF4-FFF2-40B4-BE49-F238E27FC236}">
                        <a16:creationId xmlns:a16="http://schemas.microsoft.com/office/drawing/2014/main" id="{7096ADD3-B728-1020-1603-43FD95A89C36}"/>
                      </a:ext>
                    </a:extLst>
                  </p:cNvPr>
                  <p:cNvSpPr/>
                  <p:nvPr userDrawn="1"/>
                </p:nvSpPr>
                <p:spPr>
                  <a:xfrm>
                    <a:off x="8451394" y="437592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CDFE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24" name="Freeform: Shape 423">
                    <a:extLst>
                      <a:ext uri="{FF2B5EF4-FFF2-40B4-BE49-F238E27FC236}">
                        <a16:creationId xmlns:a16="http://schemas.microsoft.com/office/drawing/2014/main" id="{61E4B92F-3812-AA11-42E4-F8D9DFC0F97A}"/>
                      </a:ext>
                    </a:extLst>
                  </p:cNvPr>
                  <p:cNvSpPr/>
                  <p:nvPr userDrawn="1"/>
                </p:nvSpPr>
                <p:spPr>
                  <a:xfrm>
                    <a:off x="8451792" y="437569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CDFE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25" name="Freeform: Shape 424">
                    <a:extLst>
                      <a:ext uri="{FF2B5EF4-FFF2-40B4-BE49-F238E27FC236}">
                        <a16:creationId xmlns:a16="http://schemas.microsoft.com/office/drawing/2014/main" id="{3AAF5499-D8B0-B713-6161-051600628070}"/>
                      </a:ext>
                    </a:extLst>
                  </p:cNvPr>
                  <p:cNvSpPr/>
                  <p:nvPr userDrawn="1"/>
                </p:nvSpPr>
                <p:spPr>
                  <a:xfrm>
                    <a:off x="8452166" y="437546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CDFE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26" name="Freeform: Shape 425">
                    <a:extLst>
                      <a:ext uri="{FF2B5EF4-FFF2-40B4-BE49-F238E27FC236}">
                        <a16:creationId xmlns:a16="http://schemas.microsoft.com/office/drawing/2014/main" id="{97738CDB-6206-BCFE-22C6-45D59D19FC9A}"/>
                      </a:ext>
                    </a:extLst>
                  </p:cNvPr>
                  <p:cNvSpPr/>
                  <p:nvPr userDrawn="1"/>
                </p:nvSpPr>
                <p:spPr>
                  <a:xfrm>
                    <a:off x="8452564" y="437522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CE0E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27" name="Freeform: Shape 426">
                    <a:extLst>
                      <a:ext uri="{FF2B5EF4-FFF2-40B4-BE49-F238E27FC236}">
                        <a16:creationId xmlns:a16="http://schemas.microsoft.com/office/drawing/2014/main" id="{815F15DD-70E6-BE5C-8C64-860EA20FCEB7}"/>
                      </a:ext>
                    </a:extLst>
                  </p:cNvPr>
                  <p:cNvSpPr/>
                  <p:nvPr userDrawn="1"/>
                </p:nvSpPr>
                <p:spPr>
                  <a:xfrm>
                    <a:off x="8452939" y="437499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DE0E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28" name="Freeform: Shape 427">
                    <a:extLst>
                      <a:ext uri="{FF2B5EF4-FFF2-40B4-BE49-F238E27FC236}">
                        <a16:creationId xmlns:a16="http://schemas.microsoft.com/office/drawing/2014/main" id="{F5169089-D066-7519-E149-66D3B8DFE78B}"/>
                      </a:ext>
                    </a:extLst>
                  </p:cNvPr>
                  <p:cNvSpPr/>
                  <p:nvPr userDrawn="1"/>
                </p:nvSpPr>
                <p:spPr>
                  <a:xfrm>
                    <a:off x="8453313" y="437475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DE0E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29" name="Freeform: Shape 428">
                    <a:extLst>
                      <a:ext uri="{FF2B5EF4-FFF2-40B4-BE49-F238E27FC236}">
                        <a16:creationId xmlns:a16="http://schemas.microsoft.com/office/drawing/2014/main" id="{799D473F-5110-FA61-69BC-9E00B460B1BD}"/>
                      </a:ext>
                    </a:extLst>
                  </p:cNvPr>
                  <p:cNvSpPr/>
                  <p:nvPr userDrawn="1"/>
                </p:nvSpPr>
                <p:spPr>
                  <a:xfrm>
                    <a:off x="8453688" y="437452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DE0E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30" name="Freeform: Shape 429">
                    <a:extLst>
                      <a:ext uri="{FF2B5EF4-FFF2-40B4-BE49-F238E27FC236}">
                        <a16:creationId xmlns:a16="http://schemas.microsoft.com/office/drawing/2014/main" id="{489C8F4F-0E33-E02C-E076-BF13C149201E}"/>
                      </a:ext>
                    </a:extLst>
                  </p:cNvPr>
                  <p:cNvSpPr/>
                  <p:nvPr userDrawn="1"/>
                </p:nvSpPr>
                <p:spPr>
                  <a:xfrm>
                    <a:off x="8454062" y="437429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EE1E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31" name="Freeform: Shape 430">
                    <a:extLst>
                      <a:ext uri="{FF2B5EF4-FFF2-40B4-BE49-F238E27FC236}">
                        <a16:creationId xmlns:a16="http://schemas.microsoft.com/office/drawing/2014/main" id="{DB2BDFA5-124E-D9D4-6A8E-5FED53715F28}"/>
                      </a:ext>
                    </a:extLst>
                  </p:cNvPr>
                  <p:cNvSpPr/>
                  <p:nvPr userDrawn="1"/>
                </p:nvSpPr>
                <p:spPr>
                  <a:xfrm>
                    <a:off x="8454436" y="437405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DEE1E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32" name="Freeform: Shape 431">
                    <a:extLst>
                      <a:ext uri="{FF2B5EF4-FFF2-40B4-BE49-F238E27FC236}">
                        <a16:creationId xmlns:a16="http://schemas.microsoft.com/office/drawing/2014/main" id="{05779979-19EC-BC54-3314-9D8DADA04609}"/>
                      </a:ext>
                    </a:extLst>
                  </p:cNvPr>
                  <p:cNvSpPr/>
                  <p:nvPr userDrawn="1"/>
                </p:nvSpPr>
                <p:spPr>
                  <a:xfrm>
                    <a:off x="8454811" y="437382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43"/>
                          <a:pt x="0" y="21037"/>
                        </a:cubicBezTo>
                        <a:close/>
                      </a:path>
                    </a:pathLst>
                  </a:custGeom>
                  <a:solidFill>
                    <a:srgbClr val="DEE1E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33" name="Freeform: Shape 432">
                    <a:extLst>
                      <a:ext uri="{FF2B5EF4-FFF2-40B4-BE49-F238E27FC236}">
                        <a16:creationId xmlns:a16="http://schemas.microsoft.com/office/drawing/2014/main" id="{C315D509-7B4D-4C3D-B75F-06372E91E82E}"/>
                      </a:ext>
                    </a:extLst>
                  </p:cNvPr>
                  <p:cNvSpPr/>
                  <p:nvPr userDrawn="1"/>
                </p:nvSpPr>
                <p:spPr>
                  <a:xfrm>
                    <a:off x="8455162" y="437356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FE1E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34" name="Freeform: Shape 433">
                    <a:extLst>
                      <a:ext uri="{FF2B5EF4-FFF2-40B4-BE49-F238E27FC236}">
                        <a16:creationId xmlns:a16="http://schemas.microsoft.com/office/drawing/2014/main" id="{69075510-B360-2D2E-1FA4-6023F71398BA}"/>
                      </a:ext>
                    </a:extLst>
                  </p:cNvPr>
                  <p:cNvSpPr/>
                  <p:nvPr userDrawn="1"/>
                </p:nvSpPr>
                <p:spPr>
                  <a:xfrm>
                    <a:off x="8455536" y="437333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FE2E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35" name="Freeform: Shape 434">
                    <a:extLst>
                      <a:ext uri="{FF2B5EF4-FFF2-40B4-BE49-F238E27FC236}">
                        <a16:creationId xmlns:a16="http://schemas.microsoft.com/office/drawing/2014/main" id="{96E378DC-F8C7-0469-1926-7788D55B7524}"/>
                      </a:ext>
                    </a:extLst>
                  </p:cNvPr>
                  <p:cNvSpPr/>
                  <p:nvPr userDrawn="1"/>
                </p:nvSpPr>
                <p:spPr>
                  <a:xfrm>
                    <a:off x="8455887" y="437309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DFE2E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36" name="Freeform: Shape 435">
                    <a:extLst>
                      <a:ext uri="{FF2B5EF4-FFF2-40B4-BE49-F238E27FC236}">
                        <a16:creationId xmlns:a16="http://schemas.microsoft.com/office/drawing/2014/main" id="{2CF97E13-FFE4-272A-011B-4319892E8DE0}"/>
                      </a:ext>
                    </a:extLst>
                  </p:cNvPr>
                  <p:cNvSpPr/>
                  <p:nvPr userDrawn="1"/>
                </p:nvSpPr>
                <p:spPr>
                  <a:xfrm>
                    <a:off x="8456262" y="437283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FE2E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37" name="Freeform: Shape 436">
                    <a:extLst>
                      <a:ext uri="{FF2B5EF4-FFF2-40B4-BE49-F238E27FC236}">
                        <a16:creationId xmlns:a16="http://schemas.microsoft.com/office/drawing/2014/main" id="{8E389127-7521-FD94-5EFA-4039F80929F1}"/>
                      </a:ext>
                    </a:extLst>
                  </p:cNvPr>
                  <p:cNvSpPr/>
                  <p:nvPr userDrawn="1"/>
                </p:nvSpPr>
                <p:spPr>
                  <a:xfrm>
                    <a:off x="8456613" y="437260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0E3E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38" name="Freeform: Shape 437">
                    <a:extLst>
                      <a:ext uri="{FF2B5EF4-FFF2-40B4-BE49-F238E27FC236}">
                        <a16:creationId xmlns:a16="http://schemas.microsoft.com/office/drawing/2014/main" id="{8320630F-8EFD-777B-F064-0EFCA7902DC6}"/>
                      </a:ext>
                    </a:extLst>
                  </p:cNvPr>
                  <p:cNvSpPr/>
                  <p:nvPr userDrawn="1"/>
                </p:nvSpPr>
                <p:spPr>
                  <a:xfrm>
                    <a:off x="8456964" y="437237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0E3E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39" name="Freeform: Shape 438">
                    <a:extLst>
                      <a:ext uri="{FF2B5EF4-FFF2-40B4-BE49-F238E27FC236}">
                        <a16:creationId xmlns:a16="http://schemas.microsoft.com/office/drawing/2014/main" id="{21787EDC-BD08-3873-4228-70986C3A0BB5}"/>
                      </a:ext>
                    </a:extLst>
                  </p:cNvPr>
                  <p:cNvSpPr/>
                  <p:nvPr userDrawn="1"/>
                </p:nvSpPr>
                <p:spPr>
                  <a:xfrm>
                    <a:off x="8457315" y="437211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0E3E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40" name="Freeform: Shape 439">
                    <a:extLst>
                      <a:ext uri="{FF2B5EF4-FFF2-40B4-BE49-F238E27FC236}">
                        <a16:creationId xmlns:a16="http://schemas.microsoft.com/office/drawing/2014/main" id="{983F7EDB-E105-D5ED-C189-3F672E326838}"/>
                      </a:ext>
                    </a:extLst>
                  </p:cNvPr>
                  <p:cNvSpPr/>
                  <p:nvPr userDrawn="1"/>
                </p:nvSpPr>
                <p:spPr>
                  <a:xfrm>
                    <a:off x="8457666" y="437188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1E3E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41" name="Freeform: Shape 440">
                    <a:extLst>
                      <a:ext uri="{FF2B5EF4-FFF2-40B4-BE49-F238E27FC236}">
                        <a16:creationId xmlns:a16="http://schemas.microsoft.com/office/drawing/2014/main" id="{4942D738-D357-735B-F858-760BD17D8CCB}"/>
                      </a:ext>
                    </a:extLst>
                  </p:cNvPr>
                  <p:cNvSpPr/>
                  <p:nvPr userDrawn="1"/>
                </p:nvSpPr>
                <p:spPr>
                  <a:xfrm>
                    <a:off x="8458017" y="437162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1E4E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42" name="Freeform: Shape 441">
                    <a:extLst>
                      <a:ext uri="{FF2B5EF4-FFF2-40B4-BE49-F238E27FC236}">
                        <a16:creationId xmlns:a16="http://schemas.microsoft.com/office/drawing/2014/main" id="{B30D68BE-867F-A03C-29F3-BA31AA45AAFB}"/>
                      </a:ext>
                    </a:extLst>
                  </p:cNvPr>
                  <p:cNvSpPr/>
                  <p:nvPr userDrawn="1"/>
                </p:nvSpPr>
                <p:spPr>
                  <a:xfrm>
                    <a:off x="8458368" y="437138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1E4E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43" name="Freeform: Shape 442">
                    <a:extLst>
                      <a:ext uri="{FF2B5EF4-FFF2-40B4-BE49-F238E27FC236}">
                        <a16:creationId xmlns:a16="http://schemas.microsoft.com/office/drawing/2014/main" id="{6EBA6CEA-6B5D-0778-C7C2-6152B1FB771F}"/>
                      </a:ext>
                    </a:extLst>
                  </p:cNvPr>
                  <p:cNvSpPr/>
                  <p:nvPr userDrawn="1"/>
                </p:nvSpPr>
                <p:spPr>
                  <a:xfrm>
                    <a:off x="8458719" y="437113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2E4E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44" name="Freeform: Shape 443">
                    <a:extLst>
                      <a:ext uri="{FF2B5EF4-FFF2-40B4-BE49-F238E27FC236}">
                        <a16:creationId xmlns:a16="http://schemas.microsoft.com/office/drawing/2014/main" id="{7CEC4550-6D3C-8EAA-7F63-7CF26396B92B}"/>
                      </a:ext>
                    </a:extLst>
                  </p:cNvPr>
                  <p:cNvSpPr/>
                  <p:nvPr userDrawn="1"/>
                </p:nvSpPr>
                <p:spPr>
                  <a:xfrm>
                    <a:off x="8459046" y="437087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2E5E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45" name="Freeform: Shape 444">
                    <a:extLst>
                      <a:ext uri="{FF2B5EF4-FFF2-40B4-BE49-F238E27FC236}">
                        <a16:creationId xmlns:a16="http://schemas.microsoft.com/office/drawing/2014/main" id="{FAB69673-4A6A-27A2-2B8B-0E244446591F}"/>
                      </a:ext>
                    </a:extLst>
                  </p:cNvPr>
                  <p:cNvSpPr/>
                  <p:nvPr userDrawn="1"/>
                </p:nvSpPr>
                <p:spPr>
                  <a:xfrm>
                    <a:off x="8459397" y="437063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E2E5E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46" name="Freeform: Shape 445">
                    <a:extLst>
                      <a:ext uri="{FF2B5EF4-FFF2-40B4-BE49-F238E27FC236}">
                        <a16:creationId xmlns:a16="http://schemas.microsoft.com/office/drawing/2014/main" id="{06732E06-0D9D-E393-24D3-D5AB21E1B94A}"/>
                      </a:ext>
                    </a:extLst>
                  </p:cNvPr>
                  <p:cNvSpPr/>
                  <p:nvPr userDrawn="1"/>
                </p:nvSpPr>
                <p:spPr>
                  <a:xfrm>
                    <a:off x="8459725" y="437038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3E5E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47" name="Freeform: Shape 446">
                    <a:extLst>
                      <a:ext uri="{FF2B5EF4-FFF2-40B4-BE49-F238E27FC236}">
                        <a16:creationId xmlns:a16="http://schemas.microsoft.com/office/drawing/2014/main" id="{E88E1CEA-D3B8-D17E-6DAC-468D6A63C864}"/>
                      </a:ext>
                    </a:extLst>
                  </p:cNvPr>
                  <p:cNvSpPr/>
                  <p:nvPr userDrawn="1"/>
                </p:nvSpPr>
                <p:spPr>
                  <a:xfrm>
                    <a:off x="8460052" y="437012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3E5E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48" name="Freeform: Shape 447">
                    <a:extLst>
                      <a:ext uri="{FF2B5EF4-FFF2-40B4-BE49-F238E27FC236}">
                        <a16:creationId xmlns:a16="http://schemas.microsoft.com/office/drawing/2014/main" id="{77E78768-6D16-AFD5-1701-736A40206771}"/>
                      </a:ext>
                    </a:extLst>
                  </p:cNvPr>
                  <p:cNvSpPr/>
                  <p:nvPr userDrawn="1"/>
                </p:nvSpPr>
                <p:spPr>
                  <a:xfrm>
                    <a:off x="8460403" y="436989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E3E6E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49" name="Freeform: Shape 448">
                    <a:extLst>
                      <a:ext uri="{FF2B5EF4-FFF2-40B4-BE49-F238E27FC236}">
                        <a16:creationId xmlns:a16="http://schemas.microsoft.com/office/drawing/2014/main" id="{119F834C-A698-0802-FA4B-4FAF6B62985F}"/>
                      </a:ext>
                    </a:extLst>
                  </p:cNvPr>
                  <p:cNvSpPr/>
                  <p:nvPr userDrawn="1"/>
                </p:nvSpPr>
                <p:spPr>
                  <a:xfrm>
                    <a:off x="8460731" y="436963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3E6E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50" name="Freeform: Shape 449">
                    <a:extLst>
                      <a:ext uri="{FF2B5EF4-FFF2-40B4-BE49-F238E27FC236}">
                        <a16:creationId xmlns:a16="http://schemas.microsoft.com/office/drawing/2014/main" id="{31CB67B3-F60A-6556-5261-113685E2B506}"/>
                      </a:ext>
                    </a:extLst>
                  </p:cNvPr>
                  <p:cNvSpPr/>
                  <p:nvPr userDrawn="1"/>
                </p:nvSpPr>
                <p:spPr>
                  <a:xfrm>
                    <a:off x="8461059" y="436937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4E6E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51" name="Freeform: Shape 450">
                    <a:extLst>
                      <a:ext uri="{FF2B5EF4-FFF2-40B4-BE49-F238E27FC236}">
                        <a16:creationId xmlns:a16="http://schemas.microsoft.com/office/drawing/2014/main" id="{7440B663-6638-66F2-C019-57E3016BF97D}"/>
                      </a:ext>
                    </a:extLst>
                  </p:cNvPr>
                  <p:cNvSpPr/>
                  <p:nvPr userDrawn="1"/>
                </p:nvSpPr>
                <p:spPr>
                  <a:xfrm>
                    <a:off x="8461363" y="436911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4E6E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52" name="Freeform: Shape 451">
                    <a:extLst>
                      <a:ext uri="{FF2B5EF4-FFF2-40B4-BE49-F238E27FC236}">
                        <a16:creationId xmlns:a16="http://schemas.microsoft.com/office/drawing/2014/main" id="{FD7677C8-F4E8-AA9B-C4AA-FB76F9277AB4}"/>
                      </a:ext>
                    </a:extLst>
                  </p:cNvPr>
                  <p:cNvSpPr/>
                  <p:nvPr userDrawn="1"/>
                </p:nvSpPr>
                <p:spPr>
                  <a:xfrm>
                    <a:off x="8461690" y="436886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4E7E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53" name="Freeform: Shape 452">
                    <a:extLst>
                      <a:ext uri="{FF2B5EF4-FFF2-40B4-BE49-F238E27FC236}">
                        <a16:creationId xmlns:a16="http://schemas.microsoft.com/office/drawing/2014/main" id="{74BB0F45-8444-8456-5A5D-39FF4D09F7B0}"/>
                      </a:ext>
                    </a:extLst>
                  </p:cNvPr>
                  <p:cNvSpPr/>
                  <p:nvPr userDrawn="1"/>
                </p:nvSpPr>
                <p:spPr>
                  <a:xfrm>
                    <a:off x="8462018" y="436860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5E7E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54" name="Freeform: Shape 453">
                    <a:extLst>
                      <a:ext uri="{FF2B5EF4-FFF2-40B4-BE49-F238E27FC236}">
                        <a16:creationId xmlns:a16="http://schemas.microsoft.com/office/drawing/2014/main" id="{4E7DA1EA-B15B-0ACD-69BB-658274D9A48F}"/>
                      </a:ext>
                    </a:extLst>
                  </p:cNvPr>
                  <p:cNvSpPr/>
                  <p:nvPr userDrawn="1"/>
                </p:nvSpPr>
                <p:spPr>
                  <a:xfrm>
                    <a:off x="8462322" y="436837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E5E7E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55" name="Freeform: Shape 454">
                    <a:extLst>
                      <a:ext uri="{FF2B5EF4-FFF2-40B4-BE49-F238E27FC236}">
                        <a16:creationId xmlns:a16="http://schemas.microsoft.com/office/drawing/2014/main" id="{E05414D4-707D-9473-2AD5-DE03E07A9599}"/>
                      </a:ext>
                    </a:extLst>
                  </p:cNvPr>
                  <p:cNvSpPr/>
                  <p:nvPr userDrawn="1"/>
                </p:nvSpPr>
                <p:spPr>
                  <a:xfrm>
                    <a:off x="8462650" y="436811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E5E8E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56" name="Freeform: Shape 455">
                    <a:extLst>
                      <a:ext uri="{FF2B5EF4-FFF2-40B4-BE49-F238E27FC236}">
                        <a16:creationId xmlns:a16="http://schemas.microsoft.com/office/drawing/2014/main" id="{C398BDF1-2E2B-88B0-1739-89B04B7494C6}"/>
                      </a:ext>
                    </a:extLst>
                  </p:cNvPr>
                  <p:cNvSpPr/>
                  <p:nvPr userDrawn="1"/>
                </p:nvSpPr>
                <p:spPr>
                  <a:xfrm>
                    <a:off x="8463048" y="436776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6E8E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57" name="Freeform: Shape 456">
                    <a:extLst>
                      <a:ext uri="{FF2B5EF4-FFF2-40B4-BE49-F238E27FC236}">
                        <a16:creationId xmlns:a16="http://schemas.microsoft.com/office/drawing/2014/main" id="{F541EDCB-F468-3379-86C2-91209714AB6C}"/>
                      </a:ext>
                    </a:extLst>
                  </p:cNvPr>
                  <p:cNvSpPr/>
                  <p:nvPr userDrawn="1"/>
                </p:nvSpPr>
                <p:spPr>
                  <a:xfrm>
                    <a:off x="8463539" y="436736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6E8E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58" name="Freeform: Shape 457">
                    <a:extLst>
                      <a:ext uri="{FF2B5EF4-FFF2-40B4-BE49-F238E27FC236}">
                        <a16:creationId xmlns:a16="http://schemas.microsoft.com/office/drawing/2014/main" id="{DD9BD855-1828-7AB2-3212-98EA0ED29B92}"/>
                      </a:ext>
                    </a:extLst>
                  </p:cNvPr>
                  <p:cNvSpPr/>
                  <p:nvPr userDrawn="1"/>
                </p:nvSpPr>
                <p:spPr>
                  <a:xfrm>
                    <a:off x="8464030" y="436694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6E8E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59" name="Freeform: Shape 458">
                    <a:extLst>
                      <a:ext uri="{FF2B5EF4-FFF2-40B4-BE49-F238E27FC236}">
                        <a16:creationId xmlns:a16="http://schemas.microsoft.com/office/drawing/2014/main" id="{3B286818-4EB5-359B-DC7B-A824CD95CF04}"/>
                      </a:ext>
                    </a:extLst>
                  </p:cNvPr>
                  <p:cNvSpPr/>
                  <p:nvPr userDrawn="1"/>
                </p:nvSpPr>
                <p:spPr>
                  <a:xfrm>
                    <a:off x="8464498" y="436654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7E9E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60" name="Freeform: Shape 459">
                    <a:extLst>
                      <a:ext uri="{FF2B5EF4-FFF2-40B4-BE49-F238E27FC236}">
                        <a16:creationId xmlns:a16="http://schemas.microsoft.com/office/drawing/2014/main" id="{4F502FF0-AD24-8A1D-E8FB-70D70C342624}"/>
                      </a:ext>
                    </a:extLst>
                  </p:cNvPr>
                  <p:cNvSpPr/>
                  <p:nvPr userDrawn="1"/>
                </p:nvSpPr>
                <p:spPr>
                  <a:xfrm>
                    <a:off x="8464966" y="436612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7E9E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61" name="Freeform: Shape 460">
                    <a:extLst>
                      <a:ext uri="{FF2B5EF4-FFF2-40B4-BE49-F238E27FC236}">
                        <a16:creationId xmlns:a16="http://schemas.microsoft.com/office/drawing/2014/main" id="{B40F71CB-EED7-C164-B247-44A92B191B79}"/>
                      </a:ext>
                    </a:extLst>
                  </p:cNvPr>
                  <p:cNvSpPr/>
                  <p:nvPr userDrawn="1"/>
                </p:nvSpPr>
                <p:spPr>
                  <a:xfrm>
                    <a:off x="8465434" y="436572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7E9E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62" name="Freeform: Shape 461">
                    <a:extLst>
                      <a:ext uri="{FF2B5EF4-FFF2-40B4-BE49-F238E27FC236}">
                        <a16:creationId xmlns:a16="http://schemas.microsoft.com/office/drawing/2014/main" id="{BA8135C4-FFFE-C444-454F-99674D3F7073}"/>
                      </a:ext>
                    </a:extLst>
                  </p:cNvPr>
                  <p:cNvSpPr/>
                  <p:nvPr userDrawn="1"/>
                </p:nvSpPr>
                <p:spPr>
                  <a:xfrm>
                    <a:off x="8465902" y="436530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7EAF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63" name="Freeform: Shape 462">
                    <a:extLst>
                      <a:ext uri="{FF2B5EF4-FFF2-40B4-BE49-F238E27FC236}">
                        <a16:creationId xmlns:a16="http://schemas.microsoft.com/office/drawing/2014/main" id="{A55D4538-5C0E-FDAB-AB1F-9B68553C9129}"/>
                      </a:ext>
                    </a:extLst>
                  </p:cNvPr>
                  <p:cNvSpPr/>
                  <p:nvPr userDrawn="1"/>
                </p:nvSpPr>
                <p:spPr>
                  <a:xfrm>
                    <a:off x="8466347" y="436490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8EAF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64" name="Freeform: Shape 463">
                    <a:extLst>
                      <a:ext uri="{FF2B5EF4-FFF2-40B4-BE49-F238E27FC236}">
                        <a16:creationId xmlns:a16="http://schemas.microsoft.com/office/drawing/2014/main" id="{7CC606ED-318C-DC91-D838-9DC6B767B499}"/>
                      </a:ext>
                    </a:extLst>
                  </p:cNvPr>
                  <p:cNvSpPr/>
                  <p:nvPr userDrawn="1"/>
                </p:nvSpPr>
                <p:spPr>
                  <a:xfrm>
                    <a:off x="8466815" y="436448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8EAF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65" name="Freeform: Shape 464">
                    <a:extLst>
                      <a:ext uri="{FF2B5EF4-FFF2-40B4-BE49-F238E27FC236}">
                        <a16:creationId xmlns:a16="http://schemas.microsoft.com/office/drawing/2014/main" id="{69A1DC14-B021-F8A1-3D99-7E6BC8D0B026}"/>
                      </a:ext>
                    </a:extLst>
                  </p:cNvPr>
                  <p:cNvSpPr/>
                  <p:nvPr userDrawn="1"/>
                </p:nvSpPr>
                <p:spPr>
                  <a:xfrm>
                    <a:off x="8467260" y="436406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8EAF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66" name="Freeform: Shape 465">
                    <a:extLst>
                      <a:ext uri="{FF2B5EF4-FFF2-40B4-BE49-F238E27FC236}">
                        <a16:creationId xmlns:a16="http://schemas.microsoft.com/office/drawing/2014/main" id="{29A915D6-F55C-D844-7653-4319DD2213C5}"/>
                      </a:ext>
                    </a:extLst>
                  </p:cNvPr>
                  <p:cNvSpPr/>
                  <p:nvPr userDrawn="1"/>
                </p:nvSpPr>
                <p:spPr>
                  <a:xfrm>
                    <a:off x="8467681" y="436366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9EBF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67" name="Freeform: Shape 466">
                    <a:extLst>
                      <a:ext uri="{FF2B5EF4-FFF2-40B4-BE49-F238E27FC236}">
                        <a16:creationId xmlns:a16="http://schemas.microsoft.com/office/drawing/2014/main" id="{463094DB-97A5-BEA0-7969-1B7E0B1F1B91}"/>
                      </a:ext>
                    </a:extLst>
                  </p:cNvPr>
                  <p:cNvSpPr/>
                  <p:nvPr userDrawn="1"/>
                </p:nvSpPr>
                <p:spPr>
                  <a:xfrm>
                    <a:off x="8468125" y="436324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9EBF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68" name="Freeform: Shape 467">
                    <a:extLst>
                      <a:ext uri="{FF2B5EF4-FFF2-40B4-BE49-F238E27FC236}">
                        <a16:creationId xmlns:a16="http://schemas.microsoft.com/office/drawing/2014/main" id="{32A745A0-A1C7-1328-E38F-F1A5DE3F9B85}"/>
                      </a:ext>
                    </a:extLst>
                  </p:cNvPr>
                  <p:cNvSpPr/>
                  <p:nvPr userDrawn="1"/>
                </p:nvSpPr>
                <p:spPr>
                  <a:xfrm>
                    <a:off x="8468547" y="436282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9EBF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69" name="Freeform: Shape 468">
                    <a:extLst>
                      <a:ext uri="{FF2B5EF4-FFF2-40B4-BE49-F238E27FC236}">
                        <a16:creationId xmlns:a16="http://schemas.microsoft.com/office/drawing/2014/main" id="{E86220EF-827B-FB9D-3B46-112F890D8151}"/>
                      </a:ext>
                    </a:extLst>
                  </p:cNvPr>
                  <p:cNvSpPr/>
                  <p:nvPr userDrawn="1"/>
                </p:nvSpPr>
                <p:spPr>
                  <a:xfrm>
                    <a:off x="8468991" y="436242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EAECF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70" name="Freeform: Shape 469">
                    <a:extLst>
                      <a:ext uri="{FF2B5EF4-FFF2-40B4-BE49-F238E27FC236}">
                        <a16:creationId xmlns:a16="http://schemas.microsoft.com/office/drawing/2014/main" id="{86C9D181-96F8-63A6-6BFB-9945382E478C}"/>
                      </a:ext>
                    </a:extLst>
                  </p:cNvPr>
                  <p:cNvSpPr/>
                  <p:nvPr userDrawn="1"/>
                </p:nvSpPr>
                <p:spPr>
                  <a:xfrm>
                    <a:off x="8469389" y="436200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AECF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71" name="Freeform: Shape 470">
                    <a:extLst>
                      <a:ext uri="{FF2B5EF4-FFF2-40B4-BE49-F238E27FC236}">
                        <a16:creationId xmlns:a16="http://schemas.microsoft.com/office/drawing/2014/main" id="{54E3E05E-8849-9164-C12C-7762250DAA8D}"/>
                      </a:ext>
                    </a:extLst>
                  </p:cNvPr>
                  <p:cNvSpPr/>
                  <p:nvPr userDrawn="1"/>
                </p:nvSpPr>
                <p:spPr>
                  <a:xfrm>
                    <a:off x="8469810" y="436158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AECF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72" name="Freeform: Shape 471">
                    <a:extLst>
                      <a:ext uri="{FF2B5EF4-FFF2-40B4-BE49-F238E27FC236}">
                        <a16:creationId xmlns:a16="http://schemas.microsoft.com/office/drawing/2014/main" id="{AE63AE51-17C8-4494-E593-39E588030573}"/>
                      </a:ext>
                    </a:extLst>
                  </p:cNvPr>
                  <p:cNvSpPr/>
                  <p:nvPr userDrawn="1"/>
                </p:nvSpPr>
                <p:spPr>
                  <a:xfrm>
                    <a:off x="8470231" y="436118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EBECF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73" name="Freeform: Shape 472">
                    <a:extLst>
                      <a:ext uri="{FF2B5EF4-FFF2-40B4-BE49-F238E27FC236}">
                        <a16:creationId xmlns:a16="http://schemas.microsoft.com/office/drawing/2014/main" id="{3694AC3A-2866-DB3D-BFD5-21F51A7C3C96}"/>
                      </a:ext>
                    </a:extLst>
                  </p:cNvPr>
                  <p:cNvSpPr/>
                  <p:nvPr userDrawn="1"/>
                </p:nvSpPr>
                <p:spPr>
                  <a:xfrm>
                    <a:off x="8470629" y="436076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BEDF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74" name="Freeform: Shape 473">
                    <a:extLst>
                      <a:ext uri="{FF2B5EF4-FFF2-40B4-BE49-F238E27FC236}">
                        <a16:creationId xmlns:a16="http://schemas.microsoft.com/office/drawing/2014/main" id="{A75A8EC2-CE78-AC66-0E99-FA146AE8D7C4}"/>
                      </a:ext>
                    </a:extLst>
                  </p:cNvPr>
                  <p:cNvSpPr/>
                  <p:nvPr userDrawn="1"/>
                </p:nvSpPr>
                <p:spPr>
                  <a:xfrm>
                    <a:off x="8471027" y="436034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BEDF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75" name="Freeform: Shape 474">
                    <a:extLst>
                      <a:ext uri="{FF2B5EF4-FFF2-40B4-BE49-F238E27FC236}">
                        <a16:creationId xmlns:a16="http://schemas.microsoft.com/office/drawing/2014/main" id="{28AA380C-3154-5430-4751-C42DEBF11C58}"/>
                      </a:ext>
                    </a:extLst>
                  </p:cNvPr>
                  <p:cNvSpPr/>
                  <p:nvPr userDrawn="1"/>
                </p:nvSpPr>
                <p:spPr>
                  <a:xfrm>
                    <a:off x="8471425" y="435992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BEDF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76" name="Freeform: Shape 475">
                    <a:extLst>
                      <a:ext uri="{FF2B5EF4-FFF2-40B4-BE49-F238E27FC236}">
                        <a16:creationId xmlns:a16="http://schemas.microsoft.com/office/drawing/2014/main" id="{DE9C600B-54D6-C138-D767-03E7059AD085}"/>
                      </a:ext>
                    </a:extLst>
                  </p:cNvPr>
                  <p:cNvSpPr/>
                  <p:nvPr userDrawn="1"/>
                </p:nvSpPr>
                <p:spPr>
                  <a:xfrm>
                    <a:off x="8471799" y="435950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CEDF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77" name="Freeform: Shape 476">
                    <a:extLst>
                      <a:ext uri="{FF2B5EF4-FFF2-40B4-BE49-F238E27FC236}">
                        <a16:creationId xmlns:a16="http://schemas.microsoft.com/office/drawing/2014/main" id="{58548667-9977-3AB8-E265-731109175838}"/>
                      </a:ext>
                    </a:extLst>
                  </p:cNvPr>
                  <p:cNvSpPr/>
                  <p:nvPr userDrawn="1"/>
                </p:nvSpPr>
                <p:spPr>
                  <a:xfrm>
                    <a:off x="8472174" y="435910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CEEF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78" name="Freeform: Shape 477">
                    <a:extLst>
                      <a:ext uri="{FF2B5EF4-FFF2-40B4-BE49-F238E27FC236}">
                        <a16:creationId xmlns:a16="http://schemas.microsoft.com/office/drawing/2014/main" id="{D8B37B86-C294-B3E6-7EFE-C39E4E64C78A}"/>
                      </a:ext>
                    </a:extLst>
                  </p:cNvPr>
                  <p:cNvSpPr/>
                  <p:nvPr userDrawn="1"/>
                </p:nvSpPr>
                <p:spPr>
                  <a:xfrm>
                    <a:off x="8472548" y="435868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CEEF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79" name="Freeform: Shape 478">
                    <a:extLst>
                      <a:ext uri="{FF2B5EF4-FFF2-40B4-BE49-F238E27FC236}">
                        <a16:creationId xmlns:a16="http://schemas.microsoft.com/office/drawing/2014/main" id="{63FA0585-AB96-2558-AAEA-E43666FDB139}"/>
                      </a:ext>
                    </a:extLst>
                  </p:cNvPr>
                  <p:cNvSpPr/>
                  <p:nvPr userDrawn="1"/>
                </p:nvSpPr>
                <p:spPr>
                  <a:xfrm>
                    <a:off x="8472922" y="435826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DEEF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80" name="Freeform: Shape 479">
                    <a:extLst>
                      <a:ext uri="{FF2B5EF4-FFF2-40B4-BE49-F238E27FC236}">
                        <a16:creationId xmlns:a16="http://schemas.microsoft.com/office/drawing/2014/main" id="{B3623D4A-9484-17C1-671A-5E96175FC962}"/>
                      </a:ext>
                    </a:extLst>
                  </p:cNvPr>
                  <p:cNvSpPr/>
                  <p:nvPr userDrawn="1"/>
                </p:nvSpPr>
                <p:spPr>
                  <a:xfrm>
                    <a:off x="8473297" y="435784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DEFF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81" name="Freeform: Shape 480">
                    <a:extLst>
                      <a:ext uri="{FF2B5EF4-FFF2-40B4-BE49-F238E27FC236}">
                        <a16:creationId xmlns:a16="http://schemas.microsoft.com/office/drawing/2014/main" id="{6184D78B-72E1-89BE-E5B5-C9B60B4AD866}"/>
                      </a:ext>
                    </a:extLst>
                  </p:cNvPr>
                  <p:cNvSpPr/>
                  <p:nvPr userDrawn="1"/>
                </p:nvSpPr>
                <p:spPr>
                  <a:xfrm>
                    <a:off x="8473648" y="435741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DEFF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82" name="Freeform: Shape 481">
                    <a:extLst>
                      <a:ext uri="{FF2B5EF4-FFF2-40B4-BE49-F238E27FC236}">
                        <a16:creationId xmlns:a16="http://schemas.microsoft.com/office/drawing/2014/main" id="{B8EF9F5E-2FCF-3B26-7E0F-8809322E2285}"/>
                      </a:ext>
                    </a:extLst>
                  </p:cNvPr>
                  <p:cNvSpPr/>
                  <p:nvPr userDrawn="1"/>
                </p:nvSpPr>
                <p:spPr>
                  <a:xfrm>
                    <a:off x="8474022" y="435699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EEFF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83" name="Freeform: Shape 482">
                    <a:extLst>
                      <a:ext uri="{FF2B5EF4-FFF2-40B4-BE49-F238E27FC236}">
                        <a16:creationId xmlns:a16="http://schemas.microsoft.com/office/drawing/2014/main" id="{C4BD3F9A-6A9C-C26A-A623-2274961379C5}"/>
                      </a:ext>
                    </a:extLst>
                  </p:cNvPr>
                  <p:cNvSpPr/>
                  <p:nvPr userDrawn="1"/>
                </p:nvSpPr>
                <p:spPr>
                  <a:xfrm>
                    <a:off x="8474373" y="435657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EEFF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84" name="Freeform: Shape 483">
                    <a:extLst>
                      <a:ext uri="{FF2B5EF4-FFF2-40B4-BE49-F238E27FC236}">
                        <a16:creationId xmlns:a16="http://schemas.microsoft.com/office/drawing/2014/main" id="{FDA31F23-068A-3123-7341-ADD54CC57F49}"/>
                      </a:ext>
                    </a:extLst>
                  </p:cNvPr>
                  <p:cNvSpPr/>
                  <p:nvPr userDrawn="1"/>
                </p:nvSpPr>
                <p:spPr>
                  <a:xfrm>
                    <a:off x="8474701" y="435617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EF0F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85" name="Freeform: Shape 484">
                    <a:extLst>
                      <a:ext uri="{FF2B5EF4-FFF2-40B4-BE49-F238E27FC236}">
                        <a16:creationId xmlns:a16="http://schemas.microsoft.com/office/drawing/2014/main" id="{3F1BD666-B591-A39B-9984-FE10193C8B06}"/>
                      </a:ext>
                    </a:extLst>
                  </p:cNvPr>
                  <p:cNvSpPr/>
                  <p:nvPr userDrawn="1"/>
                </p:nvSpPr>
                <p:spPr>
                  <a:xfrm>
                    <a:off x="8475052" y="435575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EEF0F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86" name="Freeform: Shape 485">
                    <a:extLst>
                      <a:ext uri="{FF2B5EF4-FFF2-40B4-BE49-F238E27FC236}">
                        <a16:creationId xmlns:a16="http://schemas.microsoft.com/office/drawing/2014/main" id="{FBF9206A-8191-01E3-47D4-4BD3D23A7349}"/>
                      </a:ext>
                    </a:extLst>
                  </p:cNvPr>
                  <p:cNvSpPr/>
                  <p:nvPr userDrawn="1"/>
                </p:nvSpPr>
                <p:spPr>
                  <a:xfrm>
                    <a:off x="8475379" y="435533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FF0F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87" name="Freeform: Shape 486">
                    <a:extLst>
                      <a:ext uri="{FF2B5EF4-FFF2-40B4-BE49-F238E27FC236}">
                        <a16:creationId xmlns:a16="http://schemas.microsoft.com/office/drawing/2014/main" id="{CB295DE9-C87B-BAD4-771A-C20232BD93E6}"/>
                      </a:ext>
                    </a:extLst>
                  </p:cNvPr>
                  <p:cNvSpPr/>
                  <p:nvPr userDrawn="1"/>
                </p:nvSpPr>
                <p:spPr>
                  <a:xfrm>
                    <a:off x="8475707" y="435491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FF1F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88" name="Freeform: Shape 487">
                    <a:extLst>
                      <a:ext uri="{FF2B5EF4-FFF2-40B4-BE49-F238E27FC236}">
                        <a16:creationId xmlns:a16="http://schemas.microsoft.com/office/drawing/2014/main" id="{D6F71277-865D-4FFB-7C5E-3C0592BC1182}"/>
                      </a:ext>
                    </a:extLst>
                  </p:cNvPr>
                  <p:cNvSpPr/>
                  <p:nvPr userDrawn="1"/>
                </p:nvSpPr>
                <p:spPr>
                  <a:xfrm>
                    <a:off x="8476035" y="435449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FF1F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89" name="Freeform: Shape 488">
                    <a:extLst>
                      <a:ext uri="{FF2B5EF4-FFF2-40B4-BE49-F238E27FC236}">
                        <a16:creationId xmlns:a16="http://schemas.microsoft.com/office/drawing/2014/main" id="{08514A47-CF59-8A0D-BCCE-6C457FE453C6}"/>
                      </a:ext>
                    </a:extLst>
                  </p:cNvPr>
                  <p:cNvSpPr/>
                  <p:nvPr userDrawn="1"/>
                </p:nvSpPr>
                <p:spPr>
                  <a:xfrm>
                    <a:off x="8476339" y="435407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F0F1F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90" name="Freeform: Shape 489">
                    <a:extLst>
                      <a:ext uri="{FF2B5EF4-FFF2-40B4-BE49-F238E27FC236}">
                        <a16:creationId xmlns:a16="http://schemas.microsoft.com/office/drawing/2014/main" id="{7B1D977D-B0ED-D46D-AAC1-E5F46EE8EA6C}"/>
                      </a:ext>
                    </a:extLst>
                  </p:cNvPr>
                  <p:cNvSpPr/>
                  <p:nvPr userDrawn="1"/>
                </p:nvSpPr>
                <p:spPr>
                  <a:xfrm>
                    <a:off x="8476666" y="435365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F0F1F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91" name="Freeform: Shape 490">
                    <a:extLst>
                      <a:ext uri="{FF2B5EF4-FFF2-40B4-BE49-F238E27FC236}">
                        <a16:creationId xmlns:a16="http://schemas.microsoft.com/office/drawing/2014/main" id="{4D8418E9-DEE1-9260-93B8-B2C8D826FF8D}"/>
                      </a:ext>
                    </a:extLst>
                  </p:cNvPr>
                  <p:cNvSpPr/>
                  <p:nvPr userDrawn="1"/>
                </p:nvSpPr>
                <p:spPr>
                  <a:xfrm>
                    <a:off x="8476971" y="435323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F0F2F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92" name="Freeform: Shape 491">
                    <a:extLst>
                      <a:ext uri="{FF2B5EF4-FFF2-40B4-BE49-F238E27FC236}">
                        <a16:creationId xmlns:a16="http://schemas.microsoft.com/office/drawing/2014/main" id="{061E7564-7133-3961-176E-DBDC9D15BA96}"/>
                      </a:ext>
                    </a:extLst>
                  </p:cNvPr>
                  <p:cNvSpPr/>
                  <p:nvPr userDrawn="1"/>
                </p:nvSpPr>
                <p:spPr>
                  <a:xfrm>
                    <a:off x="8477275" y="435280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F1F2F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93" name="Freeform: Shape 492">
                    <a:extLst>
                      <a:ext uri="{FF2B5EF4-FFF2-40B4-BE49-F238E27FC236}">
                        <a16:creationId xmlns:a16="http://schemas.microsoft.com/office/drawing/2014/main" id="{90952968-018A-26DB-A37B-62FDA805B0FB}"/>
                      </a:ext>
                    </a:extLst>
                  </p:cNvPr>
                  <p:cNvSpPr/>
                  <p:nvPr userDrawn="1"/>
                </p:nvSpPr>
                <p:spPr>
                  <a:xfrm>
                    <a:off x="8477556" y="435238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F1F2F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94" name="Freeform: Shape 493">
                    <a:extLst>
                      <a:ext uri="{FF2B5EF4-FFF2-40B4-BE49-F238E27FC236}">
                        <a16:creationId xmlns:a16="http://schemas.microsoft.com/office/drawing/2014/main" id="{65421C63-4B19-145A-63F8-9FB1B3B20A24}"/>
                      </a:ext>
                    </a:extLst>
                  </p:cNvPr>
                  <p:cNvSpPr/>
                  <p:nvPr userDrawn="1"/>
                </p:nvSpPr>
                <p:spPr>
                  <a:xfrm>
                    <a:off x="8477860" y="435196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F1F2F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95" name="Freeform: Shape 494">
                    <a:extLst>
                      <a:ext uri="{FF2B5EF4-FFF2-40B4-BE49-F238E27FC236}">
                        <a16:creationId xmlns:a16="http://schemas.microsoft.com/office/drawing/2014/main" id="{DFEB6E37-D2F7-111F-20EC-10FBE28FEAF5}"/>
                      </a:ext>
                    </a:extLst>
                  </p:cNvPr>
                  <p:cNvSpPr/>
                  <p:nvPr userDrawn="1"/>
                </p:nvSpPr>
                <p:spPr>
                  <a:xfrm>
                    <a:off x="8478141" y="435154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F2F3F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96" name="Freeform: Shape 495">
                    <a:extLst>
                      <a:ext uri="{FF2B5EF4-FFF2-40B4-BE49-F238E27FC236}">
                        <a16:creationId xmlns:a16="http://schemas.microsoft.com/office/drawing/2014/main" id="{1A9F2A73-ED66-13D6-7B17-67D9E1BB3BF4}"/>
                      </a:ext>
                    </a:extLst>
                  </p:cNvPr>
                  <p:cNvSpPr/>
                  <p:nvPr userDrawn="1"/>
                </p:nvSpPr>
                <p:spPr>
                  <a:xfrm>
                    <a:off x="8478421" y="435112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F2F3F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97" name="Freeform: Shape 496">
                    <a:extLst>
                      <a:ext uri="{FF2B5EF4-FFF2-40B4-BE49-F238E27FC236}">
                        <a16:creationId xmlns:a16="http://schemas.microsoft.com/office/drawing/2014/main" id="{8DB49F88-DB19-DB74-51A3-288822C239CC}"/>
                      </a:ext>
                    </a:extLst>
                  </p:cNvPr>
                  <p:cNvSpPr/>
                  <p:nvPr userDrawn="1"/>
                </p:nvSpPr>
                <p:spPr>
                  <a:xfrm>
                    <a:off x="8478702" y="435070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F2F3F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98" name="Freeform: Shape 497">
                    <a:extLst>
                      <a:ext uri="{FF2B5EF4-FFF2-40B4-BE49-F238E27FC236}">
                        <a16:creationId xmlns:a16="http://schemas.microsoft.com/office/drawing/2014/main" id="{57BF51F9-57BD-EB5E-7F8F-BC6C46B49679}"/>
                      </a:ext>
                    </a:extLst>
                  </p:cNvPr>
                  <p:cNvSpPr/>
                  <p:nvPr userDrawn="1"/>
                </p:nvSpPr>
                <p:spPr>
                  <a:xfrm>
                    <a:off x="8478960" y="435028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F2F4F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499" name="Freeform: Shape 498">
                    <a:extLst>
                      <a:ext uri="{FF2B5EF4-FFF2-40B4-BE49-F238E27FC236}">
                        <a16:creationId xmlns:a16="http://schemas.microsoft.com/office/drawing/2014/main" id="{85E80ECF-071A-FEE0-7561-F383C856454C}"/>
                      </a:ext>
                    </a:extLst>
                  </p:cNvPr>
                  <p:cNvSpPr/>
                  <p:nvPr userDrawn="1"/>
                </p:nvSpPr>
                <p:spPr>
                  <a:xfrm>
                    <a:off x="8479217" y="4349860"/>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3F4F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00" name="Freeform: Shape 499">
                    <a:extLst>
                      <a:ext uri="{FF2B5EF4-FFF2-40B4-BE49-F238E27FC236}">
                        <a16:creationId xmlns:a16="http://schemas.microsoft.com/office/drawing/2014/main" id="{C3E1A6A1-FD99-04F1-509A-008AB380F268}"/>
                      </a:ext>
                    </a:extLst>
                  </p:cNvPr>
                  <p:cNvSpPr/>
                  <p:nvPr userDrawn="1"/>
                </p:nvSpPr>
                <p:spPr>
                  <a:xfrm>
                    <a:off x="8479474" y="4349439"/>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3F4F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01" name="Freeform: Shape 500">
                    <a:extLst>
                      <a:ext uri="{FF2B5EF4-FFF2-40B4-BE49-F238E27FC236}">
                        <a16:creationId xmlns:a16="http://schemas.microsoft.com/office/drawing/2014/main" id="{44465A16-0DE6-19E2-8BB4-46EE8C85CE4B}"/>
                      </a:ext>
                    </a:extLst>
                  </p:cNvPr>
                  <p:cNvSpPr/>
                  <p:nvPr userDrawn="1"/>
                </p:nvSpPr>
                <p:spPr>
                  <a:xfrm>
                    <a:off x="8479732" y="4349018"/>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3F4F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02" name="Freeform: Shape 501">
                    <a:extLst>
                      <a:ext uri="{FF2B5EF4-FFF2-40B4-BE49-F238E27FC236}">
                        <a16:creationId xmlns:a16="http://schemas.microsoft.com/office/drawing/2014/main" id="{A68C4C43-AED1-EAE1-BA47-2D86294D42F4}"/>
                      </a:ext>
                    </a:extLst>
                  </p:cNvPr>
                  <p:cNvSpPr/>
                  <p:nvPr userDrawn="1"/>
                </p:nvSpPr>
                <p:spPr>
                  <a:xfrm>
                    <a:off x="8479989" y="4348597"/>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4F5F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03" name="Freeform: Shape 502">
                    <a:extLst>
                      <a:ext uri="{FF2B5EF4-FFF2-40B4-BE49-F238E27FC236}">
                        <a16:creationId xmlns:a16="http://schemas.microsoft.com/office/drawing/2014/main" id="{81DC80D6-F0D8-2674-09D6-5A6AD902FADE}"/>
                      </a:ext>
                    </a:extLst>
                  </p:cNvPr>
                  <p:cNvSpPr/>
                  <p:nvPr userDrawn="1"/>
                </p:nvSpPr>
                <p:spPr>
                  <a:xfrm>
                    <a:off x="8480223" y="4348175"/>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4F5F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04" name="Freeform: Shape 503">
                    <a:extLst>
                      <a:ext uri="{FF2B5EF4-FFF2-40B4-BE49-F238E27FC236}">
                        <a16:creationId xmlns:a16="http://schemas.microsoft.com/office/drawing/2014/main" id="{40B039AD-DBF7-C720-518F-198E97434FE9}"/>
                      </a:ext>
                    </a:extLst>
                  </p:cNvPr>
                  <p:cNvSpPr/>
                  <p:nvPr userDrawn="1"/>
                </p:nvSpPr>
                <p:spPr>
                  <a:xfrm>
                    <a:off x="8480457" y="4347754"/>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4F5F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05" name="Freeform: Shape 504">
                    <a:extLst>
                      <a:ext uri="{FF2B5EF4-FFF2-40B4-BE49-F238E27FC236}">
                        <a16:creationId xmlns:a16="http://schemas.microsoft.com/office/drawing/2014/main" id="{C1F6AE39-9D46-8F61-FA42-32A21D6D11FA}"/>
                      </a:ext>
                    </a:extLst>
                  </p:cNvPr>
                  <p:cNvSpPr/>
                  <p:nvPr userDrawn="1"/>
                </p:nvSpPr>
                <p:spPr>
                  <a:xfrm>
                    <a:off x="8480691" y="4347356"/>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5F6F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06" name="Freeform: Shape 505">
                    <a:extLst>
                      <a:ext uri="{FF2B5EF4-FFF2-40B4-BE49-F238E27FC236}">
                        <a16:creationId xmlns:a16="http://schemas.microsoft.com/office/drawing/2014/main" id="{50DBDBC9-2F58-F2B9-5462-78292D76F4FD}"/>
                      </a:ext>
                    </a:extLst>
                  </p:cNvPr>
                  <p:cNvSpPr/>
                  <p:nvPr userDrawn="1"/>
                </p:nvSpPr>
                <p:spPr>
                  <a:xfrm>
                    <a:off x="8480902" y="4346935"/>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74"/>
                          <a:pt x="0" y="32667"/>
                          <a:pt x="0" y="21037"/>
                        </a:cubicBezTo>
                        <a:close/>
                      </a:path>
                    </a:pathLst>
                  </a:custGeom>
                  <a:solidFill>
                    <a:srgbClr val="F5F6F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07" name="Freeform: Shape 506">
                    <a:extLst>
                      <a:ext uri="{FF2B5EF4-FFF2-40B4-BE49-F238E27FC236}">
                        <a16:creationId xmlns:a16="http://schemas.microsoft.com/office/drawing/2014/main" id="{8008055E-6D4A-BFC4-A1E8-57038731439B}"/>
                      </a:ext>
                    </a:extLst>
                  </p:cNvPr>
                  <p:cNvSpPr/>
                  <p:nvPr userDrawn="1"/>
                </p:nvSpPr>
                <p:spPr>
                  <a:xfrm>
                    <a:off x="8481136" y="4346514"/>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5F6F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08" name="Freeform: Shape 507">
                    <a:extLst>
                      <a:ext uri="{FF2B5EF4-FFF2-40B4-BE49-F238E27FC236}">
                        <a16:creationId xmlns:a16="http://schemas.microsoft.com/office/drawing/2014/main" id="{4B620994-125C-DC0D-46C4-5D772568290B}"/>
                      </a:ext>
                    </a:extLst>
                  </p:cNvPr>
                  <p:cNvSpPr/>
                  <p:nvPr userDrawn="1"/>
                </p:nvSpPr>
                <p:spPr>
                  <a:xfrm>
                    <a:off x="8481346" y="4346093"/>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6F6F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09" name="Freeform: Shape 508">
                    <a:extLst>
                      <a:ext uri="{FF2B5EF4-FFF2-40B4-BE49-F238E27FC236}">
                        <a16:creationId xmlns:a16="http://schemas.microsoft.com/office/drawing/2014/main" id="{4E1814A7-DB36-F77A-6217-3A5BEB74932A}"/>
                      </a:ext>
                    </a:extLst>
                  </p:cNvPr>
                  <p:cNvSpPr/>
                  <p:nvPr userDrawn="1"/>
                </p:nvSpPr>
                <p:spPr>
                  <a:xfrm>
                    <a:off x="8481557" y="4345671"/>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6F7F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10" name="Freeform: Shape 509">
                    <a:extLst>
                      <a:ext uri="{FF2B5EF4-FFF2-40B4-BE49-F238E27FC236}">
                        <a16:creationId xmlns:a16="http://schemas.microsoft.com/office/drawing/2014/main" id="{6E5A64D5-C306-5A2F-AA37-8A7878F67681}"/>
                      </a:ext>
                    </a:extLst>
                  </p:cNvPr>
                  <p:cNvSpPr/>
                  <p:nvPr userDrawn="1"/>
                </p:nvSpPr>
                <p:spPr>
                  <a:xfrm>
                    <a:off x="8481744" y="4345250"/>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6F7F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11" name="Freeform: Shape 510">
                    <a:extLst>
                      <a:ext uri="{FF2B5EF4-FFF2-40B4-BE49-F238E27FC236}">
                        <a16:creationId xmlns:a16="http://schemas.microsoft.com/office/drawing/2014/main" id="{45592199-A2D4-BD33-AC8E-A5766B3E8DC9}"/>
                      </a:ext>
                    </a:extLst>
                  </p:cNvPr>
                  <p:cNvSpPr/>
                  <p:nvPr userDrawn="1"/>
                </p:nvSpPr>
                <p:spPr>
                  <a:xfrm>
                    <a:off x="8481955" y="4344829"/>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6F7F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12" name="Freeform: Shape 511">
                    <a:extLst>
                      <a:ext uri="{FF2B5EF4-FFF2-40B4-BE49-F238E27FC236}">
                        <a16:creationId xmlns:a16="http://schemas.microsoft.com/office/drawing/2014/main" id="{91AF4F22-D7E2-8A12-3068-3ACD7BA5035B}"/>
                      </a:ext>
                    </a:extLst>
                  </p:cNvPr>
                  <p:cNvSpPr/>
                  <p:nvPr userDrawn="1"/>
                </p:nvSpPr>
                <p:spPr>
                  <a:xfrm>
                    <a:off x="8482142" y="4344408"/>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7F7F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13" name="Freeform: Shape 512">
                    <a:extLst>
                      <a:ext uri="{FF2B5EF4-FFF2-40B4-BE49-F238E27FC236}">
                        <a16:creationId xmlns:a16="http://schemas.microsoft.com/office/drawing/2014/main" id="{645606EB-9C13-A0A3-7CFC-29EE9CA0635A}"/>
                      </a:ext>
                    </a:extLst>
                  </p:cNvPr>
                  <p:cNvSpPr/>
                  <p:nvPr userDrawn="1"/>
                </p:nvSpPr>
                <p:spPr>
                  <a:xfrm>
                    <a:off x="8482329" y="4343987"/>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7F8F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14" name="Freeform: Shape 513">
                    <a:extLst>
                      <a:ext uri="{FF2B5EF4-FFF2-40B4-BE49-F238E27FC236}">
                        <a16:creationId xmlns:a16="http://schemas.microsoft.com/office/drawing/2014/main" id="{8EAD7349-35F2-26F6-9D25-EB0801AF227D}"/>
                      </a:ext>
                    </a:extLst>
                  </p:cNvPr>
                  <p:cNvSpPr/>
                  <p:nvPr userDrawn="1"/>
                </p:nvSpPr>
                <p:spPr>
                  <a:xfrm>
                    <a:off x="8482517" y="4343565"/>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7F8F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15" name="Freeform: Shape 514">
                    <a:extLst>
                      <a:ext uri="{FF2B5EF4-FFF2-40B4-BE49-F238E27FC236}">
                        <a16:creationId xmlns:a16="http://schemas.microsoft.com/office/drawing/2014/main" id="{6AF2DAF3-F5E0-4A24-2DE2-3E9DDA8B6E0D}"/>
                      </a:ext>
                    </a:extLst>
                  </p:cNvPr>
                  <p:cNvSpPr/>
                  <p:nvPr userDrawn="1"/>
                </p:nvSpPr>
                <p:spPr>
                  <a:xfrm>
                    <a:off x="8482680" y="4343144"/>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8F8F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16" name="Freeform: Shape 515">
                    <a:extLst>
                      <a:ext uri="{FF2B5EF4-FFF2-40B4-BE49-F238E27FC236}">
                        <a16:creationId xmlns:a16="http://schemas.microsoft.com/office/drawing/2014/main" id="{C494E497-1FA6-C87D-0510-DE5CBEB3DE49}"/>
                      </a:ext>
                    </a:extLst>
                  </p:cNvPr>
                  <p:cNvSpPr/>
                  <p:nvPr userDrawn="1"/>
                </p:nvSpPr>
                <p:spPr>
                  <a:xfrm>
                    <a:off x="8482844" y="4342723"/>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90"/>
                          <a:pt x="0" y="21037"/>
                        </a:cubicBezTo>
                        <a:close/>
                      </a:path>
                    </a:pathLst>
                  </a:custGeom>
                  <a:solidFill>
                    <a:srgbClr val="F8F9F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17" name="Freeform: Shape 516">
                    <a:extLst>
                      <a:ext uri="{FF2B5EF4-FFF2-40B4-BE49-F238E27FC236}">
                        <a16:creationId xmlns:a16="http://schemas.microsoft.com/office/drawing/2014/main" id="{CD6A2D30-14FA-BA6B-7A70-5756B501CA4D}"/>
                      </a:ext>
                    </a:extLst>
                  </p:cNvPr>
                  <p:cNvSpPr/>
                  <p:nvPr userDrawn="1"/>
                </p:nvSpPr>
                <p:spPr>
                  <a:xfrm>
                    <a:off x="8483008" y="4342325"/>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74"/>
                          <a:pt x="0" y="32667"/>
                          <a:pt x="0" y="21037"/>
                        </a:cubicBezTo>
                        <a:close/>
                      </a:path>
                    </a:pathLst>
                  </a:custGeom>
                  <a:solidFill>
                    <a:srgbClr val="F8F9F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18" name="Freeform: Shape 517">
                    <a:extLst>
                      <a:ext uri="{FF2B5EF4-FFF2-40B4-BE49-F238E27FC236}">
                        <a16:creationId xmlns:a16="http://schemas.microsoft.com/office/drawing/2014/main" id="{1B1DE95B-671C-DE0B-789A-8B7651EDE9A9}"/>
                      </a:ext>
                    </a:extLst>
                  </p:cNvPr>
                  <p:cNvSpPr/>
                  <p:nvPr userDrawn="1"/>
                </p:nvSpPr>
                <p:spPr>
                  <a:xfrm>
                    <a:off x="8483172" y="4341904"/>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9F9F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19" name="Freeform: Shape 518">
                    <a:extLst>
                      <a:ext uri="{FF2B5EF4-FFF2-40B4-BE49-F238E27FC236}">
                        <a16:creationId xmlns:a16="http://schemas.microsoft.com/office/drawing/2014/main" id="{DE8767FA-CD5A-B3D1-113F-19CCC1A72916}"/>
                      </a:ext>
                    </a:extLst>
                  </p:cNvPr>
                  <p:cNvSpPr/>
                  <p:nvPr userDrawn="1"/>
                </p:nvSpPr>
                <p:spPr>
                  <a:xfrm>
                    <a:off x="8483312" y="4341483"/>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9F9F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20" name="Freeform: Shape 519">
                    <a:extLst>
                      <a:ext uri="{FF2B5EF4-FFF2-40B4-BE49-F238E27FC236}">
                        <a16:creationId xmlns:a16="http://schemas.microsoft.com/office/drawing/2014/main" id="{49B25098-EC93-CDEC-409A-81458EF0A9EB}"/>
                      </a:ext>
                    </a:extLst>
                  </p:cNvPr>
                  <p:cNvSpPr/>
                  <p:nvPr userDrawn="1"/>
                </p:nvSpPr>
                <p:spPr>
                  <a:xfrm>
                    <a:off x="8483476" y="4341062"/>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9FAF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21" name="Freeform: Shape 520">
                    <a:extLst>
                      <a:ext uri="{FF2B5EF4-FFF2-40B4-BE49-F238E27FC236}">
                        <a16:creationId xmlns:a16="http://schemas.microsoft.com/office/drawing/2014/main" id="{3B2432E0-AC08-9C21-3CFB-512BD854E110}"/>
                      </a:ext>
                    </a:extLst>
                  </p:cNvPr>
                  <p:cNvSpPr/>
                  <p:nvPr userDrawn="1"/>
                </p:nvSpPr>
                <p:spPr>
                  <a:xfrm>
                    <a:off x="8483616" y="4340640"/>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9FAF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22" name="Freeform: Shape 521">
                    <a:extLst>
                      <a:ext uri="{FF2B5EF4-FFF2-40B4-BE49-F238E27FC236}">
                        <a16:creationId xmlns:a16="http://schemas.microsoft.com/office/drawing/2014/main" id="{149AC202-B4AF-DDD1-98E8-5119956B4465}"/>
                      </a:ext>
                    </a:extLst>
                  </p:cNvPr>
                  <p:cNvSpPr/>
                  <p:nvPr userDrawn="1"/>
                </p:nvSpPr>
                <p:spPr>
                  <a:xfrm>
                    <a:off x="8483733" y="4340243"/>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74"/>
                          <a:pt x="0" y="32667"/>
                          <a:pt x="0" y="21037"/>
                        </a:cubicBezTo>
                        <a:close/>
                      </a:path>
                    </a:pathLst>
                  </a:custGeom>
                  <a:solidFill>
                    <a:srgbClr val="FAFAF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23" name="Freeform: Shape 522">
                    <a:extLst>
                      <a:ext uri="{FF2B5EF4-FFF2-40B4-BE49-F238E27FC236}">
                        <a16:creationId xmlns:a16="http://schemas.microsoft.com/office/drawing/2014/main" id="{9F7B349D-C4E6-3ABF-9369-0B4990462E7D}"/>
                      </a:ext>
                    </a:extLst>
                  </p:cNvPr>
                  <p:cNvSpPr/>
                  <p:nvPr userDrawn="1"/>
                </p:nvSpPr>
                <p:spPr>
                  <a:xfrm>
                    <a:off x="8483874" y="4339821"/>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43" y="0"/>
                          <a:pt x="42074" y="9430"/>
                          <a:pt x="42074" y="21037"/>
                        </a:cubicBezTo>
                        <a:cubicBezTo>
                          <a:pt x="42074" y="32667"/>
                          <a:pt x="32643" y="42097"/>
                          <a:pt x="21037" y="42097"/>
                        </a:cubicBezTo>
                        <a:cubicBezTo>
                          <a:pt x="9430" y="42097"/>
                          <a:pt x="0" y="32667"/>
                          <a:pt x="0" y="21037"/>
                        </a:cubicBezTo>
                        <a:close/>
                      </a:path>
                    </a:pathLst>
                  </a:custGeom>
                  <a:solidFill>
                    <a:srgbClr val="FAFBF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24" name="Freeform: Shape 523">
                    <a:extLst>
                      <a:ext uri="{FF2B5EF4-FFF2-40B4-BE49-F238E27FC236}">
                        <a16:creationId xmlns:a16="http://schemas.microsoft.com/office/drawing/2014/main" id="{FB06E11B-C86F-2AE6-3F59-212B575CAFBA}"/>
                      </a:ext>
                    </a:extLst>
                  </p:cNvPr>
                  <p:cNvSpPr/>
                  <p:nvPr userDrawn="1"/>
                </p:nvSpPr>
                <p:spPr>
                  <a:xfrm>
                    <a:off x="8483991" y="4339400"/>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AFBF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25" name="Freeform: Shape 524">
                    <a:extLst>
                      <a:ext uri="{FF2B5EF4-FFF2-40B4-BE49-F238E27FC236}">
                        <a16:creationId xmlns:a16="http://schemas.microsoft.com/office/drawing/2014/main" id="{C9742ED2-810E-43F1-3D08-1E07DD0BAF2C}"/>
                      </a:ext>
                    </a:extLst>
                  </p:cNvPr>
                  <p:cNvSpPr/>
                  <p:nvPr userDrawn="1"/>
                </p:nvSpPr>
                <p:spPr>
                  <a:xfrm>
                    <a:off x="8484108" y="4338979"/>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BFBF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26" name="Freeform: Shape 525">
                    <a:extLst>
                      <a:ext uri="{FF2B5EF4-FFF2-40B4-BE49-F238E27FC236}">
                        <a16:creationId xmlns:a16="http://schemas.microsoft.com/office/drawing/2014/main" id="{F2247105-C22D-41E3-2EEC-025412CF74F9}"/>
                      </a:ext>
                    </a:extLst>
                  </p:cNvPr>
                  <p:cNvSpPr/>
                  <p:nvPr userDrawn="1"/>
                </p:nvSpPr>
                <p:spPr>
                  <a:xfrm>
                    <a:off x="8484225" y="4338581"/>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74"/>
                          <a:pt x="0" y="32667"/>
                          <a:pt x="0" y="21037"/>
                        </a:cubicBezTo>
                        <a:close/>
                      </a:path>
                    </a:pathLst>
                  </a:custGeom>
                  <a:solidFill>
                    <a:srgbClr val="FBFBF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27" name="Freeform: Shape 526">
                    <a:extLst>
                      <a:ext uri="{FF2B5EF4-FFF2-40B4-BE49-F238E27FC236}">
                        <a16:creationId xmlns:a16="http://schemas.microsoft.com/office/drawing/2014/main" id="{A1685B71-8C20-4F78-5CA7-6912AE3D6E56}"/>
                      </a:ext>
                    </a:extLst>
                  </p:cNvPr>
                  <p:cNvSpPr/>
                  <p:nvPr userDrawn="1"/>
                </p:nvSpPr>
                <p:spPr>
                  <a:xfrm>
                    <a:off x="8484342" y="4338160"/>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BFCF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28" name="Freeform: Shape 527">
                    <a:extLst>
                      <a:ext uri="{FF2B5EF4-FFF2-40B4-BE49-F238E27FC236}">
                        <a16:creationId xmlns:a16="http://schemas.microsoft.com/office/drawing/2014/main" id="{915AE1F4-9C76-B458-629F-19D05DB76AE6}"/>
                      </a:ext>
                    </a:extLst>
                  </p:cNvPr>
                  <p:cNvSpPr/>
                  <p:nvPr userDrawn="1"/>
                </p:nvSpPr>
                <p:spPr>
                  <a:xfrm>
                    <a:off x="8484435" y="4337739"/>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CFCF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29" name="Freeform: Shape 528">
                    <a:extLst>
                      <a:ext uri="{FF2B5EF4-FFF2-40B4-BE49-F238E27FC236}">
                        <a16:creationId xmlns:a16="http://schemas.microsoft.com/office/drawing/2014/main" id="{49126C95-E0AA-EC2A-5B2D-5721DAE0A3B4}"/>
                      </a:ext>
                    </a:extLst>
                  </p:cNvPr>
                  <p:cNvSpPr/>
                  <p:nvPr userDrawn="1"/>
                </p:nvSpPr>
                <p:spPr>
                  <a:xfrm>
                    <a:off x="8484529" y="4337341"/>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CFCF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30" name="Freeform: Shape 529">
                    <a:extLst>
                      <a:ext uri="{FF2B5EF4-FFF2-40B4-BE49-F238E27FC236}">
                        <a16:creationId xmlns:a16="http://schemas.microsoft.com/office/drawing/2014/main" id="{0AFF6127-8E7A-98E6-37D4-91E7C28240A8}"/>
                      </a:ext>
                    </a:extLst>
                  </p:cNvPr>
                  <p:cNvSpPr/>
                  <p:nvPr userDrawn="1"/>
                </p:nvSpPr>
                <p:spPr>
                  <a:xfrm>
                    <a:off x="8484623" y="4336920"/>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CFCF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31" name="Freeform: Shape 530">
                    <a:extLst>
                      <a:ext uri="{FF2B5EF4-FFF2-40B4-BE49-F238E27FC236}">
                        <a16:creationId xmlns:a16="http://schemas.microsoft.com/office/drawing/2014/main" id="{6E5040B3-DCBE-4357-AA34-12E98A69C6D4}"/>
                      </a:ext>
                    </a:extLst>
                  </p:cNvPr>
                  <p:cNvSpPr/>
                  <p:nvPr userDrawn="1"/>
                </p:nvSpPr>
                <p:spPr>
                  <a:xfrm>
                    <a:off x="8484693" y="4336499"/>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DFDF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32" name="Freeform: Shape 531">
                    <a:extLst>
                      <a:ext uri="{FF2B5EF4-FFF2-40B4-BE49-F238E27FC236}">
                        <a16:creationId xmlns:a16="http://schemas.microsoft.com/office/drawing/2014/main" id="{6D5812C9-C35B-DB81-14BC-E8FEFBADE049}"/>
                      </a:ext>
                    </a:extLst>
                  </p:cNvPr>
                  <p:cNvSpPr/>
                  <p:nvPr userDrawn="1"/>
                </p:nvSpPr>
                <p:spPr>
                  <a:xfrm>
                    <a:off x="8484786" y="4336101"/>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DFDF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33" name="Freeform: Shape 532">
                    <a:extLst>
                      <a:ext uri="{FF2B5EF4-FFF2-40B4-BE49-F238E27FC236}">
                        <a16:creationId xmlns:a16="http://schemas.microsoft.com/office/drawing/2014/main" id="{AD5502E3-B930-44AF-5A38-30A6EE60E41C}"/>
                      </a:ext>
                    </a:extLst>
                  </p:cNvPr>
                  <p:cNvSpPr/>
                  <p:nvPr userDrawn="1"/>
                </p:nvSpPr>
                <p:spPr>
                  <a:xfrm>
                    <a:off x="8484857" y="4335680"/>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DFDF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34" name="Freeform: Shape 533">
                    <a:extLst>
                      <a:ext uri="{FF2B5EF4-FFF2-40B4-BE49-F238E27FC236}">
                        <a16:creationId xmlns:a16="http://schemas.microsoft.com/office/drawing/2014/main" id="{53559ABD-4DC9-C8B8-FDA1-8C3907988122}"/>
                      </a:ext>
                    </a:extLst>
                  </p:cNvPr>
                  <p:cNvSpPr/>
                  <p:nvPr userDrawn="1"/>
                </p:nvSpPr>
                <p:spPr>
                  <a:xfrm>
                    <a:off x="8484927" y="4335282"/>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DFEF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35" name="Freeform: Shape 534">
                    <a:extLst>
                      <a:ext uri="{FF2B5EF4-FFF2-40B4-BE49-F238E27FC236}">
                        <a16:creationId xmlns:a16="http://schemas.microsoft.com/office/drawing/2014/main" id="{F8F146DC-3AC8-D458-09C5-ED9D5CBEE9DA}"/>
                      </a:ext>
                    </a:extLst>
                  </p:cNvPr>
                  <p:cNvSpPr/>
                  <p:nvPr userDrawn="1"/>
                </p:nvSpPr>
                <p:spPr>
                  <a:xfrm>
                    <a:off x="8484974" y="4334861"/>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EFEF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36" name="Freeform: Shape 535">
                    <a:extLst>
                      <a:ext uri="{FF2B5EF4-FFF2-40B4-BE49-F238E27FC236}">
                        <a16:creationId xmlns:a16="http://schemas.microsoft.com/office/drawing/2014/main" id="{9252C4D9-0344-639F-544F-CCF9BC3E580D}"/>
                      </a:ext>
                    </a:extLst>
                  </p:cNvPr>
                  <p:cNvSpPr/>
                  <p:nvPr userDrawn="1"/>
                </p:nvSpPr>
                <p:spPr>
                  <a:xfrm>
                    <a:off x="8485020" y="4334463"/>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74"/>
                          <a:pt x="0" y="32667"/>
                          <a:pt x="0" y="21037"/>
                        </a:cubicBezTo>
                        <a:close/>
                      </a:path>
                    </a:pathLst>
                  </a:custGeom>
                  <a:solidFill>
                    <a:srgbClr val="FEFEF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37" name="Freeform: Shape 536">
                    <a:extLst>
                      <a:ext uri="{FF2B5EF4-FFF2-40B4-BE49-F238E27FC236}">
                        <a16:creationId xmlns:a16="http://schemas.microsoft.com/office/drawing/2014/main" id="{07A1DB01-7B99-9438-2975-7FEC3059E55D}"/>
                      </a:ext>
                    </a:extLst>
                  </p:cNvPr>
                  <p:cNvSpPr/>
                  <p:nvPr userDrawn="1"/>
                </p:nvSpPr>
                <p:spPr>
                  <a:xfrm>
                    <a:off x="8485091" y="4334042"/>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EFEF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38" name="Freeform: Shape 537">
                    <a:extLst>
                      <a:ext uri="{FF2B5EF4-FFF2-40B4-BE49-F238E27FC236}">
                        <a16:creationId xmlns:a16="http://schemas.microsoft.com/office/drawing/2014/main" id="{67B0D516-1206-5109-32EB-93AEBC7A0899}"/>
                      </a:ext>
                    </a:extLst>
                  </p:cNvPr>
                  <p:cNvSpPr/>
                  <p:nvPr userDrawn="1"/>
                </p:nvSpPr>
                <p:spPr>
                  <a:xfrm>
                    <a:off x="8485114" y="4333644"/>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74"/>
                          <a:pt x="0" y="32667"/>
                          <a:pt x="0" y="21037"/>
                        </a:cubicBezTo>
                        <a:close/>
                      </a:path>
                    </a:pathLst>
                  </a:custGeom>
                  <a:solidFill>
                    <a:srgbClr val="FFFFF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39" name="Freeform: Shape 538">
                    <a:extLst>
                      <a:ext uri="{FF2B5EF4-FFF2-40B4-BE49-F238E27FC236}">
                        <a16:creationId xmlns:a16="http://schemas.microsoft.com/office/drawing/2014/main" id="{DBC2895E-D8B9-ABD9-87E6-939D6212E43C}"/>
                      </a:ext>
                    </a:extLst>
                  </p:cNvPr>
                  <p:cNvSpPr/>
                  <p:nvPr userDrawn="1"/>
                </p:nvSpPr>
                <p:spPr>
                  <a:xfrm>
                    <a:off x="8485161" y="4333223"/>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FFFF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grpSp>
          </p:grpSp>
          <p:grpSp>
            <p:nvGrpSpPr>
              <p:cNvPr id="540" name="Graphic 4">
                <a:extLst>
                  <a:ext uri="{FF2B5EF4-FFF2-40B4-BE49-F238E27FC236}">
                    <a16:creationId xmlns:a16="http://schemas.microsoft.com/office/drawing/2014/main" id="{FB06EFB0-8661-A435-50AE-18C0E80EC8C3}"/>
                  </a:ext>
                </a:extLst>
              </p:cNvPr>
              <p:cNvGrpSpPr/>
              <p:nvPr userDrawn="1"/>
            </p:nvGrpSpPr>
            <p:grpSpPr>
              <a:xfrm>
                <a:off x="8195045" y="4482867"/>
                <a:ext cx="332188" cy="107360"/>
                <a:chOff x="8195045" y="4482867"/>
                <a:chExt cx="332189" cy="107360"/>
              </a:xfrm>
            </p:grpSpPr>
            <p:grpSp>
              <p:nvGrpSpPr>
                <p:cNvPr id="541" name="Graphic 4">
                  <a:extLst>
                    <a:ext uri="{FF2B5EF4-FFF2-40B4-BE49-F238E27FC236}">
                      <a16:creationId xmlns:a16="http://schemas.microsoft.com/office/drawing/2014/main" id="{A69FE177-6160-6326-D575-1BEA7D01BE77}"/>
                    </a:ext>
                  </a:extLst>
                </p:cNvPr>
                <p:cNvGrpSpPr/>
                <p:nvPr userDrawn="1"/>
              </p:nvGrpSpPr>
              <p:grpSpPr>
                <a:xfrm>
                  <a:off x="8195045" y="4482867"/>
                  <a:ext cx="144893" cy="107360"/>
                  <a:chOff x="8195045" y="4482867"/>
                  <a:chExt cx="144893" cy="107359"/>
                </a:xfrm>
              </p:grpSpPr>
              <p:sp>
                <p:nvSpPr>
                  <p:cNvPr id="542" name="Freeform: Shape 541">
                    <a:extLst>
                      <a:ext uri="{FF2B5EF4-FFF2-40B4-BE49-F238E27FC236}">
                        <a16:creationId xmlns:a16="http://schemas.microsoft.com/office/drawing/2014/main" id="{A6B92602-3DF3-09BE-149C-E4C582792E9C}"/>
                      </a:ext>
                    </a:extLst>
                  </p:cNvPr>
                  <p:cNvSpPr/>
                  <p:nvPr userDrawn="1"/>
                </p:nvSpPr>
                <p:spPr>
                  <a:xfrm>
                    <a:off x="8297842" y="4482867"/>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B1B8C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43" name="Freeform: Shape 542">
                    <a:extLst>
                      <a:ext uri="{FF2B5EF4-FFF2-40B4-BE49-F238E27FC236}">
                        <a16:creationId xmlns:a16="http://schemas.microsoft.com/office/drawing/2014/main" id="{B8C38539-FE8E-9D2B-B831-2519CA771660}"/>
                      </a:ext>
                    </a:extLst>
                  </p:cNvPr>
                  <p:cNvSpPr/>
                  <p:nvPr userDrawn="1"/>
                </p:nvSpPr>
                <p:spPr>
                  <a:xfrm>
                    <a:off x="8297281" y="4482937"/>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B1B8C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44" name="Freeform: Shape 543">
                    <a:extLst>
                      <a:ext uri="{FF2B5EF4-FFF2-40B4-BE49-F238E27FC236}">
                        <a16:creationId xmlns:a16="http://schemas.microsoft.com/office/drawing/2014/main" id="{CFE62346-EEE9-1734-D6F3-35C8715C1C25}"/>
                      </a:ext>
                    </a:extLst>
                  </p:cNvPr>
                  <p:cNvSpPr/>
                  <p:nvPr userDrawn="1"/>
                </p:nvSpPr>
                <p:spPr>
                  <a:xfrm>
                    <a:off x="8296719" y="4483031"/>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B2B9C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45" name="Freeform: Shape 544">
                    <a:extLst>
                      <a:ext uri="{FF2B5EF4-FFF2-40B4-BE49-F238E27FC236}">
                        <a16:creationId xmlns:a16="http://schemas.microsoft.com/office/drawing/2014/main" id="{7B28D175-8D0D-ABA6-28B0-046849F86A89}"/>
                      </a:ext>
                    </a:extLst>
                  </p:cNvPr>
                  <p:cNvSpPr/>
                  <p:nvPr userDrawn="1"/>
                </p:nvSpPr>
                <p:spPr>
                  <a:xfrm>
                    <a:off x="8296158" y="448312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2B9C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46" name="Freeform: Shape 545">
                    <a:extLst>
                      <a:ext uri="{FF2B5EF4-FFF2-40B4-BE49-F238E27FC236}">
                        <a16:creationId xmlns:a16="http://schemas.microsoft.com/office/drawing/2014/main" id="{BAF1F9DF-96AF-1006-E277-F16E627B6343}"/>
                      </a:ext>
                    </a:extLst>
                  </p:cNvPr>
                  <p:cNvSpPr/>
                  <p:nvPr userDrawn="1"/>
                </p:nvSpPr>
                <p:spPr>
                  <a:xfrm>
                    <a:off x="8295596" y="4483218"/>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2B9C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47" name="Freeform: Shape 546">
                    <a:extLst>
                      <a:ext uri="{FF2B5EF4-FFF2-40B4-BE49-F238E27FC236}">
                        <a16:creationId xmlns:a16="http://schemas.microsoft.com/office/drawing/2014/main" id="{9612801D-42D6-71D7-CB23-E378E0751CF8}"/>
                      </a:ext>
                    </a:extLst>
                  </p:cNvPr>
                  <p:cNvSpPr/>
                  <p:nvPr userDrawn="1"/>
                </p:nvSpPr>
                <p:spPr>
                  <a:xfrm>
                    <a:off x="8295034" y="4483288"/>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B3B9C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48" name="Freeform: Shape 547">
                    <a:extLst>
                      <a:ext uri="{FF2B5EF4-FFF2-40B4-BE49-F238E27FC236}">
                        <a16:creationId xmlns:a16="http://schemas.microsoft.com/office/drawing/2014/main" id="{B74CAF45-A076-8608-0948-2A58BC5B75DA}"/>
                      </a:ext>
                    </a:extLst>
                  </p:cNvPr>
                  <p:cNvSpPr/>
                  <p:nvPr userDrawn="1"/>
                </p:nvSpPr>
                <p:spPr>
                  <a:xfrm>
                    <a:off x="8294449" y="4483382"/>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3BAC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49" name="Freeform: Shape 548">
                    <a:extLst>
                      <a:ext uri="{FF2B5EF4-FFF2-40B4-BE49-F238E27FC236}">
                        <a16:creationId xmlns:a16="http://schemas.microsoft.com/office/drawing/2014/main" id="{41C14B33-03D0-AC6E-FF2B-5F559B31B81A}"/>
                      </a:ext>
                    </a:extLst>
                  </p:cNvPr>
                  <p:cNvSpPr/>
                  <p:nvPr userDrawn="1"/>
                </p:nvSpPr>
                <p:spPr>
                  <a:xfrm>
                    <a:off x="8293888" y="4483475"/>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3BAC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50" name="Freeform: Shape 549">
                    <a:extLst>
                      <a:ext uri="{FF2B5EF4-FFF2-40B4-BE49-F238E27FC236}">
                        <a16:creationId xmlns:a16="http://schemas.microsoft.com/office/drawing/2014/main" id="{BC9821E5-3A17-CA63-6306-B72767642DD2}"/>
                      </a:ext>
                    </a:extLst>
                  </p:cNvPr>
                  <p:cNvSpPr/>
                  <p:nvPr userDrawn="1"/>
                </p:nvSpPr>
                <p:spPr>
                  <a:xfrm>
                    <a:off x="8293326" y="4483569"/>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3BAC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51" name="Freeform: Shape 550">
                    <a:extLst>
                      <a:ext uri="{FF2B5EF4-FFF2-40B4-BE49-F238E27FC236}">
                        <a16:creationId xmlns:a16="http://schemas.microsoft.com/office/drawing/2014/main" id="{C6C2E0EE-EF38-6EE2-BE2D-83CF26AF60F6}"/>
                      </a:ext>
                    </a:extLst>
                  </p:cNvPr>
                  <p:cNvSpPr/>
                  <p:nvPr userDrawn="1"/>
                </p:nvSpPr>
                <p:spPr>
                  <a:xfrm>
                    <a:off x="8292764" y="4483662"/>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4BBC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52" name="Freeform: Shape 551">
                    <a:extLst>
                      <a:ext uri="{FF2B5EF4-FFF2-40B4-BE49-F238E27FC236}">
                        <a16:creationId xmlns:a16="http://schemas.microsoft.com/office/drawing/2014/main" id="{341ED33A-C153-42C5-279E-5548A11B1341}"/>
                      </a:ext>
                    </a:extLst>
                  </p:cNvPr>
                  <p:cNvSpPr/>
                  <p:nvPr userDrawn="1"/>
                </p:nvSpPr>
                <p:spPr>
                  <a:xfrm>
                    <a:off x="8292203" y="448375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30"/>
                          <a:pt x="42097" y="21037"/>
                        </a:cubicBezTo>
                        <a:close/>
                      </a:path>
                    </a:pathLst>
                  </a:custGeom>
                  <a:solidFill>
                    <a:srgbClr val="B4BBC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53" name="Freeform: Shape 552">
                    <a:extLst>
                      <a:ext uri="{FF2B5EF4-FFF2-40B4-BE49-F238E27FC236}">
                        <a16:creationId xmlns:a16="http://schemas.microsoft.com/office/drawing/2014/main" id="{CA2A9195-F684-06B7-8DE9-8FD9B72C30CB}"/>
                      </a:ext>
                    </a:extLst>
                  </p:cNvPr>
                  <p:cNvSpPr/>
                  <p:nvPr userDrawn="1"/>
                </p:nvSpPr>
                <p:spPr>
                  <a:xfrm>
                    <a:off x="8291641" y="4483850"/>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30"/>
                          <a:pt x="42097" y="21037"/>
                        </a:cubicBezTo>
                        <a:close/>
                      </a:path>
                    </a:pathLst>
                  </a:custGeom>
                  <a:solidFill>
                    <a:srgbClr val="B4BBC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54" name="Freeform: Shape 553">
                    <a:extLst>
                      <a:ext uri="{FF2B5EF4-FFF2-40B4-BE49-F238E27FC236}">
                        <a16:creationId xmlns:a16="http://schemas.microsoft.com/office/drawing/2014/main" id="{63BC266C-DF1C-5B41-4B80-61A51711DD77}"/>
                      </a:ext>
                    </a:extLst>
                  </p:cNvPr>
                  <p:cNvSpPr/>
                  <p:nvPr userDrawn="1"/>
                </p:nvSpPr>
                <p:spPr>
                  <a:xfrm>
                    <a:off x="8291080" y="448396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B5BBC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55" name="Freeform: Shape 554">
                    <a:extLst>
                      <a:ext uri="{FF2B5EF4-FFF2-40B4-BE49-F238E27FC236}">
                        <a16:creationId xmlns:a16="http://schemas.microsoft.com/office/drawing/2014/main" id="{C2D7EA7F-7827-758C-8DA8-BF12360C41A1}"/>
                      </a:ext>
                    </a:extLst>
                  </p:cNvPr>
                  <p:cNvSpPr/>
                  <p:nvPr userDrawn="1"/>
                </p:nvSpPr>
                <p:spPr>
                  <a:xfrm>
                    <a:off x="8290518" y="4484060"/>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B5BCC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56" name="Freeform: Shape 555">
                    <a:extLst>
                      <a:ext uri="{FF2B5EF4-FFF2-40B4-BE49-F238E27FC236}">
                        <a16:creationId xmlns:a16="http://schemas.microsoft.com/office/drawing/2014/main" id="{6CBDC93A-B767-7F38-446D-C199E52E8285}"/>
                      </a:ext>
                    </a:extLst>
                  </p:cNvPr>
                  <p:cNvSpPr/>
                  <p:nvPr userDrawn="1"/>
                </p:nvSpPr>
                <p:spPr>
                  <a:xfrm>
                    <a:off x="8289956" y="448415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5BCC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57" name="Freeform: Shape 556">
                    <a:extLst>
                      <a:ext uri="{FF2B5EF4-FFF2-40B4-BE49-F238E27FC236}">
                        <a16:creationId xmlns:a16="http://schemas.microsoft.com/office/drawing/2014/main" id="{FBBB510B-997D-CA38-399C-EB220FACA636}"/>
                      </a:ext>
                    </a:extLst>
                  </p:cNvPr>
                  <p:cNvSpPr/>
                  <p:nvPr userDrawn="1"/>
                </p:nvSpPr>
                <p:spPr>
                  <a:xfrm>
                    <a:off x="8289418" y="4484247"/>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B6BCC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58" name="Freeform: Shape 557">
                    <a:extLst>
                      <a:ext uri="{FF2B5EF4-FFF2-40B4-BE49-F238E27FC236}">
                        <a16:creationId xmlns:a16="http://schemas.microsoft.com/office/drawing/2014/main" id="{17DB02A7-CF03-57B2-E6CD-3BC014FA734D}"/>
                      </a:ext>
                    </a:extLst>
                  </p:cNvPr>
                  <p:cNvSpPr/>
                  <p:nvPr userDrawn="1"/>
                </p:nvSpPr>
                <p:spPr>
                  <a:xfrm>
                    <a:off x="8288857" y="448436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6BCC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59" name="Freeform: Shape 558">
                    <a:extLst>
                      <a:ext uri="{FF2B5EF4-FFF2-40B4-BE49-F238E27FC236}">
                        <a16:creationId xmlns:a16="http://schemas.microsoft.com/office/drawing/2014/main" id="{639941BD-8291-AC36-F857-8F055A8F72B5}"/>
                      </a:ext>
                    </a:extLst>
                  </p:cNvPr>
                  <p:cNvSpPr/>
                  <p:nvPr userDrawn="1"/>
                </p:nvSpPr>
                <p:spPr>
                  <a:xfrm>
                    <a:off x="8288295" y="4484458"/>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B6BDC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60" name="Freeform: Shape 559">
                    <a:extLst>
                      <a:ext uri="{FF2B5EF4-FFF2-40B4-BE49-F238E27FC236}">
                        <a16:creationId xmlns:a16="http://schemas.microsoft.com/office/drawing/2014/main" id="{B4981F92-9C0A-2C29-2924-C473D48601CE}"/>
                      </a:ext>
                    </a:extLst>
                  </p:cNvPr>
                  <p:cNvSpPr/>
                  <p:nvPr userDrawn="1"/>
                </p:nvSpPr>
                <p:spPr>
                  <a:xfrm>
                    <a:off x="8287733" y="4484575"/>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7BDD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61" name="Freeform: Shape 560">
                    <a:extLst>
                      <a:ext uri="{FF2B5EF4-FFF2-40B4-BE49-F238E27FC236}">
                        <a16:creationId xmlns:a16="http://schemas.microsoft.com/office/drawing/2014/main" id="{1D485A1C-D0F6-E21E-CA8A-86F3840B830C}"/>
                      </a:ext>
                    </a:extLst>
                  </p:cNvPr>
                  <p:cNvSpPr/>
                  <p:nvPr userDrawn="1"/>
                </p:nvSpPr>
                <p:spPr>
                  <a:xfrm>
                    <a:off x="8287172" y="4484669"/>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30"/>
                          <a:pt x="42097" y="21037"/>
                        </a:cubicBezTo>
                        <a:close/>
                      </a:path>
                    </a:pathLst>
                  </a:custGeom>
                  <a:solidFill>
                    <a:srgbClr val="B7BDD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62" name="Freeform: Shape 561">
                    <a:extLst>
                      <a:ext uri="{FF2B5EF4-FFF2-40B4-BE49-F238E27FC236}">
                        <a16:creationId xmlns:a16="http://schemas.microsoft.com/office/drawing/2014/main" id="{7A0B8FF0-C7E1-C324-87E2-C9A4A0EB438D}"/>
                      </a:ext>
                    </a:extLst>
                  </p:cNvPr>
                  <p:cNvSpPr/>
                  <p:nvPr userDrawn="1"/>
                </p:nvSpPr>
                <p:spPr>
                  <a:xfrm>
                    <a:off x="8286634" y="448478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B7BED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63" name="Freeform: Shape 562">
                    <a:extLst>
                      <a:ext uri="{FF2B5EF4-FFF2-40B4-BE49-F238E27FC236}">
                        <a16:creationId xmlns:a16="http://schemas.microsoft.com/office/drawing/2014/main" id="{CBAC1B17-4A8E-3584-929A-A4E6C9D3A42D}"/>
                      </a:ext>
                    </a:extLst>
                  </p:cNvPr>
                  <p:cNvSpPr/>
                  <p:nvPr userDrawn="1"/>
                </p:nvSpPr>
                <p:spPr>
                  <a:xfrm>
                    <a:off x="8286072" y="4484902"/>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7BED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64" name="Freeform: Shape 563">
                    <a:extLst>
                      <a:ext uri="{FF2B5EF4-FFF2-40B4-BE49-F238E27FC236}">
                        <a16:creationId xmlns:a16="http://schemas.microsoft.com/office/drawing/2014/main" id="{91CE72E5-26C2-CA25-2381-31A6F68C4AA9}"/>
                      </a:ext>
                    </a:extLst>
                  </p:cNvPr>
                  <p:cNvSpPr/>
                  <p:nvPr userDrawn="1"/>
                </p:nvSpPr>
                <p:spPr>
                  <a:xfrm>
                    <a:off x="8285510" y="448499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B8BED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65" name="Freeform: Shape 564">
                    <a:extLst>
                      <a:ext uri="{FF2B5EF4-FFF2-40B4-BE49-F238E27FC236}">
                        <a16:creationId xmlns:a16="http://schemas.microsoft.com/office/drawing/2014/main" id="{72AA7686-A11E-51F6-ADB1-157BA5B8A620}"/>
                      </a:ext>
                    </a:extLst>
                  </p:cNvPr>
                  <p:cNvSpPr/>
                  <p:nvPr userDrawn="1"/>
                </p:nvSpPr>
                <p:spPr>
                  <a:xfrm>
                    <a:off x="8284972" y="4485113"/>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B8BED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66" name="Freeform: Shape 565">
                    <a:extLst>
                      <a:ext uri="{FF2B5EF4-FFF2-40B4-BE49-F238E27FC236}">
                        <a16:creationId xmlns:a16="http://schemas.microsoft.com/office/drawing/2014/main" id="{CF7822AD-3ED9-4E22-2FA9-25C23FA61A77}"/>
                      </a:ext>
                    </a:extLst>
                  </p:cNvPr>
                  <p:cNvSpPr/>
                  <p:nvPr userDrawn="1"/>
                </p:nvSpPr>
                <p:spPr>
                  <a:xfrm>
                    <a:off x="8284411" y="4485230"/>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B8BFD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67" name="Freeform: Shape 566">
                    <a:extLst>
                      <a:ext uri="{FF2B5EF4-FFF2-40B4-BE49-F238E27FC236}">
                        <a16:creationId xmlns:a16="http://schemas.microsoft.com/office/drawing/2014/main" id="{B1AB7A82-31C3-AE3F-9F9A-E38632A628D1}"/>
                      </a:ext>
                    </a:extLst>
                  </p:cNvPr>
                  <p:cNvSpPr/>
                  <p:nvPr userDrawn="1"/>
                </p:nvSpPr>
                <p:spPr>
                  <a:xfrm>
                    <a:off x="8283849" y="4485347"/>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B9BFD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68" name="Freeform: Shape 567">
                    <a:extLst>
                      <a:ext uri="{FF2B5EF4-FFF2-40B4-BE49-F238E27FC236}">
                        <a16:creationId xmlns:a16="http://schemas.microsoft.com/office/drawing/2014/main" id="{D502EF6C-6E3C-2ACF-F860-40EB6547DE30}"/>
                      </a:ext>
                    </a:extLst>
                  </p:cNvPr>
                  <p:cNvSpPr/>
                  <p:nvPr userDrawn="1"/>
                </p:nvSpPr>
                <p:spPr>
                  <a:xfrm>
                    <a:off x="8283311" y="448546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9BFD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69" name="Freeform: Shape 568">
                    <a:extLst>
                      <a:ext uri="{FF2B5EF4-FFF2-40B4-BE49-F238E27FC236}">
                        <a16:creationId xmlns:a16="http://schemas.microsoft.com/office/drawing/2014/main" id="{F86C6450-836D-36F4-1F59-399A5C21C47F}"/>
                      </a:ext>
                    </a:extLst>
                  </p:cNvPr>
                  <p:cNvSpPr/>
                  <p:nvPr userDrawn="1"/>
                </p:nvSpPr>
                <p:spPr>
                  <a:xfrm>
                    <a:off x="8282749" y="4485581"/>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9C0D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70" name="Freeform: Shape 569">
                    <a:extLst>
                      <a:ext uri="{FF2B5EF4-FFF2-40B4-BE49-F238E27FC236}">
                        <a16:creationId xmlns:a16="http://schemas.microsoft.com/office/drawing/2014/main" id="{AA0AFC2F-72F5-AF62-E684-576D16A518D2}"/>
                      </a:ext>
                    </a:extLst>
                  </p:cNvPr>
                  <p:cNvSpPr/>
                  <p:nvPr userDrawn="1"/>
                </p:nvSpPr>
                <p:spPr>
                  <a:xfrm>
                    <a:off x="8282211" y="4485698"/>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AC0D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71" name="Freeform: Shape 570">
                    <a:extLst>
                      <a:ext uri="{FF2B5EF4-FFF2-40B4-BE49-F238E27FC236}">
                        <a16:creationId xmlns:a16="http://schemas.microsoft.com/office/drawing/2014/main" id="{BBCCF037-FD30-2658-86A2-20B0BA988986}"/>
                      </a:ext>
                    </a:extLst>
                  </p:cNvPr>
                  <p:cNvSpPr/>
                  <p:nvPr userDrawn="1"/>
                </p:nvSpPr>
                <p:spPr>
                  <a:xfrm>
                    <a:off x="8281649" y="4485815"/>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BAC0D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72" name="Freeform: Shape 571">
                    <a:extLst>
                      <a:ext uri="{FF2B5EF4-FFF2-40B4-BE49-F238E27FC236}">
                        <a16:creationId xmlns:a16="http://schemas.microsoft.com/office/drawing/2014/main" id="{0B51688E-3DB8-EE10-B06C-B6D3BCBCEA0A}"/>
                      </a:ext>
                    </a:extLst>
                  </p:cNvPr>
                  <p:cNvSpPr/>
                  <p:nvPr userDrawn="1"/>
                </p:nvSpPr>
                <p:spPr>
                  <a:xfrm>
                    <a:off x="8281111" y="4485932"/>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BAC0D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73" name="Freeform: Shape 572">
                    <a:extLst>
                      <a:ext uri="{FF2B5EF4-FFF2-40B4-BE49-F238E27FC236}">
                        <a16:creationId xmlns:a16="http://schemas.microsoft.com/office/drawing/2014/main" id="{97E39509-A3BF-B3B3-5A40-5917F5B36BC9}"/>
                      </a:ext>
                    </a:extLst>
                  </p:cNvPr>
                  <p:cNvSpPr/>
                  <p:nvPr userDrawn="1"/>
                </p:nvSpPr>
                <p:spPr>
                  <a:xfrm>
                    <a:off x="8280550" y="4486049"/>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AC1D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74" name="Freeform: Shape 573">
                    <a:extLst>
                      <a:ext uri="{FF2B5EF4-FFF2-40B4-BE49-F238E27FC236}">
                        <a16:creationId xmlns:a16="http://schemas.microsoft.com/office/drawing/2014/main" id="{23F00E1E-43BA-8CB6-12EC-2D96A9343CF7}"/>
                      </a:ext>
                    </a:extLst>
                  </p:cNvPr>
                  <p:cNvSpPr/>
                  <p:nvPr userDrawn="1"/>
                </p:nvSpPr>
                <p:spPr>
                  <a:xfrm>
                    <a:off x="8280011" y="448616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BBC1D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75" name="Freeform: Shape 574">
                    <a:extLst>
                      <a:ext uri="{FF2B5EF4-FFF2-40B4-BE49-F238E27FC236}">
                        <a16:creationId xmlns:a16="http://schemas.microsoft.com/office/drawing/2014/main" id="{39CA249B-13D5-8A44-EEE8-06CE02A629F4}"/>
                      </a:ext>
                    </a:extLst>
                  </p:cNvPr>
                  <p:cNvSpPr/>
                  <p:nvPr userDrawn="1"/>
                </p:nvSpPr>
                <p:spPr>
                  <a:xfrm>
                    <a:off x="8279473" y="448630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BC1D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76" name="Freeform: Shape 575">
                    <a:extLst>
                      <a:ext uri="{FF2B5EF4-FFF2-40B4-BE49-F238E27FC236}">
                        <a16:creationId xmlns:a16="http://schemas.microsoft.com/office/drawing/2014/main" id="{741C38C8-0045-0502-79C5-6AACA05858E0}"/>
                      </a:ext>
                    </a:extLst>
                  </p:cNvPr>
                  <p:cNvSpPr/>
                  <p:nvPr userDrawn="1"/>
                </p:nvSpPr>
                <p:spPr>
                  <a:xfrm>
                    <a:off x="8278912" y="448642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BC1D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77" name="Freeform: Shape 576">
                    <a:extLst>
                      <a:ext uri="{FF2B5EF4-FFF2-40B4-BE49-F238E27FC236}">
                        <a16:creationId xmlns:a16="http://schemas.microsoft.com/office/drawing/2014/main" id="{51744ECB-A52D-C617-D92D-7BD0CD79AF8C}"/>
                      </a:ext>
                    </a:extLst>
                  </p:cNvPr>
                  <p:cNvSpPr/>
                  <p:nvPr userDrawn="1"/>
                </p:nvSpPr>
                <p:spPr>
                  <a:xfrm>
                    <a:off x="8278373" y="4486541"/>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BCC2D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78" name="Freeform: Shape 577">
                    <a:extLst>
                      <a:ext uri="{FF2B5EF4-FFF2-40B4-BE49-F238E27FC236}">
                        <a16:creationId xmlns:a16="http://schemas.microsoft.com/office/drawing/2014/main" id="{699C1A7C-6DE7-20C2-61F9-3D8C92A60DA4}"/>
                      </a:ext>
                    </a:extLst>
                  </p:cNvPr>
                  <p:cNvSpPr/>
                  <p:nvPr userDrawn="1"/>
                </p:nvSpPr>
                <p:spPr>
                  <a:xfrm>
                    <a:off x="8277835" y="4486681"/>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CC2D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79" name="Freeform: Shape 578">
                    <a:extLst>
                      <a:ext uri="{FF2B5EF4-FFF2-40B4-BE49-F238E27FC236}">
                        <a16:creationId xmlns:a16="http://schemas.microsoft.com/office/drawing/2014/main" id="{78AF436A-5AD1-F5DE-19E5-058E04D62537}"/>
                      </a:ext>
                    </a:extLst>
                  </p:cNvPr>
                  <p:cNvSpPr/>
                  <p:nvPr userDrawn="1"/>
                </p:nvSpPr>
                <p:spPr>
                  <a:xfrm>
                    <a:off x="8277297" y="4486798"/>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BCC2D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80" name="Freeform: Shape 579">
                    <a:extLst>
                      <a:ext uri="{FF2B5EF4-FFF2-40B4-BE49-F238E27FC236}">
                        <a16:creationId xmlns:a16="http://schemas.microsoft.com/office/drawing/2014/main" id="{BF78983B-C045-A7B0-CF7B-6FA6BBCDD141}"/>
                      </a:ext>
                    </a:extLst>
                  </p:cNvPr>
                  <p:cNvSpPr/>
                  <p:nvPr userDrawn="1"/>
                </p:nvSpPr>
                <p:spPr>
                  <a:xfrm>
                    <a:off x="8276759" y="4486938"/>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DC3D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81" name="Freeform: Shape 580">
                    <a:extLst>
                      <a:ext uri="{FF2B5EF4-FFF2-40B4-BE49-F238E27FC236}">
                        <a16:creationId xmlns:a16="http://schemas.microsoft.com/office/drawing/2014/main" id="{BFC6465A-270F-B844-099D-6E154F40FBB0}"/>
                      </a:ext>
                    </a:extLst>
                  </p:cNvPr>
                  <p:cNvSpPr/>
                  <p:nvPr userDrawn="1"/>
                </p:nvSpPr>
                <p:spPr>
                  <a:xfrm>
                    <a:off x="8276197" y="4487055"/>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30"/>
                          <a:pt x="42097" y="21037"/>
                        </a:cubicBezTo>
                        <a:close/>
                      </a:path>
                    </a:pathLst>
                  </a:custGeom>
                  <a:solidFill>
                    <a:srgbClr val="BDC3D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82" name="Freeform: Shape 581">
                    <a:extLst>
                      <a:ext uri="{FF2B5EF4-FFF2-40B4-BE49-F238E27FC236}">
                        <a16:creationId xmlns:a16="http://schemas.microsoft.com/office/drawing/2014/main" id="{B07BD104-172F-2DB4-B3DB-C527E46980ED}"/>
                      </a:ext>
                    </a:extLst>
                  </p:cNvPr>
                  <p:cNvSpPr/>
                  <p:nvPr userDrawn="1"/>
                </p:nvSpPr>
                <p:spPr>
                  <a:xfrm>
                    <a:off x="8275659" y="448719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DC3D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83" name="Freeform: Shape 582">
                    <a:extLst>
                      <a:ext uri="{FF2B5EF4-FFF2-40B4-BE49-F238E27FC236}">
                        <a16:creationId xmlns:a16="http://schemas.microsoft.com/office/drawing/2014/main" id="{A029DD17-D9BD-A9A4-17DA-F9C977404512}"/>
                      </a:ext>
                    </a:extLst>
                  </p:cNvPr>
                  <p:cNvSpPr/>
                  <p:nvPr userDrawn="1"/>
                </p:nvSpPr>
                <p:spPr>
                  <a:xfrm>
                    <a:off x="8275121" y="448733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BEC3D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84" name="Freeform: Shape 583">
                    <a:extLst>
                      <a:ext uri="{FF2B5EF4-FFF2-40B4-BE49-F238E27FC236}">
                        <a16:creationId xmlns:a16="http://schemas.microsoft.com/office/drawing/2014/main" id="{1AB148F4-6C5A-3B19-F788-6F977D6567A4}"/>
                      </a:ext>
                    </a:extLst>
                  </p:cNvPr>
                  <p:cNvSpPr/>
                  <p:nvPr userDrawn="1"/>
                </p:nvSpPr>
                <p:spPr>
                  <a:xfrm>
                    <a:off x="8274583" y="4487453"/>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30"/>
                          <a:pt x="42097" y="21037"/>
                        </a:cubicBezTo>
                        <a:close/>
                      </a:path>
                    </a:pathLst>
                  </a:custGeom>
                  <a:solidFill>
                    <a:srgbClr val="BEC4D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85" name="Freeform: Shape 584">
                    <a:extLst>
                      <a:ext uri="{FF2B5EF4-FFF2-40B4-BE49-F238E27FC236}">
                        <a16:creationId xmlns:a16="http://schemas.microsoft.com/office/drawing/2014/main" id="{B41393FC-E2A4-0536-06CF-9AE9626AD687}"/>
                      </a:ext>
                    </a:extLst>
                  </p:cNvPr>
                  <p:cNvSpPr/>
                  <p:nvPr userDrawn="1"/>
                </p:nvSpPr>
                <p:spPr>
                  <a:xfrm>
                    <a:off x="8274044" y="448759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EC4D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86" name="Freeform: Shape 585">
                    <a:extLst>
                      <a:ext uri="{FF2B5EF4-FFF2-40B4-BE49-F238E27FC236}">
                        <a16:creationId xmlns:a16="http://schemas.microsoft.com/office/drawing/2014/main" id="{89A21DEC-FA96-B13B-CCF0-B4432975494F}"/>
                      </a:ext>
                    </a:extLst>
                  </p:cNvPr>
                  <p:cNvSpPr/>
                  <p:nvPr userDrawn="1"/>
                </p:nvSpPr>
                <p:spPr>
                  <a:xfrm>
                    <a:off x="8273506" y="448773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EC4D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87" name="Freeform: Shape 586">
                    <a:extLst>
                      <a:ext uri="{FF2B5EF4-FFF2-40B4-BE49-F238E27FC236}">
                        <a16:creationId xmlns:a16="http://schemas.microsoft.com/office/drawing/2014/main" id="{BF272FDB-F669-C459-7740-D76703EDCA20}"/>
                      </a:ext>
                    </a:extLst>
                  </p:cNvPr>
                  <p:cNvSpPr/>
                  <p:nvPr userDrawn="1"/>
                </p:nvSpPr>
                <p:spPr>
                  <a:xfrm>
                    <a:off x="8272991" y="448787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FC5D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88" name="Freeform: Shape 587">
                    <a:extLst>
                      <a:ext uri="{FF2B5EF4-FFF2-40B4-BE49-F238E27FC236}">
                        <a16:creationId xmlns:a16="http://schemas.microsoft.com/office/drawing/2014/main" id="{FFBA45C8-B6F0-AD7D-3735-755DECB9B456}"/>
                      </a:ext>
                    </a:extLst>
                  </p:cNvPr>
                  <p:cNvSpPr/>
                  <p:nvPr userDrawn="1"/>
                </p:nvSpPr>
                <p:spPr>
                  <a:xfrm>
                    <a:off x="8272453" y="4488015"/>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FC5D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89" name="Freeform: Shape 588">
                    <a:extLst>
                      <a:ext uri="{FF2B5EF4-FFF2-40B4-BE49-F238E27FC236}">
                        <a16:creationId xmlns:a16="http://schemas.microsoft.com/office/drawing/2014/main" id="{29E6BD77-25F6-182E-7C27-7113A3DD940D}"/>
                      </a:ext>
                    </a:extLst>
                  </p:cNvPr>
                  <p:cNvSpPr/>
                  <p:nvPr userDrawn="1"/>
                </p:nvSpPr>
                <p:spPr>
                  <a:xfrm>
                    <a:off x="8271915" y="4488155"/>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FC5D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90" name="Freeform: Shape 589">
                    <a:extLst>
                      <a:ext uri="{FF2B5EF4-FFF2-40B4-BE49-F238E27FC236}">
                        <a16:creationId xmlns:a16="http://schemas.microsoft.com/office/drawing/2014/main" id="{CA282874-A1FC-A092-4031-9635AD1C394D}"/>
                      </a:ext>
                    </a:extLst>
                  </p:cNvPr>
                  <p:cNvSpPr/>
                  <p:nvPr userDrawn="1"/>
                </p:nvSpPr>
                <p:spPr>
                  <a:xfrm>
                    <a:off x="8271377" y="448829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C0C5D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91" name="Freeform: Shape 590">
                    <a:extLst>
                      <a:ext uri="{FF2B5EF4-FFF2-40B4-BE49-F238E27FC236}">
                        <a16:creationId xmlns:a16="http://schemas.microsoft.com/office/drawing/2014/main" id="{AD4E8AEA-320E-44B1-DAB0-E4E032600B68}"/>
                      </a:ext>
                    </a:extLst>
                  </p:cNvPr>
                  <p:cNvSpPr/>
                  <p:nvPr userDrawn="1"/>
                </p:nvSpPr>
                <p:spPr>
                  <a:xfrm>
                    <a:off x="8270862" y="448843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C0C6D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92" name="Freeform: Shape 591">
                    <a:extLst>
                      <a:ext uri="{FF2B5EF4-FFF2-40B4-BE49-F238E27FC236}">
                        <a16:creationId xmlns:a16="http://schemas.microsoft.com/office/drawing/2014/main" id="{CE56B401-6D94-0221-F6BB-B8F5D887EE56}"/>
                      </a:ext>
                    </a:extLst>
                  </p:cNvPr>
                  <p:cNvSpPr/>
                  <p:nvPr userDrawn="1"/>
                </p:nvSpPr>
                <p:spPr>
                  <a:xfrm>
                    <a:off x="8270324" y="448857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C0C6D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93" name="Freeform: Shape 592">
                    <a:extLst>
                      <a:ext uri="{FF2B5EF4-FFF2-40B4-BE49-F238E27FC236}">
                        <a16:creationId xmlns:a16="http://schemas.microsoft.com/office/drawing/2014/main" id="{70737F38-03E5-6233-ABFD-75037A69D95B}"/>
                      </a:ext>
                    </a:extLst>
                  </p:cNvPr>
                  <p:cNvSpPr/>
                  <p:nvPr userDrawn="1"/>
                </p:nvSpPr>
                <p:spPr>
                  <a:xfrm>
                    <a:off x="8269786" y="4488717"/>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C1C6D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94" name="Freeform: Shape 593">
                    <a:extLst>
                      <a:ext uri="{FF2B5EF4-FFF2-40B4-BE49-F238E27FC236}">
                        <a16:creationId xmlns:a16="http://schemas.microsoft.com/office/drawing/2014/main" id="{0A3B5F06-04FA-D886-E0D6-51E3B5B58C51}"/>
                      </a:ext>
                    </a:extLst>
                  </p:cNvPr>
                  <p:cNvSpPr/>
                  <p:nvPr userDrawn="1"/>
                </p:nvSpPr>
                <p:spPr>
                  <a:xfrm>
                    <a:off x="8269271" y="4488857"/>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C1C6D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95" name="Freeform: Shape 594">
                    <a:extLst>
                      <a:ext uri="{FF2B5EF4-FFF2-40B4-BE49-F238E27FC236}">
                        <a16:creationId xmlns:a16="http://schemas.microsoft.com/office/drawing/2014/main" id="{54D6B4C1-ACF0-F75B-ABEB-16B3305BA469}"/>
                      </a:ext>
                    </a:extLst>
                  </p:cNvPr>
                  <p:cNvSpPr/>
                  <p:nvPr userDrawn="1"/>
                </p:nvSpPr>
                <p:spPr>
                  <a:xfrm>
                    <a:off x="8268733" y="4489021"/>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C1C7D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96" name="Freeform: Shape 595">
                    <a:extLst>
                      <a:ext uri="{FF2B5EF4-FFF2-40B4-BE49-F238E27FC236}">
                        <a16:creationId xmlns:a16="http://schemas.microsoft.com/office/drawing/2014/main" id="{08939685-CC31-E01A-F8C7-64E62F1581C5}"/>
                      </a:ext>
                    </a:extLst>
                  </p:cNvPr>
                  <p:cNvSpPr/>
                  <p:nvPr userDrawn="1"/>
                </p:nvSpPr>
                <p:spPr>
                  <a:xfrm>
                    <a:off x="8268218" y="4489161"/>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C2C7D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97" name="Freeform: Shape 596">
                    <a:extLst>
                      <a:ext uri="{FF2B5EF4-FFF2-40B4-BE49-F238E27FC236}">
                        <a16:creationId xmlns:a16="http://schemas.microsoft.com/office/drawing/2014/main" id="{7F041C8C-F365-7FF2-F3D5-DDC957DC6322}"/>
                      </a:ext>
                    </a:extLst>
                  </p:cNvPr>
                  <p:cNvSpPr/>
                  <p:nvPr userDrawn="1"/>
                </p:nvSpPr>
                <p:spPr>
                  <a:xfrm>
                    <a:off x="8267680" y="4489302"/>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C2C7D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98" name="Freeform: Shape 597">
                    <a:extLst>
                      <a:ext uri="{FF2B5EF4-FFF2-40B4-BE49-F238E27FC236}">
                        <a16:creationId xmlns:a16="http://schemas.microsoft.com/office/drawing/2014/main" id="{25BAEDDC-91AF-35FF-E556-3808DAE4D9A3}"/>
                      </a:ext>
                    </a:extLst>
                  </p:cNvPr>
                  <p:cNvSpPr/>
                  <p:nvPr userDrawn="1"/>
                </p:nvSpPr>
                <p:spPr>
                  <a:xfrm>
                    <a:off x="8267165" y="448946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C2C8D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599" name="Freeform: Shape 598">
                    <a:extLst>
                      <a:ext uri="{FF2B5EF4-FFF2-40B4-BE49-F238E27FC236}">
                        <a16:creationId xmlns:a16="http://schemas.microsoft.com/office/drawing/2014/main" id="{483C69ED-03A0-8FA7-B8E8-FF8C7EBFA957}"/>
                      </a:ext>
                    </a:extLst>
                  </p:cNvPr>
                  <p:cNvSpPr/>
                  <p:nvPr userDrawn="1"/>
                </p:nvSpPr>
                <p:spPr>
                  <a:xfrm>
                    <a:off x="8266650" y="448960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C2C8D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00" name="Freeform: Shape 599">
                    <a:extLst>
                      <a:ext uri="{FF2B5EF4-FFF2-40B4-BE49-F238E27FC236}">
                        <a16:creationId xmlns:a16="http://schemas.microsoft.com/office/drawing/2014/main" id="{295D27D2-8B8D-0174-4F4E-C743D026697E}"/>
                      </a:ext>
                    </a:extLst>
                  </p:cNvPr>
                  <p:cNvSpPr/>
                  <p:nvPr userDrawn="1"/>
                </p:nvSpPr>
                <p:spPr>
                  <a:xfrm>
                    <a:off x="8266112" y="4489770"/>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C3C8D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01" name="Freeform: Shape 600">
                    <a:extLst>
                      <a:ext uri="{FF2B5EF4-FFF2-40B4-BE49-F238E27FC236}">
                        <a16:creationId xmlns:a16="http://schemas.microsoft.com/office/drawing/2014/main" id="{029ED290-F2B8-3BDA-2F4E-160AC9B8F227}"/>
                      </a:ext>
                    </a:extLst>
                  </p:cNvPr>
                  <p:cNvSpPr/>
                  <p:nvPr userDrawn="1"/>
                </p:nvSpPr>
                <p:spPr>
                  <a:xfrm>
                    <a:off x="8265597" y="4489910"/>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C3C8D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02" name="Freeform: Shape 601">
                    <a:extLst>
                      <a:ext uri="{FF2B5EF4-FFF2-40B4-BE49-F238E27FC236}">
                        <a16:creationId xmlns:a16="http://schemas.microsoft.com/office/drawing/2014/main" id="{3DE11477-E5C7-BF06-88C8-1EEF373280C8}"/>
                      </a:ext>
                    </a:extLst>
                  </p:cNvPr>
                  <p:cNvSpPr/>
                  <p:nvPr userDrawn="1"/>
                </p:nvSpPr>
                <p:spPr>
                  <a:xfrm>
                    <a:off x="8265082" y="449007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C3C9D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03" name="Freeform: Shape 602">
                    <a:extLst>
                      <a:ext uri="{FF2B5EF4-FFF2-40B4-BE49-F238E27FC236}">
                        <a16:creationId xmlns:a16="http://schemas.microsoft.com/office/drawing/2014/main" id="{EEBECE3D-22BF-7646-CBB4-DD9A97F9C44B}"/>
                      </a:ext>
                    </a:extLst>
                  </p:cNvPr>
                  <p:cNvSpPr/>
                  <p:nvPr userDrawn="1"/>
                </p:nvSpPr>
                <p:spPr>
                  <a:xfrm>
                    <a:off x="8264567" y="449021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C4C9D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04" name="Freeform: Shape 603">
                    <a:extLst>
                      <a:ext uri="{FF2B5EF4-FFF2-40B4-BE49-F238E27FC236}">
                        <a16:creationId xmlns:a16="http://schemas.microsoft.com/office/drawing/2014/main" id="{5DB1BC50-86D9-9505-1418-D96286AF2440}"/>
                      </a:ext>
                    </a:extLst>
                  </p:cNvPr>
                  <p:cNvSpPr/>
                  <p:nvPr userDrawn="1"/>
                </p:nvSpPr>
                <p:spPr>
                  <a:xfrm>
                    <a:off x="8264052" y="4490378"/>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C4C9D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05" name="Freeform: Shape 604">
                    <a:extLst>
                      <a:ext uri="{FF2B5EF4-FFF2-40B4-BE49-F238E27FC236}">
                        <a16:creationId xmlns:a16="http://schemas.microsoft.com/office/drawing/2014/main" id="{A387A617-C2BD-5DC5-F76C-9588C37B6A20}"/>
                      </a:ext>
                    </a:extLst>
                  </p:cNvPr>
                  <p:cNvSpPr/>
                  <p:nvPr userDrawn="1"/>
                </p:nvSpPr>
                <p:spPr>
                  <a:xfrm>
                    <a:off x="8263538" y="4490542"/>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C4CAD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06" name="Freeform: Shape 605">
                    <a:extLst>
                      <a:ext uri="{FF2B5EF4-FFF2-40B4-BE49-F238E27FC236}">
                        <a16:creationId xmlns:a16="http://schemas.microsoft.com/office/drawing/2014/main" id="{D32C9375-F559-7FC2-409C-ECAEB432A6B1}"/>
                      </a:ext>
                    </a:extLst>
                  </p:cNvPr>
                  <p:cNvSpPr/>
                  <p:nvPr userDrawn="1"/>
                </p:nvSpPr>
                <p:spPr>
                  <a:xfrm>
                    <a:off x="8263023" y="449070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C5CAD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07" name="Freeform: Shape 606">
                    <a:extLst>
                      <a:ext uri="{FF2B5EF4-FFF2-40B4-BE49-F238E27FC236}">
                        <a16:creationId xmlns:a16="http://schemas.microsoft.com/office/drawing/2014/main" id="{6E927559-7058-01C8-7524-42FFF7C77CC1}"/>
                      </a:ext>
                    </a:extLst>
                  </p:cNvPr>
                  <p:cNvSpPr/>
                  <p:nvPr userDrawn="1"/>
                </p:nvSpPr>
                <p:spPr>
                  <a:xfrm>
                    <a:off x="8262508" y="449082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C5CAD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08" name="Freeform: Shape 607">
                    <a:extLst>
                      <a:ext uri="{FF2B5EF4-FFF2-40B4-BE49-F238E27FC236}">
                        <a16:creationId xmlns:a16="http://schemas.microsoft.com/office/drawing/2014/main" id="{3CEFEC5B-CBB6-3C5B-F8F5-214CECA34055}"/>
                      </a:ext>
                    </a:extLst>
                  </p:cNvPr>
                  <p:cNvSpPr/>
                  <p:nvPr userDrawn="1"/>
                </p:nvSpPr>
                <p:spPr>
                  <a:xfrm>
                    <a:off x="8261993" y="449098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C5CAD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09" name="Freeform: Shape 608">
                    <a:extLst>
                      <a:ext uri="{FF2B5EF4-FFF2-40B4-BE49-F238E27FC236}">
                        <a16:creationId xmlns:a16="http://schemas.microsoft.com/office/drawing/2014/main" id="{B0A0D05C-E365-BD12-86CB-5271BF59B270}"/>
                      </a:ext>
                    </a:extLst>
                  </p:cNvPr>
                  <p:cNvSpPr/>
                  <p:nvPr userDrawn="1"/>
                </p:nvSpPr>
                <p:spPr>
                  <a:xfrm>
                    <a:off x="8261478" y="449115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C5CBD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10" name="Freeform: Shape 609">
                    <a:extLst>
                      <a:ext uri="{FF2B5EF4-FFF2-40B4-BE49-F238E27FC236}">
                        <a16:creationId xmlns:a16="http://schemas.microsoft.com/office/drawing/2014/main" id="{9C3F06C7-7DA1-89C0-2025-81D757A01897}"/>
                      </a:ext>
                    </a:extLst>
                  </p:cNvPr>
                  <p:cNvSpPr/>
                  <p:nvPr userDrawn="1"/>
                </p:nvSpPr>
                <p:spPr>
                  <a:xfrm>
                    <a:off x="8260964" y="449131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C6CBD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11" name="Freeform: Shape 610">
                    <a:extLst>
                      <a:ext uri="{FF2B5EF4-FFF2-40B4-BE49-F238E27FC236}">
                        <a16:creationId xmlns:a16="http://schemas.microsoft.com/office/drawing/2014/main" id="{C0B12F52-535A-B191-E799-EA284E732CF7}"/>
                      </a:ext>
                    </a:extLst>
                  </p:cNvPr>
                  <p:cNvSpPr/>
                  <p:nvPr userDrawn="1"/>
                </p:nvSpPr>
                <p:spPr>
                  <a:xfrm>
                    <a:off x="8260472" y="449147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C6CBD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12" name="Freeform: Shape 611">
                    <a:extLst>
                      <a:ext uri="{FF2B5EF4-FFF2-40B4-BE49-F238E27FC236}">
                        <a16:creationId xmlns:a16="http://schemas.microsoft.com/office/drawing/2014/main" id="{09ED0A07-D865-060D-6AF9-F2C564A61836}"/>
                      </a:ext>
                    </a:extLst>
                  </p:cNvPr>
                  <p:cNvSpPr/>
                  <p:nvPr userDrawn="1"/>
                </p:nvSpPr>
                <p:spPr>
                  <a:xfrm>
                    <a:off x="8259957" y="449164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C6CBD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13" name="Freeform: Shape 612">
                    <a:extLst>
                      <a:ext uri="{FF2B5EF4-FFF2-40B4-BE49-F238E27FC236}">
                        <a16:creationId xmlns:a16="http://schemas.microsoft.com/office/drawing/2014/main" id="{A0680B7A-C294-D878-33F5-48284B56511D}"/>
                      </a:ext>
                    </a:extLst>
                  </p:cNvPr>
                  <p:cNvSpPr/>
                  <p:nvPr userDrawn="1"/>
                </p:nvSpPr>
                <p:spPr>
                  <a:xfrm>
                    <a:off x="8259443" y="449180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C7CCD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14" name="Freeform: Shape 613">
                    <a:extLst>
                      <a:ext uri="{FF2B5EF4-FFF2-40B4-BE49-F238E27FC236}">
                        <a16:creationId xmlns:a16="http://schemas.microsoft.com/office/drawing/2014/main" id="{8922E4F7-FDF8-A423-4E4B-B9CAD4FFA441}"/>
                      </a:ext>
                    </a:extLst>
                  </p:cNvPr>
                  <p:cNvSpPr/>
                  <p:nvPr userDrawn="1"/>
                </p:nvSpPr>
                <p:spPr>
                  <a:xfrm>
                    <a:off x="8258951" y="449196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C7CCD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15" name="Freeform: Shape 614">
                    <a:extLst>
                      <a:ext uri="{FF2B5EF4-FFF2-40B4-BE49-F238E27FC236}">
                        <a16:creationId xmlns:a16="http://schemas.microsoft.com/office/drawing/2014/main" id="{71B14718-A887-5576-DF4C-5756F614F041}"/>
                      </a:ext>
                    </a:extLst>
                  </p:cNvPr>
                  <p:cNvSpPr/>
                  <p:nvPr userDrawn="1"/>
                </p:nvSpPr>
                <p:spPr>
                  <a:xfrm>
                    <a:off x="8258436" y="449215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C7CCD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16" name="Freeform: Shape 615">
                    <a:extLst>
                      <a:ext uri="{FF2B5EF4-FFF2-40B4-BE49-F238E27FC236}">
                        <a16:creationId xmlns:a16="http://schemas.microsoft.com/office/drawing/2014/main" id="{C300A191-3753-0DED-70F1-DEB5C79D865C}"/>
                      </a:ext>
                    </a:extLst>
                  </p:cNvPr>
                  <p:cNvSpPr/>
                  <p:nvPr userDrawn="1"/>
                </p:nvSpPr>
                <p:spPr>
                  <a:xfrm>
                    <a:off x="8257945" y="449232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8CDD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17" name="Freeform: Shape 616">
                    <a:extLst>
                      <a:ext uri="{FF2B5EF4-FFF2-40B4-BE49-F238E27FC236}">
                        <a16:creationId xmlns:a16="http://schemas.microsoft.com/office/drawing/2014/main" id="{BB4115A7-A5F9-F3B7-ED51-416AD00773FC}"/>
                      </a:ext>
                    </a:extLst>
                  </p:cNvPr>
                  <p:cNvSpPr/>
                  <p:nvPr userDrawn="1"/>
                </p:nvSpPr>
                <p:spPr>
                  <a:xfrm>
                    <a:off x="8257430" y="449248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C8CDD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18" name="Freeform: Shape 617">
                    <a:extLst>
                      <a:ext uri="{FF2B5EF4-FFF2-40B4-BE49-F238E27FC236}">
                        <a16:creationId xmlns:a16="http://schemas.microsoft.com/office/drawing/2014/main" id="{A12434B4-7FE5-991E-A8A3-76C82733C66D}"/>
                      </a:ext>
                    </a:extLst>
                  </p:cNvPr>
                  <p:cNvSpPr/>
                  <p:nvPr userDrawn="1"/>
                </p:nvSpPr>
                <p:spPr>
                  <a:xfrm>
                    <a:off x="8256939" y="449264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C8CDD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19" name="Freeform: Shape 618">
                    <a:extLst>
                      <a:ext uri="{FF2B5EF4-FFF2-40B4-BE49-F238E27FC236}">
                        <a16:creationId xmlns:a16="http://schemas.microsoft.com/office/drawing/2014/main" id="{57DC57EC-C6BC-46EE-6FD5-A5041FA9CF7D}"/>
                      </a:ext>
                    </a:extLst>
                  </p:cNvPr>
                  <p:cNvSpPr/>
                  <p:nvPr userDrawn="1"/>
                </p:nvSpPr>
                <p:spPr>
                  <a:xfrm>
                    <a:off x="8256447" y="449283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9CDD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20" name="Freeform: Shape 619">
                    <a:extLst>
                      <a:ext uri="{FF2B5EF4-FFF2-40B4-BE49-F238E27FC236}">
                        <a16:creationId xmlns:a16="http://schemas.microsoft.com/office/drawing/2014/main" id="{54FD676A-0853-9BBD-8642-B1A7FA12DF03}"/>
                      </a:ext>
                    </a:extLst>
                  </p:cNvPr>
                  <p:cNvSpPr/>
                  <p:nvPr userDrawn="1"/>
                </p:nvSpPr>
                <p:spPr>
                  <a:xfrm>
                    <a:off x="8255956" y="449299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C9CED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21" name="Freeform: Shape 620">
                    <a:extLst>
                      <a:ext uri="{FF2B5EF4-FFF2-40B4-BE49-F238E27FC236}">
                        <a16:creationId xmlns:a16="http://schemas.microsoft.com/office/drawing/2014/main" id="{7450E40D-05FF-FF73-ECA6-484AD3B48A7D}"/>
                      </a:ext>
                    </a:extLst>
                  </p:cNvPr>
                  <p:cNvSpPr/>
                  <p:nvPr userDrawn="1"/>
                </p:nvSpPr>
                <p:spPr>
                  <a:xfrm>
                    <a:off x="8255465" y="449318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9CED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22" name="Freeform: Shape 621">
                    <a:extLst>
                      <a:ext uri="{FF2B5EF4-FFF2-40B4-BE49-F238E27FC236}">
                        <a16:creationId xmlns:a16="http://schemas.microsoft.com/office/drawing/2014/main" id="{D62885F4-1394-D702-0446-609E9D2A505F}"/>
                      </a:ext>
                    </a:extLst>
                  </p:cNvPr>
                  <p:cNvSpPr/>
                  <p:nvPr userDrawn="1"/>
                </p:nvSpPr>
                <p:spPr>
                  <a:xfrm>
                    <a:off x="8254950" y="449335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C9CED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23" name="Freeform: Shape 622">
                    <a:extLst>
                      <a:ext uri="{FF2B5EF4-FFF2-40B4-BE49-F238E27FC236}">
                        <a16:creationId xmlns:a16="http://schemas.microsoft.com/office/drawing/2014/main" id="{1838C8D6-BCB1-BAA3-7754-786F22963AFA}"/>
                      </a:ext>
                    </a:extLst>
                  </p:cNvPr>
                  <p:cNvSpPr/>
                  <p:nvPr userDrawn="1"/>
                </p:nvSpPr>
                <p:spPr>
                  <a:xfrm>
                    <a:off x="8254458" y="449353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CACFD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24" name="Freeform: Shape 623">
                    <a:extLst>
                      <a:ext uri="{FF2B5EF4-FFF2-40B4-BE49-F238E27FC236}">
                        <a16:creationId xmlns:a16="http://schemas.microsoft.com/office/drawing/2014/main" id="{37D454F1-05B3-E40C-87F1-3FD5AEE60793}"/>
                      </a:ext>
                    </a:extLst>
                  </p:cNvPr>
                  <p:cNvSpPr/>
                  <p:nvPr userDrawn="1"/>
                </p:nvSpPr>
                <p:spPr>
                  <a:xfrm>
                    <a:off x="8253967" y="449370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CACFD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25" name="Freeform: Shape 624">
                    <a:extLst>
                      <a:ext uri="{FF2B5EF4-FFF2-40B4-BE49-F238E27FC236}">
                        <a16:creationId xmlns:a16="http://schemas.microsoft.com/office/drawing/2014/main" id="{22239771-8E14-B591-ACA5-8A388E7D9924}"/>
                      </a:ext>
                    </a:extLst>
                  </p:cNvPr>
                  <p:cNvSpPr/>
                  <p:nvPr userDrawn="1"/>
                </p:nvSpPr>
                <p:spPr>
                  <a:xfrm>
                    <a:off x="8253499" y="449388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ACFD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26" name="Freeform: Shape 625">
                    <a:extLst>
                      <a:ext uri="{FF2B5EF4-FFF2-40B4-BE49-F238E27FC236}">
                        <a16:creationId xmlns:a16="http://schemas.microsoft.com/office/drawing/2014/main" id="{CD1ABAF4-2129-1B83-FFBA-C97F63315D81}"/>
                      </a:ext>
                    </a:extLst>
                  </p:cNvPr>
                  <p:cNvSpPr/>
                  <p:nvPr userDrawn="1"/>
                </p:nvSpPr>
                <p:spPr>
                  <a:xfrm>
                    <a:off x="8253008" y="449407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BCFD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27" name="Freeform: Shape 626">
                    <a:extLst>
                      <a:ext uri="{FF2B5EF4-FFF2-40B4-BE49-F238E27FC236}">
                        <a16:creationId xmlns:a16="http://schemas.microsoft.com/office/drawing/2014/main" id="{733CBBB0-38C5-978A-99E8-CBF8B249190C}"/>
                      </a:ext>
                    </a:extLst>
                  </p:cNvPr>
                  <p:cNvSpPr/>
                  <p:nvPr userDrawn="1"/>
                </p:nvSpPr>
                <p:spPr>
                  <a:xfrm>
                    <a:off x="8252516" y="449423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CBD0D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28" name="Freeform: Shape 627">
                    <a:extLst>
                      <a:ext uri="{FF2B5EF4-FFF2-40B4-BE49-F238E27FC236}">
                        <a16:creationId xmlns:a16="http://schemas.microsoft.com/office/drawing/2014/main" id="{4B7347EF-259A-E39E-7147-66F4C52B06C5}"/>
                      </a:ext>
                    </a:extLst>
                  </p:cNvPr>
                  <p:cNvSpPr/>
                  <p:nvPr userDrawn="1"/>
                </p:nvSpPr>
                <p:spPr>
                  <a:xfrm>
                    <a:off x="8252025" y="449442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CBD0D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29" name="Freeform: Shape 628">
                    <a:extLst>
                      <a:ext uri="{FF2B5EF4-FFF2-40B4-BE49-F238E27FC236}">
                        <a16:creationId xmlns:a16="http://schemas.microsoft.com/office/drawing/2014/main" id="{78EA3BA1-7B75-8FE2-75EE-10172A128632}"/>
                      </a:ext>
                    </a:extLst>
                  </p:cNvPr>
                  <p:cNvSpPr/>
                  <p:nvPr userDrawn="1"/>
                </p:nvSpPr>
                <p:spPr>
                  <a:xfrm>
                    <a:off x="8251557" y="449461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CD0D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30" name="Freeform: Shape 629">
                    <a:extLst>
                      <a:ext uri="{FF2B5EF4-FFF2-40B4-BE49-F238E27FC236}">
                        <a16:creationId xmlns:a16="http://schemas.microsoft.com/office/drawing/2014/main" id="{A8498297-63E6-DBF0-D8C0-689DBD479E8B}"/>
                      </a:ext>
                    </a:extLst>
                  </p:cNvPr>
                  <p:cNvSpPr/>
                  <p:nvPr userDrawn="1"/>
                </p:nvSpPr>
                <p:spPr>
                  <a:xfrm>
                    <a:off x="8251065" y="449480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CD0D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31" name="Freeform: Shape 630">
                    <a:extLst>
                      <a:ext uri="{FF2B5EF4-FFF2-40B4-BE49-F238E27FC236}">
                        <a16:creationId xmlns:a16="http://schemas.microsoft.com/office/drawing/2014/main" id="{22EBEC67-E503-86A2-E40C-43D18F0B8A40}"/>
                      </a:ext>
                    </a:extLst>
                  </p:cNvPr>
                  <p:cNvSpPr/>
                  <p:nvPr userDrawn="1"/>
                </p:nvSpPr>
                <p:spPr>
                  <a:xfrm>
                    <a:off x="8250574" y="449498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CCD1D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32" name="Freeform: Shape 631">
                    <a:extLst>
                      <a:ext uri="{FF2B5EF4-FFF2-40B4-BE49-F238E27FC236}">
                        <a16:creationId xmlns:a16="http://schemas.microsoft.com/office/drawing/2014/main" id="{29F53596-6F54-0653-B888-7186DD1879E4}"/>
                      </a:ext>
                    </a:extLst>
                  </p:cNvPr>
                  <p:cNvSpPr/>
                  <p:nvPr userDrawn="1"/>
                </p:nvSpPr>
                <p:spPr>
                  <a:xfrm>
                    <a:off x="8250106" y="449517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DD1D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33" name="Freeform: Shape 632">
                    <a:extLst>
                      <a:ext uri="{FF2B5EF4-FFF2-40B4-BE49-F238E27FC236}">
                        <a16:creationId xmlns:a16="http://schemas.microsoft.com/office/drawing/2014/main" id="{08193A3C-8206-9028-4810-43E23DACCC2D}"/>
                      </a:ext>
                    </a:extLst>
                  </p:cNvPr>
                  <p:cNvSpPr/>
                  <p:nvPr userDrawn="1"/>
                </p:nvSpPr>
                <p:spPr>
                  <a:xfrm>
                    <a:off x="8249638" y="449533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CDD1D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34" name="Freeform: Shape 633">
                    <a:extLst>
                      <a:ext uri="{FF2B5EF4-FFF2-40B4-BE49-F238E27FC236}">
                        <a16:creationId xmlns:a16="http://schemas.microsoft.com/office/drawing/2014/main" id="{50FE1AD5-3EF9-F5C5-1259-A747D22F133F}"/>
                      </a:ext>
                    </a:extLst>
                  </p:cNvPr>
                  <p:cNvSpPr/>
                  <p:nvPr userDrawn="1"/>
                </p:nvSpPr>
                <p:spPr>
                  <a:xfrm>
                    <a:off x="8249147" y="449555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CDD2D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35" name="Freeform: Shape 634">
                    <a:extLst>
                      <a:ext uri="{FF2B5EF4-FFF2-40B4-BE49-F238E27FC236}">
                        <a16:creationId xmlns:a16="http://schemas.microsoft.com/office/drawing/2014/main" id="{89D84B4D-E6D8-FE8C-05E9-6FF4E83D67F3}"/>
                      </a:ext>
                    </a:extLst>
                  </p:cNvPr>
                  <p:cNvSpPr/>
                  <p:nvPr userDrawn="1"/>
                </p:nvSpPr>
                <p:spPr>
                  <a:xfrm>
                    <a:off x="8248679" y="449573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DD2D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36" name="Freeform: Shape 635">
                    <a:extLst>
                      <a:ext uri="{FF2B5EF4-FFF2-40B4-BE49-F238E27FC236}">
                        <a16:creationId xmlns:a16="http://schemas.microsoft.com/office/drawing/2014/main" id="{248CF6FB-0F4C-93AF-8264-2847C56BA5FD}"/>
                      </a:ext>
                    </a:extLst>
                  </p:cNvPr>
                  <p:cNvSpPr/>
                  <p:nvPr userDrawn="1"/>
                </p:nvSpPr>
                <p:spPr>
                  <a:xfrm>
                    <a:off x="8248211" y="449592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ED2D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37" name="Freeform: Shape 636">
                    <a:extLst>
                      <a:ext uri="{FF2B5EF4-FFF2-40B4-BE49-F238E27FC236}">
                        <a16:creationId xmlns:a16="http://schemas.microsoft.com/office/drawing/2014/main" id="{710C9674-95DF-5E05-5641-D2056C750E2B}"/>
                      </a:ext>
                    </a:extLst>
                  </p:cNvPr>
                  <p:cNvSpPr/>
                  <p:nvPr userDrawn="1"/>
                </p:nvSpPr>
                <p:spPr>
                  <a:xfrm>
                    <a:off x="8247743" y="449611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ED2D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38" name="Freeform: Shape 637">
                    <a:extLst>
                      <a:ext uri="{FF2B5EF4-FFF2-40B4-BE49-F238E27FC236}">
                        <a16:creationId xmlns:a16="http://schemas.microsoft.com/office/drawing/2014/main" id="{B630E2D4-BE22-FF96-D4A0-9710E279875D}"/>
                      </a:ext>
                    </a:extLst>
                  </p:cNvPr>
                  <p:cNvSpPr/>
                  <p:nvPr userDrawn="1"/>
                </p:nvSpPr>
                <p:spPr>
                  <a:xfrm>
                    <a:off x="8247275" y="449629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ED3D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39" name="Freeform: Shape 638">
                    <a:extLst>
                      <a:ext uri="{FF2B5EF4-FFF2-40B4-BE49-F238E27FC236}">
                        <a16:creationId xmlns:a16="http://schemas.microsoft.com/office/drawing/2014/main" id="{BF8AC1D8-5138-C822-764C-B7BA4A790FCE}"/>
                      </a:ext>
                    </a:extLst>
                  </p:cNvPr>
                  <p:cNvSpPr/>
                  <p:nvPr userDrawn="1"/>
                </p:nvSpPr>
                <p:spPr>
                  <a:xfrm>
                    <a:off x="8246807" y="449648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CFD3D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40" name="Freeform: Shape 639">
                    <a:extLst>
                      <a:ext uri="{FF2B5EF4-FFF2-40B4-BE49-F238E27FC236}">
                        <a16:creationId xmlns:a16="http://schemas.microsoft.com/office/drawing/2014/main" id="{08CE36D7-D47D-84C6-1F69-9720976C107A}"/>
                      </a:ext>
                    </a:extLst>
                  </p:cNvPr>
                  <p:cNvSpPr/>
                  <p:nvPr userDrawn="1"/>
                </p:nvSpPr>
                <p:spPr>
                  <a:xfrm>
                    <a:off x="8246339" y="449667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CFD3E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41" name="Freeform: Shape 640">
                    <a:extLst>
                      <a:ext uri="{FF2B5EF4-FFF2-40B4-BE49-F238E27FC236}">
                        <a16:creationId xmlns:a16="http://schemas.microsoft.com/office/drawing/2014/main" id="{4C694BA1-2CD2-8A97-3CA3-49822FB7641C}"/>
                      </a:ext>
                    </a:extLst>
                  </p:cNvPr>
                  <p:cNvSpPr/>
                  <p:nvPr userDrawn="1"/>
                </p:nvSpPr>
                <p:spPr>
                  <a:xfrm>
                    <a:off x="8245871" y="449688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FD4E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42" name="Freeform: Shape 641">
                    <a:extLst>
                      <a:ext uri="{FF2B5EF4-FFF2-40B4-BE49-F238E27FC236}">
                        <a16:creationId xmlns:a16="http://schemas.microsoft.com/office/drawing/2014/main" id="{B3FF489F-73C4-6C18-FEBC-9EA8BA6B0721}"/>
                      </a:ext>
                    </a:extLst>
                  </p:cNvPr>
                  <p:cNvSpPr/>
                  <p:nvPr userDrawn="1"/>
                </p:nvSpPr>
                <p:spPr>
                  <a:xfrm>
                    <a:off x="8245403" y="449707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0D4E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43" name="Freeform: Shape 642">
                    <a:extLst>
                      <a:ext uri="{FF2B5EF4-FFF2-40B4-BE49-F238E27FC236}">
                        <a16:creationId xmlns:a16="http://schemas.microsoft.com/office/drawing/2014/main" id="{7E10DE55-9A8D-749F-45FD-B3AC1B409E27}"/>
                      </a:ext>
                    </a:extLst>
                  </p:cNvPr>
                  <p:cNvSpPr/>
                  <p:nvPr userDrawn="1"/>
                </p:nvSpPr>
                <p:spPr>
                  <a:xfrm>
                    <a:off x="8244935" y="449728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0D4E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44" name="Freeform: Shape 643">
                    <a:extLst>
                      <a:ext uri="{FF2B5EF4-FFF2-40B4-BE49-F238E27FC236}">
                        <a16:creationId xmlns:a16="http://schemas.microsoft.com/office/drawing/2014/main" id="{F2AC34BC-C26C-2124-175C-98024B807AEA}"/>
                      </a:ext>
                    </a:extLst>
                  </p:cNvPr>
                  <p:cNvSpPr/>
                  <p:nvPr userDrawn="1"/>
                </p:nvSpPr>
                <p:spPr>
                  <a:xfrm>
                    <a:off x="8244490" y="449746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0D4E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45" name="Freeform: Shape 644">
                    <a:extLst>
                      <a:ext uri="{FF2B5EF4-FFF2-40B4-BE49-F238E27FC236}">
                        <a16:creationId xmlns:a16="http://schemas.microsoft.com/office/drawing/2014/main" id="{85155C0B-564D-65EE-B384-079A10E036D2}"/>
                      </a:ext>
                    </a:extLst>
                  </p:cNvPr>
                  <p:cNvSpPr/>
                  <p:nvPr userDrawn="1"/>
                </p:nvSpPr>
                <p:spPr>
                  <a:xfrm>
                    <a:off x="8244022" y="449765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54"/>
                          <a:pt x="42097" y="21060"/>
                        </a:cubicBezTo>
                        <a:close/>
                      </a:path>
                    </a:pathLst>
                  </a:custGeom>
                  <a:solidFill>
                    <a:srgbClr val="D1D5E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46" name="Freeform: Shape 645">
                    <a:extLst>
                      <a:ext uri="{FF2B5EF4-FFF2-40B4-BE49-F238E27FC236}">
                        <a16:creationId xmlns:a16="http://schemas.microsoft.com/office/drawing/2014/main" id="{C8F143AD-8EBE-EDDC-0288-F9516D917C80}"/>
                      </a:ext>
                    </a:extLst>
                  </p:cNvPr>
                  <p:cNvSpPr/>
                  <p:nvPr userDrawn="1"/>
                </p:nvSpPr>
                <p:spPr>
                  <a:xfrm>
                    <a:off x="8243577" y="449786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1D5E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47" name="Freeform: Shape 646">
                    <a:extLst>
                      <a:ext uri="{FF2B5EF4-FFF2-40B4-BE49-F238E27FC236}">
                        <a16:creationId xmlns:a16="http://schemas.microsoft.com/office/drawing/2014/main" id="{20737FEC-C3B6-4B65-4EF2-B2622DBDD8B3}"/>
                      </a:ext>
                    </a:extLst>
                  </p:cNvPr>
                  <p:cNvSpPr/>
                  <p:nvPr userDrawn="1"/>
                </p:nvSpPr>
                <p:spPr>
                  <a:xfrm>
                    <a:off x="8243109" y="449807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1D5E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48" name="Freeform: Shape 647">
                    <a:extLst>
                      <a:ext uri="{FF2B5EF4-FFF2-40B4-BE49-F238E27FC236}">
                        <a16:creationId xmlns:a16="http://schemas.microsoft.com/office/drawing/2014/main" id="{8061C05B-4D4B-F4ED-7843-5FA5B6A1007C}"/>
                      </a:ext>
                    </a:extLst>
                  </p:cNvPr>
                  <p:cNvSpPr/>
                  <p:nvPr userDrawn="1"/>
                </p:nvSpPr>
                <p:spPr>
                  <a:xfrm>
                    <a:off x="8242665" y="449826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1D6E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49" name="Freeform: Shape 648">
                    <a:extLst>
                      <a:ext uri="{FF2B5EF4-FFF2-40B4-BE49-F238E27FC236}">
                        <a16:creationId xmlns:a16="http://schemas.microsoft.com/office/drawing/2014/main" id="{47023DDE-BFC3-D94C-90C1-48BD9EDFDAFC}"/>
                      </a:ext>
                    </a:extLst>
                  </p:cNvPr>
                  <p:cNvSpPr/>
                  <p:nvPr userDrawn="1"/>
                </p:nvSpPr>
                <p:spPr>
                  <a:xfrm>
                    <a:off x="8242220" y="449847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2D6E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50" name="Freeform: Shape 649">
                    <a:extLst>
                      <a:ext uri="{FF2B5EF4-FFF2-40B4-BE49-F238E27FC236}">
                        <a16:creationId xmlns:a16="http://schemas.microsoft.com/office/drawing/2014/main" id="{3303DA0A-F67B-70C1-5288-E3504E3906F5}"/>
                      </a:ext>
                    </a:extLst>
                  </p:cNvPr>
                  <p:cNvSpPr/>
                  <p:nvPr userDrawn="1"/>
                </p:nvSpPr>
                <p:spPr>
                  <a:xfrm>
                    <a:off x="8241776" y="449866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D2D6E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51" name="Freeform: Shape 650">
                    <a:extLst>
                      <a:ext uri="{FF2B5EF4-FFF2-40B4-BE49-F238E27FC236}">
                        <a16:creationId xmlns:a16="http://schemas.microsoft.com/office/drawing/2014/main" id="{2E30EC6F-9157-5232-F54B-04F683A3B98E}"/>
                      </a:ext>
                    </a:extLst>
                  </p:cNvPr>
                  <p:cNvSpPr/>
                  <p:nvPr userDrawn="1"/>
                </p:nvSpPr>
                <p:spPr>
                  <a:xfrm>
                    <a:off x="8241308" y="449887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D2D6E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52" name="Freeform: Shape 651">
                    <a:extLst>
                      <a:ext uri="{FF2B5EF4-FFF2-40B4-BE49-F238E27FC236}">
                        <a16:creationId xmlns:a16="http://schemas.microsoft.com/office/drawing/2014/main" id="{12F0BA98-DB56-53FC-C0C4-797E396F42C6}"/>
                      </a:ext>
                    </a:extLst>
                  </p:cNvPr>
                  <p:cNvSpPr/>
                  <p:nvPr userDrawn="1"/>
                </p:nvSpPr>
                <p:spPr>
                  <a:xfrm>
                    <a:off x="8240863" y="449908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3D7E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53" name="Freeform: Shape 652">
                    <a:extLst>
                      <a:ext uri="{FF2B5EF4-FFF2-40B4-BE49-F238E27FC236}">
                        <a16:creationId xmlns:a16="http://schemas.microsoft.com/office/drawing/2014/main" id="{925AC1CC-8232-5FCB-0118-21217C25A1B6}"/>
                      </a:ext>
                    </a:extLst>
                  </p:cNvPr>
                  <p:cNvSpPr/>
                  <p:nvPr userDrawn="1"/>
                </p:nvSpPr>
                <p:spPr>
                  <a:xfrm>
                    <a:off x="8240418" y="449929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3D7E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54" name="Freeform: Shape 653">
                    <a:extLst>
                      <a:ext uri="{FF2B5EF4-FFF2-40B4-BE49-F238E27FC236}">
                        <a16:creationId xmlns:a16="http://schemas.microsoft.com/office/drawing/2014/main" id="{96D53BCA-81E1-8CA8-E242-A2757490FD89}"/>
                      </a:ext>
                    </a:extLst>
                  </p:cNvPr>
                  <p:cNvSpPr/>
                  <p:nvPr userDrawn="1"/>
                </p:nvSpPr>
                <p:spPr>
                  <a:xfrm>
                    <a:off x="8239997" y="449950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3D7E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55" name="Freeform: Shape 654">
                    <a:extLst>
                      <a:ext uri="{FF2B5EF4-FFF2-40B4-BE49-F238E27FC236}">
                        <a16:creationId xmlns:a16="http://schemas.microsoft.com/office/drawing/2014/main" id="{4C5D06A8-DA0F-330F-D240-1877DDCAD384}"/>
                      </a:ext>
                    </a:extLst>
                  </p:cNvPr>
                  <p:cNvSpPr/>
                  <p:nvPr userDrawn="1"/>
                </p:nvSpPr>
                <p:spPr>
                  <a:xfrm>
                    <a:off x="8239552" y="449971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4D7E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56" name="Freeform: Shape 655">
                    <a:extLst>
                      <a:ext uri="{FF2B5EF4-FFF2-40B4-BE49-F238E27FC236}">
                        <a16:creationId xmlns:a16="http://schemas.microsoft.com/office/drawing/2014/main" id="{E8917F63-8123-1D09-CE30-C22B79617EE8}"/>
                      </a:ext>
                    </a:extLst>
                  </p:cNvPr>
                  <p:cNvSpPr/>
                  <p:nvPr userDrawn="1"/>
                </p:nvSpPr>
                <p:spPr>
                  <a:xfrm>
                    <a:off x="8239108" y="449990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D4D8E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57" name="Freeform: Shape 656">
                    <a:extLst>
                      <a:ext uri="{FF2B5EF4-FFF2-40B4-BE49-F238E27FC236}">
                        <a16:creationId xmlns:a16="http://schemas.microsoft.com/office/drawing/2014/main" id="{B439CB0D-B42F-C713-BABA-D1AC3D9E3BC4}"/>
                      </a:ext>
                    </a:extLst>
                  </p:cNvPr>
                  <p:cNvSpPr/>
                  <p:nvPr userDrawn="1"/>
                </p:nvSpPr>
                <p:spPr>
                  <a:xfrm>
                    <a:off x="8238663" y="450011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54"/>
                          <a:pt x="42097" y="21060"/>
                        </a:cubicBezTo>
                        <a:close/>
                      </a:path>
                    </a:pathLst>
                  </a:custGeom>
                  <a:solidFill>
                    <a:srgbClr val="D4D8E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58" name="Freeform: Shape 657">
                    <a:extLst>
                      <a:ext uri="{FF2B5EF4-FFF2-40B4-BE49-F238E27FC236}">
                        <a16:creationId xmlns:a16="http://schemas.microsoft.com/office/drawing/2014/main" id="{2180C730-0E69-5ADA-25EC-9C151F70D55E}"/>
                      </a:ext>
                    </a:extLst>
                  </p:cNvPr>
                  <p:cNvSpPr/>
                  <p:nvPr userDrawn="1"/>
                </p:nvSpPr>
                <p:spPr>
                  <a:xfrm>
                    <a:off x="8238242" y="450032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D4D8E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59" name="Freeform: Shape 658">
                    <a:extLst>
                      <a:ext uri="{FF2B5EF4-FFF2-40B4-BE49-F238E27FC236}">
                        <a16:creationId xmlns:a16="http://schemas.microsoft.com/office/drawing/2014/main" id="{ABA8C9E2-6400-155F-9787-64D65FC9F97F}"/>
                      </a:ext>
                    </a:extLst>
                  </p:cNvPr>
                  <p:cNvSpPr/>
                  <p:nvPr userDrawn="1"/>
                </p:nvSpPr>
                <p:spPr>
                  <a:xfrm>
                    <a:off x="8237797" y="450053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54"/>
                          <a:pt x="42097" y="21060"/>
                        </a:cubicBezTo>
                        <a:close/>
                      </a:path>
                    </a:pathLst>
                  </a:custGeom>
                  <a:solidFill>
                    <a:srgbClr val="D5D9E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60" name="Freeform: Shape 659">
                    <a:extLst>
                      <a:ext uri="{FF2B5EF4-FFF2-40B4-BE49-F238E27FC236}">
                        <a16:creationId xmlns:a16="http://schemas.microsoft.com/office/drawing/2014/main" id="{57EACA58-2410-8D92-6FCD-385F78C762EC}"/>
                      </a:ext>
                    </a:extLst>
                  </p:cNvPr>
                  <p:cNvSpPr/>
                  <p:nvPr userDrawn="1"/>
                </p:nvSpPr>
                <p:spPr>
                  <a:xfrm>
                    <a:off x="8237376" y="450076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5D9E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61" name="Freeform: Shape 660">
                    <a:extLst>
                      <a:ext uri="{FF2B5EF4-FFF2-40B4-BE49-F238E27FC236}">
                        <a16:creationId xmlns:a16="http://schemas.microsoft.com/office/drawing/2014/main" id="{7E7942C5-3924-CFAC-C72A-6222F004DEAD}"/>
                      </a:ext>
                    </a:extLst>
                  </p:cNvPr>
                  <p:cNvSpPr/>
                  <p:nvPr userDrawn="1"/>
                </p:nvSpPr>
                <p:spPr>
                  <a:xfrm>
                    <a:off x="8236932" y="450097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5D9E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62" name="Freeform: Shape 661">
                    <a:extLst>
                      <a:ext uri="{FF2B5EF4-FFF2-40B4-BE49-F238E27FC236}">
                        <a16:creationId xmlns:a16="http://schemas.microsoft.com/office/drawing/2014/main" id="{8DB49B85-1AE5-F80E-7723-688D2C9B82CE}"/>
                      </a:ext>
                    </a:extLst>
                  </p:cNvPr>
                  <p:cNvSpPr/>
                  <p:nvPr userDrawn="1"/>
                </p:nvSpPr>
                <p:spPr>
                  <a:xfrm>
                    <a:off x="8236510" y="450118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6D9E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63" name="Freeform: Shape 662">
                    <a:extLst>
                      <a:ext uri="{FF2B5EF4-FFF2-40B4-BE49-F238E27FC236}">
                        <a16:creationId xmlns:a16="http://schemas.microsoft.com/office/drawing/2014/main" id="{17F09ABA-68FB-BDE1-08F7-7851B3C611A1}"/>
                      </a:ext>
                    </a:extLst>
                  </p:cNvPr>
                  <p:cNvSpPr/>
                  <p:nvPr userDrawn="1"/>
                </p:nvSpPr>
                <p:spPr>
                  <a:xfrm>
                    <a:off x="8236089" y="450140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6DAE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64" name="Freeform: Shape 663">
                    <a:extLst>
                      <a:ext uri="{FF2B5EF4-FFF2-40B4-BE49-F238E27FC236}">
                        <a16:creationId xmlns:a16="http://schemas.microsoft.com/office/drawing/2014/main" id="{1CB444DB-F768-65F1-69FC-FD51C9E69E81}"/>
                      </a:ext>
                    </a:extLst>
                  </p:cNvPr>
                  <p:cNvSpPr/>
                  <p:nvPr userDrawn="1"/>
                </p:nvSpPr>
                <p:spPr>
                  <a:xfrm>
                    <a:off x="8235668" y="450161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6DAE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65" name="Freeform: Shape 664">
                    <a:extLst>
                      <a:ext uri="{FF2B5EF4-FFF2-40B4-BE49-F238E27FC236}">
                        <a16:creationId xmlns:a16="http://schemas.microsoft.com/office/drawing/2014/main" id="{8ED12C53-C062-C37E-FC15-E6BBE20633C5}"/>
                      </a:ext>
                    </a:extLst>
                  </p:cNvPr>
                  <p:cNvSpPr/>
                  <p:nvPr userDrawn="1"/>
                </p:nvSpPr>
                <p:spPr>
                  <a:xfrm>
                    <a:off x="8235247" y="450184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7DAE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66" name="Freeform: Shape 665">
                    <a:extLst>
                      <a:ext uri="{FF2B5EF4-FFF2-40B4-BE49-F238E27FC236}">
                        <a16:creationId xmlns:a16="http://schemas.microsoft.com/office/drawing/2014/main" id="{722E0FFD-F99B-8096-A555-C06A7E4F91D7}"/>
                      </a:ext>
                    </a:extLst>
                  </p:cNvPr>
                  <p:cNvSpPr/>
                  <p:nvPr userDrawn="1"/>
                </p:nvSpPr>
                <p:spPr>
                  <a:xfrm>
                    <a:off x="8234826" y="450205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7DBE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67" name="Freeform: Shape 666">
                    <a:extLst>
                      <a:ext uri="{FF2B5EF4-FFF2-40B4-BE49-F238E27FC236}">
                        <a16:creationId xmlns:a16="http://schemas.microsoft.com/office/drawing/2014/main" id="{2BA9600B-4E7C-FFCA-45BF-3129C0A242F0}"/>
                      </a:ext>
                    </a:extLst>
                  </p:cNvPr>
                  <p:cNvSpPr/>
                  <p:nvPr userDrawn="1"/>
                </p:nvSpPr>
                <p:spPr>
                  <a:xfrm>
                    <a:off x="8234404" y="450226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D7DBE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68" name="Freeform: Shape 667">
                    <a:extLst>
                      <a:ext uri="{FF2B5EF4-FFF2-40B4-BE49-F238E27FC236}">
                        <a16:creationId xmlns:a16="http://schemas.microsoft.com/office/drawing/2014/main" id="{EAD42298-2F99-7AE9-A777-07BD70A0DDC3}"/>
                      </a:ext>
                    </a:extLst>
                  </p:cNvPr>
                  <p:cNvSpPr/>
                  <p:nvPr userDrawn="1"/>
                </p:nvSpPr>
                <p:spPr>
                  <a:xfrm>
                    <a:off x="8233983" y="450249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8DBE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69" name="Freeform: Shape 668">
                    <a:extLst>
                      <a:ext uri="{FF2B5EF4-FFF2-40B4-BE49-F238E27FC236}">
                        <a16:creationId xmlns:a16="http://schemas.microsoft.com/office/drawing/2014/main" id="{128BC310-A570-D1A5-4A98-D65112E03387}"/>
                      </a:ext>
                    </a:extLst>
                  </p:cNvPr>
                  <p:cNvSpPr/>
                  <p:nvPr userDrawn="1"/>
                </p:nvSpPr>
                <p:spPr>
                  <a:xfrm>
                    <a:off x="8233585" y="450271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8DBE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70" name="Freeform: Shape 669">
                    <a:extLst>
                      <a:ext uri="{FF2B5EF4-FFF2-40B4-BE49-F238E27FC236}">
                        <a16:creationId xmlns:a16="http://schemas.microsoft.com/office/drawing/2014/main" id="{0A0273A2-BCF9-B35C-66B6-B7AB896BB46C}"/>
                      </a:ext>
                    </a:extLst>
                  </p:cNvPr>
                  <p:cNvSpPr/>
                  <p:nvPr userDrawn="1"/>
                </p:nvSpPr>
                <p:spPr>
                  <a:xfrm>
                    <a:off x="8233164" y="450292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54"/>
                          <a:pt x="42097" y="21060"/>
                        </a:cubicBezTo>
                        <a:close/>
                      </a:path>
                    </a:pathLst>
                  </a:custGeom>
                  <a:solidFill>
                    <a:srgbClr val="D8DCE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71" name="Freeform: Shape 670">
                    <a:extLst>
                      <a:ext uri="{FF2B5EF4-FFF2-40B4-BE49-F238E27FC236}">
                        <a16:creationId xmlns:a16="http://schemas.microsoft.com/office/drawing/2014/main" id="{2C502DDF-8257-5C47-D7A8-A47B9F56148C}"/>
                      </a:ext>
                    </a:extLst>
                  </p:cNvPr>
                  <p:cNvSpPr/>
                  <p:nvPr userDrawn="1"/>
                </p:nvSpPr>
                <p:spPr>
                  <a:xfrm>
                    <a:off x="8232766" y="450315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8DCE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72" name="Freeform: Shape 671">
                    <a:extLst>
                      <a:ext uri="{FF2B5EF4-FFF2-40B4-BE49-F238E27FC236}">
                        <a16:creationId xmlns:a16="http://schemas.microsoft.com/office/drawing/2014/main" id="{1302409E-27B7-5266-A0FC-0B35E3F992BC}"/>
                      </a:ext>
                    </a:extLst>
                  </p:cNvPr>
                  <p:cNvSpPr/>
                  <p:nvPr userDrawn="1"/>
                </p:nvSpPr>
                <p:spPr>
                  <a:xfrm>
                    <a:off x="8232345" y="450338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9DCE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73" name="Freeform: Shape 672">
                    <a:extLst>
                      <a:ext uri="{FF2B5EF4-FFF2-40B4-BE49-F238E27FC236}">
                        <a16:creationId xmlns:a16="http://schemas.microsoft.com/office/drawing/2014/main" id="{457BEA28-7287-A7D4-3DED-12DBD67D0B69}"/>
                      </a:ext>
                    </a:extLst>
                  </p:cNvPr>
                  <p:cNvSpPr/>
                  <p:nvPr userDrawn="1"/>
                </p:nvSpPr>
                <p:spPr>
                  <a:xfrm>
                    <a:off x="8231947" y="450359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9DCE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74" name="Freeform: Shape 673">
                    <a:extLst>
                      <a:ext uri="{FF2B5EF4-FFF2-40B4-BE49-F238E27FC236}">
                        <a16:creationId xmlns:a16="http://schemas.microsoft.com/office/drawing/2014/main" id="{27E3455F-E8A3-0E88-C6DC-FB59D6B840EE}"/>
                      </a:ext>
                    </a:extLst>
                  </p:cNvPr>
                  <p:cNvSpPr/>
                  <p:nvPr userDrawn="1"/>
                </p:nvSpPr>
                <p:spPr>
                  <a:xfrm>
                    <a:off x="8231550" y="450383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9DDE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75" name="Freeform: Shape 674">
                    <a:extLst>
                      <a:ext uri="{FF2B5EF4-FFF2-40B4-BE49-F238E27FC236}">
                        <a16:creationId xmlns:a16="http://schemas.microsoft.com/office/drawing/2014/main" id="{28BC0240-A859-9C5A-597B-0532851CFACB}"/>
                      </a:ext>
                    </a:extLst>
                  </p:cNvPr>
                  <p:cNvSpPr/>
                  <p:nvPr userDrawn="1"/>
                </p:nvSpPr>
                <p:spPr>
                  <a:xfrm>
                    <a:off x="8231152" y="450404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ADDE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76" name="Freeform: Shape 675">
                    <a:extLst>
                      <a:ext uri="{FF2B5EF4-FFF2-40B4-BE49-F238E27FC236}">
                        <a16:creationId xmlns:a16="http://schemas.microsoft.com/office/drawing/2014/main" id="{7A578C52-2D13-1CC4-3245-2C51A14876BB}"/>
                      </a:ext>
                    </a:extLst>
                  </p:cNvPr>
                  <p:cNvSpPr/>
                  <p:nvPr userDrawn="1"/>
                </p:nvSpPr>
                <p:spPr>
                  <a:xfrm>
                    <a:off x="8230731" y="450427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ADDE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77" name="Freeform: Shape 676">
                    <a:extLst>
                      <a:ext uri="{FF2B5EF4-FFF2-40B4-BE49-F238E27FC236}">
                        <a16:creationId xmlns:a16="http://schemas.microsoft.com/office/drawing/2014/main" id="{17010E2B-EECE-D08F-CB21-56D279A2C9C9}"/>
                      </a:ext>
                    </a:extLst>
                  </p:cNvPr>
                  <p:cNvSpPr/>
                  <p:nvPr userDrawn="1"/>
                </p:nvSpPr>
                <p:spPr>
                  <a:xfrm>
                    <a:off x="8230333" y="450451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ADEE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78" name="Freeform: Shape 677">
                    <a:extLst>
                      <a:ext uri="{FF2B5EF4-FFF2-40B4-BE49-F238E27FC236}">
                        <a16:creationId xmlns:a16="http://schemas.microsoft.com/office/drawing/2014/main" id="{579E52C7-9B13-6A99-9E8A-B17A792F0DE5}"/>
                      </a:ext>
                    </a:extLst>
                  </p:cNvPr>
                  <p:cNvSpPr/>
                  <p:nvPr userDrawn="1"/>
                </p:nvSpPr>
                <p:spPr>
                  <a:xfrm>
                    <a:off x="8229958" y="450474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BDEE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79" name="Freeform: Shape 678">
                    <a:extLst>
                      <a:ext uri="{FF2B5EF4-FFF2-40B4-BE49-F238E27FC236}">
                        <a16:creationId xmlns:a16="http://schemas.microsoft.com/office/drawing/2014/main" id="{E121E40F-1B26-6555-004C-7B0BFB7D015F}"/>
                      </a:ext>
                    </a:extLst>
                  </p:cNvPr>
                  <p:cNvSpPr/>
                  <p:nvPr userDrawn="1"/>
                </p:nvSpPr>
                <p:spPr>
                  <a:xfrm>
                    <a:off x="8229561" y="450495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BDEE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80" name="Freeform: Shape 679">
                    <a:extLst>
                      <a:ext uri="{FF2B5EF4-FFF2-40B4-BE49-F238E27FC236}">
                        <a16:creationId xmlns:a16="http://schemas.microsoft.com/office/drawing/2014/main" id="{D2AC5DD9-5134-E44C-90E3-B9D878C450EB}"/>
                      </a:ext>
                    </a:extLst>
                  </p:cNvPr>
                  <p:cNvSpPr/>
                  <p:nvPr userDrawn="1"/>
                </p:nvSpPr>
                <p:spPr>
                  <a:xfrm>
                    <a:off x="8229163" y="450519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BDEE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81" name="Freeform: Shape 680">
                    <a:extLst>
                      <a:ext uri="{FF2B5EF4-FFF2-40B4-BE49-F238E27FC236}">
                        <a16:creationId xmlns:a16="http://schemas.microsoft.com/office/drawing/2014/main" id="{EDEE694F-B73B-CE96-B547-F2B699D09F54}"/>
                      </a:ext>
                    </a:extLst>
                  </p:cNvPr>
                  <p:cNvSpPr/>
                  <p:nvPr userDrawn="1"/>
                </p:nvSpPr>
                <p:spPr>
                  <a:xfrm>
                    <a:off x="8228765" y="450542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CDFE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82" name="Freeform: Shape 681">
                    <a:extLst>
                      <a:ext uri="{FF2B5EF4-FFF2-40B4-BE49-F238E27FC236}">
                        <a16:creationId xmlns:a16="http://schemas.microsoft.com/office/drawing/2014/main" id="{49A79477-F2D8-3AFA-58A5-BCF03F401402}"/>
                      </a:ext>
                    </a:extLst>
                  </p:cNvPr>
                  <p:cNvSpPr/>
                  <p:nvPr userDrawn="1"/>
                </p:nvSpPr>
                <p:spPr>
                  <a:xfrm>
                    <a:off x="8228391" y="450565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CDFE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83" name="Freeform: Shape 682">
                    <a:extLst>
                      <a:ext uri="{FF2B5EF4-FFF2-40B4-BE49-F238E27FC236}">
                        <a16:creationId xmlns:a16="http://schemas.microsoft.com/office/drawing/2014/main" id="{F9BFF842-E039-34F0-2614-D189FCB821EE}"/>
                      </a:ext>
                    </a:extLst>
                  </p:cNvPr>
                  <p:cNvSpPr/>
                  <p:nvPr userDrawn="1"/>
                </p:nvSpPr>
                <p:spPr>
                  <a:xfrm>
                    <a:off x="8227993" y="450589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CDFE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84" name="Freeform: Shape 683">
                    <a:extLst>
                      <a:ext uri="{FF2B5EF4-FFF2-40B4-BE49-F238E27FC236}">
                        <a16:creationId xmlns:a16="http://schemas.microsoft.com/office/drawing/2014/main" id="{6071860C-180A-1285-1F74-FBC9CBB67447}"/>
                      </a:ext>
                    </a:extLst>
                  </p:cNvPr>
                  <p:cNvSpPr/>
                  <p:nvPr userDrawn="1"/>
                </p:nvSpPr>
                <p:spPr>
                  <a:xfrm>
                    <a:off x="8227618" y="450612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CE0E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85" name="Freeform: Shape 684">
                    <a:extLst>
                      <a:ext uri="{FF2B5EF4-FFF2-40B4-BE49-F238E27FC236}">
                        <a16:creationId xmlns:a16="http://schemas.microsoft.com/office/drawing/2014/main" id="{86D9907C-F2B0-ACC0-578C-0891DCB317E9}"/>
                      </a:ext>
                    </a:extLst>
                  </p:cNvPr>
                  <p:cNvSpPr/>
                  <p:nvPr userDrawn="1"/>
                </p:nvSpPr>
                <p:spPr>
                  <a:xfrm>
                    <a:off x="8227244" y="450636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DE0E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86" name="Freeform: Shape 685">
                    <a:extLst>
                      <a:ext uri="{FF2B5EF4-FFF2-40B4-BE49-F238E27FC236}">
                        <a16:creationId xmlns:a16="http://schemas.microsoft.com/office/drawing/2014/main" id="{0924933F-7EA3-BF80-A043-D415589B66FC}"/>
                      </a:ext>
                    </a:extLst>
                  </p:cNvPr>
                  <p:cNvSpPr/>
                  <p:nvPr userDrawn="1"/>
                </p:nvSpPr>
                <p:spPr>
                  <a:xfrm>
                    <a:off x="8226870" y="450659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DE0E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87" name="Freeform: Shape 686">
                    <a:extLst>
                      <a:ext uri="{FF2B5EF4-FFF2-40B4-BE49-F238E27FC236}">
                        <a16:creationId xmlns:a16="http://schemas.microsoft.com/office/drawing/2014/main" id="{CBCC6E50-B74A-3D9F-CCF4-579201008631}"/>
                      </a:ext>
                    </a:extLst>
                  </p:cNvPr>
                  <p:cNvSpPr/>
                  <p:nvPr userDrawn="1"/>
                </p:nvSpPr>
                <p:spPr>
                  <a:xfrm>
                    <a:off x="8226495" y="450682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DE0E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88" name="Freeform: Shape 687">
                    <a:extLst>
                      <a:ext uri="{FF2B5EF4-FFF2-40B4-BE49-F238E27FC236}">
                        <a16:creationId xmlns:a16="http://schemas.microsoft.com/office/drawing/2014/main" id="{FD8B06B4-0F85-0D60-4604-8A3AC41BE8C9}"/>
                      </a:ext>
                    </a:extLst>
                  </p:cNvPr>
                  <p:cNvSpPr/>
                  <p:nvPr userDrawn="1"/>
                </p:nvSpPr>
                <p:spPr>
                  <a:xfrm>
                    <a:off x="8226121" y="450706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EE1E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89" name="Freeform: Shape 688">
                    <a:extLst>
                      <a:ext uri="{FF2B5EF4-FFF2-40B4-BE49-F238E27FC236}">
                        <a16:creationId xmlns:a16="http://schemas.microsoft.com/office/drawing/2014/main" id="{41CAEBA4-9421-8377-BCE0-4D96F44D3A4B}"/>
                      </a:ext>
                    </a:extLst>
                  </p:cNvPr>
                  <p:cNvSpPr/>
                  <p:nvPr userDrawn="1"/>
                </p:nvSpPr>
                <p:spPr>
                  <a:xfrm>
                    <a:off x="8225746" y="450729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EE1E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90" name="Freeform: Shape 689">
                    <a:extLst>
                      <a:ext uri="{FF2B5EF4-FFF2-40B4-BE49-F238E27FC236}">
                        <a16:creationId xmlns:a16="http://schemas.microsoft.com/office/drawing/2014/main" id="{116AE617-FE88-5210-4A09-C22C4417B137}"/>
                      </a:ext>
                    </a:extLst>
                  </p:cNvPr>
                  <p:cNvSpPr/>
                  <p:nvPr userDrawn="1"/>
                </p:nvSpPr>
                <p:spPr>
                  <a:xfrm>
                    <a:off x="8225372" y="450755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EE1E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91" name="Freeform: Shape 690">
                    <a:extLst>
                      <a:ext uri="{FF2B5EF4-FFF2-40B4-BE49-F238E27FC236}">
                        <a16:creationId xmlns:a16="http://schemas.microsoft.com/office/drawing/2014/main" id="{3F202EBD-EB8E-10EF-C5EF-DCC442136CFA}"/>
                      </a:ext>
                    </a:extLst>
                  </p:cNvPr>
                  <p:cNvSpPr/>
                  <p:nvPr userDrawn="1"/>
                </p:nvSpPr>
                <p:spPr>
                  <a:xfrm>
                    <a:off x="8224998" y="450778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FE1E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92" name="Freeform: Shape 691">
                    <a:extLst>
                      <a:ext uri="{FF2B5EF4-FFF2-40B4-BE49-F238E27FC236}">
                        <a16:creationId xmlns:a16="http://schemas.microsoft.com/office/drawing/2014/main" id="{6572F741-834E-451B-6CB8-161A6FC8D0E8}"/>
                      </a:ext>
                    </a:extLst>
                  </p:cNvPr>
                  <p:cNvSpPr/>
                  <p:nvPr userDrawn="1"/>
                </p:nvSpPr>
                <p:spPr>
                  <a:xfrm>
                    <a:off x="8224647" y="450802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FE2E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93" name="Freeform: Shape 692">
                    <a:extLst>
                      <a:ext uri="{FF2B5EF4-FFF2-40B4-BE49-F238E27FC236}">
                        <a16:creationId xmlns:a16="http://schemas.microsoft.com/office/drawing/2014/main" id="{27C7F04F-3A8F-ADF6-D5E1-889FAB9D7A3D}"/>
                      </a:ext>
                    </a:extLst>
                  </p:cNvPr>
                  <p:cNvSpPr/>
                  <p:nvPr userDrawn="1"/>
                </p:nvSpPr>
                <p:spPr>
                  <a:xfrm>
                    <a:off x="8224272" y="450825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DFE2E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94" name="Freeform: Shape 693">
                    <a:extLst>
                      <a:ext uri="{FF2B5EF4-FFF2-40B4-BE49-F238E27FC236}">
                        <a16:creationId xmlns:a16="http://schemas.microsoft.com/office/drawing/2014/main" id="{B71129C5-47E8-0FBC-FC82-0E8CAD006A9D}"/>
                      </a:ext>
                    </a:extLst>
                  </p:cNvPr>
                  <p:cNvSpPr/>
                  <p:nvPr userDrawn="1"/>
                </p:nvSpPr>
                <p:spPr>
                  <a:xfrm>
                    <a:off x="8223921" y="450851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FE2E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95" name="Freeform: Shape 694">
                    <a:extLst>
                      <a:ext uri="{FF2B5EF4-FFF2-40B4-BE49-F238E27FC236}">
                        <a16:creationId xmlns:a16="http://schemas.microsoft.com/office/drawing/2014/main" id="{1DC50917-144B-0C07-43A1-006A999881AD}"/>
                      </a:ext>
                    </a:extLst>
                  </p:cNvPr>
                  <p:cNvSpPr/>
                  <p:nvPr userDrawn="1"/>
                </p:nvSpPr>
                <p:spPr>
                  <a:xfrm>
                    <a:off x="8223570" y="450874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0E3E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96" name="Freeform: Shape 695">
                    <a:extLst>
                      <a:ext uri="{FF2B5EF4-FFF2-40B4-BE49-F238E27FC236}">
                        <a16:creationId xmlns:a16="http://schemas.microsoft.com/office/drawing/2014/main" id="{B73FEF94-4ED6-3CE4-6156-9690CEAF3A9E}"/>
                      </a:ext>
                    </a:extLst>
                  </p:cNvPr>
                  <p:cNvSpPr/>
                  <p:nvPr userDrawn="1"/>
                </p:nvSpPr>
                <p:spPr>
                  <a:xfrm>
                    <a:off x="8223196" y="450898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54"/>
                          <a:pt x="42097" y="21060"/>
                        </a:cubicBezTo>
                        <a:close/>
                      </a:path>
                    </a:pathLst>
                  </a:custGeom>
                  <a:solidFill>
                    <a:srgbClr val="E0E3E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97" name="Freeform: Shape 696">
                    <a:extLst>
                      <a:ext uri="{FF2B5EF4-FFF2-40B4-BE49-F238E27FC236}">
                        <a16:creationId xmlns:a16="http://schemas.microsoft.com/office/drawing/2014/main" id="{724C5B1E-D5FD-0CED-4B92-77753B01463C}"/>
                      </a:ext>
                    </a:extLst>
                  </p:cNvPr>
                  <p:cNvSpPr/>
                  <p:nvPr userDrawn="1"/>
                </p:nvSpPr>
                <p:spPr>
                  <a:xfrm>
                    <a:off x="8222845" y="450923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0E3E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98" name="Freeform: Shape 697">
                    <a:extLst>
                      <a:ext uri="{FF2B5EF4-FFF2-40B4-BE49-F238E27FC236}">
                        <a16:creationId xmlns:a16="http://schemas.microsoft.com/office/drawing/2014/main" id="{D6685779-9E1E-4013-8EDD-671D4B1450B2}"/>
                      </a:ext>
                    </a:extLst>
                  </p:cNvPr>
                  <p:cNvSpPr/>
                  <p:nvPr userDrawn="1"/>
                </p:nvSpPr>
                <p:spPr>
                  <a:xfrm>
                    <a:off x="8222494" y="450947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1E3E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699" name="Freeform: Shape 698">
                    <a:extLst>
                      <a:ext uri="{FF2B5EF4-FFF2-40B4-BE49-F238E27FC236}">
                        <a16:creationId xmlns:a16="http://schemas.microsoft.com/office/drawing/2014/main" id="{BA0C2D05-8F1E-BFB6-1481-E55EFFE221A9}"/>
                      </a:ext>
                    </a:extLst>
                  </p:cNvPr>
                  <p:cNvSpPr/>
                  <p:nvPr userDrawn="1"/>
                </p:nvSpPr>
                <p:spPr>
                  <a:xfrm>
                    <a:off x="8222166" y="450973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1E4E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00" name="Freeform: Shape 699">
                    <a:extLst>
                      <a:ext uri="{FF2B5EF4-FFF2-40B4-BE49-F238E27FC236}">
                        <a16:creationId xmlns:a16="http://schemas.microsoft.com/office/drawing/2014/main" id="{6C93E986-EDD7-D80E-717C-FFE75461BF78}"/>
                      </a:ext>
                    </a:extLst>
                  </p:cNvPr>
                  <p:cNvSpPr/>
                  <p:nvPr userDrawn="1"/>
                </p:nvSpPr>
                <p:spPr>
                  <a:xfrm>
                    <a:off x="8221815" y="450996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E1E4E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01" name="Freeform: Shape 700">
                    <a:extLst>
                      <a:ext uri="{FF2B5EF4-FFF2-40B4-BE49-F238E27FC236}">
                        <a16:creationId xmlns:a16="http://schemas.microsoft.com/office/drawing/2014/main" id="{AC67D884-0C00-45C8-350A-9BC81D1166B0}"/>
                      </a:ext>
                    </a:extLst>
                  </p:cNvPr>
                  <p:cNvSpPr/>
                  <p:nvPr userDrawn="1"/>
                </p:nvSpPr>
                <p:spPr>
                  <a:xfrm>
                    <a:off x="8221464" y="451022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2E4E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02" name="Freeform: Shape 701">
                    <a:extLst>
                      <a:ext uri="{FF2B5EF4-FFF2-40B4-BE49-F238E27FC236}">
                        <a16:creationId xmlns:a16="http://schemas.microsoft.com/office/drawing/2014/main" id="{257F51C0-BB05-5C03-215A-65DBF1A5C9E2}"/>
                      </a:ext>
                    </a:extLst>
                  </p:cNvPr>
                  <p:cNvSpPr/>
                  <p:nvPr userDrawn="1"/>
                </p:nvSpPr>
                <p:spPr>
                  <a:xfrm>
                    <a:off x="8221113" y="451047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2E5E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03" name="Freeform: Shape 702">
                    <a:extLst>
                      <a:ext uri="{FF2B5EF4-FFF2-40B4-BE49-F238E27FC236}">
                        <a16:creationId xmlns:a16="http://schemas.microsoft.com/office/drawing/2014/main" id="{9B6805BA-DDC1-23DF-84B7-0C44E8A941BF}"/>
                      </a:ext>
                    </a:extLst>
                  </p:cNvPr>
                  <p:cNvSpPr/>
                  <p:nvPr userDrawn="1"/>
                </p:nvSpPr>
                <p:spPr>
                  <a:xfrm>
                    <a:off x="8220786" y="451071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2E5E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04" name="Freeform: Shape 703">
                    <a:extLst>
                      <a:ext uri="{FF2B5EF4-FFF2-40B4-BE49-F238E27FC236}">
                        <a16:creationId xmlns:a16="http://schemas.microsoft.com/office/drawing/2014/main" id="{09A91D92-DFAF-D550-B303-652B00A8D7C3}"/>
                      </a:ext>
                    </a:extLst>
                  </p:cNvPr>
                  <p:cNvSpPr/>
                  <p:nvPr userDrawn="1"/>
                </p:nvSpPr>
                <p:spPr>
                  <a:xfrm>
                    <a:off x="8220458" y="451097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3E5E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05" name="Freeform: Shape 704">
                    <a:extLst>
                      <a:ext uri="{FF2B5EF4-FFF2-40B4-BE49-F238E27FC236}">
                        <a16:creationId xmlns:a16="http://schemas.microsoft.com/office/drawing/2014/main" id="{42D678D0-BDB0-F2C6-0345-0E4615C1FA27}"/>
                      </a:ext>
                    </a:extLst>
                  </p:cNvPr>
                  <p:cNvSpPr/>
                  <p:nvPr userDrawn="1"/>
                </p:nvSpPr>
                <p:spPr>
                  <a:xfrm>
                    <a:off x="8220107" y="451122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3E5E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06" name="Freeform: Shape 705">
                    <a:extLst>
                      <a:ext uri="{FF2B5EF4-FFF2-40B4-BE49-F238E27FC236}">
                        <a16:creationId xmlns:a16="http://schemas.microsoft.com/office/drawing/2014/main" id="{384351D3-3FFE-7D65-ECA0-E74BA75A924C}"/>
                      </a:ext>
                    </a:extLst>
                  </p:cNvPr>
                  <p:cNvSpPr/>
                  <p:nvPr userDrawn="1"/>
                </p:nvSpPr>
                <p:spPr>
                  <a:xfrm>
                    <a:off x="8219779" y="451146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3E6E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07" name="Freeform: Shape 706">
                    <a:extLst>
                      <a:ext uri="{FF2B5EF4-FFF2-40B4-BE49-F238E27FC236}">
                        <a16:creationId xmlns:a16="http://schemas.microsoft.com/office/drawing/2014/main" id="{F81BD2D1-6965-A2D6-6BDB-9E88DA802E09}"/>
                      </a:ext>
                    </a:extLst>
                  </p:cNvPr>
                  <p:cNvSpPr/>
                  <p:nvPr userDrawn="1"/>
                </p:nvSpPr>
                <p:spPr>
                  <a:xfrm>
                    <a:off x="8219452" y="451171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3E6E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08" name="Freeform: Shape 707">
                    <a:extLst>
                      <a:ext uri="{FF2B5EF4-FFF2-40B4-BE49-F238E27FC236}">
                        <a16:creationId xmlns:a16="http://schemas.microsoft.com/office/drawing/2014/main" id="{20056DDD-6C1D-9C75-94D7-B430F8DC85F8}"/>
                      </a:ext>
                    </a:extLst>
                  </p:cNvPr>
                  <p:cNvSpPr/>
                  <p:nvPr userDrawn="1"/>
                </p:nvSpPr>
                <p:spPr>
                  <a:xfrm>
                    <a:off x="8219124" y="451197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4E6E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09" name="Freeform: Shape 708">
                    <a:extLst>
                      <a:ext uri="{FF2B5EF4-FFF2-40B4-BE49-F238E27FC236}">
                        <a16:creationId xmlns:a16="http://schemas.microsoft.com/office/drawing/2014/main" id="{BE9F9AB2-79C0-9381-5B4D-36A55CB05AB5}"/>
                      </a:ext>
                    </a:extLst>
                  </p:cNvPr>
                  <p:cNvSpPr/>
                  <p:nvPr userDrawn="1"/>
                </p:nvSpPr>
                <p:spPr>
                  <a:xfrm>
                    <a:off x="8218797" y="451223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4E6E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10" name="Freeform: Shape 709">
                    <a:extLst>
                      <a:ext uri="{FF2B5EF4-FFF2-40B4-BE49-F238E27FC236}">
                        <a16:creationId xmlns:a16="http://schemas.microsoft.com/office/drawing/2014/main" id="{9D7D7694-D1F6-4403-E681-3C20BA9CE0D4}"/>
                      </a:ext>
                    </a:extLst>
                  </p:cNvPr>
                  <p:cNvSpPr/>
                  <p:nvPr userDrawn="1"/>
                </p:nvSpPr>
                <p:spPr>
                  <a:xfrm>
                    <a:off x="8218492" y="451249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4E7E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11" name="Freeform: Shape 710">
                    <a:extLst>
                      <a:ext uri="{FF2B5EF4-FFF2-40B4-BE49-F238E27FC236}">
                        <a16:creationId xmlns:a16="http://schemas.microsoft.com/office/drawing/2014/main" id="{9B5CDE67-028B-180A-0713-8FB8841516C2}"/>
                      </a:ext>
                    </a:extLst>
                  </p:cNvPr>
                  <p:cNvSpPr/>
                  <p:nvPr userDrawn="1"/>
                </p:nvSpPr>
                <p:spPr>
                  <a:xfrm>
                    <a:off x="8218165" y="451274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5E7E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12" name="Freeform: Shape 711">
                    <a:extLst>
                      <a:ext uri="{FF2B5EF4-FFF2-40B4-BE49-F238E27FC236}">
                        <a16:creationId xmlns:a16="http://schemas.microsoft.com/office/drawing/2014/main" id="{D71D966A-88E9-8084-3FE9-BCEECA04A69C}"/>
                      </a:ext>
                    </a:extLst>
                  </p:cNvPr>
                  <p:cNvSpPr/>
                  <p:nvPr userDrawn="1"/>
                </p:nvSpPr>
                <p:spPr>
                  <a:xfrm>
                    <a:off x="8217837" y="451300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5E7E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13" name="Freeform: Shape 712">
                    <a:extLst>
                      <a:ext uri="{FF2B5EF4-FFF2-40B4-BE49-F238E27FC236}">
                        <a16:creationId xmlns:a16="http://schemas.microsoft.com/office/drawing/2014/main" id="{6B039D51-53B1-6EF9-287A-F2F0FE47F4F4}"/>
                      </a:ext>
                    </a:extLst>
                  </p:cNvPr>
                  <p:cNvSpPr/>
                  <p:nvPr userDrawn="1"/>
                </p:nvSpPr>
                <p:spPr>
                  <a:xfrm>
                    <a:off x="8217533" y="451326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5E8E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14" name="Freeform: Shape 713">
                    <a:extLst>
                      <a:ext uri="{FF2B5EF4-FFF2-40B4-BE49-F238E27FC236}">
                        <a16:creationId xmlns:a16="http://schemas.microsoft.com/office/drawing/2014/main" id="{AD3558CE-EC06-B6BB-5A0B-666C3860D4BC}"/>
                      </a:ext>
                    </a:extLst>
                  </p:cNvPr>
                  <p:cNvSpPr/>
                  <p:nvPr userDrawn="1"/>
                </p:nvSpPr>
                <p:spPr>
                  <a:xfrm>
                    <a:off x="8217112" y="451359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6E8E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15" name="Freeform: Shape 714">
                    <a:extLst>
                      <a:ext uri="{FF2B5EF4-FFF2-40B4-BE49-F238E27FC236}">
                        <a16:creationId xmlns:a16="http://schemas.microsoft.com/office/drawing/2014/main" id="{05A13242-A1B4-7FAA-3A78-C5DF470A9DB9}"/>
                      </a:ext>
                    </a:extLst>
                  </p:cNvPr>
                  <p:cNvSpPr/>
                  <p:nvPr userDrawn="1"/>
                </p:nvSpPr>
                <p:spPr>
                  <a:xfrm>
                    <a:off x="8216620" y="451401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6E8E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16" name="Freeform: Shape 715">
                    <a:extLst>
                      <a:ext uri="{FF2B5EF4-FFF2-40B4-BE49-F238E27FC236}">
                        <a16:creationId xmlns:a16="http://schemas.microsoft.com/office/drawing/2014/main" id="{B6DF12CB-A161-45E5-CC24-59BAF90E1363}"/>
                      </a:ext>
                    </a:extLst>
                  </p:cNvPr>
                  <p:cNvSpPr/>
                  <p:nvPr userDrawn="1"/>
                </p:nvSpPr>
                <p:spPr>
                  <a:xfrm>
                    <a:off x="8216152" y="451441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6E8E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17" name="Freeform: Shape 716">
                    <a:extLst>
                      <a:ext uri="{FF2B5EF4-FFF2-40B4-BE49-F238E27FC236}">
                        <a16:creationId xmlns:a16="http://schemas.microsoft.com/office/drawing/2014/main" id="{3CF734BA-B7F8-C318-1BED-CB5E42C4EFA9}"/>
                      </a:ext>
                    </a:extLst>
                  </p:cNvPr>
                  <p:cNvSpPr/>
                  <p:nvPr userDrawn="1"/>
                </p:nvSpPr>
                <p:spPr>
                  <a:xfrm>
                    <a:off x="8215684" y="451480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7E9E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18" name="Freeform: Shape 717">
                    <a:extLst>
                      <a:ext uri="{FF2B5EF4-FFF2-40B4-BE49-F238E27FC236}">
                        <a16:creationId xmlns:a16="http://schemas.microsoft.com/office/drawing/2014/main" id="{5B2500D6-6E29-D596-39B8-207ED88FD786}"/>
                      </a:ext>
                    </a:extLst>
                  </p:cNvPr>
                  <p:cNvSpPr/>
                  <p:nvPr userDrawn="1"/>
                </p:nvSpPr>
                <p:spPr>
                  <a:xfrm>
                    <a:off x="8215193" y="451522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7E9E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19" name="Freeform: Shape 718">
                    <a:extLst>
                      <a:ext uri="{FF2B5EF4-FFF2-40B4-BE49-F238E27FC236}">
                        <a16:creationId xmlns:a16="http://schemas.microsoft.com/office/drawing/2014/main" id="{2C81E99E-1A51-F229-0C45-A638E18308E4}"/>
                      </a:ext>
                    </a:extLst>
                  </p:cNvPr>
                  <p:cNvSpPr/>
                  <p:nvPr userDrawn="1"/>
                </p:nvSpPr>
                <p:spPr>
                  <a:xfrm>
                    <a:off x="8214725" y="451562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7E9E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20" name="Freeform: Shape 719">
                    <a:extLst>
                      <a:ext uri="{FF2B5EF4-FFF2-40B4-BE49-F238E27FC236}">
                        <a16:creationId xmlns:a16="http://schemas.microsoft.com/office/drawing/2014/main" id="{530440E6-BA60-13D8-753A-0961975F099F}"/>
                      </a:ext>
                    </a:extLst>
                  </p:cNvPr>
                  <p:cNvSpPr/>
                  <p:nvPr userDrawn="1"/>
                </p:nvSpPr>
                <p:spPr>
                  <a:xfrm>
                    <a:off x="8214280" y="451604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7EAF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21" name="Freeform: Shape 720">
                    <a:extLst>
                      <a:ext uri="{FF2B5EF4-FFF2-40B4-BE49-F238E27FC236}">
                        <a16:creationId xmlns:a16="http://schemas.microsoft.com/office/drawing/2014/main" id="{0123F08A-C621-3F23-46BA-C7CF6689B775}"/>
                      </a:ext>
                    </a:extLst>
                  </p:cNvPr>
                  <p:cNvSpPr/>
                  <p:nvPr userDrawn="1"/>
                </p:nvSpPr>
                <p:spPr>
                  <a:xfrm>
                    <a:off x="8213812" y="451646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8EAF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22" name="Freeform: Shape 721">
                    <a:extLst>
                      <a:ext uri="{FF2B5EF4-FFF2-40B4-BE49-F238E27FC236}">
                        <a16:creationId xmlns:a16="http://schemas.microsoft.com/office/drawing/2014/main" id="{ECE64344-7315-EF3B-D964-D5553E0C82D8}"/>
                      </a:ext>
                    </a:extLst>
                  </p:cNvPr>
                  <p:cNvSpPr/>
                  <p:nvPr userDrawn="1"/>
                </p:nvSpPr>
                <p:spPr>
                  <a:xfrm>
                    <a:off x="8213368" y="451686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8EAF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23" name="Freeform: Shape 722">
                    <a:extLst>
                      <a:ext uri="{FF2B5EF4-FFF2-40B4-BE49-F238E27FC236}">
                        <a16:creationId xmlns:a16="http://schemas.microsoft.com/office/drawing/2014/main" id="{8DD7F0DC-8E6C-F0A9-A256-AD96FE461221}"/>
                      </a:ext>
                    </a:extLst>
                  </p:cNvPr>
                  <p:cNvSpPr/>
                  <p:nvPr userDrawn="1"/>
                </p:nvSpPr>
                <p:spPr>
                  <a:xfrm>
                    <a:off x="8212923" y="451728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8EAF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24" name="Freeform: Shape 723">
                    <a:extLst>
                      <a:ext uri="{FF2B5EF4-FFF2-40B4-BE49-F238E27FC236}">
                        <a16:creationId xmlns:a16="http://schemas.microsoft.com/office/drawing/2014/main" id="{02799B33-F3B7-DB87-CD26-8F9E67AFA7B1}"/>
                      </a:ext>
                    </a:extLst>
                  </p:cNvPr>
                  <p:cNvSpPr/>
                  <p:nvPr userDrawn="1"/>
                </p:nvSpPr>
                <p:spPr>
                  <a:xfrm>
                    <a:off x="8212478" y="451768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9EBF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25" name="Freeform: Shape 724">
                    <a:extLst>
                      <a:ext uri="{FF2B5EF4-FFF2-40B4-BE49-F238E27FC236}">
                        <a16:creationId xmlns:a16="http://schemas.microsoft.com/office/drawing/2014/main" id="{AA391193-096F-D02B-BF81-A55EAEA88B73}"/>
                      </a:ext>
                    </a:extLst>
                  </p:cNvPr>
                  <p:cNvSpPr/>
                  <p:nvPr userDrawn="1"/>
                </p:nvSpPr>
                <p:spPr>
                  <a:xfrm>
                    <a:off x="8212057" y="451810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9EBF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26" name="Freeform: Shape 725">
                    <a:extLst>
                      <a:ext uri="{FF2B5EF4-FFF2-40B4-BE49-F238E27FC236}">
                        <a16:creationId xmlns:a16="http://schemas.microsoft.com/office/drawing/2014/main" id="{B4EE2041-9F77-F493-89A4-620EDEB72431}"/>
                      </a:ext>
                    </a:extLst>
                  </p:cNvPr>
                  <p:cNvSpPr/>
                  <p:nvPr userDrawn="1"/>
                </p:nvSpPr>
                <p:spPr>
                  <a:xfrm>
                    <a:off x="8211613" y="451852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9EBF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27" name="Freeform: Shape 726">
                    <a:extLst>
                      <a:ext uri="{FF2B5EF4-FFF2-40B4-BE49-F238E27FC236}">
                        <a16:creationId xmlns:a16="http://schemas.microsoft.com/office/drawing/2014/main" id="{37B18D5B-6B0A-6D3D-7DA0-D57DCAB38B12}"/>
                      </a:ext>
                    </a:extLst>
                  </p:cNvPr>
                  <p:cNvSpPr/>
                  <p:nvPr userDrawn="1"/>
                </p:nvSpPr>
                <p:spPr>
                  <a:xfrm>
                    <a:off x="8211191" y="451892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AECF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28" name="Freeform: Shape 727">
                    <a:extLst>
                      <a:ext uri="{FF2B5EF4-FFF2-40B4-BE49-F238E27FC236}">
                        <a16:creationId xmlns:a16="http://schemas.microsoft.com/office/drawing/2014/main" id="{87D64452-E02A-9E79-7FFA-C86CFA9444DB}"/>
                      </a:ext>
                    </a:extLst>
                  </p:cNvPr>
                  <p:cNvSpPr/>
                  <p:nvPr userDrawn="1"/>
                </p:nvSpPr>
                <p:spPr>
                  <a:xfrm>
                    <a:off x="8210770" y="451934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AECF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29" name="Freeform: Shape 728">
                    <a:extLst>
                      <a:ext uri="{FF2B5EF4-FFF2-40B4-BE49-F238E27FC236}">
                        <a16:creationId xmlns:a16="http://schemas.microsoft.com/office/drawing/2014/main" id="{E145CCFF-900A-6B2A-A199-FB3F2E61251D}"/>
                      </a:ext>
                    </a:extLst>
                  </p:cNvPr>
                  <p:cNvSpPr/>
                  <p:nvPr userDrawn="1"/>
                </p:nvSpPr>
                <p:spPr>
                  <a:xfrm>
                    <a:off x="8210372" y="451976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AECF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30" name="Freeform: Shape 729">
                    <a:extLst>
                      <a:ext uri="{FF2B5EF4-FFF2-40B4-BE49-F238E27FC236}">
                        <a16:creationId xmlns:a16="http://schemas.microsoft.com/office/drawing/2014/main" id="{62BD698B-E009-1594-DD53-E8341C50B74A}"/>
                      </a:ext>
                    </a:extLst>
                  </p:cNvPr>
                  <p:cNvSpPr/>
                  <p:nvPr userDrawn="1"/>
                </p:nvSpPr>
                <p:spPr>
                  <a:xfrm>
                    <a:off x="8209951" y="452016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54"/>
                          <a:pt x="42097" y="21060"/>
                        </a:cubicBezTo>
                        <a:close/>
                      </a:path>
                    </a:pathLst>
                  </a:custGeom>
                  <a:solidFill>
                    <a:srgbClr val="EBECF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31" name="Freeform: Shape 730">
                    <a:extLst>
                      <a:ext uri="{FF2B5EF4-FFF2-40B4-BE49-F238E27FC236}">
                        <a16:creationId xmlns:a16="http://schemas.microsoft.com/office/drawing/2014/main" id="{1E06039E-A563-065F-A90F-DE323F97AB68}"/>
                      </a:ext>
                    </a:extLst>
                  </p:cNvPr>
                  <p:cNvSpPr/>
                  <p:nvPr userDrawn="1"/>
                </p:nvSpPr>
                <p:spPr>
                  <a:xfrm>
                    <a:off x="8209553" y="452058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BEDF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32" name="Freeform: Shape 731">
                    <a:extLst>
                      <a:ext uri="{FF2B5EF4-FFF2-40B4-BE49-F238E27FC236}">
                        <a16:creationId xmlns:a16="http://schemas.microsoft.com/office/drawing/2014/main" id="{ADD63904-A1C1-C692-D58C-C18B504DE8C8}"/>
                      </a:ext>
                    </a:extLst>
                  </p:cNvPr>
                  <p:cNvSpPr/>
                  <p:nvPr userDrawn="1"/>
                </p:nvSpPr>
                <p:spPr>
                  <a:xfrm>
                    <a:off x="8209156" y="452100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BEDF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33" name="Freeform: Shape 732">
                    <a:extLst>
                      <a:ext uri="{FF2B5EF4-FFF2-40B4-BE49-F238E27FC236}">
                        <a16:creationId xmlns:a16="http://schemas.microsoft.com/office/drawing/2014/main" id="{7902C7FE-9241-C5B2-6307-4F792DB625FF}"/>
                      </a:ext>
                    </a:extLst>
                  </p:cNvPr>
                  <p:cNvSpPr/>
                  <p:nvPr userDrawn="1"/>
                </p:nvSpPr>
                <p:spPr>
                  <a:xfrm>
                    <a:off x="8208758" y="452143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BEDF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34" name="Freeform: Shape 733">
                    <a:extLst>
                      <a:ext uri="{FF2B5EF4-FFF2-40B4-BE49-F238E27FC236}">
                        <a16:creationId xmlns:a16="http://schemas.microsoft.com/office/drawing/2014/main" id="{E9B67C76-8BCA-29C0-7260-DB52318BCA00}"/>
                      </a:ext>
                    </a:extLst>
                  </p:cNvPr>
                  <p:cNvSpPr/>
                  <p:nvPr userDrawn="1"/>
                </p:nvSpPr>
                <p:spPr>
                  <a:xfrm>
                    <a:off x="8208383" y="452185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CEDF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35" name="Freeform: Shape 734">
                    <a:extLst>
                      <a:ext uri="{FF2B5EF4-FFF2-40B4-BE49-F238E27FC236}">
                        <a16:creationId xmlns:a16="http://schemas.microsoft.com/office/drawing/2014/main" id="{B4E29558-4157-0CAB-6BDC-5D74960F2450}"/>
                      </a:ext>
                    </a:extLst>
                  </p:cNvPr>
                  <p:cNvSpPr/>
                  <p:nvPr userDrawn="1"/>
                </p:nvSpPr>
                <p:spPr>
                  <a:xfrm>
                    <a:off x="8207986" y="452224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CEEF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36" name="Freeform: Shape 735">
                    <a:extLst>
                      <a:ext uri="{FF2B5EF4-FFF2-40B4-BE49-F238E27FC236}">
                        <a16:creationId xmlns:a16="http://schemas.microsoft.com/office/drawing/2014/main" id="{78F014BB-FB9B-1B27-CA88-87B56740613E}"/>
                      </a:ext>
                    </a:extLst>
                  </p:cNvPr>
                  <p:cNvSpPr/>
                  <p:nvPr userDrawn="1"/>
                </p:nvSpPr>
                <p:spPr>
                  <a:xfrm>
                    <a:off x="8207611" y="452267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CEEF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37" name="Freeform: Shape 736">
                    <a:extLst>
                      <a:ext uri="{FF2B5EF4-FFF2-40B4-BE49-F238E27FC236}">
                        <a16:creationId xmlns:a16="http://schemas.microsoft.com/office/drawing/2014/main" id="{07B646DA-86F7-1C53-A4AC-33A48F96AD4C}"/>
                      </a:ext>
                    </a:extLst>
                  </p:cNvPr>
                  <p:cNvSpPr/>
                  <p:nvPr userDrawn="1"/>
                </p:nvSpPr>
                <p:spPr>
                  <a:xfrm>
                    <a:off x="8207237" y="452309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DEEF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38" name="Freeform: Shape 737">
                    <a:extLst>
                      <a:ext uri="{FF2B5EF4-FFF2-40B4-BE49-F238E27FC236}">
                        <a16:creationId xmlns:a16="http://schemas.microsoft.com/office/drawing/2014/main" id="{105E8AFB-2F94-64D9-2972-A5E9EF14EC54}"/>
                      </a:ext>
                    </a:extLst>
                  </p:cNvPr>
                  <p:cNvSpPr/>
                  <p:nvPr userDrawn="1"/>
                </p:nvSpPr>
                <p:spPr>
                  <a:xfrm>
                    <a:off x="8206886" y="452351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DEFF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39" name="Freeform: Shape 738">
                    <a:extLst>
                      <a:ext uri="{FF2B5EF4-FFF2-40B4-BE49-F238E27FC236}">
                        <a16:creationId xmlns:a16="http://schemas.microsoft.com/office/drawing/2014/main" id="{6430BE3E-6714-854C-CF7D-196AEBB95E74}"/>
                      </a:ext>
                    </a:extLst>
                  </p:cNvPr>
                  <p:cNvSpPr/>
                  <p:nvPr userDrawn="1"/>
                </p:nvSpPr>
                <p:spPr>
                  <a:xfrm>
                    <a:off x="8206511" y="452393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DEFF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40" name="Freeform: Shape 739">
                    <a:extLst>
                      <a:ext uri="{FF2B5EF4-FFF2-40B4-BE49-F238E27FC236}">
                        <a16:creationId xmlns:a16="http://schemas.microsoft.com/office/drawing/2014/main" id="{BABEE50B-0E2F-1F6A-2B70-A07757019066}"/>
                      </a:ext>
                    </a:extLst>
                  </p:cNvPr>
                  <p:cNvSpPr/>
                  <p:nvPr userDrawn="1"/>
                </p:nvSpPr>
                <p:spPr>
                  <a:xfrm>
                    <a:off x="8206160" y="452435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EEFF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41" name="Freeform: Shape 740">
                    <a:extLst>
                      <a:ext uri="{FF2B5EF4-FFF2-40B4-BE49-F238E27FC236}">
                        <a16:creationId xmlns:a16="http://schemas.microsoft.com/office/drawing/2014/main" id="{4E89E0F4-30B0-F826-48A0-DA5C0431CD73}"/>
                      </a:ext>
                    </a:extLst>
                  </p:cNvPr>
                  <p:cNvSpPr/>
                  <p:nvPr userDrawn="1"/>
                </p:nvSpPr>
                <p:spPr>
                  <a:xfrm>
                    <a:off x="8205809" y="452477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EEFF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42" name="Freeform: Shape 741">
                    <a:extLst>
                      <a:ext uri="{FF2B5EF4-FFF2-40B4-BE49-F238E27FC236}">
                        <a16:creationId xmlns:a16="http://schemas.microsoft.com/office/drawing/2014/main" id="{DF335933-9DEB-525A-1F19-6B76D501B1AD}"/>
                      </a:ext>
                    </a:extLst>
                  </p:cNvPr>
                  <p:cNvSpPr/>
                  <p:nvPr userDrawn="1"/>
                </p:nvSpPr>
                <p:spPr>
                  <a:xfrm>
                    <a:off x="8205458" y="452519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EF0F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43" name="Freeform: Shape 742">
                    <a:extLst>
                      <a:ext uri="{FF2B5EF4-FFF2-40B4-BE49-F238E27FC236}">
                        <a16:creationId xmlns:a16="http://schemas.microsoft.com/office/drawing/2014/main" id="{AFFBEF0F-0583-396A-F5A5-9E884E366A5D}"/>
                      </a:ext>
                    </a:extLst>
                  </p:cNvPr>
                  <p:cNvSpPr/>
                  <p:nvPr userDrawn="1"/>
                </p:nvSpPr>
                <p:spPr>
                  <a:xfrm>
                    <a:off x="8205131" y="452559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EF0F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44" name="Freeform: Shape 743">
                    <a:extLst>
                      <a:ext uri="{FF2B5EF4-FFF2-40B4-BE49-F238E27FC236}">
                        <a16:creationId xmlns:a16="http://schemas.microsoft.com/office/drawing/2014/main" id="{964FF648-190F-E01F-80A9-49F560F99386}"/>
                      </a:ext>
                    </a:extLst>
                  </p:cNvPr>
                  <p:cNvSpPr/>
                  <p:nvPr userDrawn="1"/>
                </p:nvSpPr>
                <p:spPr>
                  <a:xfrm>
                    <a:off x="8204803" y="452601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FF0F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45" name="Freeform: Shape 744">
                    <a:extLst>
                      <a:ext uri="{FF2B5EF4-FFF2-40B4-BE49-F238E27FC236}">
                        <a16:creationId xmlns:a16="http://schemas.microsoft.com/office/drawing/2014/main" id="{00B4C766-B083-5485-56A9-0BDB227B0FF0}"/>
                      </a:ext>
                    </a:extLst>
                  </p:cNvPr>
                  <p:cNvSpPr/>
                  <p:nvPr userDrawn="1"/>
                </p:nvSpPr>
                <p:spPr>
                  <a:xfrm>
                    <a:off x="8204476" y="452643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FF1F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46" name="Freeform: Shape 745">
                    <a:extLst>
                      <a:ext uri="{FF2B5EF4-FFF2-40B4-BE49-F238E27FC236}">
                        <a16:creationId xmlns:a16="http://schemas.microsoft.com/office/drawing/2014/main" id="{73CB966D-B422-3E72-85DE-30C373313CCE}"/>
                      </a:ext>
                    </a:extLst>
                  </p:cNvPr>
                  <p:cNvSpPr/>
                  <p:nvPr userDrawn="1"/>
                </p:nvSpPr>
                <p:spPr>
                  <a:xfrm>
                    <a:off x="8204148" y="452685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FF1F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47" name="Freeform: Shape 746">
                    <a:extLst>
                      <a:ext uri="{FF2B5EF4-FFF2-40B4-BE49-F238E27FC236}">
                        <a16:creationId xmlns:a16="http://schemas.microsoft.com/office/drawing/2014/main" id="{567C6D6A-97DD-6430-DD81-3BAF22295BF5}"/>
                      </a:ext>
                    </a:extLst>
                  </p:cNvPr>
                  <p:cNvSpPr/>
                  <p:nvPr userDrawn="1"/>
                </p:nvSpPr>
                <p:spPr>
                  <a:xfrm>
                    <a:off x="8203820" y="452728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F0F1F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48" name="Freeform: Shape 747">
                    <a:extLst>
                      <a:ext uri="{FF2B5EF4-FFF2-40B4-BE49-F238E27FC236}">
                        <a16:creationId xmlns:a16="http://schemas.microsoft.com/office/drawing/2014/main" id="{1DE7A111-336B-7EE2-0719-7091F0278DAB}"/>
                      </a:ext>
                    </a:extLst>
                  </p:cNvPr>
                  <p:cNvSpPr/>
                  <p:nvPr userDrawn="1"/>
                </p:nvSpPr>
                <p:spPr>
                  <a:xfrm>
                    <a:off x="8203516" y="452770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F0F1F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49" name="Freeform: Shape 748">
                    <a:extLst>
                      <a:ext uri="{FF2B5EF4-FFF2-40B4-BE49-F238E27FC236}">
                        <a16:creationId xmlns:a16="http://schemas.microsoft.com/office/drawing/2014/main" id="{177EAFD7-77BE-7E3E-6516-D51F3139428F}"/>
                      </a:ext>
                    </a:extLst>
                  </p:cNvPr>
                  <p:cNvSpPr/>
                  <p:nvPr userDrawn="1"/>
                </p:nvSpPr>
                <p:spPr>
                  <a:xfrm>
                    <a:off x="8203212" y="452812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F0F2F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50" name="Freeform: Shape 749">
                    <a:extLst>
                      <a:ext uri="{FF2B5EF4-FFF2-40B4-BE49-F238E27FC236}">
                        <a16:creationId xmlns:a16="http://schemas.microsoft.com/office/drawing/2014/main" id="{B99D53CD-7F38-929D-CB4E-F0B6AD369E28}"/>
                      </a:ext>
                    </a:extLst>
                  </p:cNvPr>
                  <p:cNvSpPr/>
                  <p:nvPr userDrawn="1"/>
                </p:nvSpPr>
                <p:spPr>
                  <a:xfrm>
                    <a:off x="8202908" y="452854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F1F2F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51" name="Freeform: Shape 750">
                    <a:extLst>
                      <a:ext uri="{FF2B5EF4-FFF2-40B4-BE49-F238E27FC236}">
                        <a16:creationId xmlns:a16="http://schemas.microsoft.com/office/drawing/2014/main" id="{164A020F-3DE2-B857-B3A4-A291E1DDF3ED}"/>
                      </a:ext>
                    </a:extLst>
                  </p:cNvPr>
                  <p:cNvSpPr/>
                  <p:nvPr userDrawn="1"/>
                </p:nvSpPr>
                <p:spPr>
                  <a:xfrm>
                    <a:off x="8202604" y="452896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F1F2F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52" name="Freeform: Shape 751">
                    <a:extLst>
                      <a:ext uri="{FF2B5EF4-FFF2-40B4-BE49-F238E27FC236}">
                        <a16:creationId xmlns:a16="http://schemas.microsoft.com/office/drawing/2014/main" id="{719FCA96-471F-E4A8-9082-3ACC5C0A9243}"/>
                      </a:ext>
                    </a:extLst>
                  </p:cNvPr>
                  <p:cNvSpPr/>
                  <p:nvPr userDrawn="1"/>
                </p:nvSpPr>
                <p:spPr>
                  <a:xfrm>
                    <a:off x="8202323" y="452938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F1F2F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53" name="Freeform: Shape 752">
                    <a:extLst>
                      <a:ext uri="{FF2B5EF4-FFF2-40B4-BE49-F238E27FC236}">
                        <a16:creationId xmlns:a16="http://schemas.microsoft.com/office/drawing/2014/main" id="{ABBA4913-6AA9-EDD6-1E34-4E9A04E38133}"/>
                      </a:ext>
                    </a:extLst>
                  </p:cNvPr>
                  <p:cNvSpPr/>
                  <p:nvPr userDrawn="1"/>
                </p:nvSpPr>
                <p:spPr>
                  <a:xfrm>
                    <a:off x="8202042" y="452980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F2F3F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54" name="Freeform: Shape 753">
                    <a:extLst>
                      <a:ext uri="{FF2B5EF4-FFF2-40B4-BE49-F238E27FC236}">
                        <a16:creationId xmlns:a16="http://schemas.microsoft.com/office/drawing/2014/main" id="{171A6663-CFC7-280B-91DB-87EDC478A75A}"/>
                      </a:ext>
                    </a:extLst>
                  </p:cNvPr>
                  <p:cNvSpPr/>
                  <p:nvPr userDrawn="1"/>
                </p:nvSpPr>
                <p:spPr>
                  <a:xfrm>
                    <a:off x="8201761" y="453022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F2F3F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55" name="Freeform: Shape 754">
                    <a:extLst>
                      <a:ext uri="{FF2B5EF4-FFF2-40B4-BE49-F238E27FC236}">
                        <a16:creationId xmlns:a16="http://schemas.microsoft.com/office/drawing/2014/main" id="{00103581-97B6-5C11-7ABA-274DF3305F53}"/>
                      </a:ext>
                    </a:extLst>
                  </p:cNvPr>
                  <p:cNvSpPr/>
                  <p:nvPr userDrawn="1"/>
                </p:nvSpPr>
                <p:spPr>
                  <a:xfrm>
                    <a:off x="8201480" y="453065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F2F3F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56" name="Freeform: Shape 755">
                    <a:extLst>
                      <a:ext uri="{FF2B5EF4-FFF2-40B4-BE49-F238E27FC236}">
                        <a16:creationId xmlns:a16="http://schemas.microsoft.com/office/drawing/2014/main" id="{148C5644-7908-1428-396B-FE9816FBADF7}"/>
                      </a:ext>
                    </a:extLst>
                  </p:cNvPr>
                  <p:cNvSpPr/>
                  <p:nvPr userDrawn="1"/>
                </p:nvSpPr>
                <p:spPr>
                  <a:xfrm>
                    <a:off x="8201223" y="453107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F2F4F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57" name="Freeform: Shape 756">
                    <a:extLst>
                      <a:ext uri="{FF2B5EF4-FFF2-40B4-BE49-F238E27FC236}">
                        <a16:creationId xmlns:a16="http://schemas.microsoft.com/office/drawing/2014/main" id="{81A2FE6D-AA64-4D92-DF30-492D85ED508C}"/>
                      </a:ext>
                    </a:extLst>
                  </p:cNvPr>
                  <p:cNvSpPr/>
                  <p:nvPr userDrawn="1"/>
                </p:nvSpPr>
                <p:spPr>
                  <a:xfrm>
                    <a:off x="8200966" y="4531492"/>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3F4F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58" name="Freeform: Shape 757">
                    <a:extLst>
                      <a:ext uri="{FF2B5EF4-FFF2-40B4-BE49-F238E27FC236}">
                        <a16:creationId xmlns:a16="http://schemas.microsoft.com/office/drawing/2014/main" id="{5040D10C-3134-A1F8-D47A-3275858AE233}"/>
                      </a:ext>
                    </a:extLst>
                  </p:cNvPr>
                  <p:cNvSpPr/>
                  <p:nvPr userDrawn="1"/>
                </p:nvSpPr>
                <p:spPr>
                  <a:xfrm>
                    <a:off x="8200708" y="4531913"/>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3F4F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59" name="Freeform: Shape 758">
                    <a:extLst>
                      <a:ext uri="{FF2B5EF4-FFF2-40B4-BE49-F238E27FC236}">
                        <a16:creationId xmlns:a16="http://schemas.microsoft.com/office/drawing/2014/main" id="{C4D8C040-48AF-90FB-C35E-524E6A068D2F}"/>
                      </a:ext>
                    </a:extLst>
                  </p:cNvPr>
                  <p:cNvSpPr/>
                  <p:nvPr userDrawn="1"/>
                </p:nvSpPr>
                <p:spPr>
                  <a:xfrm>
                    <a:off x="8200474" y="4532335"/>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3F4F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60" name="Freeform: Shape 759">
                    <a:extLst>
                      <a:ext uri="{FF2B5EF4-FFF2-40B4-BE49-F238E27FC236}">
                        <a16:creationId xmlns:a16="http://schemas.microsoft.com/office/drawing/2014/main" id="{241F8E9C-9B9B-6C9E-55B1-74F00F0D1FD0}"/>
                      </a:ext>
                    </a:extLst>
                  </p:cNvPr>
                  <p:cNvSpPr/>
                  <p:nvPr userDrawn="1"/>
                </p:nvSpPr>
                <p:spPr>
                  <a:xfrm>
                    <a:off x="8200217" y="4532756"/>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4F5F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61" name="Freeform: Shape 760">
                    <a:extLst>
                      <a:ext uri="{FF2B5EF4-FFF2-40B4-BE49-F238E27FC236}">
                        <a16:creationId xmlns:a16="http://schemas.microsoft.com/office/drawing/2014/main" id="{3600960D-55DD-D942-EDD4-C5ED50231E97}"/>
                      </a:ext>
                    </a:extLst>
                  </p:cNvPr>
                  <p:cNvSpPr/>
                  <p:nvPr userDrawn="1"/>
                </p:nvSpPr>
                <p:spPr>
                  <a:xfrm>
                    <a:off x="8199983" y="4533177"/>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4F5F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62" name="Freeform: Shape 761">
                    <a:extLst>
                      <a:ext uri="{FF2B5EF4-FFF2-40B4-BE49-F238E27FC236}">
                        <a16:creationId xmlns:a16="http://schemas.microsoft.com/office/drawing/2014/main" id="{FEADE57B-965E-7D4D-A799-1D12DA348D1F}"/>
                      </a:ext>
                    </a:extLst>
                  </p:cNvPr>
                  <p:cNvSpPr/>
                  <p:nvPr userDrawn="1"/>
                </p:nvSpPr>
                <p:spPr>
                  <a:xfrm>
                    <a:off x="8199749" y="4533598"/>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4F5F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63" name="Freeform: Shape 762">
                    <a:extLst>
                      <a:ext uri="{FF2B5EF4-FFF2-40B4-BE49-F238E27FC236}">
                        <a16:creationId xmlns:a16="http://schemas.microsoft.com/office/drawing/2014/main" id="{9B9E1BC2-3F88-DD81-63C5-77EB25F71D29}"/>
                      </a:ext>
                    </a:extLst>
                  </p:cNvPr>
                  <p:cNvSpPr/>
                  <p:nvPr userDrawn="1"/>
                </p:nvSpPr>
                <p:spPr>
                  <a:xfrm>
                    <a:off x="8199515" y="4534019"/>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5F6F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64" name="Freeform: Shape 763">
                    <a:extLst>
                      <a:ext uri="{FF2B5EF4-FFF2-40B4-BE49-F238E27FC236}">
                        <a16:creationId xmlns:a16="http://schemas.microsoft.com/office/drawing/2014/main" id="{4A353150-94AF-561D-8678-2A150291810D}"/>
                      </a:ext>
                    </a:extLst>
                  </p:cNvPr>
                  <p:cNvSpPr/>
                  <p:nvPr userDrawn="1"/>
                </p:nvSpPr>
                <p:spPr>
                  <a:xfrm>
                    <a:off x="8199281" y="4534441"/>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5F6F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65" name="Freeform: Shape 764">
                    <a:extLst>
                      <a:ext uri="{FF2B5EF4-FFF2-40B4-BE49-F238E27FC236}">
                        <a16:creationId xmlns:a16="http://schemas.microsoft.com/office/drawing/2014/main" id="{520D25E5-65AF-1E79-90AF-E21114B4F380}"/>
                      </a:ext>
                    </a:extLst>
                  </p:cNvPr>
                  <p:cNvSpPr/>
                  <p:nvPr userDrawn="1"/>
                </p:nvSpPr>
                <p:spPr>
                  <a:xfrm>
                    <a:off x="8199070" y="4534838"/>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23"/>
                          <a:pt x="42074" y="9430"/>
                          <a:pt x="42074" y="21060"/>
                        </a:cubicBezTo>
                        <a:close/>
                      </a:path>
                    </a:pathLst>
                  </a:custGeom>
                  <a:solidFill>
                    <a:srgbClr val="F5F6F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66" name="Freeform: Shape 765">
                    <a:extLst>
                      <a:ext uri="{FF2B5EF4-FFF2-40B4-BE49-F238E27FC236}">
                        <a16:creationId xmlns:a16="http://schemas.microsoft.com/office/drawing/2014/main" id="{F7EAC157-9DF1-B8DC-025E-51C0F889DE75}"/>
                      </a:ext>
                    </a:extLst>
                  </p:cNvPr>
                  <p:cNvSpPr/>
                  <p:nvPr userDrawn="1"/>
                </p:nvSpPr>
                <p:spPr>
                  <a:xfrm>
                    <a:off x="8198860" y="4535260"/>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23"/>
                          <a:pt x="42074" y="9430"/>
                          <a:pt x="42074" y="21060"/>
                        </a:cubicBezTo>
                        <a:close/>
                      </a:path>
                    </a:pathLst>
                  </a:custGeom>
                  <a:solidFill>
                    <a:srgbClr val="F6F6F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67" name="Freeform: Shape 766">
                    <a:extLst>
                      <a:ext uri="{FF2B5EF4-FFF2-40B4-BE49-F238E27FC236}">
                        <a16:creationId xmlns:a16="http://schemas.microsoft.com/office/drawing/2014/main" id="{E2593326-1E22-87FC-F40C-1AA7E74DD935}"/>
                      </a:ext>
                    </a:extLst>
                  </p:cNvPr>
                  <p:cNvSpPr/>
                  <p:nvPr userDrawn="1"/>
                </p:nvSpPr>
                <p:spPr>
                  <a:xfrm>
                    <a:off x="8198649" y="4535681"/>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23"/>
                          <a:pt x="42074" y="9430"/>
                          <a:pt x="42074" y="21060"/>
                        </a:cubicBezTo>
                        <a:close/>
                      </a:path>
                    </a:pathLst>
                  </a:custGeom>
                  <a:solidFill>
                    <a:srgbClr val="F6F7F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68" name="Freeform: Shape 767">
                    <a:extLst>
                      <a:ext uri="{FF2B5EF4-FFF2-40B4-BE49-F238E27FC236}">
                        <a16:creationId xmlns:a16="http://schemas.microsoft.com/office/drawing/2014/main" id="{C3AE38FA-48FD-CD52-A78C-9745E303DB4A}"/>
                      </a:ext>
                    </a:extLst>
                  </p:cNvPr>
                  <p:cNvSpPr/>
                  <p:nvPr userDrawn="1"/>
                </p:nvSpPr>
                <p:spPr>
                  <a:xfrm>
                    <a:off x="8198438" y="4536102"/>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23"/>
                          <a:pt x="42074" y="9430"/>
                          <a:pt x="42074" y="21060"/>
                        </a:cubicBezTo>
                        <a:close/>
                      </a:path>
                    </a:pathLst>
                  </a:custGeom>
                  <a:solidFill>
                    <a:srgbClr val="F6F7F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69" name="Freeform: Shape 768">
                    <a:extLst>
                      <a:ext uri="{FF2B5EF4-FFF2-40B4-BE49-F238E27FC236}">
                        <a16:creationId xmlns:a16="http://schemas.microsoft.com/office/drawing/2014/main" id="{9C1F9F00-85F9-B821-FD3F-C7C4DB53B9A4}"/>
                      </a:ext>
                    </a:extLst>
                  </p:cNvPr>
                  <p:cNvSpPr/>
                  <p:nvPr userDrawn="1"/>
                </p:nvSpPr>
                <p:spPr>
                  <a:xfrm>
                    <a:off x="8198251" y="4536523"/>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6F7F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70" name="Freeform: Shape 769">
                    <a:extLst>
                      <a:ext uri="{FF2B5EF4-FFF2-40B4-BE49-F238E27FC236}">
                        <a16:creationId xmlns:a16="http://schemas.microsoft.com/office/drawing/2014/main" id="{4E09F77E-A3A3-E178-4A4C-52A3FD8926D4}"/>
                      </a:ext>
                    </a:extLst>
                  </p:cNvPr>
                  <p:cNvSpPr/>
                  <p:nvPr userDrawn="1"/>
                </p:nvSpPr>
                <p:spPr>
                  <a:xfrm>
                    <a:off x="8198064" y="4536945"/>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7F7F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71" name="Freeform: Shape 770">
                    <a:extLst>
                      <a:ext uri="{FF2B5EF4-FFF2-40B4-BE49-F238E27FC236}">
                        <a16:creationId xmlns:a16="http://schemas.microsoft.com/office/drawing/2014/main" id="{F85CEDBB-C700-2911-1079-1761FD6A52AB}"/>
                      </a:ext>
                    </a:extLst>
                  </p:cNvPr>
                  <p:cNvSpPr/>
                  <p:nvPr userDrawn="1"/>
                </p:nvSpPr>
                <p:spPr>
                  <a:xfrm>
                    <a:off x="8197877" y="4537366"/>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7F8F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72" name="Freeform: Shape 771">
                    <a:extLst>
                      <a:ext uri="{FF2B5EF4-FFF2-40B4-BE49-F238E27FC236}">
                        <a16:creationId xmlns:a16="http://schemas.microsoft.com/office/drawing/2014/main" id="{260329DF-77F3-316E-A46D-7AAFF787BFB7}"/>
                      </a:ext>
                    </a:extLst>
                  </p:cNvPr>
                  <p:cNvSpPr/>
                  <p:nvPr userDrawn="1"/>
                </p:nvSpPr>
                <p:spPr>
                  <a:xfrm>
                    <a:off x="8197690" y="4537787"/>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7F8F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73" name="Freeform: Shape 772">
                    <a:extLst>
                      <a:ext uri="{FF2B5EF4-FFF2-40B4-BE49-F238E27FC236}">
                        <a16:creationId xmlns:a16="http://schemas.microsoft.com/office/drawing/2014/main" id="{9DDAEABC-58DA-852B-1259-FA359C1F02AD}"/>
                      </a:ext>
                    </a:extLst>
                  </p:cNvPr>
                  <p:cNvSpPr/>
                  <p:nvPr userDrawn="1"/>
                </p:nvSpPr>
                <p:spPr>
                  <a:xfrm>
                    <a:off x="8197526" y="4538208"/>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8F8F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74" name="Freeform: Shape 773">
                    <a:extLst>
                      <a:ext uri="{FF2B5EF4-FFF2-40B4-BE49-F238E27FC236}">
                        <a16:creationId xmlns:a16="http://schemas.microsoft.com/office/drawing/2014/main" id="{E64DCFFD-6783-FC7F-FD2C-996B9A320A4A}"/>
                      </a:ext>
                    </a:extLst>
                  </p:cNvPr>
                  <p:cNvSpPr/>
                  <p:nvPr userDrawn="1"/>
                </p:nvSpPr>
                <p:spPr>
                  <a:xfrm>
                    <a:off x="8197362" y="4538629"/>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8F9F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75" name="Freeform: Shape 774">
                    <a:extLst>
                      <a:ext uri="{FF2B5EF4-FFF2-40B4-BE49-F238E27FC236}">
                        <a16:creationId xmlns:a16="http://schemas.microsoft.com/office/drawing/2014/main" id="{B273A2CB-1471-1D08-CF6F-F5430B62F764}"/>
                      </a:ext>
                    </a:extLst>
                  </p:cNvPr>
                  <p:cNvSpPr/>
                  <p:nvPr userDrawn="1"/>
                </p:nvSpPr>
                <p:spPr>
                  <a:xfrm>
                    <a:off x="8197198" y="4539027"/>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23"/>
                          <a:pt x="42074" y="9430"/>
                          <a:pt x="42074" y="21060"/>
                        </a:cubicBezTo>
                        <a:close/>
                      </a:path>
                    </a:pathLst>
                  </a:custGeom>
                  <a:solidFill>
                    <a:srgbClr val="F8F9F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76" name="Freeform: Shape 775">
                    <a:extLst>
                      <a:ext uri="{FF2B5EF4-FFF2-40B4-BE49-F238E27FC236}">
                        <a16:creationId xmlns:a16="http://schemas.microsoft.com/office/drawing/2014/main" id="{61EA3DAF-DE29-14B9-8C85-AF439357F687}"/>
                      </a:ext>
                    </a:extLst>
                  </p:cNvPr>
                  <p:cNvSpPr/>
                  <p:nvPr userDrawn="1"/>
                </p:nvSpPr>
                <p:spPr>
                  <a:xfrm>
                    <a:off x="8197034" y="4539448"/>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23"/>
                          <a:pt x="42074" y="9430"/>
                          <a:pt x="42074" y="21060"/>
                        </a:cubicBezTo>
                        <a:close/>
                      </a:path>
                    </a:pathLst>
                  </a:custGeom>
                  <a:solidFill>
                    <a:srgbClr val="F9F9F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77" name="Freeform: Shape 776">
                    <a:extLst>
                      <a:ext uri="{FF2B5EF4-FFF2-40B4-BE49-F238E27FC236}">
                        <a16:creationId xmlns:a16="http://schemas.microsoft.com/office/drawing/2014/main" id="{AC1C32A9-30AE-D1BC-B27E-7A5CD65E9B32}"/>
                      </a:ext>
                    </a:extLst>
                  </p:cNvPr>
                  <p:cNvSpPr/>
                  <p:nvPr userDrawn="1"/>
                </p:nvSpPr>
                <p:spPr>
                  <a:xfrm>
                    <a:off x="8196871" y="4539870"/>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9F9F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78" name="Freeform: Shape 777">
                    <a:extLst>
                      <a:ext uri="{FF2B5EF4-FFF2-40B4-BE49-F238E27FC236}">
                        <a16:creationId xmlns:a16="http://schemas.microsoft.com/office/drawing/2014/main" id="{5DBC0E52-C0E4-5EB8-A59D-2456F8712018}"/>
                      </a:ext>
                    </a:extLst>
                  </p:cNvPr>
                  <p:cNvSpPr/>
                  <p:nvPr userDrawn="1"/>
                </p:nvSpPr>
                <p:spPr>
                  <a:xfrm>
                    <a:off x="8196730" y="4540291"/>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9FAF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79" name="Freeform: Shape 778">
                    <a:extLst>
                      <a:ext uri="{FF2B5EF4-FFF2-40B4-BE49-F238E27FC236}">
                        <a16:creationId xmlns:a16="http://schemas.microsoft.com/office/drawing/2014/main" id="{895483E8-FCEB-2C4C-D9FC-CFA72085F206}"/>
                      </a:ext>
                    </a:extLst>
                  </p:cNvPr>
                  <p:cNvSpPr/>
                  <p:nvPr userDrawn="1"/>
                </p:nvSpPr>
                <p:spPr>
                  <a:xfrm>
                    <a:off x="8196590" y="4540712"/>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9FAF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80" name="Freeform: Shape 779">
                    <a:extLst>
                      <a:ext uri="{FF2B5EF4-FFF2-40B4-BE49-F238E27FC236}">
                        <a16:creationId xmlns:a16="http://schemas.microsoft.com/office/drawing/2014/main" id="{4F66D95D-80DB-7F7F-790B-78C4BD734941}"/>
                      </a:ext>
                    </a:extLst>
                  </p:cNvPr>
                  <p:cNvSpPr/>
                  <p:nvPr userDrawn="1"/>
                </p:nvSpPr>
                <p:spPr>
                  <a:xfrm>
                    <a:off x="8196449" y="4541133"/>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07"/>
                          <a:pt x="42074" y="21060"/>
                        </a:cubicBezTo>
                        <a:close/>
                      </a:path>
                    </a:pathLst>
                  </a:custGeom>
                  <a:solidFill>
                    <a:srgbClr val="FAFAF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81" name="Freeform: Shape 780">
                    <a:extLst>
                      <a:ext uri="{FF2B5EF4-FFF2-40B4-BE49-F238E27FC236}">
                        <a16:creationId xmlns:a16="http://schemas.microsoft.com/office/drawing/2014/main" id="{7DC62FA3-0157-F14A-4E75-9DF8D4F3C991}"/>
                      </a:ext>
                    </a:extLst>
                  </p:cNvPr>
                  <p:cNvSpPr/>
                  <p:nvPr userDrawn="1"/>
                </p:nvSpPr>
                <p:spPr>
                  <a:xfrm>
                    <a:off x="8196332" y="4541531"/>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23"/>
                          <a:pt x="42074" y="9430"/>
                          <a:pt x="42074" y="21060"/>
                        </a:cubicBezTo>
                        <a:close/>
                      </a:path>
                    </a:pathLst>
                  </a:custGeom>
                  <a:solidFill>
                    <a:srgbClr val="FAFBF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82" name="Freeform: Shape 781">
                    <a:extLst>
                      <a:ext uri="{FF2B5EF4-FFF2-40B4-BE49-F238E27FC236}">
                        <a16:creationId xmlns:a16="http://schemas.microsoft.com/office/drawing/2014/main" id="{99B6A069-1075-DD91-6AF4-A99123EB8138}"/>
                      </a:ext>
                    </a:extLst>
                  </p:cNvPr>
                  <p:cNvSpPr/>
                  <p:nvPr userDrawn="1"/>
                </p:nvSpPr>
                <p:spPr>
                  <a:xfrm>
                    <a:off x="8196215" y="4541952"/>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AFBF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83" name="Freeform: Shape 782">
                    <a:extLst>
                      <a:ext uri="{FF2B5EF4-FFF2-40B4-BE49-F238E27FC236}">
                        <a16:creationId xmlns:a16="http://schemas.microsoft.com/office/drawing/2014/main" id="{DDC37512-AC22-5F18-2500-DCB7D175D662}"/>
                      </a:ext>
                    </a:extLst>
                  </p:cNvPr>
                  <p:cNvSpPr/>
                  <p:nvPr userDrawn="1"/>
                </p:nvSpPr>
                <p:spPr>
                  <a:xfrm>
                    <a:off x="8196098" y="4542373"/>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BFBF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84" name="Freeform: Shape 783">
                    <a:extLst>
                      <a:ext uri="{FF2B5EF4-FFF2-40B4-BE49-F238E27FC236}">
                        <a16:creationId xmlns:a16="http://schemas.microsoft.com/office/drawing/2014/main" id="{7628D5DD-0507-17AA-9222-AF25BDE88216}"/>
                      </a:ext>
                    </a:extLst>
                  </p:cNvPr>
                  <p:cNvSpPr/>
                  <p:nvPr userDrawn="1"/>
                </p:nvSpPr>
                <p:spPr>
                  <a:xfrm>
                    <a:off x="8195981" y="4542771"/>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23"/>
                          <a:pt x="42074" y="9430"/>
                          <a:pt x="42074" y="21060"/>
                        </a:cubicBezTo>
                        <a:close/>
                      </a:path>
                    </a:pathLst>
                  </a:custGeom>
                  <a:solidFill>
                    <a:srgbClr val="FBFBF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85" name="Freeform: Shape 784">
                    <a:extLst>
                      <a:ext uri="{FF2B5EF4-FFF2-40B4-BE49-F238E27FC236}">
                        <a16:creationId xmlns:a16="http://schemas.microsoft.com/office/drawing/2014/main" id="{44312CD4-142B-A9A1-10F2-FAB0C78A6D00}"/>
                      </a:ext>
                    </a:extLst>
                  </p:cNvPr>
                  <p:cNvSpPr/>
                  <p:nvPr userDrawn="1"/>
                </p:nvSpPr>
                <p:spPr>
                  <a:xfrm>
                    <a:off x="8195864" y="4543192"/>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BFCF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86" name="Freeform: Shape 785">
                    <a:extLst>
                      <a:ext uri="{FF2B5EF4-FFF2-40B4-BE49-F238E27FC236}">
                        <a16:creationId xmlns:a16="http://schemas.microsoft.com/office/drawing/2014/main" id="{BF2B258C-C495-3C7E-65BC-1C06AB3B5FA8}"/>
                      </a:ext>
                    </a:extLst>
                  </p:cNvPr>
                  <p:cNvSpPr/>
                  <p:nvPr userDrawn="1"/>
                </p:nvSpPr>
                <p:spPr>
                  <a:xfrm>
                    <a:off x="8195771" y="4543614"/>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CFCF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87" name="Freeform: Shape 786">
                    <a:extLst>
                      <a:ext uri="{FF2B5EF4-FFF2-40B4-BE49-F238E27FC236}">
                        <a16:creationId xmlns:a16="http://schemas.microsoft.com/office/drawing/2014/main" id="{128662C9-1199-E5F6-DE12-C8EE5AE305BC}"/>
                      </a:ext>
                    </a:extLst>
                  </p:cNvPr>
                  <p:cNvSpPr/>
                  <p:nvPr userDrawn="1"/>
                </p:nvSpPr>
                <p:spPr>
                  <a:xfrm>
                    <a:off x="8195677" y="4544035"/>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07"/>
                          <a:pt x="42074" y="21060"/>
                        </a:cubicBezTo>
                        <a:close/>
                      </a:path>
                    </a:pathLst>
                  </a:custGeom>
                  <a:solidFill>
                    <a:srgbClr val="FCFCF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88" name="Freeform: Shape 787">
                    <a:extLst>
                      <a:ext uri="{FF2B5EF4-FFF2-40B4-BE49-F238E27FC236}">
                        <a16:creationId xmlns:a16="http://schemas.microsoft.com/office/drawing/2014/main" id="{27741F1D-87ED-80FB-D398-DA9D4AF978FF}"/>
                      </a:ext>
                    </a:extLst>
                  </p:cNvPr>
                  <p:cNvSpPr/>
                  <p:nvPr userDrawn="1"/>
                </p:nvSpPr>
                <p:spPr>
                  <a:xfrm>
                    <a:off x="8195584" y="4544433"/>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CFCF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89" name="Freeform: Shape 788">
                    <a:extLst>
                      <a:ext uri="{FF2B5EF4-FFF2-40B4-BE49-F238E27FC236}">
                        <a16:creationId xmlns:a16="http://schemas.microsoft.com/office/drawing/2014/main" id="{E730A6D6-4F58-B26F-1FB4-C23A2945B5AB}"/>
                      </a:ext>
                    </a:extLst>
                  </p:cNvPr>
                  <p:cNvSpPr/>
                  <p:nvPr userDrawn="1"/>
                </p:nvSpPr>
                <p:spPr>
                  <a:xfrm>
                    <a:off x="8195490" y="4544854"/>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DFDF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90" name="Freeform: Shape 789">
                    <a:extLst>
                      <a:ext uri="{FF2B5EF4-FFF2-40B4-BE49-F238E27FC236}">
                        <a16:creationId xmlns:a16="http://schemas.microsoft.com/office/drawing/2014/main" id="{68259089-61B5-BB40-535E-BBD2D9B0696E}"/>
                      </a:ext>
                    </a:extLst>
                  </p:cNvPr>
                  <p:cNvSpPr/>
                  <p:nvPr userDrawn="1"/>
                </p:nvSpPr>
                <p:spPr>
                  <a:xfrm>
                    <a:off x="8195420" y="4545252"/>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23"/>
                          <a:pt x="42074" y="9430"/>
                          <a:pt x="42074" y="21060"/>
                        </a:cubicBezTo>
                        <a:close/>
                      </a:path>
                    </a:pathLst>
                  </a:custGeom>
                  <a:solidFill>
                    <a:srgbClr val="FDFDF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91" name="Freeform: Shape 790">
                    <a:extLst>
                      <a:ext uri="{FF2B5EF4-FFF2-40B4-BE49-F238E27FC236}">
                        <a16:creationId xmlns:a16="http://schemas.microsoft.com/office/drawing/2014/main" id="{D1AB3285-EBD5-D9DF-5986-8FAAB1322376}"/>
                      </a:ext>
                    </a:extLst>
                  </p:cNvPr>
                  <p:cNvSpPr/>
                  <p:nvPr userDrawn="1"/>
                </p:nvSpPr>
                <p:spPr>
                  <a:xfrm>
                    <a:off x="8195350" y="4545673"/>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DFDF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92" name="Freeform: Shape 791">
                    <a:extLst>
                      <a:ext uri="{FF2B5EF4-FFF2-40B4-BE49-F238E27FC236}">
                        <a16:creationId xmlns:a16="http://schemas.microsoft.com/office/drawing/2014/main" id="{FFB86897-0B8F-6244-A2B9-F96181AA9222}"/>
                      </a:ext>
                    </a:extLst>
                  </p:cNvPr>
                  <p:cNvSpPr/>
                  <p:nvPr userDrawn="1"/>
                </p:nvSpPr>
                <p:spPr>
                  <a:xfrm>
                    <a:off x="8195279" y="4546071"/>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23"/>
                          <a:pt x="42074" y="9430"/>
                          <a:pt x="42074" y="21060"/>
                        </a:cubicBezTo>
                        <a:close/>
                      </a:path>
                    </a:pathLst>
                  </a:custGeom>
                  <a:solidFill>
                    <a:srgbClr val="FDFEF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93" name="Freeform: Shape 792">
                    <a:extLst>
                      <a:ext uri="{FF2B5EF4-FFF2-40B4-BE49-F238E27FC236}">
                        <a16:creationId xmlns:a16="http://schemas.microsoft.com/office/drawing/2014/main" id="{C8CADA43-38A7-FEED-4B0F-A5E7EE2CC868}"/>
                      </a:ext>
                    </a:extLst>
                  </p:cNvPr>
                  <p:cNvSpPr/>
                  <p:nvPr userDrawn="1"/>
                </p:nvSpPr>
                <p:spPr>
                  <a:xfrm>
                    <a:off x="8195233" y="4546492"/>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EFEF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94" name="Freeform: Shape 793">
                    <a:extLst>
                      <a:ext uri="{FF2B5EF4-FFF2-40B4-BE49-F238E27FC236}">
                        <a16:creationId xmlns:a16="http://schemas.microsoft.com/office/drawing/2014/main" id="{C5B888CC-9BE6-AD6D-1BC2-E54C9AED0EDE}"/>
                      </a:ext>
                    </a:extLst>
                  </p:cNvPr>
                  <p:cNvSpPr/>
                  <p:nvPr userDrawn="1"/>
                </p:nvSpPr>
                <p:spPr>
                  <a:xfrm>
                    <a:off x="8195162" y="4546890"/>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23"/>
                          <a:pt x="42074" y="9430"/>
                          <a:pt x="42074" y="21060"/>
                        </a:cubicBezTo>
                        <a:close/>
                      </a:path>
                    </a:pathLst>
                  </a:custGeom>
                  <a:solidFill>
                    <a:srgbClr val="FEFEF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95" name="Freeform: Shape 794">
                    <a:extLst>
                      <a:ext uri="{FF2B5EF4-FFF2-40B4-BE49-F238E27FC236}">
                        <a16:creationId xmlns:a16="http://schemas.microsoft.com/office/drawing/2014/main" id="{0D2A4F54-FFFE-7280-B4FD-0DED9E738478}"/>
                      </a:ext>
                    </a:extLst>
                  </p:cNvPr>
                  <p:cNvSpPr/>
                  <p:nvPr userDrawn="1"/>
                </p:nvSpPr>
                <p:spPr>
                  <a:xfrm>
                    <a:off x="8195116" y="4547311"/>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EFEF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96" name="Freeform: Shape 795">
                    <a:extLst>
                      <a:ext uri="{FF2B5EF4-FFF2-40B4-BE49-F238E27FC236}">
                        <a16:creationId xmlns:a16="http://schemas.microsoft.com/office/drawing/2014/main" id="{94108A76-BB67-DD4E-E8E7-9BB6B3DF6626}"/>
                      </a:ext>
                    </a:extLst>
                  </p:cNvPr>
                  <p:cNvSpPr/>
                  <p:nvPr userDrawn="1"/>
                </p:nvSpPr>
                <p:spPr>
                  <a:xfrm>
                    <a:off x="8195069" y="4547709"/>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23"/>
                          <a:pt x="42074" y="9430"/>
                          <a:pt x="42074" y="21060"/>
                        </a:cubicBezTo>
                        <a:close/>
                      </a:path>
                    </a:pathLst>
                  </a:custGeom>
                  <a:solidFill>
                    <a:srgbClr val="FFFFF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797" name="Freeform: Shape 796">
                    <a:extLst>
                      <a:ext uri="{FF2B5EF4-FFF2-40B4-BE49-F238E27FC236}">
                        <a16:creationId xmlns:a16="http://schemas.microsoft.com/office/drawing/2014/main" id="{32343370-D8A6-368C-45D2-8CFF6B95A804}"/>
                      </a:ext>
                    </a:extLst>
                  </p:cNvPr>
                  <p:cNvSpPr/>
                  <p:nvPr userDrawn="1"/>
                </p:nvSpPr>
                <p:spPr>
                  <a:xfrm>
                    <a:off x="8195045" y="4548130"/>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FFFF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grpSp>
            <p:grpSp>
              <p:nvGrpSpPr>
                <p:cNvPr id="798" name="Graphic 4">
                  <a:extLst>
                    <a:ext uri="{FF2B5EF4-FFF2-40B4-BE49-F238E27FC236}">
                      <a16:creationId xmlns:a16="http://schemas.microsoft.com/office/drawing/2014/main" id="{49498D74-2319-C3AA-1A1F-A570ED918020}"/>
                    </a:ext>
                  </a:extLst>
                </p:cNvPr>
                <p:cNvGrpSpPr/>
                <p:nvPr userDrawn="1"/>
              </p:nvGrpSpPr>
              <p:grpSpPr>
                <a:xfrm>
                  <a:off x="8382317" y="4482867"/>
                  <a:ext cx="144917" cy="107360"/>
                  <a:chOff x="8382317" y="4482867"/>
                  <a:chExt cx="144917" cy="107359"/>
                </a:xfrm>
              </p:grpSpPr>
              <p:sp>
                <p:nvSpPr>
                  <p:cNvPr id="799" name="Freeform: Shape 798">
                    <a:extLst>
                      <a:ext uri="{FF2B5EF4-FFF2-40B4-BE49-F238E27FC236}">
                        <a16:creationId xmlns:a16="http://schemas.microsoft.com/office/drawing/2014/main" id="{ED981670-0184-7700-BB91-53B97CEE0F22}"/>
                      </a:ext>
                    </a:extLst>
                  </p:cNvPr>
                  <p:cNvSpPr/>
                  <p:nvPr userDrawn="1"/>
                </p:nvSpPr>
                <p:spPr>
                  <a:xfrm>
                    <a:off x="8382317" y="4482867"/>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1B8C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00" name="Freeform: Shape 799">
                    <a:extLst>
                      <a:ext uri="{FF2B5EF4-FFF2-40B4-BE49-F238E27FC236}">
                        <a16:creationId xmlns:a16="http://schemas.microsoft.com/office/drawing/2014/main" id="{AFCD6D97-A79B-04DA-23CA-1EA93533E7F5}"/>
                      </a:ext>
                    </a:extLst>
                  </p:cNvPr>
                  <p:cNvSpPr/>
                  <p:nvPr userDrawn="1"/>
                </p:nvSpPr>
                <p:spPr>
                  <a:xfrm>
                    <a:off x="8382902" y="4482937"/>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0"/>
                          <a:pt x="0" y="9430"/>
                          <a:pt x="0" y="21037"/>
                        </a:cubicBezTo>
                        <a:close/>
                      </a:path>
                    </a:pathLst>
                  </a:custGeom>
                  <a:solidFill>
                    <a:srgbClr val="B1B8C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01" name="Freeform: Shape 800">
                    <a:extLst>
                      <a:ext uri="{FF2B5EF4-FFF2-40B4-BE49-F238E27FC236}">
                        <a16:creationId xmlns:a16="http://schemas.microsoft.com/office/drawing/2014/main" id="{A743CDEC-67F4-3441-2DFE-279E91FAD764}"/>
                      </a:ext>
                    </a:extLst>
                  </p:cNvPr>
                  <p:cNvSpPr/>
                  <p:nvPr userDrawn="1"/>
                </p:nvSpPr>
                <p:spPr>
                  <a:xfrm>
                    <a:off x="8383464" y="4483031"/>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0"/>
                          <a:pt x="0" y="9407"/>
                          <a:pt x="0" y="21037"/>
                        </a:cubicBezTo>
                        <a:close/>
                      </a:path>
                    </a:pathLst>
                  </a:custGeom>
                  <a:solidFill>
                    <a:srgbClr val="B2B9C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02" name="Freeform: Shape 801">
                    <a:extLst>
                      <a:ext uri="{FF2B5EF4-FFF2-40B4-BE49-F238E27FC236}">
                        <a16:creationId xmlns:a16="http://schemas.microsoft.com/office/drawing/2014/main" id="{2603FD01-BD6E-D78B-D332-F1BAB32D2458}"/>
                      </a:ext>
                    </a:extLst>
                  </p:cNvPr>
                  <p:cNvSpPr/>
                  <p:nvPr userDrawn="1"/>
                </p:nvSpPr>
                <p:spPr>
                  <a:xfrm>
                    <a:off x="8384025" y="448312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2B9C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03" name="Freeform: Shape 802">
                    <a:extLst>
                      <a:ext uri="{FF2B5EF4-FFF2-40B4-BE49-F238E27FC236}">
                        <a16:creationId xmlns:a16="http://schemas.microsoft.com/office/drawing/2014/main" id="{C5B4CED5-AC2F-87AD-A39F-0BDECFF309E2}"/>
                      </a:ext>
                    </a:extLst>
                  </p:cNvPr>
                  <p:cNvSpPr/>
                  <p:nvPr userDrawn="1"/>
                </p:nvSpPr>
                <p:spPr>
                  <a:xfrm>
                    <a:off x="8384587" y="4483218"/>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2B9C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04" name="Freeform: Shape 803">
                    <a:extLst>
                      <a:ext uri="{FF2B5EF4-FFF2-40B4-BE49-F238E27FC236}">
                        <a16:creationId xmlns:a16="http://schemas.microsoft.com/office/drawing/2014/main" id="{CAEC5832-65AC-06B3-CA58-C6252632C95F}"/>
                      </a:ext>
                    </a:extLst>
                  </p:cNvPr>
                  <p:cNvSpPr/>
                  <p:nvPr userDrawn="1"/>
                </p:nvSpPr>
                <p:spPr>
                  <a:xfrm>
                    <a:off x="8385148" y="4483288"/>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B3B9C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05" name="Freeform: Shape 804">
                    <a:extLst>
                      <a:ext uri="{FF2B5EF4-FFF2-40B4-BE49-F238E27FC236}">
                        <a16:creationId xmlns:a16="http://schemas.microsoft.com/office/drawing/2014/main" id="{B71FDBD8-6C93-FD72-06A0-63655161C631}"/>
                      </a:ext>
                    </a:extLst>
                  </p:cNvPr>
                  <p:cNvSpPr/>
                  <p:nvPr userDrawn="1"/>
                </p:nvSpPr>
                <p:spPr>
                  <a:xfrm>
                    <a:off x="8385710" y="4483382"/>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3BAC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06" name="Freeform: Shape 805">
                    <a:extLst>
                      <a:ext uri="{FF2B5EF4-FFF2-40B4-BE49-F238E27FC236}">
                        <a16:creationId xmlns:a16="http://schemas.microsoft.com/office/drawing/2014/main" id="{7FA4A341-1B3D-4B9D-C9A2-ECF23B873006}"/>
                      </a:ext>
                    </a:extLst>
                  </p:cNvPr>
                  <p:cNvSpPr/>
                  <p:nvPr userDrawn="1"/>
                </p:nvSpPr>
                <p:spPr>
                  <a:xfrm>
                    <a:off x="8386272" y="4483475"/>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3BAC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07" name="Freeform: Shape 806">
                    <a:extLst>
                      <a:ext uri="{FF2B5EF4-FFF2-40B4-BE49-F238E27FC236}">
                        <a16:creationId xmlns:a16="http://schemas.microsoft.com/office/drawing/2014/main" id="{907757A9-B29D-11C1-2F69-B5F02AF3991D}"/>
                      </a:ext>
                    </a:extLst>
                  </p:cNvPr>
                  <p:cNvSpPr/>
                  <p:nvPr userDrawn="1"/>
                </p:nvSpPr>
                <p:spPr>
                  <a:xfrm>
                    <a:off x="8386833" y="4483569"/>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3BAC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08" name="Freeform: Shape 807">
                    <a:extLst>
                      <a:ext uri="{FF2B5EF4-FFF2-40B4-BE49-F238E27FC236}">
                        <a16:creationId xmlns:a16="http://schemas.microsoft.com/office/drawing/2014/main" id="{25D3B317-3A83-47A3-833B-9DC216025290}"/>
                      </a:ext>
                    </a:extLst>
                  </p:cNvPr>
                  <p:cNvSpPr/>
                  <p:nvPr userDrawn="1"/>
                </p:nvSpPr>
                <p:spPr>
                  <a:xfrm>
                    <a:off x="8387395" y="4483662"/>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4BBC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09" name="Freeform: Shape 808">
                    <a:extLst>
                      <a:ext uri="{FF2B5EF4-FFF2-40B4-BE49-F238E27FC236}">
                        <a16:creationId xmlns:a16="http://schemas.microsoft.com/office/drawing/2014/main" id="{C3C666BD-CB0F-7D1E-666B-E5E7A55FB1CB}"/>
                      </a:ext>
                    </a:extLst>
                  </p:cNvPr>
                  <p:cNvSpPr/>
                  <p:nvPr userDrawn="1"/>
                </p:nvSpPr>
                <p:spPr>
                  <a:xfrm>
                    <a:off x="8387956" y="448375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B4BBC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10" name="Freeform: Shape 809">
                    <a:extLst>
                      <a:ext uri="{FF2B5EF4-FFF2-40B4-BE49-F238E27FC236}">
                        <a16:creationId xmlns:a16="http://schemas.microsoft.com/office/drawing/2014/main" id="{37A87CAF-D1AA-440B-8A47-1971216A4DDF}"/>
                      </a:ext>
                    </a:extLst>
                  </p:cNvPr>
                  <p:cNvSpPr/>
                  <p:nvPr userDrawn="1"/>
                </p:nvSpPr>
                <p:spPr>
                  <a:xfrm>
                    <a:off x="8388518" y="4483850"/>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B4BBC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11" name="Freeform: Shape 810">
                    <a:extLst>
                      <a:ext uri="{FF2B5EF4-FFF2-40B4-BE49-F238E27FC236}">
                        <a16:creationId xmlns:a16="http://schemas.microsoft.com/office/drawing/2014/main" id="{AFD77177-AF02-C5BC-2635-01732B3AA46A}"/>
                      </a:ext>
                    </a:extLst>
                  </p:cNvPr>
                  <p:cNvSpPr/>
                  <p:nvPr userDrawn="1"/>
                </p:nvSpPr>
                <p:spPr>
                  <a:xfrm>
                    <a:off x="8389080" y="448396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5BBC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12" name="Freeform: Shape 811">
                    <a:extLst>
                      <a:ext uri="{FF2B5EF4-FFF2-40B4-BE49-F238E27FC236}">
                        <a16:creationId xmlns:a16="http://schemas.microsoft.com/office/drawing/2014/main" id="{1E67FAE5-43C7-B346-5BFB-EB448F1FC87E}"/>
                      </a:ext>
                    </a:extLst>
                  </p:cNvPr>
                  <p:cNvSpPr/>
                  <p:nvPr userDrawn="1"/>
                </p:nvSpPr>
                <p:spPr>
                  <a:xfrm>
                    <a:off x="8389641" y="4484060"/>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5BCC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13" name="Freeform: Shape 812">
                    <a:extLst>
                      <a:ext uri="{FF2B5EF4-FFF2-40B4-BE49-F238E27FC236}">
                        <a16:creationId xmlns:a16="http://schemas.microsoft.com/office/drawing/2014/main" id="{A4D46D91-55AF-0104-B25E-3211F1702156}"/>
                      </a:ext>
                    </a:extLst>
                  </p:cNvPr>
                  <p:cNvSpPr/>
                  <p:nvPr userDrawn="1"/>
                </p:nvSpPr>
                <p:spPr>
                  <a:xfrm>
                    <a:off x="8390203" y="448415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5BCC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14" name="Freeform: Shape 813">
                    <a:extLst>
                      <a:ext uri="{FF2B5EF4-FFF2-40B4-BE49-F238E27FC236}">
                        <a16:creationId xmlns:a16="http://schemas.microsoft.com/office/drawing/2014/main" id="{96B013E7-75B3-858E-DE06-8C55F0263CD3}"/>
                      </a:ext>
                    </a:extLst>
                  </p:cNvPr>
                  <p:cNvSpPr/>
                  <p:nvPr userDrawn="1"/>
                </p:nvSpPr>
                <p:spPr>
                  <a:xfrm>
                    <a:off x="8390764" y="4484247"/>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B6BCC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15" name="Freeform: Shape 814">
                    <a:extLst>
                      <a:ext uri="{FF2B5EF4-FFF2-40B4-BE49-F238E27FC236}">
                        <a16:creationId xmlns:a16="http://schemas.microsoft.com/office/drawing/2014/main" id="{A8AE9EBE-06C9-AA58-9693-C2B56F78E931}"/>
                      </a:ext>
                    </a:extLst>
                  </p:cNvPr>
                  <p:cNvSpPr/>
                  <p:nvPr userDrawn="1"/>
                </p:nvSpPr>
                <p:spPr>
                  <a:xfrm>
                    <a:off x="8391326" y="448436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6BCC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16" name="Freeform: Shape 815">
                    <a:extLst>
                      <a:ext uri="{FF2B5EF4-FFF2-40B4-BE49-F238E27FC236}">
                        <a16:creationId xmlns:a16="http://schemas.microsoft.com/office/drawing/2014/main" id="{BFCD30C8-9835-07FA-7E0A-8093F88C3F67}"/>
                      </a:ext>
                    </a:extLst>
                  </p:cNvPr>
                  <p:cNvSpPr/>
                  <p:nvPr userDrawn="1"/>
                </p:nvSpPr>
                <p:spPr>
                  <a:xfrm>
                    <a:off x="8391888" y="4484458"/>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0"/>
                          <a:pt x="0" y="9430"/>
                          <a:pt x="0" y="21037"/>
                        </a:cubicBezTo>
                        <a:close/>
                      </a:path>
                    </a:pathLst>
                  </a:custGeom>
                  <a:solidFill>
                    <a:srgbClr val="B6BDC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17" name="Freeform: Shape 816">
                    <a:extLst>
                      <a:ext uri="{FF2B5EF4-FFF2-40B4-BE49-F238E27FC236}">
                        <a16:creationId xmlns:a16="http://schemas.microsoft.com/office/drawing/2014/main" id="{6D01859F-E64F-AF73-0866-9BC07D131FCF}"/>
                      </a:ext>
                    </a:extLst>
                  </p:cNvPr>
                  <p:cNvSpPr/>
                  <p:nvPr userDrawn="1"/>
                </p:nvSpPr>
                <p:spPr>
                  <a:xfrm>
                    <a:off x="8392449" y="4484575"/>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23"/>
                          <a:pt x="0" y="9407"/>
                          <a:pt x="0" y="21037"/>
                        </a:cubicBezTo>
                        <a:close/>
                      </a:path>
                    </a:pathLst>
                  </a:custGeom>
                  <a:solidFill>
                    <a:srgbClr val="B7BDD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18" name="Freeform: Shape 817">
                    <a:extLst>
                      <a:ext uri="{FF2B5EF4-FFF2-40B4-BE49-F238E27FC236}">
                        <a16:creationId xmlns:a16="http://schemas.microsoft.com/office/drawing/2014/main" id="{75FBFA9A-8FCD-D9C9-46E3-72D4A4F5AACA}"/>
                      </a:ext>
                    </a:extLst>
                  </p:cNvPr>
                  <p:cNvSpPr/>
                  <p:nvPr userDrawn="1"/>
                </p:nvSpPr>
                <p:spPr>
                  <a:xfrm>
                    <a:off x="8392987" y="4484669"/>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B7BDD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19" name="Freeform: Shape 818">
                    <a:extLst>
                      <a:ext uri="{FF2B5EF4-FFF2-40B4-BE49-F238E27FC236}">
                        <a16:creationId xmlns:a16="http://schemas.microsoft.com/office/drawing/2014/main" id="{9E481C85-8E2E-F969-0175-1C3A5D6A5C6A}"/>
                      </a:ext>
                    </a:extLst>
                  </p:cNvPr>
                  <p:cNvSpPr/>
                  <p:nvPr userDrawn="1"/>
                </p:nvSpPr>
                <p:spPr>
                  <a:xfrm>
                    <a:off x="8393549" y="448478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7BED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20" name="Freeform: Shape 819">
                    <a:extLst>
                      <a:ext uri="{FF2B5EF4-FFF2-40B4-BE49-F238E27FC236}">
                        <a16:creationId xmlns:a16="http://schemas.microsoft.com/office/drawing/2014/main" id="{8B0188C3-962F-ACA0-337A-FD574CDF28AA}"/>
                      </a:ext>
                    </a:extLst>
                  </p:cNvPr>
                  <p:cNvSpPr/>
                  <p:nvPr userDrawn="1"/>
                </p:nvSpPr>
                <p:spPr>
                  <a:xfrm>
                    <a:off x="8394111" y="4484902"/>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7BED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21" name="Freeform: Shape 820">
                    <a:extLst>
                      <a:ext uri="{FF2B5EF4-FFF2-40B4-BE49-F238E27FC236}">
                        <a16:creationId xmlns:a16="http://schemas.microsoft.com/office/drawing/2014/main" id="{E5D30E73-5334-3B26-98D5-822AC06C9907}"/>
                      </a:ext>
                    </a:extLst>
                  </p:cNvPr>
                  <p:cNvSpPr/>
                  <p:nvPr userDrawn="1"/>
                </p:nvSpPr>
                <p:spPr>
                  <a:xfrm>
                    <a:off x="8394672" y="448499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0"/>
                          <a:pt x="0" y="9430"/>
                          <a:pt x="0" y="21037"/>
                        </a:cubicBezTo>
                        <a:close/>
                      </a:path>
                    </a:pathLst>
                  </a:custGeom>
                  <a:solidFill>
                    <a:srgbClr val="B8BED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22" name="Freeform: Shape 821">
                    <a:extLst>
                      <a:ext uri="{FF2B5EF4-FFF2-40B4-BE49-F238E27FC236}">
                        <a16:creationId xmlns:a16="http://schemas.microsoft.com/office/drawing/2014/main" id="{8287E318-89EE-BEF5-B3BA-E404BCFCA284}"/>
                      </a:ext>
                    </a:extLst>
                  </p:cNvPr>
                  <p:cNvSpPr/>
                  <p:nvPr userDrawn="1"/>
                </p:nvSpPr>
                <p:spPr>
                  <a:xfrm>
                    <a:off x="8395210" y="4485113"/>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8BED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23" name="Freeform: Shape 822">
                    <a:extLst>
                      <a:ext uri="{FF2B5EF4-FFF2-40B4-BE49-F238E27FC236}">
                        <a16:creationId xmlns:a16="http://schemas.microsoft.com/office/drawing/2014/main" id="{F1A7959F-D35D-0294-D045-FF9A344C268C}"/>
                      </a:ext>
                    </a:extLst>
                  </p:cNvPr>
                  <p:cNvSpPr/>
                  <p:nvPr userDrawn="1"/>
                </p:nvSpPr>
                <p:spPr>
                  <a:xfrm>
                    <a:off x="8395772" y="4485230"/>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8BFD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24" name="Freeform: Shape 823">
                    <a:extLst>
                      <a:ext uri="{FF2B5EF4-FFF2-40B4-BE49-F238E27FC236}">
                        <a16:creationId xmlns:a16="http://schemas.microsoft.com/office/drawing/2014/main" id="{460FD42E-6EF6-FF8E-6E33-78B02CCFCB1E}"/>
                      </a:ext>
                    </a:extLst>
                  </p:cNvPr>
                  <p:cNvSpPr/>
                  <p:nvPr userDrawn="1"/>
                </p:nvSpPr>
                <p:spPr>
                  <a:xfrm>
                    <a:off x="8396310" y="4485347"/>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9BFD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25" name="Freeform: Shape 824">
                    <a:extLst>
                      <a:ext uri="{FF2B5EF4-FFF2-40B4-BE49-F238E27FC236}">
                        <a16:creationId xmlns:a16="http://schemas.microsoft.com/office/drawing/2014/main" id="{C6013E4B-79BA-15D3-4906-D2953694CDB5}"/>
                      </a:ext>
                    </a:extLst>
                  </p:cNvPr>
                  <p:cNvSpPr/>
                  <p:nvPr userDrawn="1"/>
                </p:nvSpPr>
                <p:spPr>
                  <a:xfrm>
                    <a:off x="8396872" y="448546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9BFD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26" name="Freeform: Shape 825">
                    <a:extLst>
                      <a:ext uri="{FF2B5EF4-FFF2-40B4-BE49-F238E27FC236}">
                        <a16:creationId xmlns:a16="http://schemas.microsoft.com/office/drawing/2014/main" id="{D9578A16-99DA-BC11-1374-41067FDA3787}"/>
                      </a:ext>
                    </a:extLst>
                  </p:cNvPr>
                  <p:cNvSpPr/>
                  <p:nvPr userDrawn="1"/>
                </p:nvSpPr>
                <p:spPr>
                  <a:xfrm>
                    <a:off x="8397433" y="4485581"/>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23"/>
                          <a:pt x="0" y="9407"/>
                          <a:pt x="0" y="21037"/>
                        </a:cubicBezTo>
                        <a:close/>
                      </a:path>
                    </a:pathLst>
                  </a:custGeom>
                  <a:solidFill>
                    <a:srgbClr val="B9C0D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27" name="Freeform: Shape 826">
                    <a:extLst>
                      <a:ext uri="{FF2B5EF4-FFF2-40B4-BE49-F238E27FC236}">
                        <a16:creationId xmlns:a16="http://schemas.microsoft.com/office/drawing/2014/main" id="{6E551B56-094C-D344-905D-403FC9DD1F37}"/>
                      </a:ext>
                    </a:extLst>
                  </p:cNvPr>
                  <p:cNvSpPr/>
                  <p:nvPr userDrawn="1"/>
                </p:nvSpPr>
                <p:spPr>
                  <a:xfrm>
                    <a:off x="8397972" y="4485698"/>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AC0D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28" name="Freeform: Shape 827">
                    <a:extLst>
                      <a:ext uri="{FF2B5EF4-FFF2-40B4-BE49-F238E27FC236}">
                        <a16:creationId xmlns:a16="http://schemas.microsoft.com/office/drawing/2014/main" id="{CA3A2033-581F-3E22-AE3C-F9B2125FAC1C}"/>
                      </a:ext>
                    </a:extLst>
                  </p:cNvPr>
                  <p:cNvSpPr/>
                  <p:nvPr userDrawn="1"/>
                </p:nvSpPr>
                <p:spPr>
                  <a:xfrm>
                    <a:off x="8398510" y="4485815"/>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AC0D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29" name="Freeform: Shape 828">
                    <a:extLst>
                      <a:ext uri="{FF2B5EF4-FFF2-40B4-BE49-F238E27FC236}">
                        <a16:creationId xmlns:a16="http://schemas.microsoft.com/office/drawing/2014/main" id="{157CAD30-32CB-104C-4B5E-8B76B2BABEF2}"/>
                      </a:ext>
                    </a:extLst>
                  </p:cNvPr>
                  <p:cNvSpPr/>
                  <p:nvPr userDrawn="1"/>
                </p:nvSpPr>
                <p:spPr>
                  <a:xfrm>
                    <a:off x="8399071" y="4485932"/>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AC0D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30" name="Freeform: Shape 829">
                    <a:extLst>
                      <a:ext uri="{FF2B5EF4-FFF2-40B4-BE49-F238E27FC236}">
                        <a16:creationId xmlns:a16="http://schemas.microsoft.com/office/drawing/2014/main" id="{A70FFF44-4A6C-4BBE-5319-C65E941BCB1C}"/>
                      </a:ext>
                    </a:extLst>
                  </p:cNvPr>
                  <p:cNvSpPr/>
                  <p:nvPr userDrawn="1"/>
                </p:nvSpPr>
                <p:spPr>
                  <a:xfrm>
                    <a:off x="8399610" y="4486049"/>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AC1D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31" name="Freeform: Shape 830">
                    <a:extLst>
                      <a:ext uri="{FF2B5EF4-FFF2-40B4-BE49-F238E27FC236}">
                        <a16:creationId xmlns:a16="http://schemas.microsoft.com/office/drawing/2014/main" id="{5FE05EE7-8A3D-7BCA-384A-24FEF10B894C}"/>
                      </a:ext>
                    </a:extLst>
                  </p:cNvPr>
                  <p:cNvSpPr/>
                  <p:nvPr userDrawn="1"/>
                </p:nvSpPr>
                <p:spPr>
                  <a:xfrm>
                    <a:off x="8400171" y="448616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0"/>
                          <a:pt x="0" y="9430"/>
                          <a:pt x="0" y="21037"/>
                        </a:cubicBezTo>
                        <a:close/>
                      </a:path>
                    </a:pathLst>
                  </a:custGeom>
                  <a:solidFill>
                    <a:srgbClr val="BBC1D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32" name="Freeform: Shape 831">
                    <a:extLst>
                      <a:ext uri="{FF2B5EF4-FFF2-40B4-BE49-F238E27FC236}">
                        <a16:creationId xmlns:a16="http://schemas.microsoft.com/office/drawing/2014/main" id="{C19DA6E9-56D2-ADD2-8EC5-59C957A75399}"/>
                      </a:ext>
                    </a:extLst>
                  </p:cNvPr>
                  <p:cNvSpPr/>
                  <p:nvPr userDrawn="1"/>
                </p:nvSpPr>
                <p:spPr>
                  <a:xfrm>
                    <a:off x="8400710" y="448630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BC1D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33" name="Freeform: Shape 832">
                    <a:extLst>
                      <a:ext uri="{FF2B5EF4-FFF2-40B4-BE49-F238E27FC236}">
                        <a16:creationId xmlns:a16="http://schemas.microsoft.com/office/drawing/2014/main" id="{048E643D-BB9A-CDE9-5AED-39BB7B61873B}"/>
                      </a:ext>
                    </a:extLst>
                  </p:cNvPr>
                  <p:cNvSpPr/>
                  <p:nvPr userDrawn="1"/>
                </p:nvSpPr>
                <p:spPr>
                  <a:xfrm>
                    <a:off x="8401248" y="448642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BC1D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34" name="Freeform: Shape 833">
                    <a:extLst>
                      <a:ext uri="{FF2B5EF4-FFF2-40B4-BE49-F238E27FC236}">
                        <a16:creationId xmlns:a16="http://schemas.microsoft.com/office/drawing/2014/main" id="{5EFF1AA5-6A9E-124C-55FA-090BD2D8A595}"/>
                      </a:ext>
                    </a:extLst>
                  </p:cNvPr>
                  <p:cNvSpPr/>
                  <p:nvPr userDrawn="1"/>
                </p:nvSpPr>
                <p:spPr>
                  <a:xfrm>
                    <a:off x="8401809" y="4486541"/>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0"/>
                          <a:pt x="0" y="9430"/>
                          <a:pt x="0" y="21037"/>
                        </a:cubicBezTo>
                        <a:close/>
                      </a:path>
                    </a:pathLst>
                  </a:custGeom>
                  <a:solidFill>
                    <a:srgbClr val="BCC2D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35" name="Freeform: Shape 834">
                    <a:extLst>
                      <a:ext uri="{FF2B5EF4-FFF2-40B4-BE49-F238E27FC236}">
                        <a16:creationId xmlns:a16="http://schemas.microsoft.com/office/drawing/2014/main" id="{2057DB7E-882D-C15C-C85F-CEE8953764F3}"/>
                      </a:ext>
                    </a:extLst>
                  </p:cNvPr>
                  <p:cNvSpPr/>
                  <p:nvPr userDrawn="1"/>
                </p:nvSpPr>
                <p:spPr>
                  <a:xfrm>
                    <a:off x="8402348" y="4486681"/>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23"/>
                          <a:pt x="0" y="9407"/>
                          <a:pt x="0" y="21037"/>
                        </a:cubicBezTo>
                        <a:close/>
                      </a:path>
                    </a:pathLst>
                  </a:custGeom>
                  <a:solidFill>
                    <a:srgbClr val="BCC2D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36" name="Freeform: Shape 835">
                    <a:extLst>
                      <a:ext uri="{FF2B5EF4-FFF2-40B4-BE49-F238E27FC236}">
                        <a16:creationId xmlns:a16="http://schemas.microsoft.com/office/drawing/2014/main" id="{0F9BA9CF-E824-4367-83F9-06F26B4B5A21}"/>
                      </a:ext>
                    </a:extLst>
                  </p:cNvPr>
                  <p:cNvSpPr/>
                  <p:nvPr userDrawn="1"/>
                </p:nvSpPr>
                <p:spPr>
                  <a:xfrm>
                    <a:off x="8402886" y="4486798"/>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CC2D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37" name="Freeform: Shape 836">
                    <a:extLst>
                      <a:ext uri="{FF2B5EF4-FFF2-40B4-BE49-F238E27FC236}">
                        <a16:creationId xmlns:a16="http://schemas.microsoft.com/office/drawing/2014/main" id="{8AFD96C4-B6D8-DB12-BE1E-9F57749702DC}"/>
                      </a:ext>
                    </a:extLst>
                  </p:cNvPr>
                  <p:cNvSpPr/>
                  <p:nvPr userDrawn="1"/>
                </p:nvSpPr>
                <p:spPr>
                  <a:xfrm>
                    <a:off x="8403424" y="4486938"/>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DC3D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38" name="Freeform: Shape 837">
                    <a:extLst>
                      <a:ext uri="{FF2B5EF4-FFF2-40B4-BE49-F238E27FC236}">
                        <a16:creationId xmlns:a16="http://schemas.microsoft.com/office/drawing/2014/main" id="{3EE365E8-4802-CC0F-F5C7-9A1D5F7C9F5E}"/>
                      </a:ext>
                    </a:extLst>
                  </p:cNvPr>
                  <p:cNvSpPr/>
                  <p:nvPr userDrawn="1"/>
                </p:nvSpPr>
                <p:spPr>
                  <a:xfrm>
                    <a:off x="8403962" y="4487055"/>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BDC3D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39" name="Freeform: Shape 838">
                    <a:extLst>
                      <a:ext uri="{FF2B5EF4-FFF2-40B4-BE49-F238E27FC236}">
                        <a16:creationId xmlns:a16="http://schemas.microsoft.com/office/drawing/2014/main" id="{5910B7F1-5ED5-C08F-C038-202B397650B9}"/>
                      </a:ext>
                    </a:extLst>
                  </p:cNvPr>
                  <p:cNvSpPr/>
                  <p:nvPr userDrawn="1"/>
                </p:nvSpPr>
                <p:spPr>
                  <a:xfrm>
                    <a:off x="8404500" y="448719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DC3D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40" name="Freeform: Shape 839">
                    <a:extLst>
                      <a:ext uri="{FF2B5EF4-FFF2-40B4-BE49-F238E27FC236}">
                        <a16:creationId xmlns:a16="http://schemas.microsoft.com/office/drawing/2014/main" id="{8D799E99-DA44-405A-1171-AC3A15E35F72}"/>
                      </a:ext>
                    </a:extLst>
                  </p:cNvPr>
                  <p:cNvSpPr/>
                  <p:nvPr userDrawn="1"/>
                </p:nvSpPr>
                <p:spPr>
                  <a:xfrm>
                    <a:off x="8405039" y="448733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EC3D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41" name="Freeform: Shape 840">
                    <a:extLst>
                      <a:ext uri="{FF2B5EF4-FFF2-40B4-BE49-F238E27FC236}">
                        <a16:creationId xmlns:a16="http://schemas.microsoft.com/office/drawing/2014/main" id="{9256EC53-9C03-7590-A50A-6E8B2A0E72E5}"/>
                      </a:ext>
                    </a:extLst>
                  </p:cNvPr>
                  <p:cNvSpPr/>
                  <p:nvPr userDrawn="1"/>
                </p:nvSpPr>
                <p:spPr>
                  <a:xfrm>
                    <a:off x="8405577" y="4487453"/>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BEC4D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42" name="Freeform: Shape 841">
                    <a:extLst>
                      <a:ext uri="{FF2B5EF4-FFF2-40B4-BE49-F238E27FC236}">
                        <a16:creationId xmlns:a16="http://schemas.microsoft.com/office/drawing/2014/main" id="{F11D2210-2940-CBBE-0031-25FF37698592}"/>
                      </a:ext>
                    </a:extLst>
                  </p:cNvPr>
                  <p:cNvSpPr/>
                  <p:nvPr userDrawn="1"/>
                </p:nvSpPr>
                <p:spPr>
                  <a:xfrm>
                    <a:off x="8406115" y="448759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EC4D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43" name="Freeform: Shape 842">
                    <a:extLst>
                      <a:ext uri="{FF2B5EF4-FFF2-40B4-BE49-F238E27FC236}">
                        <a16:creationId xmlns:a16="http://schemas.microsoft.com/office/drawing/2014/main" id="{F5AB854B-BCB3-A8AE-A500-7795B30DEEF6}"/>
                      </a:ext>
                    </a:extLst>
                  </p:cNvPr>
                  <p:cNvSpPr/>
                  <p:nvPr userDrawn="1"/>
                </p:nvSpPr>
                <p:spPr>
                  <a:xfrm>
                    <a:off x="8406653" y="448773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EC4D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44" name="Freeform: Shape 843">
                    <a:extLst>
                      <a:ext uri="{FF2B5EF4-FFF2-40B4-BE49-F238E27FC236}">
                        <a16:creationId xmlns:a16="http://schemas.microsoft.com/office/drawing/2014/main" id="{C0B303FC-B5CA-D754-7899-EBBABFFC5ED0}"/>
                      </a:ext>
                    </a:extLst>
                  </p:cNvPr>
                  <p:cNvSpPr/>
                  <p:nvPr userDrawn="1"/>
                </p:nvSpPr>
                <p:spPr>
                  <a:xfrm>
                    <a:off x="8407191" y="448787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FC5D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45" name="Freeform: Shape 844">
                    <a:extLst>
                      <a:ext uri="{FF2B5EF4-FFF2-40B4-BE49-F238E27FC236}">
                        <a16:creationId xmlns:a16="http://schemas.microsoft.com/office/drawing/2014/main" id="{3BB9BC76-6BEC-4A52-201B-57F6B080E13F}"/>
                      </a:ext>
                    </a:extLst>
                  </p:cNvPr>
                  <p:cNvSpPr/>
                  <p:nvPr userDrawn="1"/>
                </p:nvSpPr>
                <p:spPr>
                  <a:xfrm>
                    <a:off x="8407730" y="4488015"/>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FC5D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46" name="Freeform: Shape 845">
                    <a:extLst>
                      <a:ext uri="{FF2B5EF4-FFF2-40B4-BE49-F238E27FC236}">
                        <a16:creationId xmlns:a16="http://schemas.microsoft.com/office/drawing/2014/main" id="{659083FE-EB8F-7C25-C6C8-B429E530F2FF}"/>
                      </a:ext>
                    </a:extLst>
                  </p:cNvPr>
                  <p:cNvSpPr/>
                  <p:nvPr userDrawn="1"/>
                </p:nvSpPr>
                <p:spPr>
                  <a:xfrm>
                    <a:off x="8408268" y="4488155"/>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23"/>
                          <a:pt x="0" y="9407"/>
                          <a:pt x="0" y="21037"/>
                        </a:cubicBezTo>
                        <a:close/>
                      </a:path>
                    </a:pathLst>
                  </a:custGeom>
                  <a:solidFill>
                    <a:srgbClr val="BFC5D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47" name="Freeform: Shape 846">
                    <a:extLst>
                      <a:ext uri="{FF2B5EF4-FFF2-40B4-BE49-F238E27FC236}">
                        <a16:creationId xmlns:a16="http://schemas.microsoft.com/office/drawing/2014/main" id="{EA6B1AEA-70F1-FEB4-8EBE-C5D903A79D1F}"/>
                      </a:ext>
                    </a:extLst>
                  </p:cNvPr>
                  <p:cNvSpPr/>
                  <p:nvPr userDrawn="1"/>
                </p:nvSpPr>
                <p:spPr>
                  <a:xfrm>
                    <a:off x="8408783" y="448829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C0C5D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48" name="Freeform: Shape 847">
                    <a:extLst>
                      <a:ext uri="{FF2B5EF4-FFF2-40B4-BE49-F238E27FC236}">
                        <a16:creationId xmlns:a16="http://schemas.microsoft.com/office/drawing/2014/main" id="{0A1764A2-D464-6BE7-3553-9C9FF80D9878}"/>
                      </a:ext>
                    </a:extLst>
                  </p:cNvPr>
                  <p:cNvSpPr/>
                  <p:nvPr userDrawn="1"/>
                </p:nvSpPr>
                <p:spPr>
                  <a:xfrm>
                    <a:off x="8409321" y="448843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C0C6D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49" name="Freeform: Shape 848">
                    <a:extLst>
                      <a:ext uri="{FF2B5EF4-FFF2-40B4-BE49-F238E27FC236}">
                        <a16:creationId xmlns:a16="http://schemas.microsoft.com/office/drawing/2014/main" id="{DDA6F555-DED0-B628-C531-2946B2081C9E}"/>
                      </a:ext>
                    </a:extLst>
                  </p:cNvPr>
                  <p:cNvSpPr/>
                  <p:nvPr userDrawn="1"/>
                </p:nvSpPr>
                <p:spPr>
                  <a:xfrm>
                    <a:off x="8409859" y="448857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23"/>
                          <a:pt x="0" y="9407"/>
                          <a:pt x="0" y="21037"/>
                        </a:cubicBezTo>
                        <a:close/>
                      </a:path>
                    </a:pathLst>
                  </a:custGeom>
                  <a:solidFill>
                    <a:srgbClr val="C0C6D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50" name="Freeform: Shape 849">
                    <a:extLst>
                      <a:ext uri="{FF2B5EF4-FFF2-40B4-BE49-F238E27FC236}">
                        <a16:creationId xmlns:a16="http://schemas.microsoft.com/office/drawing/2014/main" id="{22276E79-7A3A-FB21-11ED-C4FFC1CD16AF}"/>
                      </a:ext>
                    </a:extLst>
                  </p:cNvPr>
                  <p:cNvSpPr/>
                  <p:nvPr userDrawn="1"/>
                </p:nvSpPr>
                <p:spPr>
                  <a:xfrm>
                    <a:off x="8410374" y="4488717"/>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C1C6D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51" name="Freeform: Shape 850">
                    <a:extLst>
                      <a:ext uri="{FF2B5EF4-FFF2-40B4-BE49-F238E27FC236}">
                        <a16:creationId xmlns:a16="http://schemas.microsoft.com/office/drawing/2014/main" id="{04654498-BC42-A1F2-7BE0-5F028B4B9443}"/>
                      </a:ext>
                    </a:extLst>
                  </p:cNvPr>
                  <p:cNvSpPr/>
                  <p:nvPr userDrawn="1"/>
                </p:nvSpPr>
                <p:spPr>
                  <a:xfrm>
                    <a:off x="8410912" y="4488857"/>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C1C6D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52" name="Freeform: Shape 851">
                    <a:extLst>
                      <a:ext uri="{FF2B5EF4-FFF2-40B4-BE49-F238E27FC236}">
                        <a16:creationId xmlns:a16="http://schemas.microsoft.com/office/drawing/2014/main" id="{958F8095-7DA7-E28C-4882-5F8EE281F5CE}"/>
                      </a:ext>
                    </a:extLst>
                  </p:cNvPr>
                  <p:cNvSpPr/>
                  <p:nvPr userDrawn="1"/>
                </p:nvSpPr>
                <p:spPr>
                  <a:xfrm>
                    <a:off x="8411427" y="4489021"/>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C1C7D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53" name="Freeform: Shape 852">
                    <a:extLst>
                      <a:ext uri="{FF2B5EF4-FFF2-40B4-BE49-F238E27FC236}">
                        <a16:creationId xmlns:a16="http://schemas.microsoft.com/office/drawing/2014/main" id="{9786332B-9271-F134-7006-2F9A26F44F5E}"/>
                      </a:ext>
                    </a:extLst>
                  </p:cNvPr>
                  <p:cNvSpPr/>
                  <p:nvPr userDrawn="1"/>
                </p:nvSpPr>
                <p:spPr>
                  <a:xfrm>
                    <a:off x="8411965" y="4489161"/>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C2C7D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54" name="Freeform: Shape 853">
                    <a:extLst>
                      <a:ext uri="{FF2B5EF4-FFF2-40B4-BE49-F238E27FC236}">
                        <a16:creationId xmlns:a16="http://schemas.microsoft.com/office/drawing/2014/main" id="{4BF7D09D-3D14-A4F6-FE82-7020366617E4}"/>
                      </a:ext>
                    </a:extLst>
                  </p:cNvPr>
                  <p:cNvSpPr/>
                  <p:nvPr userDrawn="1"/>
                </p:nvSpPr>
                <p:spPr>
                  <a:xfrm>
                    <a:off x="8412480" y="4489302"/>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C2C7D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55" name="Freeform: Shape 854">
                    <a:extLst>
                      <a:ext uri="{FF2B5EF4-FFF2-40B4-BE49-F238E27FC236}">
                        <a16:creationId xmlns:a16="http://schemas.microsoft.com/office/drawing/2014/main" id="{4B591B4B-BF6E-5804-EA83-FC7029A39165}"/>
                      </a:ext>
                    </a:extLst>
                  </p:cNvPr>
                  <p:cNvSpPr/>
                  <p:nvPr userDrawn="1"/>
                </p:nvSpPr>
                <p:spPr>
                  <a:xfrm>
                    <a:off x="8413018" y="448946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23"/>
                          <a:pt x="0" y="9407"/>
                          <a:pt x="0" y="21037"/>
                        </a:cubicBezTo>
                        <a:close/>
                      </a:path>
                    </a:pathLst>
                  </a:custGeom>
                  <a:solidFill>
                    <a:srgbClr val="C2C8D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56" name="Freeform: Shape 855">
                    <a:extLst>
                      <a:ext uri="{FF2B5EF4-FFF2-40B4-BE49-F238E27FC236}">
                        <a16:creationId xmlns:a16="http://schemas.microsoft.com/office/drawing/2014/main" id="{78283B6F-BAAB-5909-5DF8-E51B1E2551C5}"/>
                      </a:ext>
                    </a:extLst>
                  </p:cNvPr>
                  <p:cNvSpPr/>
                  <p:nvPr userDrawn="1"/>
                </p:nvSpPr>
                <p:spPr>
                  <a:xfrm>
                    <a:off x="8413533" y="448960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C2C8D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57" name="Freeform: Shape 856">
                    <a:extLst>
                      <a:ext uri="{FF2B5EF4-FFF2-40B4-BE49-F238E27FC236}">
                        <a16:creationId xmlns:a16="http://schemas.microsoft.com/office/drawing/2014/main" id="{08C4D59F-BC70-5B90-D5CD-55C8A665867D}"/>
                      </a:ext>
                    </a:extLst>
                  </p:cNvPr>
                  <p:cNvSpPr/>
                  <p:nvPr userDrawn="1"/>
                </p:nvSpPr>
                <p:spPr>
                  <a:xfrm>
                    <a:off x="8414048" y="4489770"/>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C3C8D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58" name="Freeform: Shape 857">
                    <a:extLst>
                      <a:ext uri="{FF2B5EF4-FFF2-40B4-BE49-F238E27FC236}">
                        <a16:creationId xmlns:a16="http://schemas.microsoft.com/office/drawing/2014/main" id="{6D51AA62-AC32-569D-E67D-2E03CAB8A84F}"/>
                      </a:ext>
                    </a:extLst>
                  </p:cNvPr>
                  <p:cNvSpPr/>
                  <p:nvPr userDrawn="1"/>
                </p:nvSpPr>
                <p:spPr>
                  <a:xfrm>
                    <a:off x="8414586" y="4489910"/>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0"/>
                          <a:pt x="0" y="9407"/>
                          <a:pt x="0" y="21037"/>
                        </a:cubicBezTo>
                        <a:close/>
                      </a:path>
                    </a:pathLst>
                  </a:custGeom>
                  <a:solidFill>
                    <a:srgbClr val="C3C8D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59" name="Freeform: Shape 858">
                    <a:extLst>
                      <a:ext uri="{FF2B5EF4-FFF2-40B4-BE49-F238E27FC236}">
                        <a16:creationId xmlns:a16="http://schemas.microsoft.com/office/drawing/2014/main" id="{D904A4AE-4ED8-4764-D11F-DD1FE3F0D3C5}"/>
                      </a:ext>
                    </a:extLst>
                  </p:cNvPr>
                  <p:cNvSpPr/>
                  <p:nvPr userDrawn="1"/>
                </p:nvSpPr>
                <p:spPr>
                  <a:xfrm>
                    <a:off x="8415101" y="449007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23"/>
                          <a:pt x="0" y="9407"/>
                          <a:pt x="0" y="21037"/>
                        </a:cubicBezTo>
                        <a:close/>
                      </a:path>
                    </a:pathLst>
                  </a:custGeom>
                  <a:solidFill>
                    <a:srgbClr val="C3C9D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60" name="Freeform: Shape 859">
                    <a:extLst>
                      <a:ext uri="{FF2B5EF4-FFF2-40B4-BE49-F238E27FC236}">
                        <a16:creationId xmlns:a16="http://schemas.microsoft.com/office/drawing/2014/main" id="{45F1FB6D-F422-870A-B5F0-0D89C2B0A539}"/>
                      </a:ext>
                    </a:extLst>
                  </p:cNvPr>
                  <p:cNvSpPr/>
                  <p:nvPr userDrawn="1"/>
                </p:nvSpPr>
                <p:spPr>
                  <a:xfrm>
                    <a:off x="8415615" y="449021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C4C9D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61" name="Freeform: Shape 860">
                    <a:extLst>
                      <a:ext uri="{FF2B5EF4-FFF2-40B4-BE49-F238E27FC236}">
                        <a16:creationId xmlns:a16="http://schemas.microsoft.com/office/drawing/2014/main" id="{23B395E6-4835-3B7B-5894-8A63E69E528E}"/>
                      </a:ext>
                    </a:extLst>
                  </p:cNvPr>
                  <p:cNvSpPr/>
                  <p:nvPr userDrawn="1"/>
                </p:nvSpPr>
                <p:spPr>
                  <a:xfrm>
                    <a:off x="8416130" y="4490378"/>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C4C9D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62" name="Freeform: Shape 861">
                    <a:extLst>
                      <a:ext uri="{FF2B5EF4-FFF2-40B4-BE49-F238E27FC236}">
                        <a16:creationId xmlns:a16="http://schemas.microsoft.com/office/drawing/2014/main" id="{95BAA7CE-2085-AAB2-A2BE-B6E433DA4AFD}"/>
                      </a:ext>
                    </a:extLst>
                  </p:cNvPr>
                  <p:cNvSpPr/>
                  <p:nvPr userDrawn="1"/>
                </p:nvSpPr>
                <p:spPr>
                  <a:xfrm>
                    <a:off x="8416645" y="4490542"/>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C4CAD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63" name="Freeform: Shape 862">
                    <a:extLst>
                      <a:ext uri="{FF2B5EF4-FFF2-40B4-BE49-F238E27FC236}">
                        <a16:creationId xmlns:a16="http://schemas.microsoft.com/office/drawing/2014/main" id="{C10789A2-787A-EBED-C201-C593E8E8696C}"/>
                      </a:ext>
                    </a:extLst>
                  </p:cNvPr>
                  <p:cNvSpPr/>
                  <p:nvPr userDrawn="1"/>
                </p:nvSpPr>
                <p:spPr>
                  <a:xfrm>
                    <a:off x="8417160" y="449070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C5CAD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64" name="Freeform: Shape 863">
                    <a:extLst>
                      <a:ext uri="{FF2B5EF4-FFF2-40B4-BE49-F238E27FC236}">
                        <a16:creationId xmlns:a16="http://schemas.microsoft.com/office/drawing/2014/main" id="{4E0B2950-1FAC-CC3B-8457-9E41294E48D6}"/>
                      </a:ext>
                    </a:extLst>
                  </p:cNvPr>
                  <p:cNvSpPr/>
                  <p:nvPr userDrawn="1"/>
                </p:nvSpPr>
                <p:spPr>
                  <a:xfrm>
                    <a:off x="8417675" y="449082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C5CAD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65" name="Freeform: Shape 864">
                    <a:extLst>
                      <a:ext uri="{FF2B5EF4-FFF2-40B4-BE49-F238E27FC236}">
                        <a16:creationId xmlns:a16="http://schemas.microsoft.com/office/drawing/2014/main" id="{A7520080-8CBB-862E-85DF-31F98A8D343B}"/>
                      </a:ext>
                    </a:extLst>
                  </p:cNvPr>
                  <p:cNvSpPr/>
                  <p:nvPr userDrawn="1"/>
                </p:nvSpPr>
                <p:spPr>
                  <a:xfrm>
                    <a:off x="8418189" y="449098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C5CAD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66" name="Freeform: Shape 865">
                    <a:extLst>
                      <a:ext uri="{FF2B5EF4-FFF2-40B4-BE49-F238E27FC236}">
                        <a16:creationId xmlns:a16="http://schemas.microsoft.com/office/drawing/2014/main" id="{8D26C55F-873B-CB8F-1B11-A53BB444926B}"/>
                      </a:ext>
                    </a:extLst>
                  </p:cNvPr>
                  <p:cNvSpPr/>
                  <p:nvPr userDrawn="1"/>
                </p:nvSpPr>
                <p:spPr>
                  <a:xfrm>
                    <a:off x="8418704" y="449115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C5CBD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67" name="Freeform: Shape 866">
                    <a:extLst>
                      <a:ext uri="{FF2B5EF4-FFF2-40B4-BE49-F238E27FC236}">
                        <a16:creationId xmlns:a16="http://schemas.microsoft.com/office/drawing/2014/main" id="{824F8609-66A0-AEFA-FD25-222C8A762E8A}"/>
                      </a:ext>
                    </a:extLst>
                  </p:cNvPr>
                  <p:cNvSpPr/>
                  <p:nvPr userDrawn="1"/>
                </p:nvSpPr>
                <p:spPr>
                  <a:xfrm>
                    <a:off x="8419196" y="449131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6CBD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68" name="Freeform: Shape 867">
                    <a:extLst>
                      <a:ext uri="{FF2B5EF4-FFF2-40B4-BE49-F238E27FC236}">
                        <a16:creationId xmlns:a16="http://schemas.microsoft.com/office/drawing/2014/main" id="{D41610E8-20E8-D8BD-F1FE-01A1280B0F90}"/>
                      </a:ext>
                    </a:extLst>
                  </p:cNvPr>
                  <p:cNvSpPr/>
                  <p:nvPr userDrawn="1"/>
                </p:nvSpPr>
                <p:spPr>
                  <a:xfrm>
                    <a:off x="8419710" y="449147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6CBD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69" name="Freeform: Shape 868">
                    <a:extLst>
                      <a:ext uri="{FF2B5EF4-FFF2-40B4-BE49-F238E27FC236}">
                        <a16:creationId xmlns:a16="http://schemas.microsoft.com/office/drawing/2014/main" id="{1C33F9D1-29FA-23CF-8615-D71EBC57365E}"/>
                      </a:ext>
                    </a:extLst>
                  </p:cNvPr>
                  <p:cNvSpPr/>
                  <p:nvPr userDrawn="1"/>
                </p:nvSpPr>
                <p:spPr>
                  <a:xfrm>
                    <a:off x="8420225" y="449164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C6CBD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70" name="Freeform: Shape 869">
                    <a:extLst>
                      <a:ext uri="{FF2B5EF4-FFF2-40B4-BE49-F238E27FC236}">
                        <a16:creationId xmlns:a16="http://schemas.microsoft.com/office/drawing/2014/main" id="{CB54DB4E-2EB8-780B-4A0D-1984A93BABC3}"/>
                      </a:ext>
                    </a:extLst>
                  </p:cNvPr>
                  <p:cNvSpPr/>
                  <p:nvPr userDrawn="1"/>
                </p:nvSpPr>
                <p:spPr>
                  <a:xfrm>
                    <a:off x="8420717" y="449180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7CCD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71" name="Freeform: Shape 870">
                    <a:extLst>
                      <a:ext uri="{FF2B5EF4-FFF2-40B4-BE49-F238E27FC236}">
                        <a16:creationId xmlns:a16="http://schemas.microsoft.com/office/drawing/2014/main" id="{8AEBC39F-77A1-2AF3-D747-089C31353F59}"/>
                      </a:ext>
                    </a:extLst>
                  </p:cNvPr>
                  <p:cNvSpPr/>
                  <p:nvPr userDrawn="1"/>
                </p:nvSpPr>
                <p:spPr>
                  <a:xfrm>
                    <a:off x="8421231" y="449196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C7CCD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72" name="Freeform: Shape 871">
                    <a:extLst>
                      <a:ext uri="{FF2B5EF4-FFF2-40B4-BE49-F238E27FC236}">
                        <a16:creationId xmlns:a16="http://schemas.microsoft.com/office/drawing/2014/main" id="{DFBE6E34-0237-0905-D05E-7F72801362CC}"/>
                      </a:ext>
                    </a:extLst>
                  </p:cNvPr>
                  <p:cNvSpPr/>
                  <p:nvPr userDrawn="1"/>
                </p:nvSpPr>
                <p:spPr>
                  <a:xfrm>
                    <a:off x="8421723" y="449215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7CCD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73" name="Freeform: Shape 872">
                    <a:extLst>
                      <a:ext uri="{FF2B5EF4-FFF2-40B4-BE49-F238E27FC236}">
                        <a16:creationId xmlns:a16="http://schemas.microsoft.com/office/drawing/2014/main" id="{6462F41C-84A7-90DA-A6B2-1EF25E4E0064}"/>
                      </a:ext>
                    </a:extLst>
                  </p:cNvPr>
                  <p:cNvSpPr/>
                  <p:nvPr userDrawn="1"/>
                </p:nvSpPr>
                <p:spPr>
                  <a:xfrm>
                    <a:off x="8422238" y="449232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8CDD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74" name="Freeform: Shape 873">
                    <a:extLst>
                      <a:ext uri="{FF2B5EF4-FFF2-40B4-BE49-F238E27FC236}">
                        <a16:creationId xmlns:a16="http://schemas.microsoft.com/office/drawing/2014/main" id="{27E56B92-D8E3-103B-9228-F9115276E1D8}"/>
                      </a:ext>
                    </a:extLst>
                  </p:cNvPr>
                  <p:cNvSpPr/>
                  <p:nvPr userDrawn="1"/>
                </p:nvSpPr>
                <p:spPr>
                  <a:xfrm>
                    <a:off x="8422729" y="449248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8CDD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75" name="Freeform: Shape 874">
                    <a:extLst>
                      <a:ext uri="{FF2B5EF4-FFF2-40B4-BE49-F238E27FC236}">
                        <a16:creationId xmlns:a16="http://schemas.microsoft.com/office/drawing/2014/main" id="{CC052A4A-2E65-D62B-7FE4-8212AC58AC3C}"/>
                      </a:ext>
                    </a:extLst>
                  </p:cNvPr>
                  <p:cNvSpPr/>
                  <p:nvPr userDrawn="1"/>
                </p:nvSpPr>
                <p:spPr>
                  <a:xfrm>
                    <a:off x="8423244" y="449264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54"/>
                          <a:pt x="0" y="21060"/>
                        </a:cubicBezTo>
                        <a:close/>
                      </a:path>
                    </a:pathLst>
                  </a:custGeom>
                  <a:solidFill>
                    <a:srgbClr val="C8CDD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76" name="Freeform: Shape 875">
                    <a:extLst>
                      <a:ext uri="{FF2B5EF4-FFF2-40B4-BE49-F238E27FC236}">
                        <a16:creationId xmlns:a16="http://schemas.microsoft.com/office/drawing/2014/main" id="{CC0EF91D-6EE0-7BA4-CC12-C25D05098596}"/>
                      </a:ext>
                    </a:extLst>
                  </p:cNvPr>
                  <p:cNvSpPr/>
                  <p:nvPr userDrawn="1"/>
                </p:nvSpPr>
                <p:spPr>
                  <a:xfrm>
                    <a:off x="8423735" y="449283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C9CDD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77" name="Freeform: Shape 876">
                    <a:extLst>
                      <a:ext uri="{FF2B5EF4-FFF2-40B4-BE49-F238E27FC236}">
                        <a16:creationId xmlns:a16="http://schemas.microsoft.com/office/drawing/2014/main" id="{E34E9EFD-90B1-4930-578F-D18C1777D63E}"/>
                      </a:ext>
                    </a:extLst>
                  </p:cNvPr>
                  <p:cNvSpPr/>
                  <p:nvPr userDrawn="1"/>
                </p:nvSpPr>
                <p:spPr>
                  <a:xfrm>
                    <a:off x="8424227" y="449299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9CED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78" name="Freeform: Shape 877">
                    <a:extLst>
                      <a:ext uri="{FF2B5EF4-FFF2-40B4-BE49-F238E27FC236}">
                        <a16:creationId xmlns:a16="http://schemas.microsoft.com/office/drawing/2014/main" id="{3710BC05-9019-8603-904F-09F4D2B99D1F}"/>
                      </a:ext>
                    </a:extLst>
                  </p:cNvPr>
                  <p:cNvSpPr/>
                  <p:nvPr userDrawn="1"/>
                </p:nvSpPr>
                <p:spPr>
                  <a:xfrm>
                    <a:off x="8424718" y="449318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9CED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79" name="Freeform: Shape 878">
                    <a:extLst>
                      <a:ext uri="{FF2B5EF4-FFF2-40B4-BE49-F238E27FC236}">
                        <a16:creationId xmlns:a16="http://schemas.microsoft.com/office/drawing/2014/main" id="{BD230C9C-6882-72EB-739D-45768FD559BC}"/>
                      </a:ext>
                    </a:extLst>
                  </p:cNvPr>
                  <p:cNvSpPr/>
                  <p:nvPr userDrawn="1"/>
                </p:nvSpPr>
                <p:spPr>
                  <a:xfrm>
                    <a:off x="8425209" y="449335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9CED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80" name="Freeform: Shape 879">
                    <a:extLst>
                      <a:ext uri="{FF2B5EF4-FFF2-40B4-BE49-F238E27FC236}">
                        <a16:creationId xmlns:a16="http://schemas.microsoft.com/office/drawing/2014/main" id="{538E637C-7F58-D595-AFC5-294D7062EBFC}"/>
                      </a:ext>
                    </a:extLst>
                  </p:cNvPr>
                  <p:cNvSpPr/>
                  <p:nvPr userDrawn="1"/>
                </p:nvSpPr>
                <p:spPr>
                  <a:xfrm>
                    <a:off x="8425701" y="449353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ACFD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81" name="Freeform: Shape 880">
                    <a:extLst>
                      <a:ext uri="{FF2B5EF4-FFF2-40B4-BE49-F238E27FC236}">
                        <a16:creationId xmlns:a16="http://schemas.microsoft.com/office/drawing/2014/main" id="{39C1380E-35A8-FE77-02BD-CBD73EB0B3CD}"/>
                      </a:ext>
                    </a:extLst>
                  </p:cNvPr>
                  <p:cNvSpPr/>
                  <p:nvPr userDrawn="1"/>
                </p:nvSpPr>
                <p:spPr>
                  <a:xfrm>
                    <a:off x="8426192" y="449370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ACFD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82" name="Freeform: Shape 881">
                    <a:extLst>
                      <a:ext uri="{FF2B5EF4-FFF2-40B4-BE49-F238E27FC236}">
                        <a16:creationId xmlns:a16="http://schemas.microsoft.com/office/drawing/2014/main" id="{74CAF148-0156-EB79-103E-BBF0671487B9}"/>
                      </a:ext>
                    </a:extLst>
                  </p:cNvPr>
                  <p:cNvSpPr/>
                  <p:nvPr userDrawn="1"/>
                </p:nvSpPr>
                <p:spPr>
                  <a:xfrm>
                    <a:off x="8426684" y="449388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ACFD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83" name="Freeform: Shape 882">
                    <a:extLst>
                      <a:ext uri="{FF2B5EF4-FFF2-40B4-BE49-F238E27FC236}">
                        <a16:creationId xmlns:a16="http://schemas.microsoft.com/office/drawing/2014/main" id="{6B805E67-270E-1FAF-F913-8FBE26C012E0}"/>
                      </a:ext>
                    </a:extLst>
                  </p:cNvPr>
                  <p:cNvSpPr/>
                  <p:nvPr userDrawn="1"/>
                </p:nvSpPr>
                <p:spPr>
                  <a:xfrm>
                    <a:off x="8427175" y="449407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BCFD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84" name="Freeform: Shape 883">
                    <a:extLst>
                      <a:ext uri="{FF2B5EF4-FFF2-40B4-BE49-F238E27FC236}">
                        <a16:creationId xmlns:a16="http://schemas.microsoft.com/office/drawing/2014/main" id="{CB0B7843-6C1D-DB03-56F8-A72F6CA33C17}"/>
                      </a:ext>
                    </a:extLst>
                  </p:cNvPr>
                  <p:cNvSpPr/>
                  <p:nvPr userDrawn="1"/>
                </p:nvSpPr>
                <p:spPr>
                  <a:xfrm>
                    <a:off x="8427666" y="449423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CBD0D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85" name="Freeform: Shape 884">
                    <a:extLst>
                      <a:ext uri="{FF2B5EF4-FFF2-40B4-BE49-F238E27FC236}">
                        <a16:creationId xmlns:a16="http://schemas.microsoft.com/office/drawing/2014/main" id="{A8F563A2-23E5-1A9F-1F3C-70FE0EA8A917}"/>
                      </a:ext>
                    </a:extLst>
                  </p:cNvPr>
                  <p:cNvSpPr/>
                  <p:nvPr userDrawn="1"/>
                </p:nvSpPr>
                <p:spPr>
                  <a:xfrm>
                    <a:off x="8428135" y="449442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BD0D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86" name="Freeform: Shape 885">
                    <a:extLst>
                      <a:ext uri="{FF2B5EF4-FFF2-40B4-BE49-F238E27FC236}">
                        <a16:creationId xmlns:a16="http://schemas.microsoft.com/office/drawing/2014/main" id="{DD024ABE-FBFF-96C9-B00B-A4D3D73D02B4}"/>
                      </a:ext>
                    </a:extLst>
                  </p:cNvPr>
                  <p:cNvSpPr/>
                  <p:nvPr userDrawn="1"/>
                </p:nvSpPr>
                <p:spPr>
                  <a:xfrm>
                    <a:off x="8428626" y="449461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CD0D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87" name="Freeform: Shape 886">
                    <a:extLst>
                      <a:ext uri="{FF2B5EF4-FFF2-40B4-BE49-F238E27FC236}">
                        <a16:creationId xmlns:a16="http://schemas.microsoft.com/office/drawing/2014/main" id="{CC6109E6-DF2E-4D68-2977-895C494B1021}"/>
                      </a:ext>
                    </a:extLst>
                  </p:cNvPr>
                  <p:cNvSpPr/>
                  <p:nvPr userDrawn="1"/>
                </p:nvSpPr>
                <p:spPr>
                  <a:xfrm>
                    <a:off x="8429117" y="449480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CCD0D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88" name="Freeform: Shape 887">
                    <a:extLst>
                      <a:ext uri="{FF2B5EF4-FFF2-40B4-BE49-F238E27FC236}">
                        <a16:creationId xmlns:a16="http://schemas.microsoft.com/office/drawing/2014/main" id="{542F8F32-9BD4-C341-CB0F-2AE02775B79A}"/>
                      </a:ext>
                    </a:extLst>
                  </p:cNvPr>
                  <p:cNvSpPr/>
                  <p:nvPr userDrawn="1"/>
                </p:nvSpPr>
                <p:spPr>
                  <a:xfrm>
                    <a:off x="8429585" y="449498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CD1D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89" name="Freeform: Shape 888">
                    <a:extLst>
                      <a:ext uri="{FF2B5EF4-FFF2-40B4-BE49-F238E27FC236}">
                        <a16:creationId xmlns:a16="http://schemas.microsoft.com/office/drawing/2014/main" id="{65554A78-99EF-B443-98B3-9017BC0E5C4C}"/>
                      </a:ext>
                    </a:extLst>
                  </p:cNvPr>
                  <p:cNvSpPr/>
                  <p:nvPr userDrawn="1"/>
                </p:nvSpPr>
                <p:spPr>
                  <a:xfrm>
                    <a:off x="8430077" y="449517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CDD1D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90" name="Freeform: Shape 889">
                    <a:extLst>
                      <a:ext uri="{FF2B5EF4-FFF2-40B4-BE49-F238E27FC236}">
                        <a16:creationId xmlns:a16="http://schemas.microsoft.com/office/drawing/2014/main" id="{35E7468F-FF5C-5C67-F77D-452CBA9872D8}"/>
                      </a:ext>
                    </a:extLst>
                  </p:cNvPr>
                  <p:cNvSpPr/>
                  <p:nvPr userDrawn="1"/>
                </p:nvSpPr>
                <p:spPr>
                  <a:xfrm>
                    <a:off x="8430545" y="449533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CDD1D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91" name="Freeform: Shape 890">
                    <a:extLst>
                      <a:ext uri="{FF2B5EF4-FFF2-40B4-BE49-F238E27FC236}">
                        <a16:creationId xmlns:a16="http://schemas.microsoft.com/office/drawing/2014/main" id="{47DC11BC-9403-376F-A9F9-972E1A071684}"/>
                      </a:ext>
                    </a:extLst>
                  </p:cNvPr>
                  <p:cNvSpPr/>
                  <p:nvPr userDrawn="1"/>
                </p:nvSpPr>
                <p:spPr>
                  <a:xfrm>
                    <a:off x="8431013" y="449555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DD2D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92" name="Freeform: Shape 891">
                    <a:extLst>
                      <a:ext uri="{FF2B5EF4-FFF2-40B4-BE49-F238E27FC236}">
                        <a16:creationId xmlns:a16="http://schemas.microsoft.com/office/drawing/2014/main" id="{CA5CD9E6-BF9D-5FB1-5984-83A65AE7333D}"/>
                      </a:ext>
                    </a:extLst>
                  </p:cNvPr>
                  <p:cNvSpPr/>
                  <p:nvPr userDrawn="1"/>
                </p:nvSpPr>
                <p:spPr>
                  <a:xfrm>
                    <a:off x="8431504" y="449573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CDD2D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93" name="Freeform: Shape 892">
                    <a:extLst>
                      <a:ext uri="{FF2B5EF4-FFF2-40B4-BE49-F238E27FC236}">
                        <a16:creationId xmlns:a16="http://schemas.microsoft.com/office/drawing/2014/main" id="{579BCED4-664D-19F1-2359-686FEF494FB6}"/>
                      </a:ext>
                    </a:extLst>
                  </p:cNvPr>
                  <p:cNvSpPr/>
                  <p:nvPr userDrawn="1"/>
                </p:nvSpPr>
                <p:spPr>
                  <a:xfrm>
                    <a:off x="8431972" y="449592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ED2D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94" name="Freeform: Shape 893">
                    <a:extLst>
                      <a:ext uri="{FF2B5EF4-FFF2-40B4-BE49-F238E27FC236}">
                        <a16:creationId xmlns:a16="http://schemas.microsoft.com/office/drawing/2014/main" id="{D4D82079-4C9E-EDE7-7BB9-E74E708884FA}"/>
                      </a:ext>
                    </a:extLst>
                  </p:cNvPr>
                  <p:cNvSpPr/>
                  <p:nvPr userDrawn="1"/>
                </p:nvSpPr>
                <p:spPr>
                  <a:xfrm>
                    <a:off x="8432440" y="449611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ED2D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95" name="Freeform: Shape 894">
                    <a:extLst>
                      <a:ext uri="{FF2B5EF4-FFF2-40B4-BE49-F238E27FC236}">
                        <a16:creationId xmlns:a16="http://schemas.microsoft.com/office/drawing/2014/main" id="{387BA735-9AE2-4AA9-4CB5-F2FDBA3F6D9C}"/>
                      </a:ext>
                    </a:extLst>
                  </p:cNvPr>
                  <p:cNvSpPr/>
                  <p:nvPr userDrawn="1"/>
                </p:nvSpPr>
                <p:spPr>
                  <a:xfrm>
                    <a:off x="8432908" y="449629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ED3D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96" name="Freeform: Shape 895">
                    <a:extLst>
                      <a:ext uri="{FF2B5EF4-FFF2-40B4-BE49-F238E27FC236}">
                        <a16:creationId xmlns:a16="http://schemas.microsoft.com/office/drawing/2014/main" id="{7FAC67CF-5EF6-4AA4-9002-F74A19BC8760}"/>
                      </a:ext>
                    </a:extLst>
                  </p:cNvPr>
                  <p:cNvSpPr/>
                  <p:nvPr userDrawn="1"/>
                </p:nvSpPr>
                <p:spPr>
                  <a:xfrm>
                    <a:off x="8433376" y="449648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FD3D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97" name="Freeform: Shape 896">
                    <a:extLst>
                      <a:ext uri="{FF2B5EF4-FFF2-40B4-BE49-F238E27FC236}">
                        <a16:creationId xmlns:a16="http://schemas.microsoft.com/office/drawing/2014/main" id="{D67B2A48-7AFA-5555-2E3A-0DF0078B6A17}"/>
                      </a:ext>
                    </a:extLst>
                  </p:cNvPr>
                  <p:cNvSpPr/>
                  <p:nvPr userDrawn="1"/>
                </p:nvSpPr>
                <p:spPr>
                  <a:xfrm>
                    <a:off x="8433844" y="449667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CFD3E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98" name="Freeform: Shape 897">
                    <a:extLst>
                      <a:ext uri="{FF2B5EF4-FFF2-40B4-BE49-F238E27FC236}">
                        <a16:creationId xmlns:a16="http://schemas.microsoft.com/office/drawing/2014/main" id="{44D75258-8BC6-00F0-6360-DF72F2EE3DA8}"/>
                      </a:ext>
                    </a:extLst>
                  </p:cNvPr>
                  <p:cNvSpPr/>
                  <p:nvPr userDrawn="1"/>
                </p:nvSpPr>
                <p:spPr>
                  <a:xfrm>
                    <a:off x="8434312" y="449688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CFD4E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899" name="Freeform: Shape 898">
                    <a:extLst>
                      <a:ext uri="{FF2B5EF4-FFF2-40B4-BE49-F238E27FC236}">
                        <a16:creationId xmlns:a16="http://schemas.microsoft.com/office/drawing/2014/main" id="{B497346A-6618-B7A6-4AA1-2920EE7006A2}"/>
                      </a:ext>
                    </a:extLst>
                  </p:cNvPr>
                  <p:cNvSpPr/>
                  <p:nvPr userDrawn="1"/>
                </p:nvSpPr>
                <p:spPr>
                  <a:xfrm>
                    <a:off x="8434780" y="449707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D0D4E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00" name="Freeform: Shape 899">
                    <a:extLst>
                      <a:ext uri="{FF2B5EF4-FFF2-40B4-BE49-F238E27FC236}">
                        <a16:creationId xmlns:a16="http://schemas.microsoft.com/office/drawing/2014/main" id="{31BA75B6-AAEE-5A41-E8D6-C6C154FFDFDA}"/>
                      </a:ext>
                    </a:extLst>
                  </p:cNvPr>
                  <p:cNvSpPr/>
                  <p:nvPr userDrawn="1"/>
                </p:nvSpPr>
                <p:spPr>
                  <a:xfrm>
                    <a:off x="8435225" y="449728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0D4E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01" name="Freeform: Shape 900">
                    <a:extLst>
                      <a:ext uri="{FF2B5EF4-FFF2-40B4-BE49-F238E27FC236}">
                        <a16:creationId xmlns:a16="http://schemas.microsoft.com/office/drawing/2014/main" id="{E94671A1-D71A-C225-72B4-A7A29B885E82}"/>
                      </a:ext>
                    </a:extLst>
                  </p:cNvPr>
                  <p:cNvSpPr/>
                  <p:nvPr userDrawn="1"/>
                </p:nvSpPr>
                <p:spPr>
                  <a:xfrm>
                    <a:off x="8435693" y="449746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0D4E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02" name="Freeform: Shape 901">
                    <a:extLst>
                      <a:ext uri="{FF2B5EF4-FFF2-40B4-BE49-F238E27FC236}">
                        <a16:creationId xmlns:a16="http://schemas.microsoft.com/office/drawing/2014/main" id="{CC79461D-881C-9765-2EEC-DDA5FF5D1131}"/>
                      </a:ext>
                    </a:extLst>
                  </p:cNvPr>
                  <p:cNvSpPr/>
                  <p:nvPr userDrawn="1"/>
                </p:nvSpPr>
                <p:spPr>
                  <a:xfrm>
                    <a:off x="8436137" y="449765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D1D5E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03" name="Freeform: Shape 902">
                    <a:extLst>
                      <a:ext uri="{FF2B5EF4-FFF2-40B4-BE49-F238E27FC236}">
                        <a16:creationId xmlns:a16="http://schemas.microsoft.com/office/drawing/2014/main" id="{317140F9-6B32-91D9-0D99-59FBFAA7BAE9}"/>
                      </a:ext>
                    </a:extLst>
                  </p:cNvPr>
                  <p:cNvSpPr/>
                  <p:nvPr userDrawn="1"/>
                </p:nvSpPr>
                <p:spPr>
                  <a:xfrm>
                    <a:off x="8436605" y="449786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1D5E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04" name="Freeform: Shape 903">
                    <a:extLst>
                      <a:ext uri="{FF2B5EF4-FFF2-40B4-BE49-F238E27FC236}">
                        <a16:creationId xmlns:a16="http://schemas.microsoft.com/office/drawing/2014/main" id="{88DA5E3F-53B7-1249-B30B-95033805CFE9}"/>
                      </a:ext>
                    </a:extLst>
                  </p:cNvPr>
                  <p:cNvSpPr/>
                  <p:nvPr userDrawn="1"/>
                </p:nvSpPr>
                <p:spPr>
                  <a:xfrm>
                    <a:off x="8437050" y="449807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1D5E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05" name="Freeform: Shape 904">
                    <a:extLst>
                      <a:ext uri="{FF2B5EF4-FFF2-40B4-BE49-F238E27FC236}">
                        <a16:creationId xmlns:a16="http://schemas.microsoft.com/office/drawing/2014/main" id="{72BEB366-F796-A016-9FA8-D5AFD8CF8366}"/>
                      </a:ext>
                    </a:extLst>
                  </p:cNvPr>
                  <p:cNvSpPr/>
                  <p:nvPr userDrawn="1"/>
                </p:nvSpPr>
                <p:spPr>
                  <a:xfrm>
                    <a:off x="8437518" y="449826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D1D6E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06" name="Freeform: Shape 905">
                    <a:extLst>
                      <a:ext uri="{FF2B5EF4-FFF2-40B4-BE49-F238E27FC236}">
                        <a16:creationId xmlns:a16="http://schemas.microsoft.com/office/drawing/2014/main" id="{E9B09D97-9CC2-C3E5-8F62-495B6CEBE0AA}"/>
                      </a:ext>
                    </a:extLst>
                  </p:cNvPr>
                  <p:cNvSpPr/>
                  <p:nvPr userDrawn="1"/>
                </p:nvSpPr>
                <p:spPr>
                  <a:xfrm>
                    <a:off x="8437963" y="449847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2D6E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07" name="Freeform: Shape 906">
                    <a:extLst>
                      <a:ext uri="{FF2B5EF4-FFF2-40B4-BE49-F238E27FC236}">
                        <a16:creationId xmlns:a16="http://schemas.microsoft.com/office/drawing/2014/main" id="{0E67A3BB-2513-210B-6DB5-0674F47CF87B}"/>
                      </a:ext>
                    </a:extLst>
                  </p:cNvPr>
                  <p:cNvSpPr/>
                  <p:nvPr userDrawn="1"/>
                </p:nvSpPr>
                <p:spPr>
                  <a:xfrm>
                    <a:off x="8438407" y="449866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D2D6E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08" name="Freeform: Shape 907">
                    <a:extLst>
                      <a:ext uri="{FF2B5EF4-FFF2-40B4-BE49-F238E27FC236}">
                        <a16:creationId xmlns:a16="http://schemas.microsoft.com/office/drawing/2014/main" id="{B5B74263-768D-5B49-4478-F9AA77A19E16}"/>
                      </a:ext>
                    </a:extLst>
                  </p:cNvPr>
                  <p:cNvSpPr/>
                  <p:nvPr userDrawn="1"/>
                </p:nvSpPr>
                <p:spPr>
                  <a:xfrm>
                    <a:off x="8438852" y="449887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D2D6E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09" name="Freeform: Shape 908">
                    <a:extLst>
                      <a:ext uri="{FF2B5EF4-FFF2-40B4-BE49-F238E27FC236}">
                        <a16:creationId xmlns:a16="http://schemas.microsoft.com/office/drawing/2014/main" id="{1E26EC0A-849F-F746-1601-7D396621F567}"/>
                      </a:ext>
                    </a:extLst>
                  </p:cNvPr>
                  <p:cNvSpPr/>
                  <p:nvPr userDrawn="1"/>
                </p:nvSpPr>
                <p:spPr>
                  <a:xfrm>
                    <a:off x="8439296" y="449908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3D7E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10" name="Freeform: Shape 909">
                    <a:extLst>
                      <a:ext uri="{FF2B5EF4-FFF2-40B4-BE49-F238E27FC236}">
                        <a16:creationId xmlns:a16="http://schemas.microsoft.com/office/drawing/2014/main" id="{3C768C6D-05FE-94FF-E48D-0456AF22F7F4}"/>
                      </a:ext>
                    </a:extLst>
                  </p:cNvPr>
                  <p:cNvSpPr/>
                  <p:nvPr userDrawn="1"/>
                </p:nvSpPr>
                <p:spPr>
                  <a:xfrm>
                    <a:off x="8439741" y="449929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3D7E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11" name="Freeform: Shape 910">
                    <a:extLst>
                      <a:ext uri="{FF2B5EF4-FFF2-40B4-BE49-F238E27FC236}">
                        <a16:creationId xmlns:a16="http://schemas.microsoft.com/office/drawing/2014/main" id="{447B57AF-B87E-212A-F453-692C01A3E657}"/>
                      </a:ext>
                    </a:extLst>
                  </p:cNvPr>
                  <p:cNvSpPr/>
                  <p:nvPr userDrawn="1"/>
                </p:nvSpPr>
                <p:spPr>
                  <a:xfrm>
                    <a:off x="8440186" y="449950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3D7E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12" name="Freeform: Shape 911">
                    <a:extLst>
                      <a:ext uri="{FF2B5EF4-FFF2-40B4-BE49-F238E27FC236}">
                        <a16:creationId xmlns:a16="http://schemas.microsoft.com/office/drawing/2014/main" id="{09ADDD01-3C1D-4107-B2DD-A6DC75AD7291}"/>
                      </a:ext>
                    </a:extLst>
                  </p:cNvPr>
                  <p:cNvSpPr/>
                  <p:nvPr userDrawn="1"/>
                </p:nvSpPr>
                <p:spPr>
                  <a:xfrm>
                    <a:off x="8440630" y="449971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4D7E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13" name="Freeform: Shape 912">
                    <a:extLst>
                      <a:ext uri="{FF2B5EF4-FFF2-40B4-BE49-F238E27FC236}">
                        <a16:creationId xmlns:a16="http://schemas.microsoft.com/office/drawing/2014/main" id="{49ECFA28-6E60-5D66-352C-A373040DFE07}"/>
                      </a:ext>
                    </a:extLst>
                  </p:cNvPr>
                  <p:cNvSpPr/>
                  <p:nvPr userDrawn="1"/>
                </p:nvSpPr>
                <p:spPr>
                  <a:xfrm>
                    <a:off x="8441075" y="449990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54"/>
                          <a:pt x="0" y="21060"/>
                        </a:cubicBezTo>
                        <a:close/>
                      </a:path>
                    </a:pathLst>
                  </a:custGeom>
                  <a:solidFill>
                    <a:srgbClr val="D4D8E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14" name="Freeform: Shape 913">
                    <a:extLst>
                      <a:ext uri="{FF2B5EF4-FFF2-40B4-BE49-F238E27FC236}">
                        <a16:creationId xmlns:a16="http://schemas.microsoft.com/office/drawing/2014/main" id="{80E5080D-784F-7A7F-3539-FEBE4F69994E}"/>
                      </a:ext>
                    </a:extLst>
                  </p:cNvPr>
                  <p:cNvSpPr/>
                  <p:nvPr userDrawn="1"/>
                </p:nvSpPr>
                <p:spPr>
                  <a:xfrm>
                    <a:off x="8441496" y="450011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D4D8E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15" name="Freeform: Shape 914">
                    <a:extLst>
                      <a:ext uri="{FF2B5EF4-FFF2-40B4-BE49-F238E27FC236}">
                        <a16:creationId xmlns:a16="http://schemas.microsoft.com/office/drawing/2014/main" id="{6AD61782-E667-BCFA-0988-C982F13D7779}"/>
                      </a:ext>
                    </a:extLst>
                  </p:cNvPr>
                  <p:cNvSpPr/>
                  <p:nvPr userDrawn="1"/>
                </p:nvSpPr>
                <p:spPr>
                  <a:xfrm>
                    <a:off x="8441941" y="450032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D4D8E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16" name="Freeform: Shape 915">
                    <a:extLst>
                      <a:ext uri="{FF2B5EF4-FFF2-40B4-BE49-F238E27FC236}">
                        <a16:creationId xmlns:a16="http://schemas.microsoft.com/office/drawing/2014/main" id="{5EB87722-1393-AC01-62D4-BE28ED69510D}"/>
                      </a:ext>
                    </a:extLst>
                  </p:cNvPr>
                  <p:cNvSpPr/>
                  <p:nvPr userDrawn="1"/>
                </p:nvSpPr>
                <p:spPr>
                  <a:xfrm>
                    <a:off x="8442362" y="450053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D5D9E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17" name="Freeform: Shape 916">
                    <a:extLst>
                      <a:ext uri="{FF2B5EF4-FFF2-40B4-BE49-F238E27FC236}">
                        <a16:creationId xmlns:a16="http://schemas.microsoft.com/office/drawing/2014/main" id="{1005C013-B726-ADCE-325A-4F9091B31183}"/>
                      </a:ext>
                    </a:extLst>
                  </p:cNvPr>
                  <p:cNvSpPr/>
                  <p:nvPr userDrawn="1"/>
                </p:nvSpPr>
                <p:spPr>
                  <a:xfrm>
                    <a:off x="8442806" y="450076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5D9E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18" name="Freeform: Shape 917">
                    <a:extLst>
                      <a:ext uri="{FF2B5EF4-FFF2-40B4-BE49-F238E27FC236}">
                        <a16:creationId xmlns:a16="http://schemas.microsoft.com/office/drawing/2014/main" id="{40C6F805-9B2D-383F-D28F-6A41AA579AA0}"/>
                      </a:ext>
                    </a:extLst>
                  </p:cNvPr>
                  <p:cNvSpPr/>
                  <p:nvPr userDrawn="1"/>
                </p:nvSpPr>
                <p:spPr>
                  <a:xfrm>
                    <a:off x="8443228" y="450097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5D9E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19" name="Freeform: Shape 918">
                    <a:extLst>
                      <a:ext uri="{FF2B5EF4-FFF2-40B4-BE49-F238E27FC236}">
                        <a16:creationId xmlns:a16="http://schemas.microsoft.com/office/drawing/2014/main" id="{2373CAB1-5F4F-F642-6095-004FB5C3D277}"/>
                      </a:ext>
                    </a:extLst>
                  </p:cNvPr>
                  <p:cNvSpPr/>
                  <p:nvPr userDrawn="1"/>
                </p:nvSpPr>
                <p:spPr>
                  <a:xfrm>
                    <a:off x="8443649" y="450118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6D9E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20" name="Freeform: Shape 919">
                    <a:extLst>
                      <a:ext uri="{FF2B5EF4-FFF2-40B4-BE49-F238E27FC236}">
                        <a16:creationId xmlns:a16="http://schemas.microsoft.com/office/drawing/2014/main" id="{57191449-B726-314C-89C2-ACB9DE4D319B}"/>
                      </a:ext>
                    </a:extLst>
                  </p:cNvPr>
                  <p:cNvSpPr/>
                  <p:nvPr userDrawn="1"/>
                </p:nvSpPr>
                <p:spPr>
                  <a:xfrm>
                    <a:off x="8444093" y="450140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6DAE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21" name="Freeform: Shape 920">
                    <a:extLst>
                      <a:ext uri="{FF2B5EF4-FFF2-40B4-BE49-F238E27FC236}">
                        <a16:creationId xmlns:a16="http://schemas.microsoft.com/office/drawing/2014/main" id="{76052370-0938-A7DF-AE19-A070DB0EBAA3}"/>
                      </a:ext>
                    </a:extLst>
                  </p:cNvPr>
                  <p:cNvSpPr/>
                  <p:nvPr userDrawn="1"/>
                </p:nvSpPr>
                <p:spPr>
                  <a:xfrm>
                    <a:off x="8444515" y="450161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D6DAE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22" name="Freeform: Shape 921">
                    <a:extLst>
                      <a:ext uri="{FF2B5EF4-FFF2-40B4-BE49-F238E27FC236}">
                        <a16:creationId xmlns:a16="http://schemas.microsoft.com/office/drawing/2014/main" id="{F30868A0-E902-DCCC-7DDB-62AE33942AB8}"/>
                      </a:ext>
                    </a:extLst>
                  </p:cNvPr>
                  <p:cNvSpPr/>
                  <p:nvPr userDrawn="1"/>
                </p:nvSpPr>
                <p:spPr>
                  <a:xfrm>
                    <a:off x="8444936" y="450184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7DAE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23" name="Freeform: Shape 922">
                    <a:extLst>
                      <a:ext uri="{FF2B5EF4-FFF2-40B4-BE49-F238E27FC236}">
                        <a16:creationId xmlns:a16="http://schemas.microsoft.com/office/drawing/2014/main" id="{DB5C1F4D-C501-B17B-A208-821331D44835}"/>
                      </a:ext>
                    </a:extLst>
                  </p:cNvPr>
                  <p:cNvSpPr/>
                  <p:nvPr userDrawn="1"/>
                </p:nvSpPr>
                <p:spPr>
                  <a:xfrm>
                    <a:off x="8445357" y="450205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7DBE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24" name="Freeform: Shape 923">
                    <a:extLst>
                      <a:ext uri="{FF2B5EF4-FFF2-40B4-BE49-F238E27FC236}">
                        <a16:creationId xmlns:a16="http://schemas.microsoft.com/office/drawing/2014/main" id="{E779F81D-7FED-2163-1837-0637B2535894}"/>
                      </a:ext>
                    </a:extLst>
                  </p:cNvPr>
                  <p:cNvSpPr/>
                  <p:nvPr userDrawn="1"/>
                </p:nvSpPr>
                <p:spPr>
                  <a:xfrm>
                    <a:off x="8445778" y="450226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D7DBE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25" name="Freeform: Shape 924">
                    <a:extLst>
                      <a:ext uri="{FF2B5EF4-FFF2-40B4-BE49-F238E27FC236}">
                        <a16:creationId xmlns:a16="http://schemas.microsoft.com/office/drawing/2014/main" id="{E2BCB807-1BA6-4869-0612-A672E8EA5D5E}"/>
                      </a:ext>
                    </a:extLst>
                  </p:cNvPr>
                  <p:cNvSpPr/>
                  <p:nvPr userDrawn="1"/>
                </p:nvSpPr>
                <p:spPr>
                  <a:xfrm>
                    <a:off x="8446176" y="450249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8DBE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26" name="Freeform: Shape 925">
                    <a:extLst>
                      <a:ext uri="{FF2B5EF4-FFF2-40B4-BE49-F238E27FC236}">
                        <a16:creationId xmlns:a16="http://schemas.microsoft.com/office/drawing/2014/main" id="{9EA56BA2-E5F3-0F75-F497-46C2DD356064}"/>
                      </a:ext>
                    </a:extLst>
                  </p:cNvPr>
                  <p:cNvSpPr/>
                  <p:nvPr userDrawn="1"/>
                </p:nvSpPr>
                <p:spPr>
                  <a:xfrm>
                    <a:off x="8446597" y="450271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8DBE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27" name="Freeform: Shape 926">
                    <a:extLst>
                      <a:ext uri="{FF2B5EF4-FFF2-40B4-BE49-F238E27FC236}">
                        <a16:creationId xmlns:a16="http://schemas.microsoft.com/office/drawing/2014/main" id="{97036C6D-8D9E-3305-E783-49717FFA213B}"/>
                      </a:ext>
                    </a:extLst>
                  </p:cNvPr>
                  <p:cNvSpPr/>
                  <p:nvPr userDrawn="1"/>
                </p:nvSpPr>
                <p:spPr>
                  <a:xfrm>
                    <a:off x="8447018" y="450292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54"/>
                          <a:pt x="0" y="21060"/>
                        </a:cubicBezTo>
                        <a:close/>
                      </a:path>
                    </a:pathLst>
                  </a:custGeom>
                  <a:solidFill>
                    <a:srgbClr val="D8DCE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28" name="Freeform: Shape 927">
                    <a:extLst>
                      <a:ext uri="{FF2B5EF4-FFF2-40B4-BE49-F238E27FC236}">
                        <a16:creationId xmlns:a16="http://schemas.microsoft.com/office/drawing/2014/main" id="{4F317B40-2457-BB6C-5C25-365080F9665C}"/>
                      </a:ext>
                    </a:extLst>
                  </p:cNvPr>
                  <p:cNvSpPr/>
                  <p:nvPr userDrawn="1"/>
                </p:nvSpPr>
                <p:spPr>
                  <a:xfrm>
                    <a:off x="8447416" y="450315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8DCE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29" name="Freeform: Shape 928">
                    <a:extLst>
                      <a:ext uri="{FF2B5EF4-FFF2-40B4-BE49-F238E27FC236}">
                        <a16:creationId xmlns:a16="http://schemas.microsoft.com/office/drawing/2014/main" id="{25527935-2B70-BEF1-97CD-D9C6428FF8A5}"/>
                      </a:ext>
                    </a:extLst>
                  </p:cNvPr>
                  <p:cNvSpPr/>
                  <p:nvPr userDrawn="1"/>
                </p:nvSpPr>
                <p:spPr>
                  <a:xfrm>
                    <a:off x="8447814" y="450338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9DCE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30" name="Freeform: Shape 929">
                    <a:extLst>
                      <a:ext uri="{FF2B5EF4-FFF2-40B4-BE49-F238E27FC236}">
                        <a16:creationId xmlns:a16="http://schemas.microsoft.com/office/drawing/2014/main" id="{8848F30F-C4A6-A77C-B721-B630B1BE3DD4}"/>
                      </a:ext>
                    </a:extLst>
                  </p:cNvPr>
                  <p:cNvSpPr/>
                  <p:nvPr userDrawn="1"/>
                </p:nvSpPr>
                <p:spPr>
                  <a:xfrm>
                    <a:off x="8448235" y="450359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9DCE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31" name="Freeform: Shape 930">
                    <a:extLst>
                      <a:ext uri="{FF2B5EF4-FFF2-40B4-BE49-F238E27FC236}">
                        <a16:creationId xmlns:a16="http://schemas.microsoft.com/office/drawing/2014/main" id="{E80F882F-B8FA-78D1-C04B-13EAA618CFDA}"/>
                      </a:ext>
                    </a:extLst>
                  </p:cNvPr>
                  <p:cNvSpPr/>
                  <p:nvPr userDrawn="1"/>
                </p:nvSpPr>
                <p:spPr>
                  <a:xfrm>
                    <a:off x="8448633" y="450383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9DDE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32" name="Freeform: Shape 931">
                    <a:extLst>
                      <a:ext uri="{FF2B5EF4-FFF2-40B4-BE49-F238E27FC236}">
                        <a16:creationId xmlns:a16="http://schemas.microsoft.com/office/drawing/2014/main" id="{293E4E42-DC25-0318-74A2-41F98837FEAC}"/>
                      </a:ext>
                    </a:extLst>
                  </p:cNvPr>
                  <p:cNvSpPr/>
                  <p:nvPr userDrawn="1"/>
                </p:nvSpPr>
                <p:spPr>
                  <a:xfrm>
                    <a:off x="8449031" y="450404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DADDE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33" name="Freeform: Shape 932">
                    <a:extLst>
                      <a:ext uri="{FF2B5EF4-FFF2-40B4-BE49-F238E27FC236}">
                        <a16:creationId xmlns:a16="http://schemas.microsoft.com/office/drawing/2014/main" id="{15F44ECE-47DA-059D-BD49-7F7D9E502194}"/>
                      </a:ext>
                    </a:extLst>
                  </p:cNvPr>
                  <p:cNvSpPr/>
                  <p:nvPr userDrawn="1"/>
                </p:nvSpPr>
                <p:spPr>
                  <a:xfrm>
                    <a:off x="8449429" y="450427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ADDE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34" name="Freeform: Shape 933">
                    <a:extLst>
                      <a:ext uri="{FF2B5EF4-FFF2-40B4-BE49-F238E27FC236}">
                        <a16:creationId xmlns:a16="http://schemas.microsoft.com/office/drawing/2014/main" id="{3C7849D3-F813-0624-EAD8-65E6337DE60D}"/>
                      </a:ext>
                    </a:extLst>
                  </p:cNvPr>
                  <p:cNvSpPr/>
                  <p:nvPr userDrawn="1"/>
                </p:nvSpPr>
                <p:spPr>
                  <a:xfrm>
                    <a:off x="8449826" y="450451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ADEE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35" name="Freeform: Shape 934">
                    <a:extLst>
                      <a:ext uri="{FF2B5EF4-FFF2-40B4-BE49-F238E27FC236}">
                        <a16:creationId xmlns:a16="http://schemas.microsoft.com/office/drawing/2014/main" id="{62A53650-F6F1-721F-768E-6EE4D2517B4F}"/>
                      </a:ext>
                    </a:extLst>
                  </p:cNvPr>
                  <p:cNvSpPr/>
                  <p:nvPr userDrawn="1"/>
                </p:nvSpPr>
                <p:spPr>
                  <a:xfrm>
                    <a:off x="8450224" y="450474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BDEE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36" name="Freeform: Shape 935">
                    <a:extLst>
                      <a:ext uri="{FF2B5EF4-FFF2-40B4-BE49-F238E27FC236}">
                        <a16:creationId xmlns:a16="http://schemas.microsoft.com/office/drawing/2014/main" id="{A9782070-1B2D-3254-46BF-08BA05E18D24}"/>
                      </a:ext>
                    </a:extLst>
                  </p:cNvPr>
                  <p:cNvSpPr/>
                  <p:nvPr userDrawn="1"/>
                </p:nvSpPr>
                <p:spPr>
                  <a:xfrm>
                    <a:off x="8450622" y="450495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DBDEE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37" name="Freeform: Shape 936">
                    <a:extLst>
                      <a:ext uri="{FF2B5EF4-FFF2-40B4-BE49-F238E27FC236}">
                        <a16:creationId xmlns:a16="http://schemas.microsoft.com/office/drawing/2014/main" id="{DCA20766-C89C-5A2E-BF11-E5C63EF9226C}"/>
                      </a:ext>
                    </a:extLst>
                  </p:cNvPr>
                  <p:cNvSpPr/>
                  <p:nvPr userDrawn="1"/>
                </p:nvSpPr>
                <p:spPr>
                  <a:xfrm>
                    <a:off x="8451020" y="450519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DBDEE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38" name="Freeform: Shape 937">
                    <a:extLst>
                      <a:ext uri="{FF2B5EF4-FFF2-40B4-BE49-F238E27FC236}">
                        <a16:creationId xmlns:a16="http://schemas.microsoft.com/office/drawing/2014/main" id="{DBF41ED7-7EAA-F471-57E7-6D1214663879}"/>
                      </a:ext>
                    </a:extLst>
                  </p:cNvPr>
                  <p:cNvSpPr/>
                  <p:nvPr userDrawn="1"/>
                </p:nvSpPr>
                <p:spPr>
                  <a:xfrm>
                    <a:off x="8451394" y="450542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CDFE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39" name="Freeform: Shape 938">
                    <a:extLst>
                      <a:ext uri="{FF2B5EF4-FFF2-40B4-BE49-F238E27FC236}">
                        <a16:creationId xmlns:a16="http://schemas.microsoft.com/office/drawing/2014/main" id="{072AF2B1-3B71-926F-BBAA-40FAE8AB66F4}"/>
                      </a:ext>
                    </a:extLst>
                  </p:cNvPr>
                  <p:cNvSpPr/>
                  <p:nvPr userDrawn="1"/>
                </p:nvSpPr>
                <p:spPr>
                  <a:xfrm>
                    <a:off x="8451792" y="450565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CDFE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40" name="Freeform: Shape 939">
                    <a:extLst>
                      <a:ext uri="{FF2B5EF4-FFF2-40B4-BE49-F238E27FC236}">
                        <a16:creationId xmlns:a16="http://schemas.microsoft.com/office/drawing/2014/main" id="{1306D3BC-B9E2-38DC-32E1-5C53F28501E3}"/>
                      </a:ext>
                    </a:extLst>
                  </p:cNvPr>
                  <p:cNvSpPr/>
                  <p:nvPr userDrawn="1"/>
                </p:nvSpPr>
                <p:spPr>
                  <a:xfrm>
                    <a:off x="8452166" y="450589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CDFE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41" name="Freeform: Shape 940">
                    <a:extLst>
                      <a:ext uri="{FF2B5EF4-FFF2-40B4-BE49-F238E27FC236}">
                        <a16:creationId xmlns:a16="http://schemas.microsoft.com/office/drawing/2014/main" id="{5D7AA9BD-4577-F62C-36E3-DBB981B288D3}"/>
                      </a:ext>
                    </a:extLst>
                  </p:cNvPr>
                  <p:cNvSpPr/>
                  <p:nvPr userDrawn="1"/>
                </p:nvSpPr>
                <p:spPr>
                  <a:xfrm>
                    <a:off x="8452564" y="450612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CE0E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42" name="Freeform: Shape 941">
                    <a:extLst>
                      <a:ext uri="{FF2B5EF4-FFF2-40B4-BE49-F238E27FC236}">
                        <a16:creationId xmlns:a16="http://schemas.microsoft.com/office/drawing/2014/main" id="{9D2CB7A1-4458-EDB0-9A12-6252C04CE48F}"/>
                      </a:ext>
                    </a:extLst>
                  </p:cNvPr>
                  <p:cNvSpPr/>
                  <p:nvPr userDrawn="1"/>
                </p:nvSpPr>
                <p:spPr>
                  <a:xfrm>
                    <a:off x="8452939" y="450636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DE0E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43" name="Freeform: Shape 942">
                    <a:extLst>
                      <a:ext uri="{FF2B5EF4-FFF2-40B4-BE49-F238E27FC236}">
                        <a16:creationId xmlns:a16="http://schemas.microsoft.com/office/drawing/2014/main" id="{DAC2492B-AC6A-9D3B-6BD3-2760EDDD1465}"/>
                      </a:ext>
                    </a:extLst>
                  </p:cNvPr>
                  <p:cNvSpPr/>
                  <p:nvPr userDrawn="1"/>
                </p:nvSpPr>
                <p:spPr>
                  <a:xfrm>
                    <a:off x="8453313" y="450659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DE0E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44" name="Freeform: Shape 943">
                    <a:extLst>
                      <a:ext uri="{FF2B5EF4-FFF2-40B4-BE49-F238E27FC236}">
                        <a16:creationId xmlns:a16="http://schemas.microsoft.com/office/drawing/2014/main" id="{D31316E1-3209-371E-9AA5-C5FB9A3A30BB}"/>
                      </a:ext>
                    </a:extLst>
                  </p:cNvPr>
                  <p:cNvSpPr/>
                  <p:nvPr userDrawn="1"/>
                </p:nvSpPr>
                <p:spPr>
                  <a:xfrm>
                    <a:off x="8453688" y="450682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DE0E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45" name="Freeform: Shape 944">
                    <a:extLst>
                      <a:ext uri="{FF2B5EF4-FFF2-40B4-BE49-F238E27FC236}">
                        <a16:creationId xmlns:a16="http://schemas.microsoft.com/office/drawing/2014/main" id="{FF2DA409-4A25-7A87-89C3-BEBCAE49F852}"/>
                      </a:ext>
                    </a:extLst>
                  </p:cNvPr>
                  <p:cNvSpPr/>
                  <p:nvPr userDrawn="1"/>
                </p:nvSpPr>
                <p:spPr>
                  <a:xfrm>
                    <a:off x="8454062" y="450706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DEE1E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46" name="Freeform: Shape 945">
                    <a:extLst>
                      <a:ext uri="{FF2B5EF4-FFF2-40B4-BE49-F238E27FC236}">
                        <a16:creationId xmlns:a16="http://schemas.microsoft.com/office/drawing/2014/main" id="{44CE82E9-E55B-2745-FCFE-0DDAED1D5B41}"/>
                      </a:ext>
                    </a:extLst>
                  </p:cNvPr>
                  <p:cNvSpPr/>
                  <p:nvPr userDrawn="1"/>
                </p:nvSpPr>
                <p:spPr>
                  <a:xfrm>
                    <a:off x="8454436" y="450729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DEE1E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47" name="Freeform: Shape 946">
                    <a:extLst>
                      <a:ext uri="{FF2B5EF4-FFF2-40B4-BE49-F238E27FC236}">
                        <a16:creationId xmlns:a16="http://schemas.microsoft.com/office/drawing/2014/main" id="{11340C73-1BE4-6CB2-2E45-DDA38BD59BC1}"/>
                      </a:ext>
                    </a:extLst>
                  </p:cNvPr>
                  <p:cNvSpPr/>
                  <p:nvPr userDrawn="1"/>
                </p:nvSpPr>
                <p:spPr>
                  <a:xfrm>
                    <a:off x="8454811" y="450755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EE1E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48" name="Freeform: Shape 947">
                    <a:extLst>
                      <a:ext uri="{FF2B5EF4-FFF2-40B4-BE49-F238E27FC236}">
                        <a16:creationId xmlns:a16="http://schemas.microsoft.com/office/drawing/2014/main" id="{2CE64EAA-C8A1-4027-D7E4-98A6BA6EF860}"/>
                      </a:ext>
                    </a:extLst>
                  </p:cNvPr>
                  <p:cNvSpPr/>
                  <p:nvPr userDrawn="1"/>
                </p:nvSpPr>
                <p:spPr>
                  <a:xfrm>
                    <a:off x="8455162" y="450778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FE1E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49" name="Freeform: Shape 948">
                    <a:extLst>
                      <a:ext uri="{FF2B5EF4-FFF2-40B4-BE49-F238E27FC236}">
                        <a16:creationId xmlns:a16="http://schemas.microsoft.com/office/drawing/2014/main" id="{2A023FEF-6EFE-1A52-E554-9E56A2E230A6}"/>
                      </a:ext>
                    </a:extLst>
                  </p:cNvPr>
                  <p:cNvSpPr/>
                  <p:nvPr userDrawn="1"/>
                </p:nvSpPr>
                <p:spPr>
                  <a:xfrm>
                    <a:off x="8455536" y="450802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FE2E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50" name="Freeform: Shape 949">
                    <a:extLst>
                      <a:ext uri="{FF2B5EF4-FFF2-40B4-BE49-F238E27FC236}">
                        <a16:creationId xmlns:a16="http://schemas.microsoft.com/office/drawing/2014/main" id="{FDFC78E0-92B0-D66B-D64F-DF37775721A6}"/>
                      </a:ext>
                    </a:extLst>
                  </p:cNvPr>
                  <p:cNvSpPr/>
                  <p:nvPr userDrawn="1"/>
                </p:nvSpPr>
                <p:spPr>
                  <a:xfrm>
                    <a:off x="8455887" y="450825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DFE2E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51" name="Freeform: Shape 950">
                    <a:extLst>
                      <a:ext uri="{FF2B5EF4-FFF2-40B4-BE49-F238E27FC236}">
                        <a16:creationId xmlns:a16="http://schemas.microsoft.com/office/drawing/2014/main" id="{BCD7E394-700D-5ACD-E5BD-D3B3EE169BBF}"/>
                      </a:ext>
                    </a:extLst>
                  </p:cNvPr>
                  <p:cNvSpPr/>
                  <p:nvPr userDrawn="1"/>
                </p:nvSpPr>
                <p:spPr>
                  <a:xfrm>
                    <a:off x="8456262" y="450851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FE2E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52" name="Freeform: Shape 951">
                    <a:extLst>
                      <a:ext uri="{FF2B5EF4-FFF2-40B4-BE49-F238E27FC236}">
                        <a16:creationId xmlns:a16="http://schemas.microsoft.com/office/drawing/2014/main" id="{FE53081B-25F7-72D8-5C50-FF6C4D8F58B8}"/>
                      </a:ext>
                    </a:extLst>
                  </p:cNvPr>
                  <p:cNvSpPr/>
                  <p:nvPr userDrawn="1"/>
                </p:nvSpPr>
                <p:spPr>
                  <a:xfrm>
                    <a:off x="8456613" y="450874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0E3E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53" name="Freeform: Shape 952">
                    <a:extLst>
                      <a:ext uri="{FF2B5EF4-FFF2-40B4-BE49-F238E27FC236}">
                        <a16:creationId xmlns:a16="http://schemas.microsoft.com/office/drawing/2014/main" id="{F7F8A831-E6DA-1DF8-879A-FF4DE40CA74F}"/>
                      </a:ext>
                    </a:extLst>
                  </p:cNvPr>
                  <p:cNvSpPr/>
                  <p:nvPr userDrawn="1"/>
                </p:nvSpPr>
                <p:spPr>
                  <a:xfrm>
                    <a:off x="8456964" y="450898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E0E3E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54" name="Freeform: Shape 953">
                    <a:extLst>
                      <a:ext uri="{FF2B5EF4-FFF2-40B4-BE49-F238E27FC236}">
                        <a16:creationId xmlns:a16="http://schemas.microsoft.com/office/drawing/2014/main" id="{CB398E73-E71A-4D81-CA5E-A6BD93D17970}"/>
                      </a:ext>
                    </a:extLst>
                  </p:cNvPr>
                  <p:cNvSpPr/>
                  <p:nvPr userDrawn="1"/>
                </p:nvSpPr>
                <p:spPr>
                  <a:xfrm>
                    <a:off x="8457315" y="450923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0E3E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55" name="Freeform: Shape 954">
                    <a:extLst>
                      <a:ext uri="{FF2B5EF4-FFF2-40B4-BE49-F238E27FC236}">
                        <a16:creationId xmlns:a16="http://schemas.microsoft.com/office/drawing/2014/main" id="{4B6ED1E3-D19B-6068-DC9B-4AD028F49208}"/>
                      </a:ext>
                    </a:extLst>
                  </p:cNvPr>
                  <p:cNvSpPr/>
                  <p:nvPr userDrawn="1"/>
                </p:nvSpPr>
                <p:spPr>
                  <a:xfrm>
                    <a:off x="8457666" y="450947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1E3E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56" name="Freeform: Shape 955">
                    <a:extLst>
                      <a:ext uri="{FF2B5EF4-FFF2-40B4-BE49-F238E27FC236}">
                        <a16:creationId xmlns:a16="http://schemas.microsoft.com/office/drawing/2014/main" id="{379073DE-B9A8-F322-1DD6-6CE272A2CE75}"/>
                      </a:ext>
                    </a:extLst>
                  </p:cNvPr>
                  <p:cNvSpPr/>
                  <p:nvPr userDrawn="1"/>
                </p:nvSpPr>
                <p:spPr>
                  <a:xfrm>
                    <a:off x="8458017" y="450973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1E4E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57" name="Freeform: Shape 956">
                    <a:extLst>
                      <a:ext uri="{FF2B5EF4-FFF2-40B4-BE49-F238E27FC236}">
                        <a16:creationId xmlns:a16="http://schemas.microsoft.com/office/drawing/2014/main" id="{06E77F15-1863-432E-885C-5CE4D5BE55F4}"/>
                      </a:ext>
                    </a:extLst>
                  </p:cNvPr>
                  <p:cNvSpPr/>
                  <p:nvPr userDrawn="1"/>
                </p:nvSpPr>
                <p:spPr>
                  <a:xfrm>
                    <a:off x="8458368" y="450996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E1E4E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58" name="Freeform: Shape 957">
                    <a:extLst>
                      <a:ext uri="{FF2B5EF4-FFF2-40B4-BE49-F238E27FC236}">
                        <a16:creationId xmlns:a16="http://schemas.microsoft.com/office/drawing/2014/main" id="{2D603F83-6B8E-1CB4-7693-7D02CA50011A}"/>
                      </a:ext>
                    </a:extLst>
                  </p:cNvPr>
                  <p:cNvSpPr/>
                  <p:nvPr userDrawn="1"/>
                </p:nvSpPr>
                <p:spPr>
                  <a:xfrm>
                    <a:off x="8458719" y="451022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2E4E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59" name="Freeform: Shape 958">
                    <a:extLst>
                      <a:ext uri="{FF2B5EF4-FFF2-40B4-BE49-F238E27FC236}">
                        <a16:creationId xmlns:a16="http://schemas.microsoft.com/office/drawing/2014/main" id="{122D61D7-E09F-814C-D8DD-2766EB68C185}"/>
                      </a:ext>
                    </a:extLst>
                  </p:cNvPr>
                  <p:cNvSpPr/>
                  <p:nvPr userDrawn="1"/>
                </p:nvSpPr>
                <p:spPr>
                  <a:xfrm>
                    <a:off x="8459046" y="451047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2E5E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60" name="Freeform: Shape 959">
                    <a:extLst>
                      <a:ext uri="{FF2B5EF4-FFF2-40B4-BE49-F238E27FC236}">
                        <a16:creationId xmlns:a16="http://schemas.microsoft.com/office/drawing/2014/main" id="{77FAE8ED-4B03-1AB5-9A73-F94E39D93AA2}"/>
                      </a:ext>
                    </a:extLst>
                  </p:cNvPr>
                  <p:cNvSpPr/>
                  <p:nvPr userDrawn="1"/>
                </p:nvSpPr>
                <p:spPr>
                  <a:xfrm>
                    <a:off x="8459397" y="451071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E2E5E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61" name="Freeform: Shape 960">
                    <a:extLst>
                      <a:ext uri="{FF2B5EF4-FFF2-40B4-BE49-F238E27FC236}">
                        <a16:creationId xmlns:a16="http://schemas.microsoft.com/office/drawing/2014/main" id="{0F965DD5-0BD9-A002-59B3-63D65267EC78}"/>
                      </a:ext>
                    </a:extLst>
                  </p:cNvPr>
                  <p:cNvSpPr/>
                  <p:nvPr userDrawn="1"/>
                </p:nvSpPr>
                <p:spPr>
                  <a:xfrm>
                    <a:off x="8459725" y="451097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3E5E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62" name="Freeform: Shape 961">
                    <a:extLst>
                      <a:ext uri="{FF2B5EF4-FFF2-40B4-BE49-F238E27FC236}">
                        <a16:creationId xmlns:a16="http://schemas.microsoft.com/office/drawing/2014/main" id="{B1A9ED6F-EB51-AED4-9E0B-57DD98EC0A8B}"/>
                      </a:ext>
                    </a:extLst>
                  </p:cNvPr>
                  <p:cNvSpPr/>
                  <p:nvPr userDrawn="1"/>
                </p:nvSpPr>
                <p:spPr>
                  <a:xfrm>
                    <a:off x="8460052" y="451122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3E5E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63" name="Freeform: Shape 962">
                    <a:extLst>
                      <a:ext uri="{FF2B5EF4-FFF2-40B4-BE49-F238E27FC236}">
                        <a16:creationId xmlns:a16="http://schemas.microsoft.com/office/drawing/2014/main" id="{401EB0CC-34C3-8C9D-D20B-F635DBF042E7}"/>
                      </a:ext>
                    </a:extLst>
                  </p:cNvPr>
                  <p:cNvSpPr/>
                  <p:nvPr userDrawn="1"/>
                </p:nvSpPr>
                <p:spPr>
                  <a:xfrm>
                    <a:off x="8460403" y="451146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E3E6E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64" name="Freeform: Shape 963">
                    <a:extLst>
                      <a:ext uri="{FF2B5EF4-FFF2-40B4-BE49-F238E27FC236}">
                        <a16:creationId xmlns:a16="http://schemas.microsoft.com/office/drawing/2014/main" id="{0F7E5136-751E-B318-DC64-0521097B537B}"/>
                      </a:ext>
                    </a:extLst>
                  </p:cNvPr>
                  <p:cNvSpPr/>
                  <p:nvPr userDrawn="1"/>
                </p:nvSpPr>
                <p:spPr>
                  <a:xfrm>
                    <a:off x="8460731" y="451171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E3E6E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65" name="Freeform: Shape 964">
                    <a:extLst>
                      <a:ext uri="{FF2B5EF4-FFF2-40B4-BE49-F238E27FC236}">
                        <a16:creationId xmlns:a16="http://schemas.microsoft.com/office/drawing/2014/main" id="{6354F34F-7223-69F8-15CB-8F71288BC5CF}"/>
                      </a:ext>
                    </a:extLst>
                  </p:cNvPr>
                  <p:cNvSpPr/>
                  <p:nvPr userDrawn="1"/>
                </p:nvSpPr>
                <p:spPr>
                  <a:xfrm>
                    <a:off x="8461059" y="451197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4E6E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66" name="Freeform: Shape 965">
                    <a:extLst>
                      <a:ext uri="{FF2B5EF4-FFF2-40B4-BE49-F238E27FC236}">
                        <a16:creationId xmlns:a16="http://schemas.microsoft.com/office/drawing/2014/main" id="{550007E3-BEE6-4D34-19B8-FD8B34661ADB}"/>
                      </a:ext>
                    </a:extLst>
                  </p:cNvPr>
                  <p:cNvSpPr/>
                  <p:nvPr userDrawn="1"/>
                </p:nvSpPr>
                <p:spPr>
                  <a:xfrm>
                    <a:off x="8461363" y="451223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4E6E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67" name="Freeform: Shape 966">
                    <a:extLst>
                      <a:ext uri="{FF2B5EF4-FFF2-40B4-BE49-F238E27FC236}">
                        <a16:creationId xmlns:a16="http://schemas.microsoft.com/office/drawing/2014/main" id="{5D6D1901-C4F3-079C-012F-1F275290BB82}"/>
                      </a:ext>
                    </a:extLst>
                  </p:cNvPr>
                  <p:cNvSpPr/>
                  <p:nvPr userDrawn="1"/>
                </p:nvSpPr>
                <p:spPr>
                  <a:xfrm>
                    <a:off x="8461690" y="451249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4E7E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68" name="Freeform: Shape 967">
                    <a:extLst>
                      <a:ext uri="{FF2B5EF4-FFF2-40B4-BE49-F238E27FC236}">
                        <a16:creationId xmlns:a16="http://schemas.microsoft.com/office/drawing/2014/main" id="{99A93F18-9870-F506-72CB-4A277BA45A6F}"/>
                      </a:ext>
                    </a:extLst>
                  </p:cNvPr>
                  <p:cNvSpPr/>
                  <p:nvPr userDrawn="1"/>
                </p:nvSpPr>
                <p:spPr>
                  <a:xfrm>
                    <a:off x="8462018" y="451274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5E7E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69" name="Freeform: Shape 968">
                    <a:extLst>
                      <a:ext uri="{FF2B5EF4-FFF2-40B4-BE49-F238E27FC236}">
                        <a16:creationId xmlns:a16="http://schemas.microsoft.com/office/drawing/2014/main" id="{E91C529F-9CAB-246F-2F31-DEA6DA51B1EB}"/>
                      </a:ext>
                    </a:extLst>
                  </p:cNvPr>
                  <p:cNvSpPr/>
                  <p:nvPr userDrawn="1"/>
                </p:nvSpPr>
                <p:spPr>
                  <a:xfrm>
                    <a:off x="8462322" y="451300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5E7E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70" name="Freeform: Shape 969">
                    <a:extLst>
                      <a:ext uri="{FF2B5EF4-FFF2-40B4-BE49-F238E27FC236}">
                        <a16:creationId xmlns:a16="http://schemas.microsoft.com/office/drawing/2014/main" id="{09809AC8-6E92-3975-1E36-C2D5347E41FA}"/>
                      </a:ext>
                    </a:extLst>
                  </p:cNvPr>
                  <p:cNvSpPr/>
                  <p:nvPr userDrawn="1"/>
                </p:nvSpPr>
                <p:spPr>
                  <a:xfrm>
                    <a:off x="8462650" y="451326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5E8E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71" name="Freeform: Shape 970">
                    <a:extLst>
                      <a:ext uri="{FF2B5EF4-FFF2-40B4-BE49-F238E27FC236}">
                        <a16:creationId xmlns:a16="http://schemas.microsoft.com/office/drawing/2014/main" id="{834C9F74-C980-1DC6-72B9-E2F4C41C8C50}"/>
                      </a:ext>
                    </a:extLst>
                  </p:cNvPr>
                  <p:cNvSpPr/>
                  <p:nvPr userDrawn="1"/>
                </p:nvSpPr>
                <p:spPr>
                  <a:xfrm>
                    <a:off x="8463048" y="451359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6E8E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72" name="Freeform: Shape 971">
                    <a:extLst>
                      <a:ext uri="{FF2B5EF4-FFF2-40B4-BE49-F238E27FC236}">
                        <a16:creationId xmlns:a16="http://schemas.microsoft.com/office/drawing/2014/main" id="{D821B8B4-41E2-FC61-7CC5-C9A6CBD65C81}"/>
                      </a:ext>
                    </a:extLst>
                  </p:cNvPr>
                  <p:cNvSpPr/>
                  <p:nvPr userDrawn="1"/>
                </p:nvSpPr>
                <p:spPr>
                  <a:xfrm>
                    <a:off x="8463539" y="451401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6E8E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73" name="Freeform: Shape 972">
                    <a:extLst>
                      <a:ext uri="{FF2B5EF4-FFF2-40B4-BE49-F238E27FC236}">
                        <a16:creationId xmlns:a16="http://schemas.microsoft.com/office/drawing/2014/main" id="{14053C4C-81A2-483E-88EE-79AB398AC32B}"/>
                      </a:ext>
                    </a:extLst>
                  </p:cNvPr>
                  <p:cNvSpPr/>
                  <p:nvPr userDrawn="1"/>
                </p:nvSpPr>
                <p:spPr>
                  <a:xfrm>
                    <a:off x="8464030" y="451441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6E8E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74" name="Freeform: Shape 973">
                    <a:extLst>
                      <a:ext uri="{FF2B5EF4-FFF2-40B4-BE49-F238E27FC236}">
                        <a16:creationId xmlns:a16="http://schemas.microsoft.com/office/drawing/2014/main" id="{B35AF947-66F8-9A19-2461-984BED40A8E6}"/>
                      </a:ext>
                    </a:extLst>
                  </p:cNvPr>
                  <p:cNvSpPr/>
                  <p:nvPr userDrawn="1"/>
                </p:nvSpPr>
                <p:spPr>
                  <a:xfrm>
                    <a:off x="8464498" y="451480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7E9E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75" name="Freeform: Shape 974">
                    <a:extLst>
                      <a:ext uri="{FF2B5EF4-FFF2-40B4-BE49-F238E27FC236}">
                        <a16:creationId xmlns:a16="http://schemas.microsoft.com/office/drawing/2014/main" id="{FF43E442-E477-973B-D47B-AB6A83F8B647}"/>
                      </a:ext>
                    </a:extLst>
                  </p:cNvPr>
                  <p:cNvSpPr/>
                  <p:nvPr userDrawn="1"/>
                </p:nvSpPr>
                <p:spPr>
                  <a:xfrm>
                    <a:off x="8464966" y="451522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7E9E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76" name="Freeform: Shape 975">
                    <a:extLst>
                      <a:ext uri="{FF2B5EF4-FFF2-40B4-BE49-F238E27FC236}">
                        <a16:creationId xmlns:a16="http://schemas.microsoft.com/office/drawing/2014/main" id="{34DC1118-46B4-C3E6-BDFC-3CE2AAFA72AA}"/>
                      </a:ext>
                    </a:extLst>
                  </p:cNvPr>
                  <p:cNvSpPr/>
                  <p:nvPr userDrawn="1"/>
                </p:nvSpPr>
                <p:spPr>
                  <a:xfrm>
                    <a:off x="8465434" y="451562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7E9E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77" name="Freeform: Shape 976">
                    <a:extLst>
                      <a:ext uri="{FF2B5EF4-FFF2-40B4-BE49-F238E27FC236}">
                        <a16:creationId xmlns:a16="http://schemas.microsoft.com/office/drawing/2014/main" id="{6FFB2309-565E-6DA9-7BED-CCE281F06D2B}"/>
                      </a:ext>
                    </a:extLst>
                  </p:cNvPr>
                  <p:cNvSpPr/>
                  <p:nvPr userDrawn="1"/>
                </p:nvSpPr>
                <p:spPr>
                  <a:xfrm>
                    <a:off x="8465902" y="451604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7EAF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78" name="Freeform: Shape 977">
                    <a:extLst>
                      <a:ext uri="{FF2B5EF4-FFF2-40B4-BE49-F238E27FC236}">
                        <a16:creationId xmlns:a16="http://schemas.microsoft.com/office/drawing/2014/main" id="{B2B049B7-F572-CB48-CAB5-14648C0DA6DE}"/>
                      </a:ext>
                    </a:extLst>
                  </p:cNvPr>
                  <p:cNvSpPr/>
                  <p:nvPr userDrawn="1"/>
                </p:nvSpPr>
                <p:spPr>
                  <a:xfrm>
                    <a:off x="8466347" y="451646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8EAF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79" name="Freeform: Shape 978">
                    <a:extLst>
                      <a:ext uri="{FF2B5EF4-FFF2-40B4-BE49-F238E27FC236}">
                        <a16:creationId xmlns:a16="http://schemas.microsoft.com/office/drawing/2014/main" id="{FF3F2FFD-8AA3-6538-AD74-4FABB2CF827D}"/>
                      </a:ext>
                    </a:extLst>
                  </p:cNvPr>
                  <p:cNvSpPr/>
                  <p:nvPr userDrawn="1"/>
                </p:nvSpPr>
                <p:spPr>
                  <a:xfrm>
                    <a:off x="8466815" y="451686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8EAF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80" name="Freeform: Shape 979">
                    <a:extLst>
                      <a:ext uri="{FF2B5EF4-FFF2-40B4-BE49-F238E27FC236}">
                        <a16:creationId xmlns:a16="http://schemas.microsoft.com/office/drawing/2014/main" id="{8D4115D2-F2C2-EB65-41DD-6FC8DEA836E5}"/>
                      </a:ext>
                    </a:extLst>
                  </p:cNvPr>
                  <p:cNvSpPr/>
                  <p:nvPr userDrawn="1"/>
                </p:nvSpPr>
                <p:spPr>
                  <a:xfrm>
                    <a:off x="8467260" y="451728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8EAF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81" name="Freeform: Shape 980">
                    <a:extLst>
                      <a:ext uri="{FF2B5EF4-FFF2-40B4-BE49-F238E27FC236}">
                        <a16:creationId xmlns:a16="http://schemas.microsoft.com/office/drawing/2014/main" id="{05832684-AB76-7ACD-5514-A4744845CC07}"/>
                      </a:ext>
                    </a:extLst>
                  </p:cNvPr>
                  <p:cNvSpPr/>
                  <p:nvPr userDrawn="1"/>
                </p:nvSpPr>
                <p:spPr>
                  <a:xfrm>
                    <a:off x="8467681" y="451768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9EBF0"/>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82" name="Freeform: Shape 981">
                    <a:extLst>
                      <a:ext uri="{FF2B5EF4-FFF2-40B4-BE49-F238E27FC236}">
                        <a16:creationId xmlns:a16="http://schemas.microsoft.com/office/drawing/2014/main" id="{86051811-2FA5-15BB-8437-0EE3CE35ACF1}"/>
                      </a:ext>
                    </a:extLst>
                  </p:cNvPr>
                  <p:cNvSpPr/>
                  <p:nvPr userDrawn="1"/>
                </p:nvSpPr>
                <p:spPr>
                  <a:xfrm>
                    <a:off x="8468125" y="451810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9EBF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83" name="Freeform: Shape 982">
                    <a:extLst>
                      <a:ext uri="{FF2B5EF4-FFF2-40B4-BE49-F238E27FC236}">
                        <a16:creationId xmlns:a16="http://schemas.microsoft.com/office/drawing/2014/main" id="{9CADCE94-3E83-30FC-E90B-72745F846ABC}"/>
                      </a:ext>
                    </a:extLst>
                  </p:cNvPr>
                  <p:cNvSpPr/>
                  <p:nvPr userDrawn="1"/>
                </p:nvSpPr>
                <p:spPr>
                  <a:xfrm>
                    <a:off x="8468547" y="451852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9EBF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84" name="Freeform: Shape 983">
                    <a:extLst>
                      <a:ext uri="{FF2B5EF4-FFF2-40B4-BE49-F238E27FC236}">
                        <a16:creationId xmlns:a16="http://schemas.microsoft.com/office/drawing/2014/main" id="{65A4A3FE-903C-7C84-7AF4-5BBFFFCF04AD}"/>
                      </a:ext>
                    </a:extLst>
                  </p:cNvPr>
                  <p:cNvSpPr/>
                  <p:nvPr userDrawn="1"/>
                </p:nvSpPr>
                <p:spPr>
                  <a:xfrm>
                    <a:off x="8468991" y="451892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EAECF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85" name="Freeform: Shape 984">
                    <a:extLst>
                      <a:ext uri="{FF2B5EF4-FFF2-40B4-BE49-F238E27FC236}">
                        <a16:creationId xmlns:a16="http://schemas.microsoft.com/office/drawing/2014/main" id="{9D4C6F6C-2E34-6E05-CADF-B0E572BEAC58}"/>
                      </a:ext>
                    </a:extLst>
                  </p:cNvPr>
                  <p:cNvSpPr/>
                  <p:nvPr userDrawn="1"/>
                </p:nvSpPr>
                <p:spPr>
                  <a:xfrm>
                    <a:off x="8469389" y="451934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AECF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86" name="Freeform: Shape 985">
                    <a:extLst>
                      <a:ext uri="{FF2B5EF4-FFF2-40B4-BE49-F238E27FC236}">
                        <a16:creationId xmlns:a16="http://schemas.microsoft.com/office/drawing/2014/main" id="{00761C56-F2AE-BC86-AD65-0666FAEC147E}"/>
                      </a:ext>
                    </a:extLst>
                  </p:cNvPr>
                  <p:cNvSpPr/>
                  <p:nvPr userDrawn="1"/>
                </p:nvSpPr>
                <p:spPr>
                  <a:xfrm>
                    <a:off x="8469810" y="451976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AECF1"/>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87" name="Freeform: Shape 986">
                    <a:extLst>
                      <a:ext uri="{FF2B5EF4-FFF2-40B4-BE49-F238E27FC236}">
                        <a16:creationId xmlns:a16="http://schemas.microsoft.com/office/drawing/2014/main" id="{518A0E7B-BA2B-2C42-68B9-EC8C8AFD8153}"/>
                      </a:ext>
                    </a:extLst>
                  </p:cNvPr>
                  <p:cNvSpPr/>
                  <p:nvPr userDrawn="1"/>
                </p:nvSpPr>
                <p:spPr>
                  <a:xfrm>
                    <a:off x="8470231" y="452016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54"/>
                          <a:pt x="0" y="21060"/>
                        </a:cubicBezTo>
                        <a:close/>
                      </a:path>
                    </a:pathLst>
                  </a:custGeom>
                  <a:solidFill>
                    <a:srgbClr val="EBECF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88" name="Freeform: Shape 987">
                    <a:extLst>
                      <a:ext uri="{FF2B5EF4-FFF2-40B4-BE49-F238E27FC236}">
                        <a16:creationId xmlns:a16="http://schemas.microsoft.com/office/drawing/2014/main" id="{6F3B0111-0836-A7C1-C47B-ADFF91444A9F}"/>
                      </a:ext>
                    </a:extLst>
                  </p:cNvPr>
                  <p:cNvSpPr/>
                  <p:nvPr userDrawn="1"/>
                </p:nvSpPr>
                <p:spPr>
                  <a:xfrm>
                    <a:off x="8470629" y="452058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EBEDF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89" name="Freeform: Shape 988">
                    <a:extLst>
                      <a:ext uri="{FF2B5EF4-FFF2-40B4-BE49-F238E27FC236}">
                        <a16:creationId xmlns:a16="http://schemas.microsoft.com/office/drawing/2014/main" id="{6E1AB1B9-A8FD-F51F-2307-D15EFCD4FD00}"/>
                      </a:ext>
                    </a:extLst>
                  </p:cNvPr>
                  <p:cNvSpPr/>
                  <p:nvPr userDrawn="1"/>
                </p:nvSpPr>
                <p:spPr>
                  <a:xfrm>
                    <a:off x="8471027" y="452100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BEDF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90" name="Freeform: Shape 989">
                    <a:extLst>
                      <a:ext uri="{FF2B5EF4-FFF2-40B4-BE49-F238E27FC236}">
                        <a16:creationId xmlns:a16="http://schemas.microsoft.com/office/drawing/2014/main" id="{37171D42-128F-0BAC-A513-A720466C93DB}"/>
                      </a:ext>
                    </a:extLst>
                  </p:cNvPr>
                  <p:cNvSpPr/>
                  <p:nvPr userDrawn="1"/>
                </p:nvSpPr>
                <p:spPr>
                  <a:xfrm>
                    <a:off x="8471425" y="452143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BEDF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91" name="Freeform: Shape 990">
                    <a:extLst>
                      <a:ext uri="{FF2B5EF4-FFF2-40B4-BE49-F238E27FC236}">
                        <a16:creationId xmlns:a16="http://schemas.microsoft.com/office/drawing/2014/main" id="{2886BC51-FF92-0B02-D122-DEFAB5D46534}"/>
                      </a:ext>
                    </a:extLst>
                  </p:cNvPr>
                  <p:cNvSpPr/>
                  <p:nvPr userDrawn="1"/>
                </p:nvSpPr>
                <p:spPr>
                  <a:xfrm>
                    <a:off x="8471799" y="452185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CEDF2"/>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92" name="Freeform: Shape 991">
                    <a:extLst>
                      <a:ext uri="{FF2B5EF4-FFF2-40B4-BE49-F238E27FC236}">
                        <a16:creationId xmlns:a16="http://schemas.microsoft.com/office/drawing/2014/main" id="{B25B9F55-9B06-C838-CB9A-17892D68FF46}"/>
                      </a:ext>
                    </a:extLst>
                  </p:cNvPr>
                  <p:cNvSpPr/>
                  <p:nvPr userDrawn="1"/>
                </p:nvSpPr>
                <p:spPr>
                  <a:xfrm>
                    <a:off x="8472174" y="452224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CEEF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93" name="Freeform: Shape 992">
                    <a:extLst>
                      <a:ext uri="{FF2B5EF4-FFF2-40B4-BE49-F238E27FC236}">
                        <a16:creationId xmlns:a16="http://schemas.microsoft.com/office/drawing/2014/main" id="{35109DEF-86F2-AA41-C230-F679491A0689}"/>
                      </a:ext>
                    </a:extLst>
                  </p:cNvPr>
                  <p:cNvSpPr/>
                  <p:nvPr userDrawn="1"/>
                </p:nvSpPr>
                <p:spPr>
                  <a:xfrm>
                    <a:off x="8472548" y="452267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CEEF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94" name="Freeform: Shape 993">
                    <a:extLst>
                      <a:ext uri="{FF2B5EF4-FFF2-40B4-BE49-F238E27FC236}">
                        <a16:creationId xmlns:a16="http://schemas.microsoft.com/office/drawing/2014/main" id="{C89942E3-5AC6-34DD-1D93-C8669D9CB722}"/>
                      </a:ext>
                    </a:extLst>
                  </p:cNvPr>
                  <p:cNvSpPr/>
                  <p:nvPr userDrawn="1"/>
                </p:nvSpPr>
                <p:spPr>
                  <a:xfrm>
                    <a:off x="8472922" y="452309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DEEF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95" name="Freeform: Shape 994">
                    <a:extLst>
                      <a:ext uri="{FF2B5EF4-FFF2-40B4-BE49-F238E27FC236}">
                        <a16:creationId xmlns:a16="http://schemas.microsoft.com/office/drawing/2014/main" id="{634A2D78-CD3F-3A46-BF1D-4884AF69780C}"/>
                      </a:ext>
                    </a:extLst>
                  </p:cNvPr>
                  <p:cNvSpPr/>
                  <p:nvPr userDrawn="1"/>
                </p:nvSpPr>
                <p:spPr>
                  <a:xfrm>
                    <a:off x="8473297" y="452351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DEFF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96" name="Freeform: Shape 995">
                    <a:extLst>
                      <a:ext uri="{FF2B5EF4-FFF2-40B4-BE49-F238E27FC236}">
                        <a16:creationId xmlns:a16="http://schemas.microsoft.com/office/drawing/2014/main" id="{E1E33894-97B6-3440-416F-F7454B5E97DA}"/>
                      </a:ext>
                    </a:extLst>
                  </p:cNvPr>
                  <p:cNvSpPr/>
                  <p:nvPr userDrawn="1"/>
                </p:nvSpPr>
                <p:spPr>
                  <a:xfrm>
                    <a:off x="8473648" y="452393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DEFF3"/>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97" name="Freeform: Shape 996">
                    <a:extLst>
                      <a:ext uri="{FF2B5EF4-FFF2-40B4-BE49-F238E27FC236}">
                        <a16:creationId xmlns:a16="http://schemas.microsoft.com/office/drawing/2014/main" id="{803E55E5-F89B-90CE-964B-F5ACF39581BB}"/>
                      </a:ext>
                    </a:extLst>
                  </p:cNvPr>
                  <p:cNvSpPr/>
                  <p:nvPr userDrawn="1"/>
                </p:nvSpPr>
                <p:spPr>
                  <a:xfrm>
                    <a:off x="8474022" y="452435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EEFF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98" name="Freeform: Shape 997">
                    <a:extLst>
                      <a:ext uri="{FF2B5EF4-FFF2-40B4-BE49-F238E27FC236}">
                        <a16:creationId xmlns:a16="http://schemas.microsoft.com/office/drawing/2014/main" id="{7E27262C-2E8D-91D8-90E8-DB59C98FF7EF}"/>
                      </a:ext>
                    </a:extLst>
                  </p:cNvPr>
                  <p:cNvSpPr/>
                  <p:nvPr userDrawn="1"/>
                </p:nvSpPr>
                <p:spPr>
                  <a:xfrm>
                    <a:off x="8474373" y="452477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EEFF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999" name="Freeform: Shape 998">
                    <a:extLst>
                      <a:ext uri="{FF2B5EF4-FFF2-40B4-BE49-F238E27FC236}">
                        <a16:creationId xmlns:a16="http://schemas.microsoft.com/office/drawing/2014/main" id="{53F57D39-7349-A7A4-1E5C-751B39B1FE8C}"/>
                      </a:ext>
                    </a:extLst>
                  </p:cNvPr>
                  <p:cNvSpPr/>
                  <p:nvPr userDrawn="1"/>
                </p:nvSpPr>
                <p:spPr>
                  <a:xfrm>
                    <a:off x="8474701" y="452519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EF0F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00" name="Freeform: Shape 999">
                    <a:extLst>
                      <a:ext uri="{FF2B5EF4-FFF2-40B4-BE49-F238E27FC236}">
                        <a16:creationId xmlns:a16="http://schemas.microsoft.com/office/drawing/2014/main" id="{AA16B779-32ED-A9DE-8B2A-46C32ABEB7C6}"/>
                      </a:ext>
                    </a:extLst>
                  </p:cNvPr>
                  <p:cNvSpPr/>
                  <p:nvPr userDrawn="1"/>
                </p:nvSpPr>
                <p:spPr>
                  <a:xfrm>
                    <a:off x="8475052" y="452559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EEF0F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01" name="Freeform: Shape 1000">
                    <a:extLst>
                      <a:ext uri="{FF2B5EF4-FFF2-40B4-BE49-F238E27FC236}">
                        <a16:creationId xmlns:a16="http://schemas.microsoft.com/office/drawing/2014/main" id="{7A29F437-EB5A-15CF-8FB3-13A9BD486496}"/>
                      </a:ext>
                    </a:extLst>
                  </p:cNvPr>
                  <p:cNvSpPr/>
                  <p:nvPr userDrawn="1"/>
                </p:nvSpPr>
                <p:spPr>
                  <a:xfrm>
                    <a:off x="8475379" y="452601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FF0F4"/>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02" name="Freeform: Shape 1001">
                    <a:extLst>
                      <a:ext uri="{FF2B5EF4-FFF2-40B4-BE49-F238E27FC236}">
                        <a16:creationId xmlns:a16="http://schemas.microsoft.com/office/drawing/2014/main" id="{92322365-5309-A7DC-E89B-F403B3648880}"/>
                      </a:ext>
                    </a:extLst>
                  </p:cNvPr>
                  <p:cNvSpPr/>
                  <p:nvPr userDrawn="1"/>
                </p:nvSpPr>
                <p:spPr>
                  <a:xfrm>
                    <a:off x="8475707" y="452643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FF1F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03" name="Freeform: Shape 1002">
                    <a:extLst>
                      <a:ext uri="{FF2B5EF4-FFF2-40B4-BE49-F238E27FC236}">
                        <a16:creationId xmlns:a16="http://schemas.microsoft.com/office/drawing/2014/main" id="{0C655C0F-222C-D52A-41C1-1540C8A72EDD}"/>
                      </a:ext>
                    </a:extLst>
                  </p:cNvPr>
                  <p:cNvSpPr/>
                  <p:nvPr userDrawn="1"/>
                </p:nvSpPr>
                <p:spPr>
                  <a:xfrm>
                    <a:off x="8476035" y="452685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EFF1F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04" name="Freeform: Shape 1003">
                    <a:extLst>
                      <a:ext uri="{FF2B5EF4-FFF2-40B4-BE49-F238E27FC236}">
                        <a16:creationId xmlns:a16="http://schemas.microsoft.com/office/drawing/2014/main" id="{73E2AC4E-B076-4E38-9D81-2843595494A9}"/>
                      </a:ext>
                    </a:extLst>
                  </p:cNvPr>
                  <p:cNvSpPr/>
                  <p:nvPr userDrawn="1"/>
                </p:nvSpPr>
                <p:spPr>
                  <a:xfrm>
                    <a:off x="8476339" y="452728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F0F1F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05" name="Freeform: Shape 1004">
                    <a:extLst>
                      <a:ext uri="{FF2B5EF4-FFF2-40B4-BE49-F238E27FC236}">
                        <a16:creationId xmlns:a16="http://schemas.microsoft.com/office/drawing/2014/main" id="{F1890255-DC8D-7460-94AD-41DE0CE085C8}"/>
                      </a:ext>
                    </a:extLst>
                  </p:cNvPr>
                  <p:cNvSpPr/>
                  <p:nvPr userDrawn="1"/>
                </p:nvSpPr>
                <p:spPr>
                  <a:xfrm>
                    <a:off x="8476666" y="452770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F0F1F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06" name="Freeform: Shape 1005">
                    <a:extLst>
                      <a:ext uri="{FF2B5EF4-FFF2-40B4-BE49-F238E27FC236}">
                        <a16:creationId xmlns:a16="http://schemas.microsoft.com/office/drawing/2014/main" id="{2256BA44-AE40-6A5E-675E-3A3E6DD48869}"/>
                      </a:ext>
                    </a:extLst>
                  </p:cNvPr>
                  <p:cNvSpPr/>
                  <p:nvPr userDrawn="1"/>
                </p:nvSpPr>
                <p:spPr>
                  <a:xfrm>
                    <a:off x="8476971" y="452812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F0F2F5"/>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07" name="Freeform: Shape 1006">
                    <a:extLst>
                      <a:ext uri="{FF2B5EF4-FFF2-40B4-BE49-F238E27FC236}">
                        <a16:creationId xmlns:a16="http://schemas.microsoft.com/office/drawing/2014/main" id="{5968CD59-FAA6-1FE8-11EF-F0F31657996A}"/>
                      </a:ext>
                    </a:extLst>
                  </p:cNvPr>
                  <p:cNvSpPr/>
                  <p:nvPr userDrawn="1"/>
                </p:nvSpPr>
                <p:spPr>
                  <a:xfrm>
                    <a:off x="8477275" y="452854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F1F2F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08" name="Freeform: Shape 1007">
                    <a:extLst>
                      <a:ext uri="{FF2B5EF4-FFF2-40B4-BE49-F238E27FC236}">
                        <a16:creationId xmlns:a16="http://schemas.microsoft.com/office/drawing/2014/main" id="{1E7B1AF8-FC56-A9DB-50E1-D8667CCBE15F}"/>
                      </a:ext>
                    </a:extLst>
                  </p:cNvPr>
                  <p:cNvSpPr/>
                  <p:nvPr userDrawn="1"/>
                </p:nvSpPr>
                <p:spPr>
                  <a:xfrm>
                    <a:off x="8477556" y="452896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F1F2F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09" name="Freeform: Shape 1008">
                    <a:extLst>
                      <a:ext uri="{FF2B5EF4-FFF2-40B4-BE49-F238E27FC236}">
                        <a16:creationId xmlns:a16="http://schemas.microsoft.com/office/drawing/2014/main" id="{C0090264-C4BE-21EB-EBF9-746FC103490D}"/>
                      </a:ext>
                    </a:extLst>
                  </p:cNvPr>
                  <p:cNvSpPr/>
                  <p:nvPr userDrawn="1"/>
                </p:nvSpPr>
                <p:spPr>
                  <a:xfrm>
                    <a:off x="8477860" y="452938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F1F2F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10" name="Freeform: Shape 1009">
                    <a:extLst>
                      <a:ext uri="{FF2B5EF4-FFF2-40B4-BE49-F238E27FC236}">
                        <a16:creationId xmlns:a16="http://schemas.microsoft.com/office/drawing/2014/main" id="{4F1E0506-AAF3-BCBD-9560-2AF29F593D61}"/>
                      </a:ext>
                    </a:extLst>
                  </p:cNvPr>
                  <p:cNvSpPr/>
                  <p:nvPr userDrawn="1"/>
                </p:nvSpPr>
                <p:spPr>
                  <a:xfrm>
                    <a:off x="8478141" y="452980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F2F3F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11" name="Freeform: Shape 1010">
                    <a:extLst>
                      <a:ext uri="{FF2B5EF4-FFF2-40B4-BE49-F238E27FC236}">
                        <a16:creationId xmlns:a16="http://schemas.microsoft.com/office/drawing/2014/main" id="{6057AD43-8685-C74F-41D8-B3220356975B}"/>
                      </a:ext>
                    </a:extLst>
                  </p:cNvPr>
                  <p:cNvSpPr/>
                  <p:nvPr userDrawn="1"/>
                </p:nvSpPr>
                <p:spPr>
                  <a:xfrm>
                    <a:off x="8478421" y="453022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F2F3F6"/>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12" name="Freeform: Shape 1011">
                    <a:extLst>
                      <a:ext uri="{FF2B5EF4-FFF2-40B4-BE49-F238E27FC236}">
                        <a16:creationId xmlns:a16="http://schemas.microsoft.com/office/drawing/2014/main" id="{2F3AAF76-6B02-9D46-A2C5-26F115151E6D}"/>
                      </a:ext>
                    </a:extLst>
                  </p:cNvPr>
                  <p:cNvSpPr/>
                  <p:nvPr userDrawn="1"/>
                </p:nvSpPr>
                <p:spPr>
                  <a:xfrm>
                    <a:off x="8478702" y="453065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F2F3F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13" name="Freeform: Shape 1012">
                    <a:extLst>
                      <a:ext uri="{FF2B5EF4-FFF2-40B4-BE49-F238E27FC236}">
                        <a16:creationId xmlns:a16="http://schemas.microsoft.com/office/drawing/2014/main" id="{CFB38B00-BCEF-8FE3-391E-B8B8B8518E01}"/>
                      </a:ext>
                    </a:extLst>
                  </p:cNvPr>
                  <p:cNvSpPr/>
                  <p:nvPr userDrawn="1"/>
                </p:nvSpPr>
                <p:spPr>
                  <a:xfrm>
                    <a:off x="8478960" y="453107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F2F4F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14" name="Freeform: Shape 1013">
                    <a:extLst>
                      <a:ext uri="{FF2B5EF4-FFF2-40B4-BE49-F238E27FC236}">
                        <a16:creationId xmlns:a16="http://schemas.microsoft.com/office/drawing/2014/main" id="{E7DC4977-8064-2143-9139-379073655D97}"/>
                      </a:ext>
                    </a:extLst>
                  </p:cNvPr>
                  <p:cNvSpPr/>
                  <p:nvPr userDrawn="1"/>
                </p:nvSpPr>
                <p:spPr>
                  <a:xfrm>
                    <a:off x="8479217" y="4531492"/>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3F4F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15" name="Freeform: Shape 1014">
                    <a:extLst>
                      <a:ext uri="{FF2B5EF4-FFF2-40B4-BE49-F238E27FC236}">
                        <a16:creationId xmlns:a16="http://schemas.microsoft.com/office/drawing/2014/main" id="{7AF0A378-4BC2-8BDB-14F1-053301CD81CB}"/>
                      </a:ext>
                    </a:extLst>
                  </p:cNvPr>
                  <p:cNvSpPr/>
                  <p:nvPr userDrawn="1"/>
                </p:nvSpPr>
                <p:spPr>
                  <a:xfrm>
                    <a:off x="8479474" y="4531913"/>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3F4F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16" name="Freeform: Shape 1015">
                    <a:extLst>
                      <a:ext uri="{FF2B5EF4-FFF2-40B4-BE49-F238E27FC236}">
                        <a16:creationId xmlns:a16="http://schemas.microsoft.com/office/drawing/2014/main" id="{72602993-EC55-7CFB-4E76-644CE5DC820F}"/>
                      </a:ext>
                    </a:extLst>
                  </p:cNvPr>
                  <p:cNvSpPr/>
                  <p:nvPr userDrawn="1"/>
                </p:nvSpPr>
                <p:spPr>
                  <a:xfrm>
                    <a:off x="8479732" y="4532335"/>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3F4F7"/>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17" name="Freeform: Shape 1016">
                    <a:extLst>
                      <a:ext uri="{FF2B5EF4-FFF2-40B4-BE49-F238E27FC236}">
                        <a16:creationId xmlns:a16="http://schemas.microsoft.com/office/drawing/2014/main" id="{EEB2AE66-7618-7591-E673-CFFEAFC5A600}"/>
                      </a:ext>
                    </a:extLst>
                  </p:cNvPr>
                  <p:cNvSpPr/>
                  <p:nvPr userDrawn="1"/>
                </p:nvSpPr>
                <p:spPr>
                  <a:xfrm>
                    <a:off x="8479989" y="4532756"/>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4F5F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18" name="Freeform: Shape 1017">
                    <a:extLst>
                      <a:ext uri="{FF2B5EF4-FFF2-40B4-BE49-F238E27FC236}">
                        <a16:creationId xmlns:a16="http://schemas.microsoft.com/office/drawing/2014/main" id="{E1173CD6-EB15-2B3D-1B7E-0C65EC195965}"/>
                      </a:ext>
                    </a:extLst>
                  </p:cNvPr>
                  <p:cNvSpPr/>
                  <p:nvPr userDrawn="1"/>
                </p:nvSpPr>
                <p:spPr>
                  <a:xfrm>
                    <a:off x="8480223" y="4533177"/>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4F5F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19" name="Freeform: Shape 1018">
                    <a:extLst>
                      <a:ext uri="{FF2B5EF4-FFF2-40B4-BE49-F238E27FC236}">
                        <a16:creationId xmlns:a16="http://schemas.microsoft.com/office/drawing/2014/main" id="{4898CB1A-85E0-02C4-DC08-53801CB9AF47}"/>
                      </a:ext>
                    </a:extLst>
                  </p:cNvPr>
                  <p:cNvSpPr/>
                  <p:nvPr userDrawn="1"/>
                </p:nvSpPr>
                <p:spPr>
                  <a:xfrm>
                    <a:off x="8480457" y="4533598"/>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4F5F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20" name="Freeform: Shape 1019">
                    <a:extLst>
                      <a:ext uri="{FF2B5EF4-FFF2-40B4-BE49-F238E27FC236}">
                        <a16:creationId xmlns:a16="http://schemas.microsoft.com/office/drawing/2014/main" id="{2D9B47B5-7339-96C1-60A1-F06FEF40AC8C}"/>
                      </a:ext>
                    </a:extLst>
                  </p:cNvPr>
                  <p:cNvSpPr/>
                  <p:nvPr userDrawn="1"/>
                </p:nvSpPr>
                <p:spPr>
                  <a:xfrm>
                    <a:off x="8480691" y="4534019"/>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5F6F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21" name="Freeform: Shape 1020">
                    <a:extLst>
                      <a:ext uri="{FF2B5EF4-FFF2-40B4-BE49-F238E27FC236}">
                        <a16:creationId xmlns:a16="http://schemas.microsoft.com/office/drawing/2014/main" id="{0C835746-A124-B3B1-05B2-186ABDAEFBE9}"/>
                      </a:ext>
                    </a:extLst>
                  </p:cNvPr>
                  <p:cNvSpPr/>
                  <p:nvPr userDrawn="1"/>
                </p:nvSpPr>
                <p:spPr>
                  <a:xfrm>
                    <a:off x="8480902" y="4534441"/>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5F6F8"/>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22" name="Freeform: Shape 1021">
                    <a:extLst>
                      <a:ext uri="{FF2B5EF4-FFF2-40B4-BE49-F238E27FC236}">
                        <a16:creationId xmlns:a16="http://schemas.microsoft.com/office/drawing/2014/main" id="{857F14D6-564C-10B6-63CF-27EB6EF188EC}"/>
                      </a:ext>
                    </a:extLst>
                  </p:cNvPr>
                  <p:cNvSpPr/>
                  <p:nvPr userDrawn="1"/>
                </p:nvSpPr>
                <p:spPr>
                  <a:xfrm>
                    <a:off x="8481136" y="4534838"/>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23"/>
                          <a:pt x="0" y="9430"/>
                          <a:pt x="0" y="21060"/>
                        </a:cubicBezTo>
                        <a:close/>
                      </a:path>
                    </a:pathLst>
                  </a:custGeom>
                  <a:solidFill>
                    <a:srgbClr val="F5F6F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23" name="Freeform: Shape 1022">
                    <a:extLst>
                      <a:ext uri="{FF2B5EF4-FFF2-40B4-BE49-F238E27FC236}">
                        <a16:creationId xmlns:a16="http://schemas.microsoft.com/office/drawing/2014/main" id="{BFE0AB98-13F2-81DA-2AE7-9EC47A630D85}"/>
                      </a:ext>
                    </a:extLst>
                  </p:cNvPr>
                  <p:cNvSpPr/>
                  <p:nvPr userDrawn="1"/>
                </p:nvSpPr>
                <p:spPr>
                  <a:xfrm>
                    <a:off x="8481346" y="4535260"/>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23"/>
                          <a:pt x="0" y="9430"/>
                          <a:pt x="0" y="21060"/>
                        </a:cubicBezTo>
                        <a:close/>
                      </a:path>
                    </a:pathLst>
                  </a:custGeom>
                  <a:solidFill>
                    <a:srgbClr val="F6F6F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24" name="Freeform: Shape 1023">
                    <a:extLst>
                      <a:ext uri="{FF2B5EF4-FFF2-40B4-BE49-F238E27FC236}">
                        <a16:creationId xmlns:a16="http://schemas.microsoft.com/office/drawing/2014/main" id="{661816D2-B696-F254-6EB3-3E5D1CBAF8D6}"/>
                      </a:ext>
                    </a:extLst>
                  </p:cNvPr>
                  <p:cNvSpPr/>
                  <p:nvPr userDrawn="1"/>
                </p:nvSpPr>
                <p:spPr>
                  <a:xfrm>
                    <a:off x="8481557" y="4535681"/>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23"/>
                          <a:pt x="0" y="9430"/>
                          <a:pt x="0" y="21060"/>
                        </a:cubicBezTo>
                        <a:close/>
                      </a:path>
                    </a:pathLst>
                  </a:custGeom>
                  <a:solidFill>
                    <a:srgbClr val="F6F7F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25" name="Freeform: Shape 1024">
                    <a:extLst>
                      <a:ext uri="{FF2B5EF4-FFF2-40B4-BE49-F238E27FC236}">
                        <a16:creationId xmlns:a16="http://schemas.microsoft.com/office/drawing/2014/main" id="{A23F73A4-F485-08C3-CD4C-792BC0540931}"/>
                      </a:ext>
                    </a:extLst>
                  </p:cNvPr>
                  <p:cNvSpPr/>
                  <p:nvPr userDrawn="1"/>
                </p:nvSpPr>
                <p:spPr>
                  <a:xfrm>
                    <a:off x="8481744" y="4536102"/>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23"/>
                          <a:pt x="0" y="9430"/>
                          <a:pt x="0" y="21060"/>
                        </a:cubicBezTo>
                        <a:close/>
                      </a:path>
                    </a:pathLst>
                  </a:custGeom>
                  <a:solidFill>
                    <a:srgbClr val="F6F7F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26" name="Freeform: Shape 1025">
                    <a:extLst>
                      <a:ext uri="{FF2B5EF4-FFF2-40B4-BE49-F238E27FC236}">
                        <a16:creationId xmlns:a16="http://schemas.microsoft.com/office/drawing/2014/main" id="{0B9E6B97-01A7-2216-977B-8FCA488FD4A7}"/>
                      </a:ext>
                    </a:extLst>
                  </p:cNvPr>
                  <p:cNvSpPr/>
                  <p:nvPr userDrawn="1"/>
                </p:nvSpPr>
                <p:spPr>
                  <a:xfrm>
                    <a:off x="8481955" y="4536523"/>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6F7F9"/>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27" name="Freeform: Shape 1026">
                    <a:extLst>
                      <a:ext uri="{FF2B5EF4-FFF2-40B4-BE49-F238E27FC236}">
                        <a16:creationId xmlns:a16="http://schemas.microsoft.com/office/drawing/2014/main" id="{114A18D3-6D63-1B46-5F3D-01BCB11A10BB}"/>
                      </a:ext>
                    </a:extLst>
                  </p:cNvPr>
                  <p:cNvSpPr/>
                  <p:nvPr userDrawn="1"/>
                </p:nvSpPr>
                <p:spPr>
                  <a:xfrm>
                    <a:off x="8482142" y="4536945"/>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7F7F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28" name="Freeform: Shape 1027">
                    <a:extLst>
                      <a:ext uri="{FF2B5EF4-FFF2-40B4-BE49-F238E27FC236}">
                        <a16:creationId xmlns:a16="http://schemas.microsoft.com/office/drawing/2014/main" id="{1C73F6A0-7956-8131-41D9-4C2ED220BE70}"/>
                      </a:ext>
                    </a:extLst>
                  </p:cNvPr>
                  <p:cNvSpPr/>
                  <p:nvPr userDrawn="1"/>
                </p:nvSpPr>
                <p:spPr>
                  <a:xfrm>
                    <a:off x="8482329" y="4537366"/>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7F8F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29" name="Freeform: Shape 1028">
                    <a:extLst>
                      <a:ext uri="{FF2B5EF4-FFF2-40B4-BE49-F238E27FC236}">
                        <a16:creationId xmlns:a16="http://schemas.microsoft.com/office/drawing/2014/main" id="{E4A2461B-D698-3885-6B9E-BC4749561A75}"/>
                      </a:ext>
                    </a:extLst>
                  </p:cNvPr>
                  <p:cNvSpPr/>
                  <p:nvPr userDrawn="1"/>
                </p:nvSpPr>
                <p:spPr>
                  <a:xfrm>
                    <a:off x="8482517" y="4537787"/>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7F8F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30" name="Freeform: Shape 1029">
                    <a:extLst>
                      <a:ext uri="{FF2B5EF4-FFF2-40B4-BE49-F238E27FC236}">
                        <a16:creationId xmlns:a16="http://schemas.microsoft.com/office/drawing/2014/main" id="{8A095D17-AE24-6842-E04B-12118DF94519}"/>
                      </a:ext>
                    </a:extLst>
                  </p:cNvPr>
                  <p:cNvSpPr/>
                  <p:nvPr userDrawn="1"/>
                </p:nvSpPr>
                <p:spPr>
                  <a:xfrm>
                    <a:off x="8482680" y="4538208"/>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8F8F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31" name="Freeform: Shape 1030">
                    <a:extLst>
                      <a:ext uri="{FF2B5EF4-FFF2-40B4-BE49-F238E27FC236}">
                        <a16:creationId xmlns:a16="http://schemas.microsoft.com/office/drawing/2014/main" id="{B2DBE679-E07C-7E35-B3E0-15B48BD9E91D}"/>
                      </a:ext>
                    </a:extLst>
                  </p:cNvPr>
                  <p:cNvSpPr/>
                  <p:nvPr userDrawn="1"/>
                </p:nvSpPr>
                <p:spPr>
                  <a:xfrm>
                    <a:off x="8482844" y="4538629"/>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8F9FA"/>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32" name="Freeform: Shape 1031">
                    <a:extLst>
                      <a:ext uri="{FF2B5EF4-FFF2-40B4-BE49-F238E27FC236}">
                        <a16:creationId xmlns:a16="http://schemas.microsoft.com/office/drawing/2014/main" id="{132C602C-93FC-6E37-BEC3-EB062250DA97}"/>
                      </a:ext>
                    </a:extLst>
                  </p:cNvPr>
                  <p:cNvSpPr/>
                  <p:nvPr userDrawn="1"/>
                </p:nvSpPr>
                <p:spPr>
                  <a:xfrm>
                    <a:off x="8483008" y="4539027"/>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23"/>
                          <a:pt x="0" y="9430"/>
                          <a:pt x="0" y="21060"/>
                        </a:cubicBezTo>
                        <a:close/>
                      </a:path>
                    </a:pathLst>
                  </a:custGeom>
                  <a:solidFill>
                    <a:srgbClr val="F8F9F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33" name="Freeform: Shape 1032">
                    <a:extLst>
                      <a:ext uri="{FF2B5EF4-FFF2-40B4-BE49-F238E27FC236}">
                        <a16:creationId xmlns:a16="http://schemas.microsoft.com/office/drawing/2014/main" id="{A6C0DE49-C3BF-2ED7-5D3F-0E428B00B3EC}"/>
                      </a:ext>
                    </a:extLst>
                  </p:cNvPr>
                  <p:cNvSpPr/>
                  <p:nvPr userDrawn="1"/>
                </p:nvSpPr>
                <p:spPr>
                  <a:xfrm>
                    <a:off x="8483172" y="4539448"/>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23"/>
                          <a:pt x="0" y="9430"/>
                          <a:pt x="0" y="21060"/>
                        </a:cubicBezTo>
                        <a:close/>
                      </a:path>
                    </a:pathLst>
                  </a:custGeom>
                  <a:solidFill>
                    <a:srgbClr val="F9F9F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34" name="Freeform: Shape 1033">
                    <a:extLst>
                      <a:ext uri="{FF2B5EF4-FFF2-40B4-BE49-F238E27FC236}">
                        <a16:creationId xmlns:a16="http://schemas.microsoft.com/office/drawing/2014/main" id="{9A76FCDA-FC93-64D2-F59D-61D3D0D67DD4}"/>
                      </a:ext>
                    </a:extLst>
                  </p:cNvPr>
                  <p:cNvSpPr/>
                  <p:nvPr userDrawn="1"/>
                </p:nvSpPr>
                <p:spPr>
                  <a:xfrm>
                    <a:off x="8483312" y="4539870"/>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9F9F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35" name="Freeform: Shape 1034">
                    <a:extLst>
                      <a:ext uri="{FF2B5EF4-FFF2-40B4-BE49-F238E27FC236}">
                        <a16:creationId xmlns:a16="http://schemas.microsoft.com/office/drawing/2014/main" id="{D89E2175-3A74-3602-276B-9C3BD722D1BE}"/>
                      </a:ext>
                    </a:extLst>
                  </p:cNvPr>
                  <p:cNvSpPr/>
                  <p:nvPr userDrawn="1"/>
                </p:nvSpPr>
                <p:spPr>
                  <a:xfrm>
                    <a:off x="8483476" y="4540291"/>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9FAF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36" name="Freeform: Shape 1035">
                    <a:extLst>
                      <a:ext uri="{FF2B5EF4-FFF2-40B4-BE49-F238E27FC236}">
                        <a16:creationId xmlns:a16="http://schemas.microsoft.com/office/drawing/2014/main" id="{78090EA9-C315-9B5F-344B-79CFB2DE2857}"/>
                      </a:ext>
                    </a:extLst>
                  </p:cNvPr>
                  <p:cNvSpPr/>
                  <p:nvPr userDrawn="1"/>
                </p:nvSpPr>
                <p:spPr>
                  <a:xfrm>
                    <a:off x="8483616" y="4540712"/>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9FAFB"/>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37" name="Freeform: Shape 1036">
                    <a:extLst>
                      <a:ext uri="{FF2B5EF4-FFF2-40B4-BE49-F238E27FC236}">
                        <a16:creationId xmlns:a16="http://schemas.microsoft.com/office/drawing/2014/main" id="{AE7E52FF-D775-4274-71EF-3745A62F4761}"/>
                      </a:ext>
                    </a:extLst>
                  </p:cNvPr>
                  <p:cNvSpPr/>
                  <p:nvPr userDrawn="1"/>
                </p:nvSpPr>
                <p:spPr>
                  <a:xfrm>
                    <a:off x="8483733" y="4541133"/>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07"/>
                          <a:pt x="0" y="21060"/>
                        </a:cubicBezTo>
                        <a:close/>
                      </a:path>
                    </a:pathLst>
                  </a:custGeom>
                  <a:solidFill>
                    <a:srgbClr val="FAFAF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38" name="Freeform: Shape 1037">
                    <a:extLst>
                      <a:ext uri="{FF2B5EF4-FFF2-40B4-BE49-F238E27FC236}">
                        <a16:creationId xmlns:a16="http://schemas.microsoft.com/office/drawing/2014/main" id="{F4F40BF8-F2BB-18D9-75E3-078ECFD0C7DF}"/>
                      </a:ext>
                    </a:extLst>
                  </p:cNvPr>
                  <p:cNvSpPr/>
                  <p:nvPr userDrawn="1"/>
                </p:nvSpPr>
                <p:spPr>
                  <a:xfrm>
                    <a:off x="8483874" y="4541531"/>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43" y="42097"/>
                          <a:pt x="42074" y="32667"/>
                          <a:pt x="42074" y="21060"/>
                        </a:cubicBezTo>
                        <a:cubicBezTo>
                          <a:pt x="42074" y="9430"/>
                          <a:pt x="32643" y="0"/>
                          <a:pt x="21037" y="0"/>
                        </a:cubicBezTo>
                        <a:cubicBezTo>
                          <a:pt x="9430" y="0"/>
                          <a:pt x="0" y="9430"/>
                          <a:pt x="0" y="21060"/>
                        </a:cubicBezTo>
                        <a:close/>
                      </a:path>
                    </a:pathLst>
                  </a:custGeom>
                  <a:solidFill>
                    <a:srgbClr val="FAFBF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39" name="Freeform: Shape 1038">
                    <a:extLst>
                      <a:ext uri="{FF2B5EF4-FFF2-40B4-BE49-F238E27FC236}">
                        <a16:creationId xmlns:a16="http://schemas.microsoft.com/office/drawing/2014/main" id="{EE9FC523-DD6B-5959-59B9-91024B93EC8F}"/>
                      </a:ext>
                    </a:extLst>
                  </p:cNvPr>
                  <p:cNvSpPr/>
                  <p:nvPr userDrawn="1"/>
                </p:nvSpPr>
                <p:spPr>
                  <a:xfrm>
                    <a:off x="8483991" y="4541952"/>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AFBF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40" name="Freeform: Shape 1039">
                    <a:extLst>
                      <a:ext uri="{FF2B5EF4-FFF2-40B4-BE49-F238E27FC236}">
                        <a16:creationId xmlns:a16="http://schemas.microsoft.com/office/drawing/2014/main" id="{64AAB7FD-306F-7038-8CEA-1FB8CF17DC28}"/>
                      </a:ext>
                    </a:extLst>
                  </p:cNvPr>
                  <p:cNvSpPr/>
                  <p:nvPr userDrawn="1"/>
                </p:nvSpPr>
                <p:spPr>
                  <a:xfrm>
                    <a:off x="8484108" y="4542373"/>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BFBF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41" name="Freeform: Shape 1040">
                    <a:extLst>
                      <a:ext uri="{FF2B5EF4-FFF2-40B4-BE49-F238E27FC236}">
                        <a16:creationId xmlns:a16="http://schemas.microsoft.com/office/drawing/2014/main" id="{FE0D1673-DE8C-A6F6-7586-6099BAC08DD8}"/>
                      </a:ext>
                    </a:extLst>
                  </p:cNvPr>
                  <p:cNvSpPr/>
                  <p:nvPr userDrawn="1"/>
                </p:nvSpPr>
                <p:spPr>
                  <a:xfrm>
                    <a:off x="8484225" y="4542771"/>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23"/>
                          <a:pt x="0" y="9430"/>
                          <a:pt x="0" y="21060"/>
                        </a:cubicBezTo>
                        <a:close/>
                      </a:path>
                    </a:pathLst>
                  </a:custGeom>
                  <a:solidFill>
                    <a:srgbClr val="FBFBFC"/>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42" name="Freeform: Shape 1041">
                    <a:extLst>
                      <a:ext uri="{FF2B5EF4-FFF2-40B4-BE49-F238E27FC236}">
                        <a16:creationId xmlns:a16="http://schemas.microsoft.com/office/drawing/2014/main" id="{E1036032-683F-695C-99D0-5F8E37163EEE}"/>
                      </a:ext>
                    </a:extLst>
                  </p:cNvPr>
                  <p:cNvSpPr/>
                  <p:nvPr userDrawn="1"/>
                </p:nvSpPr>
                <p:spPr>
                  <a:xfrm>
                    <a:off x="8484342" y="4543192"/>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BFCF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43" name="Freeform: Shape 1042">
                    <a:extLst>
                      <a:ext uri="{FF2B5EF4-FFF2-40B4-BE49-F238E27FC236}">
                        <a16:creationId xmlns:a16="http://schemas.microsoft.com/office/drawing/2014/main" id="{A46A12DF-4A9D-4DEF-89B3-D774936872C0}"/>
                      </a:ext>
                    </a:extLst>
                  </p:cNvPr>
                  <p:cNvSpPr/>
                  <p:nvPr userDrawn="1"/>
                </p:nvSpPr>
                <p:spPr>
                  <a:xfrm>
                    <a:off x="8484435" y="4543614"/>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CFCF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44" name="Freeform: Shape 1043">
                    <a:extLst>
                      <a:ext uri="{FF2B5EF4-FFF2-40B4-BE49-F238E27FC236}">
                        <a16:creationId xmlns:a16="http://schemas.microsoft.com/office/drawing/2014/main" id="{085A8B0F-B9DA-E8D0-4A41-0DCBA041B7F4}"/>
                      </a:ext>
                    </a:extLst>
                  </p:cNvPr>
                  <p:cNvSpPr/>
                  <p:nvPr userDrawn="1"/>
                </p:nvSpPr>
                <p:spPr>
                  <a:xfrm>
                    <a:off x="8484529" y="4544035"/>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07"/>
                          <a:pt x="0" y="21060"/>
                        </a:cubicBezTo>
                        <a:close/>
                      </a:path>
                    </a:pathLst>
                  </a:custGeom>
                  <a:solidFill>
                    <a:srgbClr val="FCFCF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45" name="Freeform: Shape 1044">
                    <a:extLst>
                      <a:ext uri="{FF2B5EF4-FFF2-40B4-BE49-F238E27FC236}">
                        <a16:creationId xmlns:a16="http://schemas.microsoft.com/office/drawing/2014/main" id="{A2E75AE6-396E-58D4-2D26-EF3A616A0A49}"/>
                      </a:ext>
                    </a:extLst>
                  </p:cNvPr>
                  <p:cNvSpPr/>
                  <p:nvPr userDrawn="1"/>
                </p:nvSpPr>
                <p:spPr>
                  <a:xfrm>
                    <a:off x="8484623" y="4544433"/>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CFCF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46" name="Freeform: Shape 1045">
                    <a:extLst>
                      <a:ext uri="{FF2B5EF4-FFF2-40B4-BE49-F238E27FC236}">
                        <a16:creationId xmlns:a16="http://schemas.microsoft.com/office/drawing/2014/main" id="{598A0DE1-B35D-A068-2A35-A19D659F5F1F}"/>
                      </a:ext>
                    </a:extLst>
                  </p:cNvPr>
                  <p:cNvSpPr/>
                  <p:nvPr userDrawn="1"/>
                </p:nvSpPr>
                <p:spPr>
                  <a:xfrm>
                    <a:off x="8484693" y="4544854"/>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DFDFD"/>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47" name="Freeform: Shape 1046">
                    <a:extLst>
                      <a:ext uri="{FF2B5EF4-FFF2-40B4-BE49-F238E27FC236}">
                        <a16:creationId xmlns:a16="http://schemas.microsoft.com/office/drawing/2014/main" id="{1D11496A-795A-EAC2-A8AB-DB711030C42E}"/>
                      </a:ext>
                    </a:extLst>
                  </p:cNvPr>
                  <p:cNvSpPr/>
                  <p:nvPr userDrawn="1"/>
                </p:nvSpPr>
                <p:spPr>
                  <a:xfrm>
                    <a:off x="8484786" y="4545252"/>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23"/>
                          <a:pt x="0" y="9430"/>
                          <a:pt x="0" y="21060"/>
                        </a:cubicBezTo>
                        <a:close/>
                      </a:path>
                    </a:pathLst>
                  </a:custGeom>
                  <a:solidFill>
                    <a:srgbClr val="FDFDF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48" name="Freeform: Shape 1047">
                    <a:extLst>
                      <a:ext uri="{FF2B5EF4-FFF2-40B4-BE49-F238E27FC236}">
                        <a16:creationId xmlns:a16="http://schemas.microsoft.com/office/drawing/2014/main" id="{A5FFE439-5B80-48E1-F50E-353F929095FC}"/>
                      </a:ext>
                    </a:extLst>
                  </p:cNvPr>
                  <p:cNvSpPr/>
                  <p:nvPr userDrawn="1"/>
                </p:nvSpPr>
                <p:spPr>
                  <a:xfrm>
                    <a:off x="8484857" y="4545673"/>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DFDF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49" name="Freeform: Shape 1048">
                    <a:extLst>
                      <a:ext uri="{FF2B5EF4-FFF2-40B4-BE49-F238E27FC236}">
                        <a16:creationId xmlns:a16="http://schemas.microsoft.com/office/drawing/2014/main" id="{09D673C8-416C-AB94-EB6A-AA69DF31EAB7}"/>
                      </a:ext>
                    </a:extLst>
                  </p:cNvPr>
                  <p:cNvSpPr/>
                  <p:nvPr userDrawn="1"/>
                </p:nvSpPr>
                <p:spPr>
                  <a:xfrm>
                    <a:off x="8484927" y="4546071"/>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23"/>
                          <a:pt x="0" y="9430"/>
                          <a:pt x="0" y="21060"/>
                        </a:cubicBezTo>
                        <a:close/>
                      </a:path>
                    </a:pathLst>
                  </a:custGeom>
                  <a:solidFill>
                    <a:srgbClr val="FDFEF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50" name="Freeform: Shape 1049">
                    <a:extLst>
                      <a:ext uri="{FF2B5EF4-FFF2-40B4-BE49-F238E27FC236}">
                        <a16:creationId xmlns:a16="http://schemas.microsoft.com/office/drawing/2014/main" id="{BEA85A0B-430F-B3A1-7D8B-5A75B643F5E1}"/>
                      </a:ext>
                    </a:extLst>
                  </p:cNvPr>
                  <p:cNvSpPr/>
                  <p:nvPr userDrawn="1"/>
                </p:nvSpPr>
                <p:spPr>
                  <a:xfrm>
                    <a:off x="8484974" y="4546492"/>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EFEF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51" name="Freeform: Shape 1050">
                    <a:extLst>
                      <a:ext uri="{FF2B5EF4-FFF2-40B4-BE49-F238E27FC236}">
                        <a16:creationId xmlns:a16="http://schemas.microsoft.com/office/drawing/2014/main" id="{03338342-A788-407E-2F99-A7492328BFC3}"/>
                      </a:ext>
                    </a:extLst>
                  </p:cNvPr>
                  <p:cNvSpPr/>
                  <p:nvPr userDrawn="1"/>
                </p:nvSpPr>
                <p:spPr>
                  <a:xfrm>
                    <a:off x="8485020" y="4546890"/>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23"/>
                          <a:pt x="0" y="9430"/>
                          <a:pt x="0" y="21060"/>
                        </a:cubicBezTo>
                        <a:close/>
                      </a:path>
                    </a:pathLst>
                  </a:custGeom>
                  <a:solidFill>
                    <a:srgbClr val="FEFEFE"/>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52" name="Freeform: Shape 1051">
                    <a:extLst>
                      <a:ext uri="{FF2B5EF4-FFF2-40B4-BE49-F238E27FC236}">
                        <a16:creationId xmlns:a16="http://schemas.microsoft.com/office/drawing/2014/main" id="{1AB6A7FD-8D6E-44E0-8BD3-062C050FE93F}"/>
                      </a:ext>
                    </a:extLst>
                  </p:cNvPr>
                  <p:cNvSpPr/>
                  <p:nvPr userDrawn="1"/>
                </p:nvSpPr>
                <p:spPr>
                  <a:xfrm>
                    <a:off x="8485091" y="4547311"/>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EFEF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53" name="Freeform: Shape 1052">
                    <a:extLst>
                      <a:ext uri="{FF2B5EF4-FFF2-40B4-BE49-F238E27FC236}">
                        <a16:creationId xmlns:a16="http://schemas.microsoft.com/office/drawing/2014/main" id="{F4823B96-C72C-CB31-1521-E0959207DB35}"/>
                      </a:ext>
                    </a:extLst>
                  </p:cNvPr>
                  <p:cNvSpPr/>
                  <p:nvPr userDrawn="1"/>
                </p:nvSpPr>
                <p:spPr>
                  <a:xfrm>
                    <a:off x="8485114" y="4547709"/>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23"/>
                          <a:pt x="0" y="9430"/>
                          <a:pt x="0" y="21060"/>
                        </a:cubicBezTo>
                        <a:close/>
                      </a:path>
                    </a:pathLst>
                  </a:custGeom>
                  <a:solidFill>
                    <a:srgbClr val="FFFFF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54" name="Freeform: Shape 1053">
                    <a:extLst>
                      <a:ext uri="{FF2B5EF4-FFF2-40B4-BE49-F238E27FC236}">
                        <a16:creationId xmlns:a16="http://schemas.microsoft.com/office/drawing/2014/main" id="{D6CDB635-67AB-EE73-B5D4-19F456CD65BB}"/>
                      </a:ext>
                    </a:extLst>
                  </p:cNvPr>
                  <p:cNvSpPr/>
                  <p:nvPr userDrawn="1"/>
                </p:nvSpPr>
                <p:spPr>
                  <a:xfrm>
                    <a:off x="8485161" y="4548130"/>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FFFF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grpSp>
          </p:grpSp>
          <p:grpSp>
            <p:nvGrpSpPr>
              <p:cNvPr id="1055" name="Graphic 4">
                <a:extLst>
                  <a:ext uri="{FF2B5EF4-FFF2-40B4-BE49-F238E27FC236}">
                    <a16:creationId xmlns:a16="http://schemas.microsoft.com/office/drawing/2014/main" id="{0F8243B3-D6DD-AC6A-FAD2-028A34A2E3EC}"/>
                  </a:ext>
                </a:extLst>
              </p:cNvPr>
              <p:cNvGrpSpPr/>
              <p:nvPr userDrawn="1"/>
            </p:nvGrpSpPr>
            <p:grpSpPr>
              <a:xfrm>
                <a:off x="8195243" y="4295826"/>
                <a:ext cx="331785" cy="331794"/>
                <a:chOff x="8195243" y="4295826"/>
                <a:chExt cx="331785" cy="331794"/>
              </a:xfrm>
              <a:solidFill>
                <a:srgbClr val="FFFFFF"/>
              </a:solidFill>
            </p:grpSpPr>
            <p:sp>
              <p:nvSpPr>
                <p:cNvPr id="1056" name="Freeform: Shape 1055">
                  <a:extLst>
                    <a:ext uri="{FF2B5EF4-FFF2-40B4-BE49-F238E27FC236}">
                      <a16:creationId xmlns:a16="http://schemas.microsoft.com/office/drawing/2014/main" id="{81AAC530-DF43-7E52-F528-7EC31E4BFDB1}"/>
                    </a:ext>
                  </a:extLst>
                </p:cNvPr>
                <p:cNvSpPr/>
                <p:nvPr userDrawn="1"/>
              </p:nvSpPr>
              <p:spPr>
                <a:xfrm>
                  <a:off x="8379509" y="4295826"/>
                  <a:ext cx="147519" cy="331794"/>
                </a:xfrm>
                <a:custGeom>
                  <a:avLst/>
                  <a:gdLst>
                    <a:gd name="connsiteX0" fmla="*/ 91612 w 147519"/>
                    <a:gd name="connsiteY0" fmla="*/ 331794 h 331794"/>
                    <a:gd name="connsiteX1" fmla="*/ 87844 w 147519"/>
                    <a:gd name="connsiteY1" fmla="*/ 331654 h 331794"/>
                    <a:gd name="connsiteX2" fmla="*/ 37932 w 147519"/>
                    <a:gd name="connsiteY2" fmla="*/ 301304 h 331794"/>
                    <a:gd name="connsiteX3" fmla="*/ 0 w 147519"/>
                    <a:gd name="connsiteY3" fmla="*/ 165957 h 331794"/>
                    <a:gd name="connsiteX4" fmla="*/ 37932 w 147519"/>
                    <a:gd name="connsiteY4" fmla="*/ 30541 h 331794"/>
                    <a:gd name="connsiteX5" fmla="*/ 87844 w 147519"/>
                    <a:gd name="connsiteY5" fmla="*/ 144 h 331794"/>
                    <a:gd name="connsiteX6" fmla="*/ 130292 w 147519"/>
                    <a:gd name="connsiteY6" fmla="*/ 17226 h 331794"/>
                    <a:gd name="connsiteX7" fmla="*/ 147327 w 147519"/>
                    <a:gd name="connsiteY7" fmla="*/ 60259 h 331794"/>
                    <a:gd name="connsiteX8" fmla="*/ 105909 w 147519"/>
                    <a:gd name="connsiteY8" fmla="*/ 56608 h 331794"/>
                    <a:gd name="connsiteX9" fmla="*/ 100878 w 147519"/>
                    <a:gd name="connsiteY9" fmla="*/ 46616 h 331794"/>
                    <a:gd name="connsiteX10" fmla="*/ 91003 w 147519"/>
                    <a:gd name="connsiteY10" fmla="*/ 41585 h 331794"/>
                    <a:gd name="connsiteX11" fmla="*/ 71113 w 147519"/>
                    <a:gd name="connsiteY11" fmla="*/ 55509 h 331794"/>
                    <a:gd name="connsiteX12" fmla="*/ 70575 w 147519"/>
                    <a:gd name="connsiteY12" fmla="*/ 56211 h 331794"/>
                    <a:gd name="connsiteX13" fmla="*/ 41559 w 147519"/>
                    <a:gd name="connsiteY13" fmla="*/ 165911 h 331794"/>
                    <a:gd name="connsiteX14" fmla="*/ 70575 w 147519"/>
                    <a:gd name="connsiteY14" fmla="*/ 275540 h 331794"/>
                    <a:gd name="connsiteX15" fmla="*/ 71113 w 147519"/>
                    <a:gd name="connsiteY15" fmla="*/ 276242 h 331794"/>
                    <a:gd name="connsiteX16" fmla="*/ 91050 w 147519"/>
                    <a:gd name="connsiteY16" fmla="*/ 290189 h 331794"/>
                    <a:gd name="connsiteX17" fmla="*/ 100878 w 147519"/>
                    <a:gd name="connsiteY17" fmla="*/ 285158 h 331794"/>
                    <a:gd name="connsiteX18" fmla="*/ 105886 w 147519"/>
                    <a:gd name="connsiteY18" fmla="*/ 275166 h 331794"/>
                    <a:gd name="connsiteX19" fmla="*/ 147281 w 147519"/>
                    <a:gd name="connsiteY19" fmla="*/ 271492 h 331794"/>
                    <a:gd name="connsiteX20" fmla="*/ 130245 w 147519"/>
                    <a:gd name="connsiteY20" fmla="*/ 314572 h 331794"/>
                    <a:gd name="connsiteX21" fmla="*/ 91612 w 147519"/>
                    <a:gd name="connsiteY21" fmla="*/ 331794 h 331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7519" h="331794">
                      <a:moveTo>
                        <a:pt x="91612" y="331794"/>
                      </a:moveTo>
                      <a:cubicBezTo>
                        <a:pt x="90301" y="331794"/>
                        <a:pt x="89038" y="331748"/>
                        <a:pt x="87844" y="331654"/>
                      </a:cubicBezTo>
                      <a:cubicBezTo>
                        <a:pt x="60443" y="329571"/>
                        <a:pt x="41231" y="305656"/>
                        <a:pt x="37932" y="301304"/>
                      </a:cubicBezTo>
                      <a:cubicBezTo>
                        <a:pt x="13900" y="271188"/>
                        <a:pt x="94" y="221884"/>
                        <a:pt x="0" y="165957"/>
                      </a:cubicBezTo>
                      <a:cubicBezTo>
                        <a:pt x="94" y="109961"/>
                        <a:pt x="13900" y="60657"/>
                        <a:pt x="37932" y="30541"/>
                      </a:cubicBezTo>
                      <a:cubicBezTo>
                        <a:pt x="41231" y="26141"/>
                        <a:pt x="60443" y="2250"/>
                        <a:pt x="87844" y="144"/>
                      </a:cubicBezTo>
                      <a:cubicBezTo>
                        <a:pt x="98585" y="-675"/>
                        <a:pt x="114684" y="1618"/>
                        <a:pt x="130292" y="17226"/>
                      </a:cubicBezTo>
                      <a:cubicBezTo>
                        <a:pt x="146111" y="33068"/>
                        <a:pt x="148287" y="49378"/>
                        <a:pt x="147327" y="60259"/>
                      </a:cubicBezTo>
                      <a:lnTo>
                        <a:pt x="105909" y="56608"/>
                      </a:lnTo>
                      <a:cubicBezTo>
                        <a:pt x="106026" y="55368"/>
                        <a:pt x="106307" y="52045"/>
                        <a:pt x="100878" y="46616"/>
                      </a:cubicBezTo>
                      <a:cubicBezTo>
                        <a:pt x="95496" y="41258"/>
                        <a:pt x="92220" y="41492"/>
                        <a:pt x="91003" y="41585"/>
                      </a:cubicBezTo>
                      <a:cubicBezTo>
                        <a:pt x="83305" y="42170"/>
                        <a:pt x="73594" y="52139"/>
                        <a:pt x="71113" y="55509"/>
                      </a:cubicBezTo>
                      <a:lnTo>
                        <a:pt x="70575" y="56211"/>
                      </a:lnTo>
                      <a:cubicBezTo>
                        <a:pt x="52744" y="78417"/>
                        <a:pt x="41629" y="120444"/>
                        <a:pt x="41559" y="165911"/>
                      </a:cubicBezTo>
                      <a:cubicBezTo>
                        <a:pt x="41629" y="211307"/>
                        <a:pt x="52744" y="253334"/>
                        <a:pt x="70575" y="275540"/>
                      </a:cubicBezTo>
                      <a:lnTo>
                        <a:pt x="71113" y="276242"/>
                      </a:lnTo>
                      <a:cubicBezTo>
                        <a:pt x="75091" y="281531"/>
                        <a:pt x="84264" y="289697"/>
                        <a:pt x="91050" y="290189"/>
                      </a:cubicBezTo>
                      <a:cubicBezTo>
                        <a:pt x="92267" y="290282"/>
                        <a:pt x="95520" y="290493"/>
                        <a:pt x="100878" y="285158"/>
                      </a:cubicBezTo>
                      <a:cubicBezTo>
                        <a:pt x="106307" y="279729"/>
                        <a:pt x="106003" y="276406"/>
                        <a:pt x="105886" y="275166"/>
                      </a:cubicBezTo>
                      <a:lnTo>
                        <a:pt x="147281" y="271492"/>
                      </a:lnTo>
                      <a:cubicBezTo>
                        <a:pt x="148240" y="282397"/>
                        <a:pt x="146087" y="298730"/>
                        <a:pt x="130245" y="314572"/>
                      </a:cubicBezTo>
                      <a:cubicBezTo>
                        <a:pt x="116416" y="328425"/>
                        <a:pt x="102165" y="331794"/>
                        <a:pt x="91612" y="331794"/>
                      </a:cubicBezTo>
                      <a:close/>
                    </a:path>
                  </a:pathLst>
                </a:custGeom>
                <a:solidFill>
                  <a:srgbClr val="FFFFF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sp>
              <p:nvSpPr>
                <p:cNvPr id="1057" name="Freeform: Shape 1056">
                  <a:extLst>
                    <a:ext uri="{FF2B5EF4-FFF2-40B4-BE49-F238E27FC236}">
                      <a16:creationId xmlns:a16="http://schemas.microsoft.com/office/drawing/2014/main" id="{6B70919E-EE87-8D5A-AAA1-8CAB98B8C6D8}"/>
                    </a:ext>
                  </a:extLst>
                </p:cNvPr>
                <p:cNvSpPr/>
                <p:nvPr userDrawn="1"/>
              </p:nvSpPr>
              <p:spPr>
                <a:xfrm>
                  <a:off x="8195243" y="4295849"/>
                  <a:ext cx="147551" cy="331770"/>
                </a:xfrm>
                <a:custGeom>
                  <a:avLst/>
                  <a:gdLst>
                    <a:gd name="connsiteX0" fmla="*/ 55893 w 147551"/>
                    <a:gd name="connsiteY0" fmla="*/ 331771 h 331770"/>
                    <a:gd name="connsiteX1" fmla="*/ 17235 w 147551"/>
                    <a:gd name="connsiteY1" fmla="*/ 314548 h 331770"/>
                    <a:gd name="connsiteX2" fmla="*/ 200 w 147551"/>
                    <a:gd name="connsiteY2" fmla="*/ 271445 h 331770"/>
                    <a:gd name="connsiteX3" fmla="*/ 41595 w 147551"/>
                    <a:gd name="connsiteY3" fmla="*/ 275143 h 331770"/>
                    <a:gd name="connsiteX4" fmla="*/ 46626 w 147551"/>
                    <a:gd name="connsiteY4" fmla="*/ 285158 h 331770"/>
                    <a:gd name="connsiteX5" fmla="*/ 56501 w 147551"/>
                    <a:gd name="connsiteY5" fmla="*/ 290189 h 331770"/>
                    <a:gd name="connsiteX6" fmla="*/ 76391 w 147551"/>
                    <a:gd name="connsiteY6" fmla="*/ 276266 h 331770"/>
                    <a:gd name="connsiteX7" fmla="*/ 76929 w 147551"/>
                    <a:gd name="connsiteY7" fmla="*/ 275564 h 331770"/>
                    <a:gd name="connsiteX8" fmla="*/ 105945 w 147551"/>
                    <a:gd name="connsiteY8" fmla="*/ 165887 h 331770"/>
                    <a:gd name="connsiteX9" fmla="*/ 76929 w 147551"/>
                    <a:gd name="connsiteY9" fmla="*/ 56257 h 331770"/>
                    <a:gd name="connsiteX10" fmla="*/ 76391 w 147551"/>
                    <a:gd name="connsiteY10" fmla="*/ 55555 h 331770"/>
                    <a:gd name="connsiteX11" fmla="*/ 56454 w 147551"/>
                    <a:gd name="connsiteY11" fmla="*/ 41609 h 331770"/>
                    <a:gd name="connsiteX12" fmla="*/ 46626 w 147551"/>
                    <a:gd name="connsiteY12" fmla="*/ 46640 h 331770"/>
                    <a:gd name="connsiteX13" fmla="*/ 41618 w 147551"/>
                    <a:gd name="connsiteY13" fmla="*/ 56632 h 331770"/>
                    <a:gd name="connsiteX14" fmla="*/ 223 w 147551"/>
                    <a:gd name="connsiteY14" fmla="*/ 60306 h 331770"/>
                    <a:gd name="connsiteX15" fmla="*/ 17259 w 147551"/>
                    <a:gd name="connsiteY15" fmla="*/ 17226 h 331770"/>
                    <a:gd name="connsiteX16" fmla="*/ 59707 w 147551"/>
                    <a:gd name="connsiteY16" fmla="*/ 144 h 331770"/>
                    <a:gd name="connsiteX17" fmla="*/ 109619 w 147551"/>
                    <a:gd name="connsiteY17" fmla="*/ 30517 h 331770"/>
                    <a:gd name="connsiteX18" fmla="*/ 147551 w 147551"/>
                    <a:gd name="connsiteY18" fmla="*/ 165864 h 331770"/>
                    <a:gd name="connsiteX19" fmla="*/ 109619 w 147551"/>
                    <a:gd name="connsiteY19" fmla="*/ 301281 h 331770"/>
                    <a:gd name="connsiteX20" fmla="*/ 59707 w 147551"/>
                    <a:gd name="connsiteY20" fmla="*/ 331654 h 331770"/>
                    <a:gd name="connsiteX21" fmla="*/ 55893 w 147551"/>
                    <a:gd name="connsiteY21" fmla="*/ 331771 h 331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7551" h="331770">
                      <a:moveTo>
                        <a:pt x="55893" y="331771"/>
                      </a:moveTo>
                      <a:cubicBezTo>
                        <a:pt x="45362" y="331771"/>
                        <a:pt x="31112" y="328425"/>
                        <a:pt x="17235" y="314548"/>
                      </a:cubicBezTo>
                      <a:cubicBezTo>
                        <a:pt x="1393" y="298683"/>
                        <a:pt x="-783" y="282350"/>
                        <a:pt x="200" y="271445"/>
                      </a:cubicBezTo>
                      <a:lnTo>
                        <a:pt x="41595" y="275143"/>
                      </a:lnTo>
                      <a:cubicBezTo>
                        <a:pt x="41478" y="276406"/>
                        <a:pt x="41197" y="279729"/>
                        <a:pt x="46626" y="285158"/>
                      </a:cubicBezTo>
                      <a:cubicBezTo>
                        <a:pt x="52008" y="290540"/>
                        <a:pt x="55284" y="290282"/>
                        <a:pt x="56501" y="290189"/>
                      </a:cubicBezTo>
                      <a:cubicBezTo>
                        <a:pt x="64200" y="289604"/>
                        <a:pt x="73911" y="279635"/>
                        <a:pt x="76391" y="276266"/>
                      </a:cubicBezTo>
                      <a:lnTo>
                        <a:pt x="76929" y="275564"/>
                      </a:lnTo>
                      <a:cubicBezTo>
                        <a:pt x="94760" y="253357"/>
                        <a:pt x="105875" y="211330"/>
                        <a:pt x="105945" y="165887"/>
                      </a:cubicBezTo>
                      <a:cubicBezTo>
                        <a:pt x="105875" y="120491"/>
                        <a:pt x="94760" y="78464"/>
                        <a:pt x="76929" y="56257"/>
                      </a:cubicBezTo>
                      <a:lnTo>
                        <a:pt x="76391" y="55555"/>
                      </a:lnTo>
                      <a:cubicBezTo>
                        <a:pt x="72413" y="50267"/>
                        <a:pt x="63240" y="42100"/>
                        <a:pt x="56454" y="41609"/>
                      </a:cubicBezTo>
                      <a:cubicBezTo>
                        <a:pt x="55214" y="41515"/>
                        <a:pt x="51985" y="41305"/>
                        <a:pt x="46626" y="46640"/>
                      </a:cubicBezTo>
                      <a:cubicBezTo>
                        <a:pt x="41197" y="52069"/>
                        <a:pt x="41501" y="55392"/>
                        <a:pt x="41618" y="56632"/>
                      </a:cubicBezTo>
                      <a:lnTo>
                        <a:pt x="223" y="60306"/>
                      </a:lnTo>
                      <a:cubicBezTo>
                        <a:pt x="-736" y="49401"/>
                        <a:pt x="1417" y="33068"/>
                        <a:pt x="17259" y="17226"/>
                      </a:cubicBezTo>
                      <a:cubicBezTo>
                        <a:pt x="32867" y="1618"/>
                        <a:pt x="48966" y="-675"/>
                        <a:pt x="59707" y="144"/>
                      </a:cubicBezTo>
                      <a:cubicBezTo>
                        <a:pt x="87108" y="2226"/>
                        <a:pt x="106320" y="26141"/>
                        <a:pt x="109619" y="30517"/>
                      </a:cubicBezTo>
                      <a:cubicBezTo>
                        <a:pt x="133651" y="60633"/>
                        <a:pt x="147457" y="109937"/>
                        <a:pt x="147551" y="165864"/>
                      </a:cubicBezTo>
                      <a:cubicBezTo>
                        <a:pt x="147457" y="221860"/>
                        <a:pt x="133651" y="271165"/>
                        <a:pt x="109619" y="301281"/>
                      </a:cubicBezTo>
                      <a:cubicBezTo>
                        <a:pt x="106320" y="305656"/>
                        <a:pt x="87085" y="329548"/>
                        <a:pt x="59707" y="331654"/>
                      </a:cubicBezTo>
                      <a:cubicBezTo>
                        <a:pt x="58490" y="331724"/>
                        <a:pt x="57226" y="331771"/>
                        <a:pt x="55893" y="331771"/>
                      </a:cubicBezTo>
                      <a:close/>
                    </a:path>
                  </a:pathLst>
                </a:custGeom>
                <a:solidFill>
                  <a:srgbClr val="FFFFFF"/>
                </a:solidFill>
                <a:ln w="2339"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FFFFFF"/>
                    </a:solidFill>
                    <a:effectLst/>
                    <a:uLnTx/>
                    <a:uFillTx/>
                    <a:latin typeface="Proximus"/>
                    <a:ea typeface="+mn-ea"/>
                    <a:cs typeface="+mn-cs"/>
                  </a:endParaRPr>
                </a:p>
              </p:txBody>
            </p:sp>
          </p:grpSp>
        </p:grpSp>
      </p:grpSp>
      <p:sp>
        <p:nvSpPr>
          <p:cNvPr id="7" name="Title 1"/>
          <p:cNvSpPr>
            <a:spLocks noGrp="1"/>
          </p:cNvSpPr>
          <p:nvPr>
            <p:ph type="title" hasCustomPrompt="1"/>
          </p:nvPr>
        </p:nvSpPr>
        <p:spPr>
          <a:xfrm>
            <a:off x="613833" y="505886"/>
            <a:ext cx="5928077" cy="2923116"/>
          </a:xfrm>
        </p:spPr>
        <p:txBody>
          <a:bodyPr anchor="b">
            <a:noAutofit/>
          </a:bodyPr>
          <a:lstStyle>
            <a:lvl1pPr>
              <a:defRPr sz="5600" b="0">
                <a:solidFill>
                  <a:srgbClr val="FFFFFF"/>
                </a:solidFill>
                <a:latin typeface="Proximus ExtraBold" panose="00000900000000000000" pitchFamily="2" charset="0"/>
              </a:defRPr>
            </a:lvl1pPr>
          </a:lstStyle>
          <a:p>
            <a:r>
              <a:rPr lang="en-US"/>
              <a:t>Click to edit </a:t>
            </a:r>
            <a:br>
              <a:rPr lang="en-US"/>
            </a:br>
            <a:r>
              <a:rPr lang="en-US"/>
              <a:t>presentation title</a:t>
            </a:r>
            <a:endParaRPr lang="nl-BE"/>
          </a:p>
        </p:txBody>
      </p:sp>
      <p:sp>
        <p:nvSpPr>
          <p:cNvPr id="6" name="Subtitle 2">
            <a:extLst>
              <a:ext uri="{FF2B5EF4-FFF2-40B4-BE49-F238E27FC236}">
                <a16:creationId xmlns:a16="http://schemas.microsoft.com/office/drawing/2014/main" id="{56176E85-8408-4B89-A7FD-D33D192C3CE4}"/>
              </a:ext>
            </a:extLst>
          </p:cNvPr>
          <p:cNvSpPr>
            <a:spLocks noGrp="1"/>
          </p:cNvSpPr>
          <p:nvPr>
            <p:ph type="subTitle" idx="1" hasCustomPrompt="1"/>
          </p:nvPr>
        </p:nvSpPr>
        <p:spPr>
          <a:xfrm>
            <a:off x="613835" y="3801467"/>
            <a:ext cx="5482167" cy="1335741"/>
          </a:xfrm>
        </p:spPr>
        <p:txBody>
          <a:bodyPr/>
          <a:lstStyle>
            <a:lvl1pPr marL="0" indent="0" algn="l">
              <a:lnSpc>
                <a:spcPct val="100000"/>
              </a:lnSpc>
              <a:buNone/>
              <a:defRPr sz="3467">
                <a:solidFill>
                  <a:schemeClr val="tx1"/>
                </a:solidFill>
                <a:latin typeface="Proximus Light" panose="00000500000000000000" pitchFamily="2"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Subtitle</a:t>
            </a:r>
            <a:endParaRPr lang="nl-BE"/>
          </a:p>
        </p:txBody>
      </p:sp>
      <p:sp>
        <p:nvSpPr>
          <p:cNvPr id="3" name="Date Placeholder 8">
            <a:extLst>
              <a:ext uri="{FF2B5EF4-FFF2-40B4-BE49-F238E27FC236}">
                <a16:creationId xmlns:a16="http://schemas.microsoft.com/office/drawing/2014/main" id="{C6D253A4-9E71-17BB-14ED-6271A75930B9}"/>
              </a:ext>
            </a:extLst>
          </p:cNvPr>
          <p:cNvSpPr>
            <a:spLocks noGrp="1"/>
          </p:cNvSpPr>
          <p:nvPr>
            <p:ph type="dt" sz="half" idx="2"/>
          </p:nvPr>
        </p:nvSpPr>
        <p:spPr>
          <a:xfrm>
            <a:off x="613833" y="5821863"/>
            <a:ext cx="204560" cy="377528"/>
          </a:xfrm>
          <a:prstGeom prst="roundRect">
            <a:avLst>
              <a:gd name="adj" fmla="val 50000"/>
            </a:avLst>
          </a:prstGeom>
          <a:solidFill>
            <a:schemeClr val="tx1"/>
          </a:solidFill>
        </p:spPr>
        <p:txBody>
          <a:bodyPr vert="horz" wrap="none" lIns="72000" tIns="36000" rIns="72000" bIns="36000" rtlCol="0" anchor="ctr">
            <a:spAutoFit/>
          </a:bodyPr>
          <a:lstStyle>
            <a:lvl1pPr algn="l">
              <a:defRPr sz="1600">
                <a:solidFill>
                  <a:schemeClr val="bg1"/>
                </a:solidFill>
              </a:defRPr>
            </a:lvl1pPr>
          </a:lstStyle>
          <a:p>
            <a:pPr defTabSz="544112">
              <a:defRPr/>
            </a:pPr>
            <a:endParaRPr lang="en-US">
              <a:solidFill>
                <a:srgbClr val="5C2D91"/>
              </a:solidFill>
            </a:endParaRPr>
          </a:p>
        </p:txBody>
      </p:sp>
      <p:sp>
        <p:nvSpPr>
          <p:cNvPr id="1075" name="Picture Placeholder 1074">
            <a:extLst>
              <a:ext uri="{FF2B5EF4-FFF2-40B4-BE49-F238E27FC236}">
                <a16:creationId xmlns:a16="http://schemas.microsoft.com/office/drawing/2014/main" id="{E51534D9-BBA2-4B82-27F2-0EDD9723BC0B}"/>
              </a:ext>
            </a:extLst>
          </p:cNvPr>
          <p:cNvSpPr>
            <a:spLocks noGrp="1"/>
          </p:cNvSpPr>
          <p:nvPr>
            <p:ph type="pic" sz="quarter" idx="10"/>
          </p:nvPr>
        </p:nvSpPr>
        <p:spPr>
          <a:xfrm>
            <a:off x="5763684" y="6"/>
            <a:ext cx="6426200" cy="6857999"/>
          </a:xfrm>
          <a:custGeom>
            <a:avLst/>
            <a:gdLst>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031541 w 4819650"/>
              <a:gd name="connsiteY21" fmla="*/ 4713284 h 5143499"/>
              <a:gd name="connsiteX22" fmla="*/ 4031541 w 4819650"/>
              <a:gd name="connsiteY22" fmla="*/ 4799826 h 5143499"/>
              <a:gd name="connsiteX23" fmla="*/ 4052312 w 4819650"/>
              <a:gd name="connsiteY23" fmla="*/ 4799826 h 5143499"/>
              <a:gd name="connsiteX24" fmla="*/ 4052312 w 4819650"/>
              <a:gd name="connsiteY24" fmla="*/ 4713284 h 5143499"/>
              <a:gd name="connsiteX25" fmla="*/ 3936473 w 4819650"/>
              <a:gd name="connsiteY25" fmla="*/ 4713284 h 5143499"/>
              <a:gd name="connsiteX26" fmla="*/ 3966836 w 4819650"/>
              <a:gd name="connsiteY26" fmla="*/ 4756247 h 5143499"/>
              <a:gd name="connsiteX27" fmla="*/ 3936473 w 4819650"/>
              <a:gd name="connsiteY27" fmla="*/ 4799850 h 5143499"/>
              <a:gd name="connsiteX28" fmla="*/ 3959447 w 4819650"/>
              <a:gd name="connsiteY28" fmla="*/ 4799850 h 5143499"/>
              <a:gd name="connsiteX29" fmla="*/ 3978181 w 4819650"/>
              <a:gd name="connsiteY29" fmla="*/ 4771689 h 5143499"/>
              <a:gd name="connsiteX30" fmla="*/ 3996915 w 4819650"/>
              <a:gd name="connsiteY30" fmla="*/ 4799850 h 5143499"/>
              <a:gd name="connsiteX31" fmla="*/ 4019889 w 4819650"/>
              <a:gd name="connsiteY31" fmla="*/ 4799850 h 5143499"/>
              <a:gd name="connsiteX32" fmla="*/ 3989668 w 4819650"/>
              <a:gd name="connsiteY32" fmla="*/ 4756247 h 5143499"/>
              <a:gd name="connsiteX33" fmla="*/ 4019889 w 4819650"/>
              <a:gd name="connsiteY33" fmla="*/ 4713284 h 5143499"/>
              <a:gd name="connsiteX34" fmla="*/ 3996749 w 4819650"/>
              <a:gd name="connsiteY34" fmla="*/ 4713284 h 5143499"/>
              <a:gd name="connsiteX35" fmla="*/ 3978181 w 4819650"/>
              <a:gd name="connsiteY35" fmla="*/ 4741137 h 5143499"/>
              <a:gd name="connsiteX36" fmla="*/ 3959612 w 4819650"/>
              <a:gd name="connsiteY36" fmla="*/ 4713284 h 5143499"/>
              <a:gd name="connsiteX37" fmla="*/ 4336238 w 4819650"/>
              <a:gd name="connsiteY37" fmla="*/ 4711721 h 5143499"/>
              <a:gd name="connsiteX38" fmla="*/ 4304596 w 4819650"/>
              <a:gd name="connsiteY38" fmla="*/ 4737063 h 5143499"/>
              <a:gd name="connsiteX39" fmla="*/ 4330080 w 4819650"/>
              <a:gd name="connsiteY39" fmla="*/ 4761932 h 5143499"/>
              <a:gd name="connsiteX40" fmla="*/ 4336073 w 4819650"/>
              <a:gd name="connsiteY40" fmla="*/ 4764134 h 5143499"/>
              <a:gd name="connsiteX41" fmla="*/ 4351657 w 4819650"/>
              <a:gd name="connsiteY41" fmla="*/ 4774982 h 5143499"/>
              <a:gd name="connsiteX42" fmla="*/ 4337186 w 4819650"/>
              <a:gd name="connsiteY42" fmla="*/ 4782845 h 5143499"/>
              <a:gd name="connsiteX43" fmla="*/ 4308220 w 4819650"/>
              <a:gd name="connsiteY43" fmla="*/ 4775763 h 5143499"/>
              <a:gd name="connsiteX44" fmla="*/ 4303341 w 4819650"/>
              <a:gd name="connsiteY44" fmla="*/ 4793858 h 5143499"/>
              <a:gd name="connsiteX45" fmla="*/ 4338109 w 4819650"/>
              <a:gd name="connsiteY45" fmla="*/ 4801413 h 5143499"/>
              <a:gd name="connsiteX46" fmla="*/ 4372404 w 4819650"/>
              <a:gd name="connsiteY46" fmla="*/ 4774342 h 5143499"/>
              <a:gd name="connsiteX47" fmla="*/ 4372452 w 4819650"/>
              <a:gd name="connsiteY47" fmla="*/ 4774366 h 5143499"/>
              <a:gd name="connsiteX48" fmla="*/ 4345688 w 4819650"/>
              <a:gd name="connsiteY48" fmla="*/ 4747768 h 5143499"/>
              <a:gd name="connsiteX49" fmla="*/ 4339388 w 4819650"/>
              <a:gd name="connsiteY49" fmla="*/ 4745400 h 5143499"/>
              <a:gd name="connsiteX50" fmla="*/ 4325391 w 4819650"/>
              <a:gd name="connsiteY50" fmla="*/ 4736116 h 5143499"/>
              <a:gd name="connsiteX51" fmla="*/ 4336096 w 4819650"/>
              <a:gd name="connsiteY51" fmla="*/ 4730124 h 5143499"/>
              <a:gd name="connsiteX52" fmla="*/ 4363783 w 4819650"/>
              <a:gd name="connsiteY52" fmla="*/ 4734221 h 5143499"/>
              <a:gd name="connsiteX53" fmla="*/ 4367715 w 4819650"/>
              <a:gd name="connsiteY53" fmla="*/ 4716434 h 5143499"/>
              <a:gd name="connsiteX54" fmla="*/ 4336238 w 4819650"/>
              <a:gd name="connsiteY54" fmla="*/ 4711721 h 5143499"/>
              <a:gd name="connsiteX55" fmla="*/ 4107093 w 4819650"/>
              <a:gd name="connsiteY55" fmla="*/ 4711721 h 5143499"/>
              <a:gd name="connsiteX56" fmla="*/ 4070430 w 4819650"/>
              <a:gd name="connsiteY56" fmla="*/ 4744760 h 5143499"/>
              <a:gd name="connsiteX57" fmla="*/ 4070430 w 4819650"/>
              <a:gd name="connsiteY57" fmla="*/ 4799850 h 5143499"/>
              <a:gd name="connsiteX58" fmla="*/ 4091201 w 4819650"/>
              <a:gd name="connsiteY58" fmla="*/ 4799850 h 5143499"/>
              <a:gd name="connsiteX59" fmla="*/ 4091201 w 4819650"/>
              <a:gd name="connsiteY59" fmla="*/ 4746182 h 5143499"/>
              <a:gd name="connsiteX60" fmla="*/ 4106927 w 4819650"/>
              <a:gd name="connsiteY60" fmla="*/ 4731379 h 5143499"/>
              <a:gd name="connsiteX61" fmla="*/ 4122985 w 4819650"/>
              <a:gd name="connsiteY61" fmla="*/ 4746182 h 5143499"/>
              <a:gd name="connsiteX62" fmla="*/ 4122985 w 4819650"/>
              <a:gd name="connsiteY62" fmla="*/ 4799850 h 5143499"/>
              <a:gd name="connsiteX63" fmla="*/ 4143591 w 4819650"/>
              <a:gd name="connsiteY63" fmla="*/ 4799850 h 5143499"/>
              <a:gd name="connsiteX64" fmla="*/ 4143591 w 4819650"/>
              <a:gd name="connsiteY64" fmla="*/ 4746182 h 5143499"/>
              <a:gd name="connsiteX65" fmla="*/ 4159648 w 4819650"/>
              <a:gd name="connsiteY65" fmla="*/ 4731379 h 5143499"/>
              <a:gd name="connsiteX66" fmla="*/ 4175375 w 4819650"/>
              <a:gd name="connsiteY66" fmla="*/ 4746182 h 5143499"/>
              <a:gd name="connsiteX67" fmla="*/ 4175375 w 4819650"/>
              <a:gd name="connsiteY67" fmla="*/ 4799850 h 5143499"/>
              <a:gd name="connsiteX68" fmla="*/ 4196146 w 4819650"/>
              <a:gd name="connsiteY68" fmla="*/ 4799850 h 5143499"/>
              <a:gd name="connsiteX69" fmla="*/ 4196146 w 4819650"/>
              <a:gd name="connsiteY69" fmla="*/ 4744760 h 5143499"/>
              <a:gd name="connsiteX70" fmla="*/ 4159648 w 4819650"/>
              <a:gd name="connsiteY70" fmla="*/ 4711721 h 5143499"/>
              <a:gd name="connsiteX71" fmla="*/ 4133525 w 4819650"/>
              <a:gd name="connsiteY71" fmla="*/ 4722426 h 5143499"/>
              <a:gd name="connsiteX72" fmla="*/ 4107093 w 4819650"/>
              <a:gd name="connsiteY72" fmla="*/ 4711721 h 5143499"/>
              <a:gd name="connsiteX73" fmla="*/ 3892112 w 4819650"/>
              <a:gd name="connsiteY73" fmla="*/ 4711721 h 5143499"/>
              <a:gd name="connsiteX74" fmla="*/ 3849930 w 4819650"/>
              <a:gd name="connsiteY74" fmla="*/ 4756413 h 5143499"/>
              <a:gd name="connsiteX75" fmla="*/ 3892112 w 4819650"/>
              <a:gd name="connsiteY75" fmla="*/ 4801413 h 5143499"/>
              <a:gd name="connsiteX76" fmla="*/ 3934293 w 4819650"/>
              <a:gd name="connsiteY76" fmla="*/ 4756413 h 5143499"/>
              <a:gd name="connsiteX77" fmla="*/ 3892112 w 4819650"/>
              <a:gd name="connsiteY77" fmla="*/ 4711721 h 5143499"/>
              <a:gd name="connsiteX78" fmla="*/ 3837662 w 4819650"/>
              <a:gd name="connsiteY78" fmla="*/ 4711697 h 5143499"/>
              <a:gd name="connsiteX79" fmla="*/ 3799412 w 4819650"/>
              <a:gd name="connsiteY79" fmla="*/ 4749000 h 5143499"/>
              <a:gd name="connsiteX80" fmla="*/ 3799412 w 4819650"/>
              <a:gd name="connsiteY80" fmla="*/ 4799826 h 5143499"/>
              <a:gd name="connsiteX81" fmla="*/ 3820183 w 4819650"/>
              <a:gd name="connsiteY81" fmla="*/ 4799826 h 5143499"/>
              <a:gd name="connsiteX82" fmla="*/ 3820183 w 4819650"/>
              <a:gd name="connsiteY82" fmla="*/ 4750563 h 5143499"/>
              <a:gd name="connsiteX83" fmla="*/ 3837662 w 4819650"/>
              <a:gd name="connsiteY83" fmla="*/ 4731994 h 5143499"/>
              <a:gd name="connsiteX84" fmla="*/ 3842707 w 4819650"/>
              <a:gd name="connsiteY84" fmla="*/ 4732302 h 5143499"/>
              <a:gd name="connsiteX85" fmla="*/ 3846165 w 4819650"/>
              <a:gd name="connsiteY85" fmla="*/ 4712479 h 5143499"/>
              <a:gd name="connsiteX86" fmla="*/ 3837662 w 4819650"/>
              <a:gd name="connsiteY86" fmla="*/ 4711697 h 5143499"/>
              <a:gd name="connsiteX87" fmla="*/ 3742286 w 4819650"/>
              <a:gd name="connsiteY87" fmla="*/ 4711697 h 5143499"/>
              <a:gd name="connsiteX88" fmla="*/ 3701052 w 4819650"/>
              <a:gd name="connsiteY88" fmla="*/ 4755915 h 5143499"/>
              <a:gd name="connsiteX89" fmla="*/ 3701052 w 4819650"/>
              <a:gd name="connsiteY89" fmla="*/ 4834452 h 5143499"/>
              <a:gd name="connsiteX90" fmla="*/ 3721823 w 4819650"/>
              <a:gd name="connsiteY90" fmla="*/ 4834452 h 5143499"/>
              <a:gd name="connsiteX91" fmla="*/ 3721823 w 4819650"/>
              <a:gd name="connsiteY91" fmla="*/ 4795586 h 5143499"/>
              <a:gd name="connsiteX92" fmla="*/ 3742286 w 4819650"/>
              <a:gd name="connsiteY92" fmla="*/ 4801413 h 5143499"/>
              <a:gd name="connsiteX93" fmla="*/ 3783828 w 4819650"/>
              <a:gd name="connsiteY93" fmla="*/ 4756413 h 5143499"/>
              <a:gd name="connsiteX94" fmla="*/ 3783828 w 4819650"/>
              <a:gd name="connsiteY94" fmla="*/ 4756389 h 5143499"/>
              <a:gd name="connsiteX95" fmla="*/ 3742286 w 4819650"/>
              <a:gd name="connsiteY95" fmla="*/ 4711697 h 5143499"/>
              <a:gd name="connsiteX96" fmla="*/ 3966385 w 4819650"/>
              <a:gd name="connsiteY96" fmla="*/ 4531816 h 5143499"/>
              <a:gd name="connsiteX97" fmla="*/ 3946680 w 4819650"/>
              <a:gd name="connsiteY97" fmla="*/ 4572481 h 5143499"/>
              <a:gd name="connsiteX98" fmla="*/ 3946656 w 4819650"/>
              <a:gd name="connsiteY98" fmla="*/ 4572458 h 5143499"/>
              <a:gd name="connsiteX99" fmla="*/ 3946112 w 4819650"/>
              <a:gd name="connsiteY99" fmla="*/ 4573168 h 5143499"/>
              <a:gd name="connsiteX100" fmla="*/ 3925933 w 4819650"/>
              <a:gd name="connsiteY100" fmla="*/ 4587284 h 5143499"/>
              <a:gd name="connsiteX101" fmla="*/ 3915985 w 4819650"/>
              <a:gd name="connsiteY101" fmla="*/ 4582192 h 5143499"/>
              <a:gd name="connsiteX102" fmla="*/ 3910893 w 4819650"/>
              <a:gd name="connsiteY102" fmla="*/ 4572244 h 5143499"/>
              <a:gd name="connsiteX103" fmla="*/ 3925009 w 4819650"/>
              <a:gd name="connsiteY103" fmla="*/ 4552066 h 5143499"/>
              <a:gd name="connsiteX104" fmla="*/ 3925720 w 4819650"/>
              <a:gd name="connsiteY104" fmla="*/ 4551521 h 5143499"/>
              <a:gd name="connsiteX105" fmla="*/ 3966385 w 4819650"/>
              <a:gd name="connsiteY105" fmla="*/ 4531816 h 5143499"/>
              <a:gd name="connsiteX106" fmla="*/ 4107045 w 4819650"/>
              <a:gd name="connsiteY106" fmla="*/ 4531815 h 5143499"/>
              <a:gd name="connsiteX107" fmla="*/ 4147664 w 4819650"/>
              <a:gd name="connsiteY107" fmla="*/ 4551497 h 5143499"/>
              <a:gd name="connsiteX108" fmla="*/ 4148375 w 4819650"/>
              <a:gd name="connsiteY108" fmla="*/ 4552042 h 5143499"/>
              <a:gd name="connsiteX109" fmla="*/ 4162491 w 4819650"/>
              <a:gd name="connsiteY109" fmla="*/ 4572221 h 5143499"/>
              <a:gd name="connsiteX110" fmla="*/ 4157398 w 4819650"/>
              <a:gd name="connsiteY110" fmla="*/ 4582168 h 5143499"/>
              <a:gd name="connsiteX111" fmla="*/ 4147451 w 4819650"/>
              <a:gd name="connsiteY111" fmla="*/ 4587260 h 5143499"/>
              <a:gd name="connsiteX112" fmla="*/ 4127272 w 4819650"/>
              <a:gd name="connsiteY112" fmla="*/ 4573145 h 5143499"/>
              <a:gd name="connsiteX113" fmla="*/ 4126727 w 4819650"/>
              <a:gd name="connsiteY113" fmla="*/ 4572434 h 5143499"/>
              <a:gd name="connsiteX114" fmla="*/ 4107022 w 4819650"/>
              <a:gd name="connsiteY114" fmla="*/ 4531768 h 5143499"/>
              <a:gd name="connsiteX115" fmla="*/ 4107045 w 4819650"/>
              <a:gd name="connsiteY115" fmla="*/ 4531815 h 5143499"/>
              <a:gd name="connsiteX116" fmla="*/ 4106998 w 4819650"/>
              <a:gd name="connsiteY116" fmla="*/ 4531792 h 5143499"/>
              <a:gd name="connsiteX117" fmla="*/ 4017496 w 4819650"/>
              <a:gd name="connsiteY117" fmla="*/ 4442289 h 5143499"/>
              <a:gd name="connsiteX118" fmla="*/ 4036704 w 4819650"/>
              <a:gd name="connsiteY118" fmla="*/ 4442881 h 5143499"/>
              <a:gd name="connsiteX119" fmla="*/ 4055864 w 4819650"/>
              <a:gd name="connsiteY119" fmla="*/ 4442289 h 5143499"/>
              <a:gd name="connsiteX120" fmla="*/ 4055272 w 4819650"/>
              <a:gd name="connsiteY120" fmla="*/ 4461497 h 5143499"/>
              <a:gd name="connsiteX121" fmla="*/ 4055864 w 4819650"/>
              <a:gd name="connsiteY121" fmla="*/ 4480658 h 5143499"/>
              <a:gd name="connsiteX122" fmla="*/ 4036656 w 4819650"/>
              <a:gd name="connsiteY122" fmla="*/ 4480066 h 5143499"/>
              <a:gd name="connsiteX123" fmla="*/ 4017496 w 4819650"/>
              <a:gd name="connsiteY123" fmla="*/ 4480658 h 5143499"/>
              <a:gd name="connsiteX124" fmla="*/ 4018088 w 4819650"/>
              <a:gd name="connsiteY124" fmla="*/ 4461450 h 5143499"/>
              <a:gd name="connsiteX125" fmla="*/ 4017496 w 4819650"/>
              <a:gd name="connsiteY125" fmla="*/ 4442289 h 5143499"/>
              <a:gd name="connsiteX126" fmla="*/ 3966316 w 4819650"/>
              <a:gd name="connsiteY126" fmla="*/ 4391133 h 5143499"/>
              <a:gd name="connsiteX127" fmla="*/ 3966362 w 4819650"/>
              <a:gd name="connsiteY127" fmla="*/ 4391155 h 5143499"/>
              <a:gd name="connsiteX128" fmla="*/ 3966338 w 4819650"/>
              <a:gd name="connsiteY128" fmla="*/ 4391179 h 5143499"/>
              <a:gd name="connsiteX129" fmla="*/ 3925909 w 4819650"/>
              <a:gd name="connsiteY129" fmla="*/ 4335687 h 5143499"/>
              <a:gd name="connsiteX130" fmla="*/ 3946088 w 4819650"/>
              <a:gd name="connsiteY130" fmla="*/ 4349802 h 5143499"/>
              <a:gd name="connsiteX131" fmla="*/ 3946633 w 4819650"/>
              <a:gd name="connsiteY131" fmla="*/ 4350513 h 5143499"/>
              <a:gd name="connsiteX132" fmla="*/ 3966316 w 4819650"/>
              <a:gd name="connsiteY132" fmla="*/ 4391133 h 5143499"/>
              <a:gd name="connsiteX133" fmla="*/ 3925696 w 4819650"/>
              <a:gd name="connsiteY133" fmla="*/ 4371450 h 5143499"/>
              <a:gd name="connsiteX134" fmla="*/ 3924985 w 4819650"/>
              <a:gd name="connsiteY134" fmla="*/ 4370905 h 5143499"/>
              <a:gd name="connsiteX135" fmla="*/ 3910870 w 4819650"/>
              <a:gd name="connsiteY135" fmla="*/ 4350726 h 5143499"/>
              <a:gd name="connsiteX136" fmla="*/ 3915962 w 4819650"/>
              <a:gd name="connsiteY136" fmla="*/ 4340779 h 5143499"/>
              <a:gd name="connsiteX137" fmla="*/ 3925909 w 4819650"/>
              <a:gd name="connsiteY137" fmla="*/ 4335687 h 5143499"/>
              <a:gd name="connsiteX138" fmla="*/ 4147427 w 4819650"/>
              <a:gd name="connsiteY138" fmla="*/ 4335639 h 5143499"/>
              <a:gd name="connsiteX139" fmla="*/ 4157375 w 4819650"/>
              <a:gd name="connsiteY139" fmla="*/ 4340731 h 5143499"/>
              <a:gd name="connsiteX140" fmla="*/ 4162467 w 4819650"/>
              <a:gd name="connsiteY140" fmla="*/ 4350679 h 5143499"/>
              <a:gd name="connsiteX141" fmla="*/ 4148351 w 4819650"/>
              <a:gd name="connsiteY141" fmla="*/ 4370858 h 5143499"/>
              <a:gd name="connsiteX142" fmla="*/ 4147641 w 4819650"/>
              <a:gd name="connsiteY142" fmla="*/ 4371402 h 5143499"/>
              <a:gd name="connsiteX143" fmla="*/ 4106975 w 4819650"/>
              <a:gd name="connsiteY143" fmla="*/ 4391108 h 5143499"/>
              <a:gd name="connsiteX144" fmla="*/ 4126680 w 4819650"/>
              <a:gd name="connsiteY144" fmla="*/ 4350442 h 5143499"/>
              <a:gd name="connsiteX145" fmla="*/ 4126704 w 4819650"/>
              <a:gd name="connsiteY145" fmla="*/ 4350466 h 5143499"/>
              <a:gd name="connsiteX146" fmla="*/ 4127248 w 4819650"/>
              <a:gd name="connsiteY146" fmla="*/ 4349755 h 5143499"/>
              <a:gd name="connsiteX147" fmla="*/ 4147427 w 4819650"/>
              <a:gd name="connsiteY147" fmla="*/ 4335639 h 5143499"/>
              <a:gd name="connsiteX148" fmla="*/ 3929201 w 4819650"/>
              <a:gd name="connsiteY148" fmla="*/ 4293694 h 5143499"/>
              <a:gd name="connsiteX149" fmla="*/ 3886238 w 4819650"/>
              <a:gd name="connsiteY149" fmla="*/ 4310984 h 5143499"/>
              <a:gd name="connsiteX150" fmla="*/ 3868948 w 4819650"/>
              <a:gd name="connsiteY150" fmla="*/ 4353947 h 5143499"/>
              <a:gd name="connsiteX151" fmla="*/ 3899691 w 4819650"/>
              <a:gd name="connsiteY151" fmla="*/ 4404466 h 5143499"/>
              <a:gd name="connsiteX152" fmla="*/ 3974912 w 4819650"/>
              <a:gd name="connsiteY152" fmla="*/ 4436723 h 5143499"/>
              <a:gd name="connsiteX153" fmla="*/ 3976048 w 4819650"/>
              <a:gd name="connsiteY153" fmla="*/ 4461473 h 5143499"/>
              <a:gd name="connsiteX154" fmla="*/ 3974912 w 4819650"/>
              <a:gd name="connsiteY154" fmla="*/ 4486152 h 5143499"/>
              <a:gd name="connsiteX155" fmla="*/ 3899691 w 4819650"/>
              <a:gd name="connsiteY155" fmla="*/ 4518410 h 5143499"/>
              <a:gd name="connsiteX156" fmla="*/ 3868948 w 4819650"/>
              <a:gd name="connsiteY156" fmla="*/ 4568929 h 5143499"/>
              <a:gd name="connsiteX157" fmla="*/ 3886238 w 4819650"/>
              <a:gd name="connsiteY157" fmla="*/ 4611892 h 5143499"/>
              <a:gd name="connsiteX158" fmla="*/ 3929201 w 4819650"/>
              <a:gd name="connsiteY158" fmla="*/ 4629181 h 5143499"/>
              <a:gd name="connsiteX159" fmla="*/ 3979720 w 4819650"/>
              <a:gd name="connsiteY159" fmla="*/ 4598439 h 5143499"/>
              <a:gd name="connsiteX160" fmla="*/ 4011977 w 4819650"/>
              <a:gd name="connsiteY160" fmla="*/ 4523218 h 5143499"/>
              <a:gd name="connsiteX161" fmla="*/ 4036656 w 4819650"/>
              <a:gd name="connsiteY161" fmla="*/ 4522081 h 5143499"/>
              <a:gd name="connsiteX162" fmla="*/ 4061406 w 4819650"/>
              <a:gd name="connsiteY162" fmla="*/ 4523218 h 5143499"/>
              <a:gd name="connsiteX163" fmla="*/ 4093664 w 4819650"/>
              <a:gd name="connsiteY163" fmla="*/ 4598439 h 5143499"/>
              <a:gd name="connsiteX164" fmla="*/ 4144183 w 4819650"/>
              <a:gd name="connsiteY164" fmla="*/ 4629181 h 5143499"/>
              <a:gd name="connsiteX165" fmla="*/ 4187146 w 4819650"/>
              <a:gd name="connsiteY165" fmla="*/ 4611892 h 5143499"/>
              <a:gd name="connsiteX166" fmla="*/ 4204435 w 4819650"/>
              <a:gd name="connsiteY166" fmla="*/ 4568929 h 5143499"/>
              <a:gd name="connsiteX167" fmla="*/ 4173693 w 4819650"/>
              <a:gd name="connsiteY167" fmla="*/ 4518410 h 5143499"/>
              <a:gd name="connsiteX168" fmla="*/ 4098472 w 4819650"/>
              <a:gd name="connsiteY168" fmla="*/ 4486152 h 5143499"/>
              <a:gd name="connsiteX169" fmla="*/ 4097335 w 4819650"/>
              <a:gd name="connsiteY169" fmla="*/ 4461402 h 5143499"/>
              <a:gd name="connsiteX170" fmla="*/ 4098472 w 4819650"/>
              <a:gd name="connsiteY170" fmla="*/ 4436723 h 5143499"/>
              <a:gd name="connsiteX171" fmla="*/ 4173693 w 4819650"/>
              <a:gd name="connsiteY171" fmla="*/ 4404466 h 5143499"/>
              <a:gd name="connsiteX172" fmla="*/ 4204435 w 4819650"/>
              <a:gd name="connsiteY172" fmla="*/ 4353947 h 5143499"/>
              <a:gd name="connsiteX173" fmla="*/ 4187146 w 4819650"/>
              <a:gd name="connsiteY173" fmla="*/ 4310984 h 5143499"/>
              <a:gd name="connsiteX174" fmla="*/ 4144183 w 4819650"/>
              <a:gd name="connsiteY174" fmla="*/ 4293694 h 5143499"/>
              <a:gd name="connsiteX175" fmla="*/ 4093664 w 4819650"/>
              <a:gd name="connsiteY175" fmla="*/ 4324437 h 5143499"/>
              <a:gd name="connsiteX176" fmla="*/ 4061406 w 4819650"/>
              <a:gd name="connsiteY176" fmla="*/ 4399658 h 5143499"/>
              <a:gd name="connsiteX177" fmla="*/ 4036727 w 4819650"/>
              <a:gd name="connsiteY177" fmla="*/ 4400794 h 5143499"/>
              <a:gd name="connsiteX178" fmla="*/ 4011977 w 4819650"/>
              <a:gd name="connsiteY178" fmla="*/ 4399658 h 5143499"/>
              <a:gd name="connsiteX179" fmla="*/ 3979720 w 4819650"/>
              <a:gd name="connsiteY179" fmla="*/ 4324437 h 5143499"/>
              <a:gd name="connsiteX180" fmla="*/ 3929201 w 4819650"/>
              <a:gd name="connsiteY180" fmla="*/ 4293694 h 5143499"/>
              <a:gd name="connsiteX181" fmla="*/ 2094551 w 4819650"/>
              <a:gd name="connsiteY181" fmla="*/ 0 h 5143499"/>
              <a:gd name="connsiteX182" fmla="*/ 4819650 w 4819650"/>
              <a:gd name="connsiteY182" fmla="*/ 0 h 5143499"/>
              <a:gd name="connsiteX183" fmla="*/ 4819650 w 4819650"/>
              <a:gd name="connsiteY183" fmla="*/ 5143499 h 5143499"/>
              <a:gd name="connsiteX184" fmla="*/ 0 w 4819650"/>
              <a:gd name="connsiteY184" fmla="*/ 5143499 h 5143499"/>
              <a:gd name="connsiteX185" fmla="*/ 0 w 4819650"/>
              <a:gd name="connsiteY185" fmla="*/ 5143498 h 5143499"/>
              <a:gd name="connsiteX186" fmla="*/ 371745 w 4819650"/>
              <a:gd name="connsiteY186" fmla="*/ 5143498 h 5143499"/>
              <a:gd name="connsiteX187" fmla="*/ 1206499 w 4819650"/>
              <a:gd name="connsiteY187" fmla="*/ 1821610 h 5143499"/>
              <a:gd name="connsiteX188" fmla="*/ 2048326 w 4819650"/>
              <a:gd name="connsiteY188" fmla="*/ 58253 h 5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Lst>
            <a:rect l="l" t="t" r="r" b="b"/>
            <a:pathLst>
              <a:path w="4819650" h="5143499">
                <a:moveTo>
                  <a:pt x="3742286" y="4731402"/>
                </a:moveTo>
                <a:cubicBezTo>
                  <a:pt x="3754863" y="4731402"/>
                  <a:pt x="3762891" y="4738792"/>
                  <a:pt x="3762891" y="4756413"/>
                </a:cubicBezTo>
                <a:cubicBezTo>
                  <a:pt x="3762891" y="4774365"/>
                  <a:pt x="3754720" y="4781755"/>
                  <a:pt x="3742286" y="4781755"/>
                </a:cubicBezTo>
                <a:cubicBezTo>
                  <a:pt x="3729852" y="4781755"/>
                  <a:pt x="3721823" y="4774034"/>
                  <a:pt x="3721823" y="4756413"/>
                </a:cubicBezTo>
                <a:cubicBezTo>
                  <a:pt x="3721823" y="4738792"/>
                  <a:pt x="3729710" y="4731402"/>
                  <a:pt x="3742286" y="4731402"/>
                </a:cubicBezTo>
                <a:close/>
                <a:moveTo>
                  <a:pt x="3892112" y="4731379"/>
                </a:moveTo>
                <a:cubicBezTo>
                  <a:pt x="3904380" y="4731379"/>
                  <a:pt x="3913356" y="4738768"/>
                  <a:pt x="3913356" y="4756555"/>
                </a:cubicBezTo>
                <a:cubicBezTo>
                  <a:pt x="3913356" y="4774342"/>
                  <a:pt x="3904546" y="4781732"/>
                  <a:pt x="3892112" y="4781732"/>
                </a:cubicBezTo>
                <a:cubicBezTo>
                  <a:pt x="3879677" y="4781732"/>
                  <a:pt x="3870867" y="4774342"/>
                  <a:pt x="3870867" y="4756555"/>
                </a:cubicBezTo>
                <a:cubicBezTo>
                  <a:pt x="3870867" y="4738768"/>
                  <a:pt x="3879677" y="4731379"/>
                  <a:pt x="3892112" y="4731379"/>
                </a:cubicBezTo>
                <a:close/>
                <a:moveTo>
                  <a:pt x="4212654" y="4713284"/>
                </a:moveTo>
                <a:lnTo>
                  <a:pt x="4212654" y="4762855"/>
                </a:lnTo>
                <a:cubicBezTo>
                  <a:pt x="4212654" y="4788671"/>
                  <a:pt x="4225870" y="4801413"/>
                  <a:pt x="4251378" y="4801413"/>
                </a:cubicBezTo>
                <a:cubicBezTo>
                  <a:pt x="4276886" y="4801413"/>
                  <a:pt x="4290101" y="4788671"/>
                  <a:pt x="4290101" y="4762855"/>
                </a:cubicBezTo>
                <a:lnTo>
                  <a:pt x="4290101" y="4713284"/>
                </a:lnTo>
                <a:lnTo>
                  <a:pt x="4290054" y="4713284"/>
                </a:lnTo>
                <a:lnTo>
                  <a:pt x="4269283" y="4713284"/>
                </a:lnTo>
                <a:lnTo>
                  <a:pt x="4269283" y="4762855"/>
                </a:lnTo>
                <a:cubicBezTo>
                  <a:pt x="4269283" y="4777160"/>
                  <a:pt x="4261254" y="4781731"/>
                  <a:pt x="4251354" y="4781731"/>
                </a:cubicBezTo>
                <a:cubicBezTo>
                  <a:pt x="4241454" y="4781731"/>
                  <a:pt x="4233425" y="4777184"/>
                  <a:pt x="4233425" y="4762855"/>
                </a:cubicBezTo>
                <a:lnTo>
                  <a:pt x="4233425" y="4713284"/>
                </a:lnTo>
                <a:close/>
                <a:moveTo>
                  <a:pt x="4031541" y="4713284"/>
                </a:moveTo>
                <a:lnTo>
                  <a:pt x="4031541" y="4799826"/>
                </a:lnTo>
                <a:lnTo>
                  <a:pt x="4052312" y="4799826"/>
                </a:lnTo>
                <a:lnTo>
                  <a:pt x="4052312" y="4713284"/>
                </a:lnTo>
                <a:close/>
                <a:moveTo>
                  <a:pt x="3936473" y="4713284"/>
                </a:moveTo>
                <a:lnTo>
                  <a:pt x="3966836" y="4756247"/>
                </a:lnTo>
                <a:lnTo>
                  <a:pt x="3936473" y="4799850"/>
                </a:lnTo>
                <a:lnTo>
                  <a:pt x="3959447" y="4799850"/>
                </a:lnTo>
                <a:lnTo>
                  <a:pt x="3978181" y="4771689"/>
                </a:lnTo>
                <a:lnTo>
                  <a:pt x="3996915" y="4799850"/>
                </a:lnTo>
                <a:lnTo>
                  <a:pt x="4019889" y="4799850"/>
                </a:lnTo>
                <a:lnTo>
                  <a:pt x="3989668" y="4756247"/>
                </a:lnTo>
                <a:lnTo>
                  <a:pt x="4019889" y="4713284"/>
                </a:lnTo>
                <a:lnTo>
                  <a:pt x="3996749" y="4713284"/>
                </a:lnTo>
                <a:lnTo>
                  <a:pt x="3978181" y="4741137"/>
                </a:lnTo>
                <a:lnTo>
                  <a:pt x="3959612" y="4713284"/>
                </a:lnTo>
                <a:close/>
                <a:moveTo>
                  <a:pt x="4336238" y="4711721"/>
                </a:moveTo>
                <a:cubicBezTo>
                  <a:pt x="4310565" y="4711721"/>
                  <a:pt x="4304596" y="4724155"/>
                  <a:pt x="4304596" y="4737063"/>
                </a:cubicBezTo>
                <a:cubicBezTo>
                  <a:pt x="4304596" y="4751084"/>
                  <a:pt x="4311986" y="4755489"/>
                  <a:pt x="4330080" y="4761932"/>
                </a:cubicBezTo>
                <a:lnTo>
                  <a:pt x="4336073" y="4764134"/>
                </a:lnTo>
                <a:cubicBezTo>
                  <a:pt x="4346470" y="4767900"/>
                  <a:pt x="4351657" y="4769795"/>
                  <a:pt x="4351657" y="4774982"/>
                </a:cubicBezTo>
                <a:cubicBezTo>
                  <a:pt x="4351657" y="4779529"/>
                  <a:pt x="4346944" y="4782845"/>
                  <a:pt x="4337186" y="4782845"/>
                </a:cubicBezTo>
                <a:cubicBezTo>
                  <a:pt x="4327428" y="4782845"/>
                  <a:pt x="4318144" y="4779860"/>
                  <a:pt x="4308220" y="4775763"/>
                </a:cubicBezTo>
                <a:lnTo>
                  <a:pt x="4303341" y="4793858"/>
                </a:lnTo>
                <a:cubicBezTo>
                  <a:pt x="4312767" y="4798429"/>
                  <a:pt x="4325202" y="4801413"/>
                  <a:pt x="4338109" y="4801413"/>
                </a:cubicBezTo>
                <a:cubicBezTo>
                  <a:pt x="4363901" y="4801413"/>
                  <a:pt x="4372404" y="4789287"/>
                  <a:pt x="4372404" y="4774342"/>
                </a:cubicBezTo>
                <a:lnTo>
                  <a:pt x="4372452" y="4774366"/>
                </a:lnTo>
                <a:cubicBezTo>
                  <a:pt x="4372452" y="4760510"/>
                  <a:pt x="4364730" y="4754684"/>
                  <a:pt x="4345688" y="4747768"/>
                </a:cubicBezTo>
                <a:lnTo>
                  <a:pt x="4339388" y="4745400"/>
                </a:lnTo>
                <a:cubicBezTo>
                  <a:pt x="4328233" y="4741303"/>
                  <a:pt x="4325391" y="4740213"/>
                  <a:pt x="4325391" y="4736116"/>
                </a:cubicBezTo>
                <a:cubicBezTo>
                  <a:pt x="4325391" y="4731687"/>
                  <a:pt x="4328849" y="4730124"/>
                  <a:pt x="4336096" y="4730124"/>
                </a:cubicBezTo>
                <a:cubicBezTo>
                  <a:pt x="4344267" y="4730124"/>
                  <a:pt x="4357175" y="4732492"/>
                  <a:pt x="4363783" y="4734221"/>
                </a:cubicBezTo>
                <a:lnTo>
                  <a:pt x="4367715" y="4716434"/>
                </a:lnTo>
                <a:cubicBezTo>
                  <a:pt x="4361580" y="4714397"/>
                  <a:pt x="4347725" y="4711721"/>
                  <a:pt x="4336238" y="4711721"/>
                </a:cubicBezTo>
                <a:close/>
                <a:moveTo>
                  <a:pt x="4107093" y="4711721"/>
                </a:moveTo>
                <a:cubicBezTo>
                  <a:pt x="4086796" y="4711721"/>
                  <a:pt x="4070430" y="4722734"/>
                  <a:pt x="4070430" y="4744760"/>
                </a:cubicBezTo>
                <a:lnTo>
                  <a:pt x="4070430" y="4799850"/>
                </a:lnTo>
                <a:lnTo>
                  <a:pt x="4091201" y="4799850"/>
                </a:lnTo>
                <a:lnTo>
                  <a:pt x="4091201" y="4746182"/>
                </a:lnTo>
                <a:cubicBezTo>
                  <a:pt x="4091201" y="4737347"/>
                  <a:pt x="4094659" y="4731379"/>
                  <a:pt x="4106927" y="4731379"/>
                </a:cubicBezTo>
                <a:cubicBezTo>
                  <a:pt x="4118106" y="4731379"/>
                  <a:pt x="4122985" y="4736258"/>
                  <a:pt x="4122985" y="4746182"/>
                </a:cubicBezTo>
                <a:lnTo>
                  <a:pt x="4122985" y="4799850"/>
                </a:lnTo>
                <a:lnTo>
                  <a:pt x="4143591" y="4799850"/>
                </a:lnTo>
                <a:lnTo>
                  <a:pt x="4143591" y="4746182"/>
                </a:lnTo>
                <a:cubicBezTo>
                  <a:pt x="4143591" y="4737347"/>
                  <a:pt x="4147214" y="4731379"/>
                  <a:pt x="4159648" y="4731379"/>
                </a:cubicBezTo>
                <a:cubicBezTo>
                  <a:pt x="4170496" y="4731379"/>
                  <a:pt x="4175375" y="4736258"/>
                  <a:pt x="4175375" y="4746182"/>
                </a:cubicBezTo>
                <a:lnTo>
                  <a:pt x="4175375" y="4799850"/>
                </a:lnTo>
                <a:lnTo>
                  <a:pt x="4196146" y="4799850"/>
                </a:lnTo>
                <a:lnTo>
                  <a:pt x="4196146" y="4744760"/>
                </a:lnTo>
                <a:cubicBezTo>
                  <a:pt x="4196146" y="4721171"/>
                  <a:pt x="4178856" y="4711721"/>
                  <a:pt x="4159648" y="4711721"/>
                </a:cubicBezTo>
                <a:cubicBezTo>
                  <a:pt x="4150364" y="4711721"/>
                  <a:pt x="4139659" y="4715653"/>
                  <a:pt x="4133525" y="4722426"/>
                </a:cubicBezTo>
                <a:cubicBezTo>
                  <a:pt x="4126917" y="4715653"/>
                  <a:pt x="4116543" y="4711721"/>
                  <a:pt x="4107093" y="4711721"/>
                </a:cubicBezTo>
                <a:close/>
                <a:moveTo>
                  <a:pt x="3892112" y="4711721"/>
                </a:moveTo>
                <a:cubicBezTo>
                  <a:pt x="3868333" y="4711721"/>
                  <a:pt x="3849930" y="4727305"/>
                  <a:pt x="3849930" y="4756413"/>
                </a:cubicBezTo>
                <a:cubicBezTo>
                  <a:pt x="3849930" y="4785521"/>
                  <a:pt x="3868356" y="4801413"/>
                  <a:pt x="3892112" y="4801413"/>
                </a:cubicBezTo>
                <a:cubicBezTo>
                  <a:pt x="3915891" y="4801413"/>
                  <a:pt x="3934293" y="4785213"/>
                  <a:pt x="3934293" y="4756413"/>
                </a:cubicBezTo>
                <a:cubicBezTo>
                  <a:pt x="3934293" y="4727613"/>
                  <a:pt x="3915891" y="4711721"/>
                  <a:pt x="3892112" y="4711721"/>
                </a:cubicBezTo>
                <a:close/>
                <a:moveTo>
                  <a:pt x="3837662" y="4711697"/>
                </a:moveTo>
                <a:cubicBezTo>
                  <a:pt x="3813267" y="4711697"/>
                  <a:pt x="3799412" y="4727755"/>
                  <a:pt x="3799412" y="4749000"/>
                </a:cubicBezTo>
                <a:lnTo>
                  <a:pt x="3799412" y="4799826"/>
                </a:lnTo>
                <a:lnTo>
                  <a:pt x="3820183" y="4799826"/>
                </a:lnTo>
                <a:lnTo>
                  <a:pt x="3820183" y="4750563"/>
                </a:lnTo>
                <a:cubicBezTo>
                  <a:pt x="3820183" y="4739242"/>
                  <a:pt x="3825701" y="4731994"/>
                  <a:pt x="3837662" y="4731994"/>
                </a:cubicBezTo>
                <a:cubicBezTo>
                  <a:pt x="3839083" y="4731994"/>
                  <a:pt x="3841451" y="4732136"/>
                  <a:pt x="3842707" y="4732302"/>
                </a:cubicBezTo>
                <a:lnTo>
                  <a:pt x="3846165" y="4712479"/>
                </a:lnTo>
                <a:cubicBezTo>
                  <a:pt x="3844909" y="4712171"/>
                  <a:pt x="3841759" y="4711697"/>
                  <a:pt x="3837662" y="4711697"/>
                </a:cubicBezTo>
                <a:close/>
                <a:moveTo>
                  <a:pt x="3742286" y="4711697"/>
                </a:moveTo>
                <a:cubicBezTo>
                  <a:pt x="3718673" y="4711697"/>
                  <a:pt x="3701052" y="4727115"/>
                  <a:pt x="3701052" y="4755915"/>
                </a:cubicBezTo>
                <a:lnTo>
                  <a:pt x="3701052" y="4834452"/>
                </a:lnTo>
                <a:lnTo>
                  <a:pt x="3721823" y="4834452"/>
                </a:lnTo>
                <a:lnTo>
                  <a:pt x="3721823" y="4795586"/>
                </a:lnTo>
                <a:cubicBezTo>
                  <a:pt x="3727649" y="4799518"/>
                  <a:pt x="3734565" y="4801413"/>
                  <a:pt x="3742286" y="4801413"/>
                </a:cubicBezTo>
                <a:cubicBezTo>
                  <a:pt x="3766041" y="4801413"/>
                  <a:pt x="3783828" y="4785379"/>
                  <a:pt x="3783828" y="4756413"/>
                </a:cubicBezTo>
                <a:lnTo>
                  <a:pt x="3783828" y="4756389"/>
                </a:lnTo>
                <a:cubicBezTo>
                  <a:pt x="3783828" y="4727589"/>
                  <a:pt x="3765899" y="4711697"/>
                  <a:pt x="3742286" y="4711697"/>
                </a:cubicBezTo>
                <a:close/>
                <a:moveTo>
                  <a:pt x="3966385" y="4531816"/>
                </a:moveTo>
                <a:cubicBezTo>
                  <a:pt x="3961435" y="4548371"/>
                  <a:pt x="3954733" y="4562439"/>
                  <a:pt x="3946680" y="4572481"/>
                </a:cubicBezTo>
                <a:lnTo>
                  <a:pt x="3946656" y="4572458"/>
                </a:lnTo>
                <a:lnTo>
                  <a:pt x="3946112" y="4573168"/>
                </a:lnTo>
                <a:cubicBezTo>
                  <a:pt x="3942085" y="4578521"/>
                  <a:pt x="3932801" y="4586787"/>
                  <a:pt x="3925933" y="4587284"/>
                </a:cubicBezTo>
                <a:cubicBezTo>
                  <a:pt x="3924677" y="4587379"/>
                  <a:pt x="3921409" y="4587616"/>
                  <a:pt x="3915985" y="4582192"/>
                </a:cubicBezTo>
                <a:cubicBezTo>
                  <a:pt x="3910562" y="4576768"/>
                  <a:pt x="3910798" y="4573476"/>
                  <a:pt x="3910893" y="4572244"/>
                </a:cubicBezTo>
                <a:cubicBezTo>
                  <a:pt x="3911367" y="4565376"/>
                  <a:pt x="3919656" y="4556092"/>
                  <a:pt x="3925009" y="4552066"/>
                </a:cubicBezTo>
                <a:lnTo>
                  <a:pt x="3925720" y="4551521"/>
                </a:lnTo>
                <a:cubicBezTo>
                  <a:pt x="3935762" y="4543468"/>
                  <a:pt x="3949830" y="4536766"/>
                  <a:pt x="3966385" y="4531816"/>
                </a:cubicBezTo>
                <a:close/>
                <a:moveTo>
                  <a:pt x="4107045" y="4531815"/>
                </a:moveTo>
                <a:lnTo>
                  <a:pt x="4147664" y="4551497"/>
                </a:lnTo>
                <a:lnTo>
                  <a:pt x="4148375" y="4552042"/>
                </a:lnTo>
                <a:cubicBezTo>
                  <a:pt x="4153727" y="4556068"/>
                  <a:pt x="4161993" y="4565352"/>
                  <a:pt x="4162491" y="4572221"/>
                </a:cubicBezTo>
                <a:cubicBezTo>
                  <a:pt x="4162585" y="4573476"/>
                  <a:pt x="4162822" y="4576744"/>
                  <a:pt x="4157398" y="4582168"/>
                </a:cubicBezTo>
                <a:cubicBezTo>
                  <a:pt x="4151975" y="4587592"/>
                  <a:pt x="4148683" y="4587355"/>
                  <a:pt x="4147451" y="4587260"/>
                </a:cubicBezTo>
                <a:cubicBezTo>
                  <a:pt x="4140583" y="4586787"/>
                  <a:pt x="4131298" y="4578497"/>
                  <a:pt x="4127272" y="4573145"/>
                </a:cubicBezTo>
                <a:lnTo>
                  <a:pt x="4126727" y="4572434"/>
                </a:lnTo>
                <a:close/>
                <a:moveTo>
                  <a:pt x="4107022" y="4531768"/>
                </a:moveTo>
                <a:lnTo>
                  <a:pt x="4107045" y="4531815"/>
                </a:lnTo>
                <a:lnTo>
                  <a:pt x="4106998" y="4531792"/>
                </a:lnTo>
                <a:close/>
                <a:moveTo>
                  <a:pt x="4017496" y="4442289"/>
                </a:moveTo>
                <a:cubicBezTo>
                  <a:pt x="4023796" y="4442668"/>
                  <a:pt x="4030214" y="4442881"/>
                  <a:pt x="4036704" y="4442881"/>
                </a:cubicBezTo>
                <a:cubicBezTo>
                  <a:pt x="4043193" y="4442881"/>
                  <a:pt x="4049564" y="4442644"/>
                  <a:pt x="4055864" y="4442289"/>
                </a:cubicBezTo>
                <a:cubicBezTo>
                  <a:pt x="4055485" y="4448589"/>
                  <a:pt x="4055272" y="4455008"/>
                  <a:pt x="4055272" y="4461497"/>
                </a:cubicBezTo>
                <a:cubicBezTo>
                  <a:pt x="4055272" y="4467987"/>
                  <a:pt x="4055485" y="4474358"/>
                  <a:pt x="4055864" y="4480658"/>
                </a:cubicBezTo>
                <a:cubicBezTo>
                  <a:pt x="4049564" y="4480279"/>
                  <a:pt x="4043146" y="4480066"/>
                  <a:pt x="4036656" y="4480066"/>
                </a:cubicBezTo>
                <a:cubicBezTo>
                  <a:pt x="4030167" y="4480066"/>
                  <a:pt x="4023796" y="4480302"/>
                  <a:pt x="4017496" y="4480658"/>
                </a:cubicBezTo>
                <a:cubicBezTo>
                  <a:pt x="4017875" y="4474358"/>
                  <a:pt x="4018088" y="4467939"/>
                  <a:pt x="4018088" y="4461450"/>
                </a:cubicBezTo>
                <a:cubicBezTo>
                  <a:pt x="4018088" y="4454960"/>
                  <a:pt x="4017875" y="4448589"/>
                  <a:pt x="4017496" y="4442289"/>
                </a:cubicBezTo>
                <a:close/>
                <a:moveTo>
                  <a:pt x="3966316" y="4391133"/>
                </a:moveTo>
                <a:lnTo>
                  <a:pt x="3966362" y="4391155"/>
                </a:lnTo>
                <a:lnTo>
                  <a:pt x="3966338" y="4391179"/>
                </a:lnTo>
                <a:close/>
                <a:moveTo>
                  <a:pt x="3925909" y="4335687"/>
                </a:moveTo>
                <a:cubicBezTo>
                  <a:pt x="3932777" y="4336160"/>
                  <a:pt x="3942062" y="4344450"/>
                  <a:pt x="3946088" y="4349802"/>
                </a:cubicBezTo>
                <a:lnTo>
                  <a:pt x="3946633" y="4350513"/>
                </a:lnTo>
                <a:lnTo>
                  <a:pt x="3966316" y="4391133"/>
                </a:lnTo>
                <a:lnTo>
                  <a:pt x="3925696" y="4371450"/>
                </a:lnTo>
                <a:lnTo>
                  <a:pt x="3924985" y="4370905"/>
                </a:lnTo>
                <a:cubicBezTo>
                  <a:pt x="3919633" y="4366879"/>
                  <a:pt x="3911367" y="4357594"/>
                  <a:pt x="3910870" y="4350726"/>
                </a:cubicBezTo>
                <a:cubicBezTo>
                  <a:pt x="3910775" y="4349471"/>
                  <a:pt x="3910538" y="4346202"/>
                  <a:pt x="3915962" y="4340779"/>
                </a:cubicBezTo>
                <a:cubicBezTo>
                  <a:pt x="3921385" y="4335355"/>
                  <a:pt x="3924677" y="4335592"/>
                  <a:pt x="3925909" y="4335687"/>
                </a:cubicBezTo>
                <a:close/>
                <a:moveTo>
                  <a:pt x="4147427" y="4335639"/>
                </a:moveTo>
                <a:cubicBezTo>
                  <a:pt x="4148683" y="4335544"/>
                  <a:pt x="4151951" y="4335308"/>
                  <a:pt x="4157375" y="4340731"/>
                </a:cubicBezTo>
                <a:cubicBezTo>
                  <a:pt x="4162798" y="4346155"/>
                  <a:pt x="4162562" y="4349447"/>
                  <a:pt x="4162467" y="4350679"/>
                </a:cubicBezTo>
                <a:cubicBezTo>
                  <a:pt x="4161993" y="4357547"/>
                  <a:pt x="4153704" y="4366831"/>
                  <a:pt x="4148351" y="4370858"/>
                </a:cubicBezTo>
                <a:lnTo>
                  <a:pt x="4147641" y="4371402"/>
                </a:lnTo>
                <a:cubicBezTo>
                  <a:pt x="4137598" y="4379455"/>
                  <a:pt x="4123530" y="4386158"/>
                  <a:pt x="4106975" y="4391108"/>
                </a:cubicBezTo>
                <a:cubicBezTo>
                  <a:pt x="4111925" y="4374552"/>
                  <a:pt x="4118627" y="4360484"/>
                  <a:pt x="4126680" y="4350442"/>
                </a:cubicBezTo>
                <a:lnTo>
                  <a:pt x="4126704" y="4350466"/>
                </a:lnTo>
                <a:lnTo>
                  <a:pt x="4127248" y="4349755"/>
                </a:lnTo>
                <a:cubicBezTo>
                  <a:pt x="4131275" y="4344402"/>
                  <a:pt x="4140559" y="4336137"/>
                  <a:pt x="4147427" y="4335639"/>
                </a:cubicBezTo>
                <a:close/>
                <a:moveTo>
                  <a:pt x="3929201" y="4293694"/>
                </a:moveTo>
                <a:cubicBezTo>
                  <a:pt x="3918330" y="4292866"/>
                  <a:pt x="3902035" y="4295187"/>
                  <a:pt x="3886238" y="4310984"/>
                </a:cubicBezTo>
                <a:cubicBezTo>
                  <a:pt x="3870441" y="4326781"/>
                  <a:pt x="3868120" y="4343076"/>
                  <a:pt x="3868948" y="4353947"/>
                </a:cubicBezTo>
                <a:cubicBezTo>
                  <a:pt x="3871056" y="4381681"/>
                  <a:pt x="3895262" y="4401126"/>
                  <a:pt x="3899691" y="4404466"/>
                </a:cubicBezTo>
                <a:cubicBezTo>
                  <a:pt x="3918425" y="4419410"/>
                  <a:pt x="3944477" y="4430423"/>
                  <a:pt x="3974912" y="4436723"/>
                </a:cubicBezTo>
                <a:cubicBezTo>
                  <a:pt x="3975646" y="4444800"/>
                  <a:pt x="3976048" y="4453066"/>
                  <a:pt x="3976048" y="4461473"/>
                </a:cubicBezTo>
                <a:cubicBezTo>
                  <a:pt x="3976048" y="4469858"/>
                  <a:pt x="3975646" y="4478100"/>
                  <a:pt x="3974912" y="4486152"/>
                </a:cubicBezTo>
                <a:cubicBezTo>
                  <a:pt x="3944477" y="4492476"/>
                  <a:pt x="3918401" y="4503489"/>
                  <a:pt x="3899691" y="4518410"/>
                </a:cubicBezTo>
                <a:cubicBezTo>
                  <a:pt x="3895262" y="4521750"/>
                  <a:pt x="3871080" y="4541218"/>
                  <a:pt x="3868948" y="4568929"/>
                </a:cubicBezTo>
                <a:cubicBezTo>
                  <a:pt x="3868120" y="4579800"/>
                  <a:pt x="3870441" y="4596094"/>
                  <a:pt x="3886238" y="4611892"/>
                </a:cubicBezTo>
                <a:cubicBezTo>
                  <a:pt x="3902035" y="4627689"/>
                  <a:pt x="3918330" y="4630010"/>
                  <a:pt x="3929201" y="4629181"/>
                </a:cubicBezTo>
                <a:cubicBezTo>
                  <a:pt x="3956935" y="4627073"/>
                  <a:pt x="3976380" y="4602868"/>
                  <a:pt x="3979720" y="4598439"/>
                </a:cubicBezTo>
                <a:cubicBezTo>
                  <a:pt x="3994664" y="4579705"/>
                  <a:pt x="4005677" y="4553652"/>
                  <a:pt x="4011977" y="4523218"/>
                </a:cubicBezTo>
                <a:cubicBezTo>
                  <a:pt x="4020030" y="4522484"/>
                  <a:pt x="4028296" y="4522105"/>
                  <a:pt x="4036656" y="4522081"/>
                </a:cubicBezTo>
                <a:cubicBezTo>
                  <a:pt x="4045064" y="4522081"/>
                  <a:pt x="4053330" y="4522484"/>
                  <a:pt x="4061406" y="4523218"/>
                </a:cubicBezTo>
                <a:cubicBezTo>
                  <a:pt x="4067730" y="4553652"/>
                  <a:pt x="4078743" y="4579705"/>
                  <a:pt x="4093664" y="4598439"/>
                </a:cubicBezTo>
                <a:cubicBezTo>
                  <a:pt x="4097004" y="4602868"/>
                  <a:pt x="4116472" y="4627050"/>
                  <a:pt x="4144183" y="4629181"/>
                </a:cubicBezTo>
                <a:cubicBezTo>
                  <a:pt x="4155054" y="4630010"/>
                  <a:pt x="4171348" y="4627689"/>
                  <a:pt x="4187146" y="4611892"/>
                </a:cubicBezTo>
                <a:cubicBezTo>
                  <a:pt x="4202943" y="4596094"/>
                  <a:pt x="4205264" y="4579800"/>
                  <a:pt x="4204435" y="4568929"/>
                </a:cubicBezTo>
                <a:cubicBezTo>
                  <a:pt x="4202327" y="4541194"/>
                  <a:pt x="4178122" y="4521750"/>
                  <a:pt x="4173693" y="4518410"/>
                </a:cubicBezTo>
                <a:cubicBezTo>
                  <a:pt x="4154959" y="4503466"/>
                  <a:pt x="4128906" y="4492452"/>
                  <a:pt x="4098472" y="4486152"/>
                </a:cubicBezTo>
                <a:cubicBezTo>
                  <a:pt x="4097738" y="4478076"/>
                  <a:pt x="4097335" y="4469810"/>
                  <a:pt x="4097335" y="4461402"/>
                </a:cubicBezTo>
                <a:cubicBezTo>
                  <a:pt x="4097335" y="4453018"/>
                  <a:pt x="4097738" y="4444776"/>
                  <a:pt x="4098472" y="4436723"/>
                </a:cubicBezTo>
                <a:cubicBezTo>
                  <a:pt x="4128906" y="4430400"/>
                  <a:pt x="4154983" y="4419387"/>
                  <a:pt x="4173693" y="4404466"/>
                </a:cubicBezTo>
                <a:cubicBezTo>
                  <a:pt x="4178122" y="4401126"/>
                  <a:pt x="4202304" y="4381658"/>
                  <a:pt x="4204435" y="4353947"/>
                </a:cubicBezTo>
                <a:cubicBezTo>
                  <a:pt x="4205264" y="4343076"/>
                  <a:pt x="4202943" y="4326781"/>
                  <a:pt x="4187146" y="4310984"/>
                </a:cubicBezTo>
                <a:cubicBezTo>
                  <a:pt x="4171348" y="4295187"/>
                  <a:pt x="4155054" y="4292866"/>
                  <a:pt x="4144183" y="4293694"/>
                </a:cubicBezTo>
                <a:cubicBezTo>
                  <a:pt x="4116448" y="4295802"/>
                  <a:pt x="4097004" y="4320008"/>
                  <a:pt x="4093664" y="4324437"/>
                </a:cubicBezTo>
                <a:cubicBezTo>
                  <a:pt x="4078720" y="4343171"/>
                  <a:pt x="4067706" y="4369223"/>
                  <a:pt x="4061406" y="4399658"/>
                </a:cubicBezTo>
                <a:cubicBezTo>
                  <a:pt x="4053354" y="4400392"/>
                  <a:pt x="4045088" y="4400771"/>
                  <a:pt x="4036727" y="4400794"/>
                </a:cubicBezTo>
                <a:cubicBezTo>
                  <a:pt x="4028319" y="4400794"/>
                  <a:pt x="4020054" y="4400392"/>
                  <a:pt x="4011977" y="4399658"/>
                </a:cubicBezTo>
                <a:cubicBezTo>
                  <a:pt x="4005654" y="4369223"/>
                  <a:pt x="3994641" y="4343171"/>
                  <a:pt x="3979720" y="4324437"/>
                </a:cubicBezTo>
                <a:cubicBezTo>
                  <a:pt x="3976380" y="4320008"/>
                  <a:pt x="3956912" y="4295826"/>
                  <a:pt x="3929201" y="4293694"/>
                </a:cubicBezTo>
                <a:close/>
                <a:moveTo>
                  <a:pt x="2094551" y="0"/>
                </a:moveTo>
                <a:lnTo>
                  <a:pt x="4819650" y="0"/>
                </a:lnTo>
                <a:lnTo>
                  <a:pt x="4819650" y="5143499"/>
                </a:lnTo>
                <a:lnTo>
                  <a:pt x="0" y="5143499"/>
                </a:lnTo>
                <a:lnTo>
                  <a:pt x="0" y="5143498"/>
                </a:lnTo>
                <a:lnTo>
                  <a:pt x="371745" y="5143498"/>
                </a:lnTo>
                <a:lnTo>
                  <a:pt x="1206499" y="1821610"/>
                </a:lnTo>
                <a:cubicBezTo>
                  <a:pt x="1372079" y="1162691"/>
                  <a:pt x="1663360" y="568520"/>
                  <a:pt x="2048326" y="58253"/>
                </a:cubicBezTo>
                <a:close/>
              </a:path>
            </a:pathLst>
          </a:custGeom>
          <a:solidFill>
            <a:schemeClr val="tx1">
              <a:lumMod val="95000"/>
            </a:schemeClr>
          </a:solidFill>
        </p:spPr>
        <p:txBody>
          <a:bodyPr wrap="square">
            <a:noAutofit/>
          </a:bodyPr>
          <a:lstStyle/>
          <a:p>
            <a:endParaRPr lang="en-US"/>
          </a:p>
        </p:txBody>
      </p:sp>
    </p:spTree>
    <p:extLst>
      <p:ext uri="{BB962C8B-B14F-4D97-AF65-F5344CB8AC3E}">
        <p14:creationId xmlns:p14="http://schemas.microsoft.com/office/powerpoint/2010/main" val="427619662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over - Shape">
    <p:bg>
      <p:bgPr>
        <a:solidFill>
          <a:schemeClr val="bg1"/>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83F3C82D-0141-4635-A4B4-A76F2FD5DEFE}"/>
              </a:ext>
            </a:extLst>
          </p:cNvPr>
          <p:cNvSpPr/>
          <p:nvPr userDrawn="1"/>
        </p:nvSpPr>
        <p:spPr>
          <a:xfrm rot="19718639">
            <a:off x="-1832147" y="-1731232"/>
            <a:ext cx="11568875" cy="7917933"/>
          </a:xfrm>
          <a:custGeom>
            <a:avLst/>
            <a:gdLst>
              <a:gd name="connsiteX0" fmla="*/ 2676442 w 8676656"/>
              <a:gd name="connsiteY0" fmla="*/ 0 h 5938450"/>
              <a:gd name="connsiteX1" fmla="*/ 8676656 w 8676656"/>
              <a:gd name="connsiteY1" fmla="*/ 3656228 h 5938450"/>
              <a:gd name="connsiteX2" fmla="*/ 8640882 w 8676656"/>
              <a:gd name="connsiteY2" fmla="*/ 3795361 h 5938450"/>
              <a:gd name="connsiteX3" fmla="*/ 5727914 w 8676656"/>
              <a:gd name="connsiteY3" fmla="*/ 5938450 h 5938450"/>
              <a:gd name="connsiteX4" fmla="*/ 2537385 w 8676656"/>
              <a:gd name="connsiteY4" fmla="*/ 5938450 h 5938450"/>
              <a:gd name="connsiteX5" fmla="*/ 0 w 8676656"/>
              <a:gd name="connsiteY5" fmla="*/ 4392296 h 5938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76656" h="5938450">
                <a:moveTo>
                  <a:pt x="2676442" y="0"/>
                </a:moveTo>
                <a:lnTo>
                  <a:pt x="8676656" y="3656228"/>
                </a:lnTo>
                <a:lnTo>
                  <a:pt x="8640882" y="3795361"/>
                </a:lnTo>
                <a:cubicBezTo>
                  <a:pt x="8254705" y="5036958"/>
                  <a:pt x="7096587" y="5938450"/>
                  <a:pt x="5727914" y="5938450"/>
                </a:cubicBezTo>
                <a:lnTo>
                  <a:pt x="2537385" y="5938450"/>
                </a:lnTo>
                <a:lnTo>
                  <a:pt x="0" y="4392296"/>
                </a:lnTo>
                <a:close/>
              </a:path>
            </a:pathLst>
          </a:custGeom>
          <a:gradFill flip="none" rotWithShape="1">
            <a:gsLst>
              <a:gs pos="15000">
                <a:schemeClr val="bg1"/>
              </a:gs>
              <a:gs pos="100000">
                <a:schemeClr val="tx2"/>
              </a:gs>
            </a:gsLst>
            <a:lin ang="20400000" scaled="0"/>
            <a:tileRect/>
          </a:gradFill>
          <a:ln>
            <a:noFill/>
          </a:ln>
          <a:effectLst/>
        </p:spPr>
        <p:style>
          <a:lnRef idx="1">
            <a:schemeClr val="accent1"/>
          </a:lnRef>
          <a:fillRef idx="3">
            <a:schemeClr val="accent1"/>
          </a:fillRef>
          <a:effectRef idx="2">
            <a:schemeClr val="accent1"/>
          </a:effectRef>
          <a:fontRef idx="minor">
            <a:schemeClr val="lt1"/>
          </a:fontRef>
        </p:style>
        <p:txBody>
          <a:bodyPr vert="horz" wrap="square" lIns="144000" tIns="144000" rIns="144000" bIns="144000" rtlCol="0" anchor="t" anchorCtr="0">
            <a:noAutofit/>
          </a:bodyPr>
          <a:lstStyle/>
          <a:p>
            <a:pPr marL="0" marR="0" lvl="0" indent="0" algn="ctr" defTabSz="1624477"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err="1">
              <a:ln>
                <a:noFill/>
              </a:ln>
              <a:solidFill>
                <a:srgbClr val="FFFFFF"/>
              </a:solidFill>
              <a:effectLst/>
              <a:uLnTx/>
              <a:uFillTx/>
              <a:latin typeface="Proximus" panose="00000500000000000000" pitchFamily="2" charset="0"/>
              <a:ea typeface="+mn-ea"/>
              <a:cs typeface="Proximus"/>
            </a:endParaRPr>
          </a:p>
        </p:txBody>
      </p:sp>
      <p:sp>
        <p:nvSpPr>
          <p:cNvPr id="19" name="Subtitle 2">
            <a:extLst>
              <a:ext uri="{FF2B5EF4-FFF2-40B4-BE49-F238E27FC236}">
                <a16:creationId xmlns:a16="http://schemas.microsoft.com/office/drawing/2014/main" id="{452492B6-602B-45B8-BAD5-0E7699BEEADC}"/>
              </a:ext>
            </a:extLst>
          </p:cNvPr>
          <p:cNvSpPr>
            <a:spLocks noGrp="1"/>
          </p:cNvSpPr>
          <p:nvPr>
            <p:ph type="subTitle" idx="1" hasCustomPrompt="1"/>
          </p:nvPr>
        </p:nvSpPr>
        <p:spPr>
          <a:xfrm>
            <a:off x="613836" y="2624867"/>
            <a:ext cx="10962217" cy="1335741"/>
          </a:xfrm>
        </p:spPr>
        <p:txBody>
          <a:bodyPr/>
          <a:lstStyle>
            <a:lvl1pPr marL="0" indent="0" algn="l">
              <a:lnSpc>
                <a:spcPct val="100000"/>
              </a:lnSpc>
              <a:buNone/>
              <a:defRPr sz="3467">
                <a:solidFill>
                  <a:schemeClr val="tx1"/>
                </a:solidFill>
                <a:latin typeface="Proximus Light" panose="00000500000000000000" pitchFamily="2"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Subtitle</a:t>
            </a:r>
            <a:endParaRPr lang="nl-BE"/>
          </a:p>
        </p:txBody>
      </p:sp>
      <p:sp>
        <p:nvSpPr>
          <p:cNvPr id="20" name="Title 1">
            <a:extLst>
              <a:ext uri="{FF2B5EF4-FFF2-40B4-BE49-F238E27FC236}">
                <a16:creationId xmlns:a16="http://schemas.microsoft.com/office/drawing/2014/main" id="{73425EBE-5738-4E71-AC4D-14C0269C8B84}"/>
              </a:ext>
            </a:extLst>
          </p:cNvPr>
          <p:cNvSpPr>
            <a:spLocks noGrp="1"/>
          </p:cNvSpPr>
          <p:nvPr>
            <p:ph type="title" hasCustomPrompt="1"/>
          </p:nvPr>
        </p:nvSpPr>
        <p:spPr>
          <a:xfrm>
            <a:off x="613836" y="504000"/>
            <a:ext cx="10962217" cy="1748400"/>
          </a:xfrm>
        </p:spPr>
        <p:txBody>
          <a:bodyPr anchor="b">
            <a:noAutofit/>
          </a:bodyPr>
          <a:lstStyle>
            <a:lvl1pPr>
              <a:defRPr sz="5600" b="0">
                <a:solidFill>
                  <a:srgbClr val="FFFFFF"/>
                </a:solidFill>
                <a:latin typeface="Proximus ExtraBold" panose="00000900000000000000" pitchFamily="2" charset="0"/>
              </a:defRPr>
            </a:lvl1pPr>
          </a:lstStyle>
          <a:p>
            <a:r>
              <a:rPr lang="en-US"/>
              <a:t>Click to edit </a:t>
            </a:r>
            <a:br>
              <a:rPr lang="en-US"/>
            </a:br>
            <a:r>
              <a:rPr lang="en-US"/>
              <a:t>presentation title</a:t>
            </a:r>
            <a:endParaRPr lang="nl-BE"/>
          </a:p>
        </p:txBody>
      </p:sp>
      <p:pic>
        <p:nvPicPr>
          <p:cNvPr id="8" name="Graphic 7">
            <a:extLst>
              <a:ext uri="{FF2B5EF4-FFF2-40B4-BE49-F238E27FC236}">
                <a16:creationId xmlns:a16="http://schemas.microsoft.com/office/drawing/2014/main" id="{9CCBAF77-BF9E-4AFF-9B5C-97B4B25ECCE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702899" y="5724528"/>
            <a:ext cx="889207" cy="720725"/>
          </a:xfrm>
          <a:prstGeom prst="rect">
            <a:avLst/>
          </a:prstGeom>
        </p:spPr>
      </p:pic>
      <p:sp>
        <p:nvSpPr>
          <p:cNvPr id="2" name="Date Placeholder 8">
            <a:extLst>
              <a:ext uri="{FF2B5EF4-FFF2-40B4-BE49-F238E27FC236}">
                <a16:creationId xmlns:a16="http://schemas.microsoft.com/office/drawing/2014/main" id="{3B209494-A5CA-210D-6B64-8DDF378F201E}"/>
              </a:ext>
            </a:extLst>
          </p:cNvPr>
          <p:cNvSpPr>
            <a:spLocks noGrp="1"/>
          </p:cNvSpPr>
          <p:nvPr>
            <p:ph type="dt" sz="half" idx="2"/>
          </p:nvPr>
        </p:nvSpPr>
        <p:spPr>
          <a:xfrm>
            <a:off x="613833" y="5821863"/>
            <a:ext cx="204560" cy="377528"/>
          </a:xfrm>
          <a:prstGeom prst="roundRect">
            <a:avLst>
              <a:gd name="adj" fmla="val 50000"/>
            </a:avLst>
          </a:prstGeom>
          <a:solidFill>
            <a:schemeClr val="tx1"/>
          </a:solidFill>
        </p:spPr>
        <p:txBody>
          <a:bodyPr vert="horz" wrap="none" lIns="72000" tIns="36000" rIns="72000" bIns="36000" rtlCol="0" anchor="ctr">
            <a:spAutoFit/>
          </a:bodyPr>
          <a:lstStyle>
            <a:lvl1pPr algn="l">
              <a:defRPr sz="1600">
                <a:solidFill>
                  <a:schemeClr val="bg1"/>
                </a:solidFill>
              </a:defRPr>
            </a:lvl1pPr>
          </a:lstStyle>
          <a:p>
            <a:pPr defTabSz="544112">
              <a:defRPr/>
            </a:pPr>
            <a:endParaRPr lang="en-US">
              <a:solidFill>
                <a:srgbClr val="5C2D91"/>
              </a:solidFill>
            </a:endParaRPr>
          </a:p>
        </p:txBody>
      </p:sp>
    </p:spTree>
    <p:extLst>
      <p:ext uri="{BB962C8B-B14F-4D97-AF65-F5344CB8AC3E}">
        <p14:creationId xmlns:p14="http://schemas.microsoft.com/office/powerpoint/2010/main" val="409541091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hapter - Dark bg">
    <p:bg>
      <p:bgPr>
        <a:blipFill>
          <a:blip r:embed="rId2"/>
          <a:stretch>
            <a:fillRect/>
          </a:stretch>
        </a:blip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13D3065A-4C50-7720-70A9-DE4226DCCDFB}"/>
              </a:ext>
            </a:extLst>
          </p:cNvPr>
          <p:cNvSpPr>
            <a:spLocks noGrp="1"/>
          </p:cNvSpPr>
          <p:nvPr>
            <p:ph type="body" sz="quarter" idx="10" hasCustomPrompt="1"/>
          </p:nvPr>
        </p:nvSpPr>
        <p:spPr>
          <a:xfrm>
            <a:off x="8787573" y="3"/>
            <a:ext cx="3404427" cy="3464295"/>
          </a:xfrm>
          <a:custGeom>
            <a:avLst/>
            <a:gdLst>
              <a:gd name="connsiteX0" fmla="*/ 974239 w 2553320"/>
              <a:gd name="connsiteY0" fmla="*/ 0 h 2598221"/>
              <a:gd name="connsiteX1" fmla="*/ 2553320 w 2553320"/>
              <a:gd name="connsiteY1" fmla="*/ 0 h 2598221"/>
              <a:gd name="connsiteX2" fmla="*/ 2553320 w 2553320"/>
              <a:gd name="connsiteY2" fmla="*/ 1668884 h 2598221"/>
              <a:gd name="connsiteX3" fmla="*/ 1960321 w 2553320"/>
              <a:gd name="connsiteY3" fmla="*/ 2261883 h 2598221"/>
              <a:gd name="connsiteX4" fmla="*/ 336338 w 2553320"/>
              <a:gd name="connsiteY4" fmla="*/ 2261883 h 2598221"/>
              <a:gd name="connsiteX5" fmla="*/ 336338 w 2553320"/>
              <a:gd name="connsiteY5" fmla="*/ 637901 h 259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3320" h="2598221">
                <a:moveTo>
                  <a:pt x="974239" y="0"/>
                </a:moveTo>
                <a:lnTo>
                  <a:pt x="2553320" y="0"/>
                </a:lnTo>
                <a:lnTo>
                  <a:pt x="2553320" y="1668884"/>
                </a:lnTo>
                <a:lnTo>
                  <a:pt x="1960321" y="2261883"/>
                </a:lnTo>
                <a:cubicBezTo>
                  <a:pt x="1511870" y="2710334"/>
                  <a:pt x="784789" y="2710334"/>
                  <a:pt x="336338" y="2261883"/>
                </a:cubicBezTo>
                <a:cubicBezTo>
                  <a:pt x="-112112" y="1813433"/>
                  <a:pt x="-112112" y="1086352"/>
                  <a:pt x="336338" y="637901"/>
                </a:cubicBezTo>
                <a:close/>
              </a:path>
            </a:pathLst>
          </a:custGeom>
          <a:solidFill>
            <a:schemeClr val="tx1"/>
          </a:solidFill>
        </p:spPr>
        <p:txBody>
          <a:bodyPr wrap="square" anchor="ctr">
            <a:noAutofit/>
          </a:bodyPr>
          <a:lstStyle>
            <a:lvl1pPr algn="ctr">
              <a:defRPr sz="9600">
                <a:gradFill>
                  <a:gsLst>
                    <a:gs pos="25000">
                      <a:schemeClr val="bg1"/>
                    </a:gs>
                    <a:gs pos="100000">
                      <a:srgbClr val="D22E67"/>
                    </a:gs>
                  </a:gsLst>
                  <a:lin ang="3000000" scaled="0"/>
                </a:gradFill>
                <a:latin typeface="Proximus ExtraBold" panose="020B0604020202020204" charset="0"/>
              </a:defRPr>
            </a:lvl1pPr>
          </a:lstStyle>
          <a:p>
            <a:pPr lvl="0"/>
            <a:r>
              <a:rPr lang="en-US"/>
              <a:t>xx</a:t>
            </a:r>
          </a:p>
        </p:txBody>
      </p:sp>
      <p:sp>
        <p:nvSpPr>
          <p:cNvPr id="11" name="Title 1">
            <a:extLst>
              <a:ext uri="{FF2B5EF4-FFF2-40B4-BE49-F238E27FC236}">
                <a16:creationId xmlns:a16="http://schemas.microsoft.com/office/drawing/2014/main" id="{A4CB2253-770B-4753-A69C-382181C58DC6}"/>
              </a:ext>
            </a:extLst>
          </p:cNvPr>
          <p:cNvSpPr>
            <a:spLocks noGrp="1"/>
          </p:cNvSpPr>
          <p:nvPr>
            <p:ph type="title" hasCustomPrompt="1"/>
          </p:nvPr>
        </p:nvSpPr>
        <p:spPr>
          <a:xfrm>
            <a:off x="613833" y="504000"/>
            <a:ext cx="7440000" cy="1748400"/>
          </a:xfrm>
        </p:spPr>
        <p:txBody>
          <a:bodyPr anchor="b">
            <a:noAutofit/>
          </a:bodyPr>
          <a:lstStyle>
            <a:lvl1pPr>
              <a:defRPr sz="48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sp>
        <p:nvSpPr>
          <p:cNvPr id="16" name="Subtitle 2">
            <a:extLst>
              <a:ext uri="{FF2B5EF4-FFF2-40B4-BE49-F238E27FC236}">
                <a16:creationId xmlns:a16="http://schemas.microsoft.com/office/drawing/2014/main" id="{4FF70604-92E8-4B07-AC0F-3DB475239311}"/>
              </a:ext>
            </a:extLst>
          </p:cNvPr>
          <p:cNvSpPr>
            <a:spLocks noGrp="1"/>
          </p:cNvSpPr>
          <p:nvPr>
            <p:ph type="subTitle" idx="1" hasCustomPrompt="1"/>
          </p:nvPr>
        </p:nvSpPr>
        <p:spPr>
          <a:xfrm>
            <a:off x="613833" y="2624867"/>
            <a:ext cx="7440000" cy="1335741"/>
          </a:xfrm>
        </p:spPr>
        <p:txBody>
          <a:bodyPr/>
          <a:lstStyle>
            <a:lvl1pPr marL="0" indent="0" algn="l">
              <a:lnSpc>
                <a:spcPct val="100000"/>
              </a:lnSpc>
              <a:buNone/>
              <a:defRPr sz="2933">
                <a:solidFill>
                  <a:schemeClr val="tx1"/>
                </a:solidFill>
                <a:latin typeface="Proximus Light" panose="00000500000000000000" pitchFamily="2"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Subtitle</a:t>
            </a:r>
            <a:endParaRPr lang="nl-BE"/>
          </a:p>
        </p:txBody>
      </p:sp>
      <p:pic>
        <p:nvPicPr>
          <p:cNvPr id="6" name="Graphic 5">
            <a:extLst>
              <a:ext uri="{FF2B5EF4-FFF2-40B4-BE49-F238E27FC236}">
                <a16:creationId xmlns:a16="http://schemas.microsoft.com/office/drawing/2014/main" id="{F1D4CE6D-DB6A-415E-9EC1-FDF12573AFE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702899" y="5724528"/>
            <a:ext cx="889207" cy="720725"/>
          </a:xfrm>
          <a:prstGeom prst="rect">
            <a:avLst/>
          </a:prstGeom>
        </p:spPr>
      </p:pic>
    </p:spTree>
    <p:extLst>
      <p:ext uri="{BB962C8B-B14F-4D97-AF65-F5344CB8AC3E}">
        <p14:creationId xmlns:p14="http://schemas.microsoft.com/office/powerpoint/2010/main" val="326827878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hapter - Light bg">
    <p:bg>
      <p:bgPr>
        <a:blipFill>
          <a:blip r:embed="rId2"/>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D1C1F15-39D8-412D-8A63-32C1FD0C45E2}"/>
              </a:ext>
            </a:extLst>
          </p:cNvPr>
          <p:cNvSpPr>
            <a:spLocks noGrp="1"/>
          </p:cNvSpPr>
          <p:nvPr>
            <p:ph type="title" hasCustomPrompt="1"/>
          </p:nvPr>
        </p:nvSpPr>
        <p:spPr>
          <a:xfrm>
            <a:off x="613833" y="496713"/>
            <a:ext cx="7440000" cy="1748400"/>
          </a:xfrm>
        </p:spPr>
        <p:txBody>
          <a:bodyPr anchor="b">
            <a:noAutofit/>
          </a:bodyPr>
          <a:lstStyle>
            <a:lvl1pPr>
              <a:defRPr sz="4800" b="0">
                <a:solidFill>
                  <a:schemeClr val="bg1"/>
                </a:solidFill>
                <a:latin typeface="Proximus ExtraBold" panose="00000900000000000000" pitchFamily="2" charset="0"/>
              </a:defRPr>
            </a:lvl1pPr>
          </a:lstStyle>
          <a:p>
            <a:r>
              <a:rPr lang="en-US"/>
              <a:t>Click to edit </a:t>
            </a:r>
            <a:br>
              <a:rPr lang="en-US"/>
            </a:br>
            <a:r>
              <a:rPr lang="en-US"/>
              <a:t>chapter title</a:t>
            </a:r>
            <a:endParaRPr lang="nl-BE"/>
          </a:p>
        </p:txBody>
      </p:sp>
      <p:sp>
        <p:nvSpPr>
          <p:cNvPr id="13" name="Subtitle 2">
            <a:extLst>
              <a:ext uri="{FF2B5EF4-FFF2-40B4-BE49-F238E27FC236}">
                <a16:creationId xmlns:a16="http://schemas.microsoft.com/office/drawing/2014/main" id="{97531072-EECB-42CB-876A-D2C8B26FB265}"/>
              </a:ext>
            </a:extLst>
          </p:cNvPr>
          <p:cNvSpPr>
            <a:spLocks noGrp="1"/>
          </p:cNvSpPr>
          <p:nvPr>
            <p:ph type="subTitle" idx="1" hasCustomPrompt="1"/>
          </p:nvPr>
        </p:nvSpPr>
        <p:spPr>
          <a:xfrm>
            <a:off x="613833" y="2624867"/>
            <a:ext cx="7440000" cy="1335741"/>
          </a:xfrm>
        </p:spPr>
        <p:txBody>
          <a:bodyPr/>
          <a:lstStyle>
            <a:lvl1pPr marL="0" indent="0" algn="l">
              <a:lnSpc>
                <a:spcPct val="100000"/>
              </a:lnSpc>
              <a:buNone/>
              <a:defRPr sz="2933">
                <a:solidFill>
                  <a:schemeClr val="bg1"/>
                </a:solidFill>
                <a:latin typeface="Proximus Light" panose="00000500000000000000" pitchFamily="2"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Subtitle</a:t>
            </a:r>
            <a:endParaRPr lang="nl-BE"/>
          </a:p>
        </p:txBody>
      </p:sp>
      <p:pic>
        <p:nvPicPr>
          <p:cNvPr id="4" name="Graphic 3">
            <a:extLst>
              <a:ext uri="{FF2B5EF4-FFF2-40B4-BE49-F238E27FC236}">
                <a16:creationId xmlns:a16="http://schemas.microsoft.com/office/drawing/2014/main" id="{744C608D-DD01-42D2-828F-3F3AD9E9B4D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691916" y="5705475"/>
            <a:ext cx="912709" cy="739775"/>
          </a:xfrm>
          <a:prstGeom prst="rect">
            <a:avLst/>
          </a:prstGeom>
        </p:spPr>
      </p:pic>
      <p:sp>
        <p:nvSpPr>
          <p:cNvPr id="2" name="Text Placeholder 1">
            <a:extLst>
              <a:ext uri="{FF2B5EF4-FFF2-40B4-BE49-F238E27FC236}">
                <a16:creationId xmlns:a16="http://schemas.microsoft.com/office/drawing/2014/main" id="{2A73750A-6229-3EF4-AA8A-016FC0154B02}"/>
              </a:ext>
            </a:extLst>
          </p:cNvPr>
          <p:cNvSpPr>
            <a:spLocks noGrp="1"/>
          </p:cNvSpPr>
          <p:nvPr>
            <p:ph type="body" sz="quarter" idx="10" hasCustomPrompt="1"/>
          </p:nvPr>
        </p:nvSpPr>
        <p:spPr>
          <a:xfrm>
            <a:off x="8787573" y="3"/>
            <a:ext cx="3404427" cy="3464295"/>
          </a:xfrm>
          <a:custGeom>
            <a:avLst/>
            <a:gdLst>
              <a:gd name="connsiteX0" fmla="*/ 974239 w 2553320"/>
              <a:gd name="connsiteY0" fmla="*/ 0 h 2598221"/>
              <a:gd name="connsiteX1" fmla="*/ 2553320 w 2553320"/>
              <a:gd name="connsiteY1" fmla="*/ 0 h 2598221"/>
              <a:gd name="connsiteX2" fmla="*/ 2553320 w 2553320"/>
              <a:gd name="connsiteY2" fmla="*/ 1668884 h 2598221"/>
              <a:gd name="connsiteX3" fmla="*/ 1960321 w 2553320"/>
              <a:gd name="connsiteY3" fmla="*/ 2261883 h 2598221"/>
              <a:gd name="connsiteX4" fmla="*/ 336338 w 2553320"/>
              <a:gd name="connsiteY4" fmla="*/ 2261883 h 2598221"/>
              <a:gd name="connsiteX5" fmla="*/ 336338 w 2553320"/>
              <a:gd name="connsiteY5" fmla="*/ 637901 h 259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3320" h="2598221">
                <a:moveTo>
                  <a:pt x="974239" y="0"/>
                </a:moveTo>
                <a:lnTo>
                  <a:pt x="2553320" y="0"/>
                </a:lnTo>
                <a:lnTo>
                  <a:pt x="2553320" y="1668884"/>
                </a:lnTo>
                <a:lnTo>
                  <a:pt x="1960321" y="2261883"/>
                </a:lnTo>
                <a:cubicBezTo>
                  <a:pt x="1511870" y="2710334"/>
                  <a:pt x="784789" y="2710334"/>
                  <a:pt x="336338" y="2261883"/>
                </a:cubicBezTo>
                <a:cubicBezTo>
                  <a:pt x="-112112" y="1813433"/>
                  <a:pt x="-112112" y="1086352"/>
                  <a:pt x="336338" y="637901"/>
                </a:cubicBezTo>
                <a:close/>
              </a:path>
            </a:pathLst>
          </a:custGeom>
          <a:gradFill>
            <a:gsLst>
              <a:gs pos="20000">
                <a:schemeClr val="bg1"/>
              </a:gs>
              <a:gs pos="100000">
                <a:srgbClr val="D22E67"/>
              </a:gs>
            </a:gsLst>
            <a:lin ang="7200000" scaled="0"/>
          </a:gradFill>
        </p:spPr>
        <p:txBody>
          <a:bodyPr wrap="square" anchor="ctr">
            <a:noAutofit/>
          </a:bodyPr>
          <a:lstStyle>
            <a:lvl1pPr algn="ctr">
              <a:defRPr sz="9600">
                <a:solidFill>
                  <a:schemeClr val="tx1"/>
                </a:solidFill>
                <a:latin typeface="Proximus ExtraBold" panose="020B0604020202020204" charset="0"/>
              </a:defRPr>
            </a:lvl1pPr>
          </a:lstStyle>
          <a:p>
            <a:pPr lvl="0"/>
            <a:r>
              <a:rPr lang="en-US"/>
              <a:t>xx</a:t>
            </a:r>
          </a:p>
        </p:txBody>
      </p:sp>
    </p:spTree>
    <p:extLst>
      <p:ext uri="{BB962C8B-B14F-4D97-AF65-F5344CB8AC3E}">
        <p14:creationId xmlns:p14="http://schemas.microsoft.com/office/powerpoint/2010/main" val="32804320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hapter - Purple">
    <p:bg>
      <p:bgPr>
        <a:solidFill>
          <a:schemeClr val="bg1"/>
        </a:soli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613833" y="2460272"/>
            <a:ext cx="7440000" cy="1335741"/>
          </a:xfrm>
        </p:spPr>
        <p:txBody>
          <a:bodyPr/>
          <a:lstStyle>
            <a:lvl1pPr marL="0" indent="0" algn="l">
              <a:lnSpc>
                <a:spcPct val="100000"/>
              </a:lnSpc>
              <a:buNone/>
              <a:defRPr sz="2933">
                <a:solidFill>
                  <a:schemeClr val="tx1"/>
                </a:solidFill>
                <a:latin typeface="Proximus Light" panose="00000500000000000000" pitchFamily="2"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613833" y="504001"/>
            <a:ext cx="7440000" cy="1612083"/>
          </a:xfrm>
        </p:spPr>
        <p:txBody>
          <a:bodyPr anchor="b">
            <a:noAutofit/>
          </a:bodyPr>
          <a:lstStyle>
            <a:lvl1pPr>
              <a:defRPr sz="48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702899" y="5724528"/>
            <a:ext cx="889207" cy="720725"/>
          </a:xfrm>
          <a:prstGeom prst="rect">
            <a:avLst/>
          </a:prstGeom>
        </p:spPr>
      </p:pic>
      <p:sp>
        <p:nvSpPr>
          <p:cNvPr id="2" name="Text Placeholder 1">
            <a:extLst>
              <a:ext uri="{FF2B5EF4-FFF2-40B4-BE49-F238E27FC236}">
                <a16:creationId xmlns:a16="http://schemas.microsoft.com/office/drawing/2014/main" id="{A13ED057-FB00-C414-4716-D43E229D0A38}"/>
              </a:ext>
            </a:extLst>
          </p:cNvPr>
          <p:cNvSpPr>
            <a:spLocks noGrp="1"/>
          </p:cNvSpPr>
          <p:nvPr>
            <p:ph type="body" sz="quarter" idx="10" hasCustomPrompt="1"/>
          </p:nvPr>
        </p:nvSpPr>
        <p:spPr>
          <a:xfrm>
            <a:off x="8787573" y="3"/>
            <a:ext cx="3404427" cy="3464295"/>
          </a:xfrm>
          <a:custGeom>
            <a:avLst/>
            <a:gdLst>
              <a:gd name="connsiteX0" fmla="*/ 974239 w 2553320"/>
              <a:gd name="connsiteY0" fmla="*/ 0 h 2598221"/>
              <a:gd name="connsiteX1" fmla="*/ 2553320 w 2553320"/>
              <a:gd name="connsiteY1" fmla="*/ 0 h 2598221"/>
              <a:gd name="connsiteX2" fmla="*/ 2553320 w 2553320"/>
              <a:gd name="connsiteY2" fmla="*/ 1668884 h 2598221"/>
              <a:gd name="connsiteX3" fmla="*/ 1960321 w 2553320"/>
              <a:gd name="connsiteY3" fmla="*/ 2261883 h 2598221"/>
              <a:gd name="connsiteX4" fmla="*/ 336338 w 2553320"/>
              <a:gd name="connsiteY4" fmla="*/ 2261883 h 2598221"/>
              <a:gd name="connsiteX5" fmla="*/ 336338 w 2553320"/>
              <a:gd name="connsiteY5" fmla="*/ 637901 h 259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3320" h="2598221">
                <a:moveTo>
                  <a:pt x="974239" y="0"/>
                </a:moveTo>
                <a:lnTo>
                  <a:pt x="2553320" y="0"/>
                </a:lnTo>
                <a:lnTo>
                  <a:pt x="2553320" y="1668884"/>
                </a:lnTo>
                <a:lnTo>
                  <a:pt x="1960321" y="2261883"/>
                </a:lnTo>
                <a:cubicBezTo>
                  <a:pt x="1511870" y="2710334"/>
                  <a:pt x="784789" y="2710334"/>
                  <a:pt x="336338" y="2261883"/>
                </a:cubicBezTo>
                <a:cubicBezTo>
                  <a:pt x="-112112" y="1813433"/>
                  <a:pt x="-112112" y="1086352"/>
                  <a:pt x="336338" y="637901"/>
                </a:cubicBezTo>
                <a:close/>
              </a:path>
            </a:pathLst>
          </a:custGeom>
          <a:gradFill>
            <a:gsLst>
              <a:gs pos="20000">
                <a:schemeClr val="bg1"/>
              </a:gs>
              <a:gs pos="100000">
                <a:srgbClr val="D22E67"/>
              </a:gs>
            </a:gsLst>
            <a:lin ang="7200000" scaled="0"/>
          </a:gradFill>
        </p:spPr>
        <p:txBody>
          <a:bodyPr wrap="square" anchor="ctr">
            <a:noAutofit/>
          </a:bodyPr>
          <a:lstStyle>
            <a:lvl1pPr algn="ctr">
              <a:defRPr sz="9600">
                <a:solidFill>
                  <a:schemeClr val="tx1"/>
                </a:solidFill>
                <a:latin typeface="Proximus ExtraBold" panose="020B0604020202020204" charset="0"/>
              </a:defRPr>
            </a:lvl1pPr>
          </a:lstStyle>
          <a:p>
            <a:pPr lvl="0"/>
            <a:r>
              <a:rPr lang="en-US"/>
              <a:t>xx</a:t>
            </a:r>
          </a:p>
        </p:txBody>
      </p:sp>
    </p:spTree>
    <p:extLst>
      <p:ext uri="{BB962C8B-B14F-4D97-AF65-F5344CB8AC3E}">
        <p14:creationId xmlns:p14="http://schemas.microsoft.com/office/powerpoint/2010/main" val="340482058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Chapter - Gradient">
    <p:bg>
      <p:bgPr>
        <a:gradFill>
          <a:gsLst>
            <a:gs pos="25000">
              <a:schemeClr val="bg1"/>
            </a:gs>
            <a:gs pos="100000">
              <a:srgbClr val="D22E67"/>
            </a:gs>
          </a:gsLst>
          <a:lin ang="3000000" scaled="0"/>
        </a:gra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613833" y="2460272"/>
            <a:ext cx="7440000" cy="1335741"/>
          </a:xfrm>
        </p:spPr>
        <p:txBody>
          <a:bodyPr/>
          <a:lstStyle>
            <a:lvl1pPr marL="0" indent="0" algn="l">
              <a:lnSpc>
                <a:spcPct val="100000"/>
              </a:lnSpc>
              <a:buNone/>
              <a:defRPr sz="2933">
                <a:solidFill>
                  <a:schemeClr val="tx1"/>
                </a:solidFill>
                <a:latin typeface="Proximus Light" panose="00000500000000000000" pitchFamily="2"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613833" y="504001"/>
            <a:ext cx="7440000" cy="1612083"/>
          </a:xfrm>
        </p:spPr>
        <p:txBody>
          <a:bodyPr anchor="b">
            <a:noAutofit/>
          </a:bodyPr>
          <a:lstStyle>
            <a:lvl1pPr>
              <a:defRPr sz="48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702899" y="5724528"/>
            <a:ext cx="889207" cy="720725"/>
          </a:xfrm>
          <a:prstGeom prst="rect">
            <a:avLst/>
          </a:prstGeom>
        </p:spPr>
      </p:pic>
      <p:sp>
        <p:nvSpPr>
          <p:cNvPr id="2" name="Text Placeholder 1">
            <a:extLst>
              <a:ext uri="{FF2B5EF4-FFF2-40B4-BE49-F238E27FC236}">
                <a16:creationId xmlns:a16="http://schemas.microsoft.com/office/drawing/2014/main" id="{A13ED057-FB00-C414-4716-D43E229D0A38}"/>
              </a:ext>
            </a:extLst>
          </p:cNvPr>
          <p:cNvSpPr>
            <a:spLocks noGrp="1"/>
          </p:cNvSpPr>
          <p:nvPr>
            <p:ph type="body" sz="quarter" idx="10" hasCustomPrompt="1"/>
          </p:nvPr>
        </p:nvSpPr>
        <p:spPr>
          <a:xfrm>
            <a:off x="8787573" y="3"/>
            <a:ext cx="3404427" cy="3464295"/>
          </a:xfrm>
          <a:custGeom>
            <a:avLst/>
            <a:gdLst>
              <a:gd name="connsiteX0" fmla="*/ 974239 w 2553320"/>
              <a:gd name="connsiteY0" fmla="*/ 0 h 2598221"/>
              <a:gd name="connsiteX1" fmla="*/ 2553320 w 2553320"/>
              <a:gd name="connsiteY1" fmla="*/ 0 h 2598221"/>
              <a:gd name="connsiteX2" fmla="*/ 2553320 w 2553320"/>
              <a:gd name="connsiteY2" fmla="*/ 1668884 h 2598221"/>
              <a:gd name="connsiteX3" fmla="*/ 1960321 w 2553320"/>
              <a:gd name="connsiteY3" fmla="*/ 2261883 h 2598221"/>
              <a:gd name="connsiteX4" fmla="*/ 336338 w 2553320"/>
              <a:gd name="connsiteY4" fmla="*/ 2261883 h 2598221"/>
              <a:gd name="connsiteX5" fmla="*/ 336338 w 2553320"/>
              <a:gd name="connsiteY5" fmla="*/ 637901 h 259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3320" h="2598221">
                <a:moveTo>
                  <a:pt x="974239" y="0"/>
                </a:moveTo>
                <a:lnTo>
                  <a:pt x="2553320" y="0"/>
                </a:lnTo>
                <a:lnTo>
                  <a:pt x="2553320" y="1668884"/>
                </a:lnTo>
                <a:lnTo>
                  <a:pt x="1960321" y="2261883"/>
                </a:lnTo>
                <a:cubicBezTo>
                  <a:pt x="1511870" y="2710334"/>
                  <a:pt x="784789" y="2710334"/>
                  <a:pt x="336338" y="2261883"/>
                </a:cubicBezTo>
                <a:cubicBezTo>
                  <a:pt x="-112112" y="1813433"/>
                  <a:pt x="-112112" y="1086352"/>
                  <a:pt x="336338" y="637901"/>
                </a:cubicBezTo>
                <a:close/>
              </a:path>
            </a:pathLst>
          </a:custGeom>
          <a:solidFill>
            <a:schemeClr val="tx1"/>
          </a:solidFill>
        </p:spPr>
        <p:txBody>
          <a:bodyPr wrap="square" anchor="ctr">
            <a:noAutofit/>
          </a:bodyPr>
          <a:lstStyle>
            <a:lvl1pPr algn="ctr">
              <a:defRPr sz="9600">
                <a:gradFill>
                  <a:gsLst>
                    <a:gs pos="20000">
                      <a:schemeClr val="bg1"/>
                    </a:gs>
                    <a:gs pos="100000">
                      <a:srgbClr val="D22E67"/>
                    </a:gs>
                  </a:gsLst>
                  <a:lin ang="3000000" scaled="0"/>
                </a:gradFill>
                <a:latin typeface="Proximus ExtraBold" panose="020B0604020202020204" charset="0"/>
              </a:defRPr>
            </a:lvl1pPr>
          </a:lstStyle>
          <a:p>
            <a:pPr lvl="0"/>
            <a:r>
              <a:rPr lang="en-US"/>
              <a:t>xx</a:t>
            </a:r>
          </a:p>
        </p:txBody>
      </p:sp>
    </p:spTree>
    <p:extLst>
      <p:ext uri="{BB962C8B-B14F-4D97-AF65-F5344CB8AC3E}">
        <p14:creationId xmlns:p14="http://schemas.microsoft.com/office/powerpoint/2010/main" val="135841989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hapter - Illustration 1">
    <p:bg>
      <p:bgPr>
        <a:gradFill>
          <a:gsLst>
            <a:gs pos="25000">
              <a:schemeClr val="bg1"/>
            </a:gs>
            <a:gs pos="100000">
              <a:schemeClr val="bg2"/>
            </a:gs>
          </a:gsLst>
          <a:lin ang="3000000" scaled="0"/>
        </a:gra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613833" y="3064345"/>
            <a:ext cx="4673035" cy="1530233"/>
          </a:xfrm>
        </p:spPr>
        <p:txBody>
          <a:bodyPr/>
          <a:lstStyle>
            <a:lvl1pPr marL="0" indent="0" algn="l">
              <a:lnSpc>
                <a:spcPct val="100000"/>
              </a:lnSpc>
              <a:buNone/>
              <a:defRPr sz="2933">
                <a:solidFill>
                  <a:schemeClr val="tx1"/>
                </a:solidFill>
                <a:latin typeface="Proximus Light" panose="00000500000000000000" pitchFamily="2"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613836" y="505886"/>
            <a:ext cx="6182077" cy="2214271"/>
          </a:xfrm>
        </p:spPr>
        <p:txBody>
          <a:bodyPr anchor="b">
            <a:noAutofit/>
          </a:bodyPr>
          <a:lstStyle>
            <a:lvl1pPr>
              <a:defRPr sz="48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702899" y="5724528"/>
            <a:ext cx="889207" cy="720725"/>
          </a:xfrm>
          <a:prstGeom prst="rect">
            <a:avLst/>
          </a:prstGeom>
        </p:spPr>
      </p:pic>
      <p:pic>
        <p:nvPicPr>
          <p:cNvPr id="2" name="Graphic 1">
            <a:extLst>
              <a:ext uri="{FF2B5EF4-FFF2-40B4-BE49-F238E27FC236}">
                <a16:creationId xmlns:a16="http://schemas.microsoft.com/office/drawing/2014/main" id="{46333D4F-5D02-DCDE-F7B0-2ECA272BB486}"/>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1" t="-1139" r="5844"/>
          <a:stretch/>
        </p:blipFill>
        <p:spPr>
          <a:xfrm>
            <a:off x="5286868" y="333910"/>
            <a:ext cx="6905133" cy="5750983"/>
          </a:xfrm>
          <a:prstGeom prst="rect">
            <a:avLst/>
          </a:prstGeom>
        </p:spPr>
      </p:pic>
    </p:spTree>
    <p:extLst>
      <p:ext uri="{BB962C8B-B14F-4D97-AF65-F5344CB8AC3E}">
        <p14:creationId xmlns:p14="http://schemas.microsoft.com/office/powerpoint/2010/main" val="361098441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Chapter - Illustration 2">
    <p:bg>
      <p:bgPr>
        <a:gradFill>
          <a:gsLst>
            <a:gs pos="25000">
              <a:schemeClr val="bg1"/>
            </a:gs>
            <a:gs pos="100000">
              <a:srgbClr val="D12E67"/>
            </a:gs>
          </a:gsLst>
          <a:lin ang="3000000" scaled="0"/>
        </a:gradFill>
        <a:effectLst/>
      </p:bgPr>
    </p:bg>
    <p:spTree>
      <p:nvGrpSpPr>
        <p:cNvPr id="1" name=""/>
        <p:cNvGrpSpPr/>
        <p:nvPr/>
      </p:nvGrpSpPr>
      <p:grpSpPr>
        <a:xfrm>
          <a:off x="0" y="0"/>
          <a:ext cx="0" cy="0"/>
          <a:chOff x="0" y="0"/>
          <a:chExt cx="0" cy="0"/>
        </a:xfrm>
      </p:grpSpPr>
      <p:pic>
        <p:nvPicPr>
          <p:cNvPr id="70" name="Graphic 69">
            <a:extLst>
              <a:ext uri="{FF2B5EF4-FFF2-40B4-BE49-F238E27FC236}">
                <a16:creationId xmlns:a16="http://schemas.microsoft.com/office/drawing/2014/main" id="{ADBF8575-D13C-292D-662F-9F9FA797F75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 r="39144" b="15694"/>
          <a:stretch/>
        </p:blipFill>
        <p:spPr>
          <a:xfrm>
            <a:off x="2925235" y="1579035"/>
            <a:ext cx="9266767" cy="5278967"/>
          </a:xfrm>
          <a:prstGeom prst="rect">
            <a:avLst/>
          </a:prstGeom>
        </p:spPr>
      </p:pic>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613833" y="3064345"/>
            <a:ext cx="4673035" cy="1530233"/>
          </a:xfrm>
        </p:spPr>
        <p:txBody>
          <a:bodyPr/>
          <a:lstStyle>
            <a:lvl1pPr marL="0" indent="0" algn="l">
              <a:lnSpc>
                <a:spcPct val="100000"/>
              </a:lnSpc>
              <a:buNone/>
              <a:defRPr sz="2933">
                <a:solidFill>
                  <a:schemeClr val="tx1"/>
                </a:solidFill>
                <a:latin typeface="Proximus Light" panose="00000500000000000000" pitchFamily="2"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613836" y="505886"/>
            <a:ext cx="6182077" cy="2214271"/>
          </a:xfrm>
        </p:spPr>
        <p:txBody>
          <a:bodyPr anchor="b">
            <a:noAutofit/>
          </a:bodyPr>
          <a:lstStyle>
            <a:lvl1pPr>
              <a:defRPr sz="48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702899" y="5724528"/>
            <a:ext cx="889207" cy="720725"/>
          </a:xfrm>
          <a:prstGeom prst="rect">
            <a:avLst/>
          </a:prstGeom>
        </p:spPr>
      </p:pic>
    </p:spTree>
    <p:extLst>
      <p:ext uri="{BB962C8B-B14F-4D97-AF65-F5344CB8AC3E}">
        <p14:creationId xmlns:p14="http://schemas.microsoft.com/office/powerpoint/2010/main" val="346326028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hapter - Illustration 3">
    <p:bg>
      <p:bgPr>
        <a:gradFill>
          <a:gsLst>
            <a:gs pos="25000">
              <a:schemeClr val="bg1"/>
            </a:gs>
            <a:gs pos="100000">
              <a:schemeClr val="accent4"/>
            </a:gs>
          </a:gsLst>
          <a:lin ang="3000000" scaled="0"/>
        </a:gradFill>
        <a:effectLst/>
      </p:bgPr>
    </p:bg>
    <p:spTree>
      <p:nvGrpSpPr>
        <p:cNvPr id="1" name=""/>
        <p:cNvGrpSpPr/>
        <p:nvPr/>
      </p:nvGrpSpPr>
      <p:grpSpPr>
        <a:xfrm>
          <a:off x="0" y="0"/>
          <a:ext cx="0" cy="0"/>
          <a:chOff x="0" y="0"/>
          <a:chExt cx="0" cy="0"/>
        </a:xfrm>
      </p:grpSpPr>
      <p:pic>
        <p:nvPicPr>
          <p:cNvPr id="3" name="Picture 2" descr="Icon&#10;&#10;Description automatically generated">
            <a:extLst>
              <a:ext uri="{FF2B5EF4-FFF2-40B4-BE49-F238E27FC236}">
                <a16:creationId xmlns:a16="http://schemas.microsoft.com/office/drawing/2014/main" id="{10C2C515-BD5B-1EA9-81D6-9F705E41FA66}"/>
              </a:ext>
            </a:extLst>
          </p:cNvPr>
          <p:cNvPicPr>
            <a:picLocks noChangeAspect="1"/>
          </p:cNvPicPr>
          <p:nvPr userDrawn="1"/>
        </p:nvPicPr>
        <p:blipFill rotWithShape="1">
          <a:blip r:embed="rId2"/>
          <a:srcRect r="22682" b="27634"/>
          <a:stretch/>
        </p:blipFill>
        <p:spPr>
          <a:xfrm>
            <a:off x="7294355" y="343905"/>
            <a:ext cx="4897647" cy="6514096"/>
          </a:xfrm>
          <a:prstGeom prst="rect">
            <a:avLst/>
          </a:prstGeom>
        </p:spPr>
      </p:pic>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613834" y="3064345"/>
            <a:ext cx="6182076" cy="1530233"/>
          </a:xfrm>
        </p:spPr>
        <p:txBody>
          <a:bodyPr/>
          <a:lstStyle>
            <a:lvl1pPr marL="0" indent="0" algn="l">
              <a:lnSpc>
                <a:spcPct val="100000"/>
              </a:lnSpc>
              <a:buNone/>
              <a:defRPr sz="2933">
                <a:solidFill>
                  <a:schemeClr val="tx1"/>
                </a:solidFill>
                <a:latin typeface="Proximus Light" panose="00000500000000000000" pitchFamily="2"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613836" y="505886"/>
            <a:ext cx="6182077" cy="2214271"/>
          </a:xfrm>
        </p:spPr>
        <p:txBody>
          <a:bodyPr anchor="b">
            <a:noAutofit/>
          </a:bodyPr>
          <a:lstStyle>
            <a:lvl1pPr>
              <a:defRPr sz="48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702899" y="5724528"/>
            <a:ext cx="889207" cy="720725"/>
          </a:xfrm>
          <a:prstGeom prst="rect">
            <a:avLst/>
          </a:prstGeom>
        </p:spPr>
      </p:pic>
    </p:spTree>
    <p:extLst>
      <p:ext uri="{BB962C8B-B14F-4D97-AF65-F5344CB8AC3E}">
        <p14:creationId xmlns:p14="http://schemas.microsoft.com/office/powerpoint/2010/main" val="23428994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XS ADA - title and subtitle - bg3">
    <p:bg>
      <p:bgPr>
        <a:solidFill>
          <a:schemeClr val="bg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FB60CD8-A05B-7E6B-4B1C-26A9D141329A}"/>
              </a:ext>
            </a:extLst>
          </p:cNvPr>
          <p:cNvGrpSpPr/>
          <p:nvPr userDrawn="1"/>
        </p:nvGrpSpPr>
        <p:grpSpPr>
          <a:xfrm>
            <a:off x="-1600" y="1"/>
            <a:ext cx="12193600" cy="6858225"/>
            <a:chOff x="-1200" y="0"/>
            <a:chExt cx="9145200" cy="5143669"/>
          </a:xfrm>
        </p:grpSpPr>
        <p:sp>
          <p:nvSpPr>
            <p:cNvPr id="8" name="Rectangle 7">
              <a:extLst>
                <a:ext uri="{FF2B5EF4-FFF2-40B4-BE49-F238E27FC236}">
                  <a16:creationId xmlns:a16="http://schemas.microsoft.com/office/drawing/2014/main" id="{7F796B16-5A6E-D224-D39C-528077E24547}"/>
                </a:ext>
              </a:extLst>
            </p:cNvPr>
            <p:cNvSpPr/>
            <p:nvPr userDrawn="1"/>
          </p:nvSpPr>
          <p:spPr>
            <a:xfrm>
              <a:off x="0" y="0"/>
              <a:ext cx="9144000" cy="504363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624517"/>
              <a:endParaRPr lang="en-US" sz="1867" err="1">
                <a:solidFill>
                  <a:schemeClr val="tx1"/>
                </a:solidFill>
                <a:latin typeface="Proximus" panose="00000500000000000000" pitchFamily="2" charset="0"/>
                <a:cs typeface="Proximus"/>
              </a:endParaRPr>
            </a:p>
          </p:txBody>
        </p:sp>
        <p:grpSp>
          <p:nvGrpSpPr>
            <p:cNvPr id="9" name="Group 8">
              <a:extLst>
                <a:ext uri="{FF2B5EF4-FFF2-40B4-BE49-F238E27FC236}">
                  <a16:creationId xmlns:a16="http://schemas.microsoft.com/office/drawing/2014/main" id="{81A0DD4D-6626-7C68-01A3-871C7CCCDEBF}"/>
                </a:ext>
              </a:extLst>
            </p:cNvPr>
            <p:cNvGrpSpPr/>
            <p:nvPr userDrawn="1"/>
          </p:nvGrpSpPr>
          <p:grpSpPr>
            <a:xfrm>
              <a:off x="2388230" y="0"/>
              <a:ext cx="6755770" cy="5143500"/>
              <a:chOff x="2394583" y="0"/>
              <a:chExt cx="6755770" cy="5143500"/>
            </a:xfrm>
            <a:solidFill>
              <a:schemeClr val="bg1">
                <a:alpha val="20000"/>
              </a:schemeClr>
            </a:solidFill>
          </p:grpSpPr>
          <p:pic>
            <p:nvPicPr>
              <p:cNvPr id="11" name="Graphic 10">
                <a:extLst>
                  <a:ext uri="{FF2B5EF4-FFF2-40B4-BE49-F238E27FC236}">
                    <a16:creationId xmlns:a16="http://schemas.microsoft.com/office/drawing/2014/main" id="{E10FA16E-1D4B-2164-3DF5-3A30A893FEE7}"/>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40699" r="46306"/>
              <a:stretch/>
            </p:blipFill>
            <p:spPr>
              <a:xfrm>
                <a:off x="6868313" y="0"/>
                <a:ext cx="2275687" cy="3490722"/>
              </a:xfrm>
              <a:prstGeom prst="rect">
                <a:avLst/>
              </a:prstGeom>
            </p:spPr>
          </p:pic>
          <p:pic>
            <p:nvPicPr>
              <p:cNvPr id="12" name="Graphic 11">
                <a:extLst>
                  <a:ext uri="{FF2B5EF4-FFF2-40B4-BE49-F238E27FC236}">
                    <a16:creationId xmlns:a16="http://schemas.microsoft.com/office/drawing/2014/main" id="{FC6789C1-0515-7925-9CA7-247EF6B05967}"/>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t="12793"/>
              <a:stretch/>
            </p:blipFill>
            <p:spPr>
              <a:xfrm>
                <a:off x="2394583" y="0"/>
                <a:ext cx="4473730" cy="3490722"/>
              </a:xfrm>
              <a:prstGeom prst="rect">
                <a:avLst/>
              </a:prstGeom>
            </p:spPr>
          </p:pic>
          <p:pic>
            <p:nvPicPr>
              <p:cNvPr id="13" name="Graphic 12">
                <a:extLst>
                  <a:ext uri="{FF2B5EF4-FFF2-40B4-BE49-F238E27FC236}">
                    <a16:creationId xmlns:a16="http://schemas.microsoft.com/office/drawing/2014/main" id="{F2AB61DD-ABFC-F274-35C9-13BCED42F0F6}"/>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r="39532" b="65156"/>
              <a:stretch/>
            </p:blipFill>
            <p:spPr>
              <a:xfrm>
                <a:off x="6445175" y="3748762"/>
                <a:ext cx="2705178" cy="1394738"/>
              </a:xfrm>
              <a:prstGeom prst="rect">
                <a:avLst/>
              </a:prstGeom>
            </p:spPr>
          </p:pic>
        </p:grpSp>
        <p:sp>
          <p:nvSpPr>
            <p:cNvPr id="10" name="Rectangle 9">
              <a:extLst>
                <a:ext uri="{FF2B5EF4-FFF2-40B4-BE49-F238E27FC236}">
                  <a16:creationId xmlns:a16="http://schemas.microsoft.com/office/drawing/2014/main" id="{AAADE4EB-44C2-A1C7-9774-6C6B31308450}"/>
                </a:ext>
              </a:extLst>
            </p:cNvPr>
            <p:cNvSpPr/>
            <p:nvPr userDrawn="1"/>
          </p:nvSpPr>
          <p:spPr>
            <a:xfrm>
              <a:off x="-1200" y="0"/>
              <a:ext cx="9145200" cy="5143669"/>
            </a:xfrm>
            <a:prstGeom prst="rect">
              <a:avLst/>
            </a:prstGeom>
            <a:gradFill>
              <a:gsLst>
                <a:gs pos="0">
                  <a:srgbClr val="5C2D91"/>
                </a:gs>
                <a:gs pos="60000">
                  <a:srgbClr val="5C2D91">
                    <a:alpha val="0"/>
                  </a:srgb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2400"/>
            </a:p>
          </p:txBody>
        </p:sp>
      </p:grpSp>
      <p:sp>
        <p:nvSpPr>
          <p:cNvPr id="2" name="Title 1"/>
          <p:cNvSpPr>
            <a:spLocks noGrp="1"/>
          </p:cNvSpPr>
          <p:nvPr>
            <p:ph type="title" hasCustomPrompt="1"/>
          </p:nvPr>
        </p:nvSpPr>
        <p:spPr>
          <a:xfrm>
            <a:off x="613837" y="503769"/>
            <a:ext cx="10962217" cy="533399"/>
          </a:xfrm>
        </p:spPr>
        <p:txBody>
          <a:bodyPr anchor="t"/>
          <a:lstStyle>
            <a:lvl1pPr>
              <a:defRPr b="0">
                <a:solidFill>
                  <a:schemeClr val="tx1"/>
                </a:solidFill>
              </a:defRPr>
            </a:lvl1pPr>
          </a:lstStyle>
          <a:p>
            <a:r>
              <a:rPr lang="en-US"/>
              <a:t>Click to edit slide title</a:t>
            </a:r>
            <a:endParaRPr lang="nl-BE"/>
          </a:p>
        </p:txBody>
      </p:sp>
      <p:sp>
        <p:nvSpPr>
          <p:cNvPr id="6" name="Text Placeholder 5">
            <a:extLst>
              <a:ext uri="{FF2B5EF4-FFF2-40B4-BE49-F238E27FC236}">
                <a16:creationId xmlns:a16="http://schemas.microsoft.com/office/drawing/2014/main" id="{3CFA2924-4BFC-CB4A-33EA-AFA2F3E1085E}"/>
              </a:ext>
            </a:extLst>
          </p:cNvPr>
          <p:cNvSpPr>
            <a:spLocks noGrp="1"/>
          </p:cNvSpPr>
          <p:nvPr>
            <p:ph type="body" sz="quarter" idx="12"/>
          </p:nvPr>
        </p:nvSpPr>
        <p:spPr>
          <a:xfrm>
            <a:off x="624417" y="1138501"/>
            <a:ext cx="10962216" cy="393967"/>
          </a:xfrm>
        </p:spPr>
        <p:txBody>
          <a:bodyPr/>
          <a:lstStyle>
            <a:lvl1pPr>
              <a:defRPr sz="2133" b="1">
                <a:solidFill>
                  <a:schemeClr val="tx1"/>
                </a:solidFill>
                <a:latin typeface="+mn-lt"/>
              </a:defRPr>
            </a:lvl1pPr>
          </a:lstStyle>
          <a:p>
            <a:pPr lvl="0"/>
            <a:r>
              <a:rPr lang="en-US"/>
              <a:t>Click to edit Master text styles</a:t>
            </a:r>
          </a:p>
        </p:txBody>
      </p:sp>
    </p:spTree>
    <p:extLst>
      <p:ext uri="{BB962C8B-B14F-4D97-AF65-F5344CB8AC3E}">
        <p14:creationId xmlns:p14="http://schemas.microsoft.com/office/powerpoint/2010/main" val="2395524894"/>
      </p:ext>
    </p:extLst>
  </p:cSld>
  <p:clrMapOvr>
    <a:masterClrMapping/>
  </p:clrMapOvr>
  <p:extLst>
    <p:ext uri="{DCECCB84-F9BA-43D5-87BE-67443E8EF086}">
      <p15:sldGuideLst xmlns:p15="http://schemas.microsoft.com/office/powerpoint/2012/main">
        <p15:guide id="1" orient="horz" pos="962">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Chapter - Illustration 4">
    <p:bg>
      <p:bgPr>
        <a:gradFill>
          <a:gsLst>
            <a:gs pos="25000">
              <a:schemeClr val="bg1"/>
            </a:gs>
            <a:gs pos="100000">
              <a:srgbClr val="EAC883"/>
            </a:gs>
          </a:gsLst>
          <a:lin ang="3000000" scaled="0"/>
        </a:gra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322754B0-B2D7-9557-F5B0-DF92C09F740E}"/>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9478" b="16358"/>
          <a:stretch/>
        </p:blipFill>
        <p:spPr>
          <a:xfrm>
            <a:off x="6172203" y="742948"/>
            <a:ext cx="6019799" cy="6115053"/>
          </a:xfrm>
          <a:prstGeom prst="rect">
            <a:avLst/>
          </a:prstGeom>
        </p:spPr>
      </p:pic>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613833" y="3064345"/>
            <a:ext cx="5151968" cy="1530233"/>
          </a:xfrm>
        </p:spPr>
        <p:txBody>
          <a:bodyPr/>
          <a:lstStyle>
            <a:lvl1pPr marL="0" indent="0" algn="l">
              <a:lnSpc>
                <a:spcPct val="100000"/>
              </a:lnSpc>
              <a:buNone/>
              <a:defRPr sz="2933">
                <a:solidFill>
                  <a:schemeClr val="tx1"/>
                </a:solidFill>
                <a:latin typeface="Proximus Light" panose="00000500000000000000" pitchFamily="2"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613837" y="505886"/>
            <a:ext cx="5151967" cy="2214271"/>
          </a:xfrm>
        </p:spPr>
        <p:txBody>
          <a:bodyPr anchor="b">
            <a:noAutofit/>
          </a:bodyPr>
          <a:lstStyle>
            <a:lvl1pPr>
              <a:defRPr sz="48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702899" y="5724528"/>
            <a:ext cx="889207" cy="720725"/>
          </a:xfrm>
          <a:prstGeom prst="rect">
            <a:avLst/>
          </a:prstGeom>
        </p:spPr>
      </p:pic>
    </p:spTree>
    <p:extLst>
      <p:ext uri="{BB962C8B-B14F-4D97-AF65-F5344CB8AC3E}">
        <p14:creationId xmlns:p14="http://schemas.microsoft.com/office/powerpoint/2010/main" val="374938672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hapter - Illustration 5">
    <p:bg>
      <p:bgPr>
        <a:gradFill>
          <a:gsLst>
            <a:gs pos="25000">
              <a:schemeClr val="bg1"/>
            </a:gs>
            <a:gs pos="100000">
              <a:schemeClr val="accent4"/>
            </a:gs>
          </a:gsLst>
          <a:lin ang="3000000" scaled="0"/>
        </a:gra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08FB6E1E-547D-C7F4-1A82-6164989D32F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37812" b="34002"/>
          <a:stretch/>
        </p:blipFill>
        <p:spPr>
          <a:xfrm>
            <a:off x="3465689" y="1669427"/>
            <a:ext cx="8726313" cy="5188575"/>
          </a:xfrm>
          <a:prstGeom prst="rect">
            <a:avLst/>
          </a:prstGeom>
        </p:spPr>
      </p:pic>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613833" y="3064345"/>
            <a:ext cx="3100211" cy="2214271"/>
          </a:xfrm>
        </p:spPr>
        <p:txBody>
          <a:bodyPr/>
          <a:lstStyle>
            <a:lvl1pPr marL="0" indent="0" algn="l">
              <a:lnSpc>
                <a:spcPct val="100000"/>
              </a:lnSpc>
              <a:buNone/>
              <a:defRPr sz="2933">
                <a:solidFill>
                  <a:schemeClr val="tx1"/>
                </a:solidFill>
                <a:latin typeface="Proximus Light" panose="00000500000000000000" pitchFamily="2"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613836" y="505886"/>
            <a:ext cx="7051321" cy="2214271"/>
          </a:xfrm>
        </p:spPr>
        <p:txBody>
          <a:bodyPr anchor="b">
            <a:noAutofit/>
          </a:bodyPr>
          <a:lstStyle>
            <a:lvl1pPr>
              <a:defRPr sz="48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702899" y="5724528"/>
            <a:ext cx="889207" cy="720725"/>
          </a:xfrm>
          <a:prstGeom prst="rect">
            <a:avLst/>
          </a:prstGeom>
        </p:spPr>
      </p:pic>
    </p:spTree>
    <p:extLst>
      <p:ext uri="{BB962C8B-B14F-4D97-AF65-F5344CB8AC3E}">
        <p14:creationId xmlns:p14="http://schemas.microsoft.com/office/powerpoint/2010/main" val="369047715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Chapter - Illustration 6">
    <p:bg>
      <p:bgPr>
        <a:gradFill>
          <a:gsLst>
            <a:gs pos="25000">
              <a:schemeClr val="bg1"/>
            </a:gs>
            <a:gs pos="100000">
              <a:schemeClr val="accent5"/>
            </a:gs>
          </a:gsLst>
          <a:lin ang="3000000" scaled="0"/>
        </a:gra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BF8378EB-DAE3-4981-AF59-0C39556517E6}"/>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 r="8768" b="5820"/>
          <a:stretch/>
        </p:blipFill>
        <p:spPr>
          <a:xfrm>
            <a:off x="3046829" y="2462402"/>
            <a:ext cx="9145171" cy="4395599"/>
          </a:xfrm>
          <a:prstGeom prst="rect">
            <a:avLst/>
          </a:prstGeom>
        </p:spPr>
      </p:pic>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613835" y="2462402"/>
            <a:ext cx="4381500" cy="2214271"/>
          </a:xfrm>
        </p:spPr>
        <p:txBody>
          <a:bodyPr/>
          <a:lstStyle>
            <a:lvl1pPr marL="0" indent="0" algn="l">
              <a:lnSpc>
                <a:spcPct val="100000"/>
              </a:lnSpc>
              <a:buNone/>
              <a:defRPr sz="2933">
                <a:solidFill>
                  <a:schemeClr val="tx1"/>
                </a:solidFill>
                <a:latin typeface="Proximus Light" panose="00000500000000000000" pitchFamily="2"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613835" y="505883"/>
            <a:ext cx="10960100" cy="1612800"/>
          </a:xfrm>
        </p:spPr>
        <p:txBody>
          <a:bodyPr anchor="b">
            <a:noAutofit/>
          </a:bodyPr>
          <a:lstStyle>
            <a:lvl1pPr>
              <a:defRPr sz="48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702899" y="5724528"/>
            <a:ext cx="889207" cy="720725"/>
          </a:xfrm>
          <a:prstGeom prst="rect">
            <a:avLst/>
          </a:prstGeom>
        </p:spPr>
      </p:pic>
    </p:spTree>
    <p:extLst>
      <p:ext uri="{BB962C8B-B14F-4D97-AF65-F5344CB8AC3E}">
        <p14:creationId xmlns:p14="http://schemas.microsoft.com/office/powerpoint/2010/main" val="377563609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ubchapter - White">
    <p:bg>
      <p:bgPr>
        <a:solidFill>
          <a:schemeClr val="tx1"/>
        </a:soli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613835" y="2460272"/>
            <a:ext cx="8225367" cy="1335741"/>
          </a:xfrm>
        </p:spPr>
        <p:txBody>
          <a:bodyPr/>
          <a:lstStyle>
            <a:lvl1pPr marL="0" indent="0" algn="l">
              <a:lnSpc>
                <a:spcPct val="100000"/>
              </a:lnSpc>
              <a:buNone/>
              <a:defRPr sz="2667">
                <a:solidFill>
                  <a:schemeClr val="bg1"/>
                </a:solidFill>
                <a:latin typeface="+mj-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613835" y="504001"/>
            <a:ext cx="8225367" cy="1612083"/>
          </a:xfrm>
        </p:spPr>
        <p:txBody>
          <a:bodyPr anchor="b">
            <a:noAutofit/>
          </a:bodyPr>
          <a:lstStyle>
            <a:lvl1pPr>
              <a:defRPr sz="4267" b="0">
                <a:solidFill>
                  <a:schemeClr val="bg1"/>
                </a:solidFill>
                <a:latin typeface="Proximus Light" panose="020B0604020202020204" charset="0"/>
              </a:defRPr>
            </a:lvl1pPr>
          </a:lstStyle>
          <a:p>
            <a:r>
              <a:rPr lang="en-US"/>
              <a:t>Click to edit </a:t>
            </a:r>
            <a:br>
              <a:rPr lang="en-US"/>
            </a:br>
            <a:r>
              <a:rPr lang="en-US"/>
              <a:t>subchapter title</a:t>
            </a:r>
            <a:endParaRPr lang="nl-BE"/>
          </a:p>
        </p:txBody>
      </p:sp>
      <p:pic>
        <p:nvPicPr>
          <p:cNvPr id="2" name="Graphic 1">
            <a:extLst>
              <a:ext uri="{FF2B5EF4-FFF2-40B4-BE49-F238E27FC236}">
                <a16:creationId xmlns:a16="http://schemas.microsoft.com/office/drawing/2014/main" id="{E679911C-93F9-B87D-B3FA-11770F8ED2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02899" y="5724528"/>
            <a:ext cx="890679" cy="720725"/>
          </a:xfrm>
          <a:prstGeom prst="rect">
            <a:avLst/>
          </a:prstGeom>
        </p:spPr>
      </p:pic>
      <p:sp>
        <p:nvSpPr>
          <p:cNvPr id="3" name="Text Placeholder 2">
            <a:extLst>
              <a:ext uri="{FF2B5EF4-FFF2-40B4-BE49-F238E27FC236}">
                <a16:creationId xmlns:a16="http://schemas.microsoft.com/office/drawing/2014/main" id="{52EFA49A-5254-AD86-1692-AD2FEDB27285}"/>
              </a:ext>
            </a:extLst>
          </p:cNvPr>
          <p:cNvSpPr>
            <a:spLocks noGrp="1"/>
          </p:cNvSpPr>
          <p:nvPr>
            <p:ph type="body" sz="quarter" idx="10" hasCustomPrompt="1"/>
          </p:nvPr>
        </p:nvSpPr>
        <p:spPr>
          <a:xfrm>
            <a:off x="9398000" y="3"/>
            <a:ext cx="2794000" cy="2843133"/>
          </a:xfrm>
          <a:custGeom>
            <a:avLst/>
            <a:gdLst>
              <a:gd name="connsiteX0" fmla="*/ 974239 w 2553320"/>
              <a:gd name="connsiteY0" fmla="*/ 0 h 2598221"/>
              <a:gd name="connsiteX1" fmla="*/ 2553320 w 2553320"/>
              <a:gd name="connsiteY1" fmla="*/ 0 h 2598221"/>
              <a:gd name="connsiteX2" fmla="*/ 2553320 w 2553320"/>
              <a:gd name="connsiteY2" fmla="*/ 1668884 h 2598221"/>
              <a:gd name="connsiteX3" fmla="*/ 1960321 w 2553320"/>
              <a:gd name="connsiteY3" fmla="*/ 2261883 h 2598221"/>
              <a:gd name="connsiteX4" fmla="*/ 336338 w 2553320"/>
              <a:gd name="connsiteY4" fmla="*/ 2261883 h 2598221"/>
              <a:gd name="connsiteX5" fmla="*/ 336338 w 2553320"/>
              <a:gd name="connsiteY5" fmla="*/ 637901 h 259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3320" h="2598221">
                <a:moveTo>
                  <a:pt x="974239" y="0"/>
                </a:moveTo>
                <a:lnTo>
                  <a:pt x="2553320" y="0"/>
                </a:lnTo>
                <a:lnTo>
                  <a:pt x="2553320" y="1668884"/>
                </a:lnTo>
                <a:lnTo>
                  <a:pt x="1960321" y="2261883"/>
                </a:lnTo>
                <a:cubicBezTo>
                  <a:pt x="1511870" y="2710334"/>
                  <a:pt x="784789" y="2710334"/>
                  <a:pt x="336338" y="2261883"/>
                </a:cubicBezTo>
                <a:cubicBezTo>
                  <a:pt x="-112112" y="1813433"/>
                  <a:pt x="-112112" y="1086352"/>
                  <a:pt x="336338" y="637901"/>
                </a:cubicBezTo>
                <a:close/>
              </a:path>
            </a:pathLst>
          </a:custGeom>
          <a:gradFill>
            <a:gsLst>
              <a:gs pos="20000">
                <a:schemeClr val="bg1"/>
              </a:gs>
              <a:gs pos="100000">
                <a:srgbClr val="D22E67"/>
              </a:gs>
            </a:gsLst>
            <a:lin ang="7200000" scaled="0"/>
          </a:gradFill>
        </p:spPr>
        <p:txBody>
          <a:bodyPr wrap="square" anchor="ctr">
            <a:noAutofit/>
          </a:bodyPr>
          <a:lstStyle>
            <a:lvl1pPr algn="ctr">
              <a:defRPr sz="8000">
                <a:solidFill>
                  <a:schemeClr val="tx1"/>
                </a:solidFill>
                <a:latin typeface="Proximus Light" panose="020B0604020202020204" charset="0"/>
              </a:defRPr>
            </a:lvl1pPr>
          </a:lstStyle>
          <a:p>
            <a:pPr lvl="0"/>
            <a:r>
              <a:rPr lang="en-US"/>
              <a:t>xx</a:t>
            </a:r>
          </a:p>
        </p:txBody>
      </p:sp>
    </p:spTree>
    <p:extLst>
      <p:ext uri="{BB962C8B-B14F-4D97-AF65-F5344CB8AC3E}">
        <p14:creationId xmlns:p14="http://schemas.microsoft.com/office/powerpoint/2010/main" val="163933495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ontent slide - white bg - bullet menu">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b="1"/>
            </a:lvl1pPr>
          </a:lstStyle>
          <a:p>
            <a:r>
              <a:rPr lang="en-US"/>
              <a:t>Click to edit slide title</a:t>
            </a:r>
            <a:endParaRPr lang="nl-BE"/>
          </a:p>
        </p:txBody>
      </p:sp>
      <p:sp>
        <p:nvSpPr>
          <p:cNvPr id="11" name="Text Placeholder 2">
            <a:extLst>
              <a:ext uri="{FF2B5EF4-FFF2-40B4-BE49-F238E27FC236}">
                <a16:creationId xmlns:a16="http://schemas.microsoft.com/office/drawing/2014/main" id="{10193D06-FB5B-42EC-9101-F77EE2C16642}"/>
              </a:ext>
            </a:extLst>
          </p:cNvPr>
          <p:cNvSpPr>
            <a:spLocks noGrp="1"/>
          </p:cNvSpPr>
          <p:nvPr>
            <p:ph idx="1"/>
          </p:nvPr>
        </p:nvSpPr>
        <p:spPr>
          <a:xfrm>
            <a:off x="613835" y="1382400"/>
            <a:ext cx="10962216" cy="4690317"/>
          </a:xfrm>
          <a:prstGeom prst="rect">
            <a:avLst/>
          </a:prstGeom>
        </p:spPr>
        <p:txBody>
          <a:bodyPr vert="horz" lIns="0" tIns="0" rIns="0" bIns="0" numCol="1" spcCol="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3" name="Footer Placeholder 4">
            <a:extLst>
              <a:ext uri="{FF2B5EF4-FFF2-40B4-BE49-F238E27FC236}">
                <a16:creationId xmlns:a16="http://schemas.microsoft.com/office/drawing/2014/main" id="{67984A26-FA62-D686-028D-FBD107332B5C}"/>
              </a:ext>
            </a:extLst>
          </p:cNvPr>
          <p:cNvSpPr>
            <a:spLocks noGrp="1"/>
          </p:cNvSpPr>
          <p:nvPr>
            <p:ph type="ftr" sz="quarter" idx="3"/>
          </p:nvPr>
        </p:nvSpPr>
        <p:spPr>
          <a:xfrm>
            <a:off x="624000" y="6672000"/>
            <a:ext cx="480000" cy="96000"/>
          </a:xfrm>
          <a:prstGeom prst="rect">
            <a:avLst/>
          </a:prstGeom>
        </p:spPr>
        <p:txBody>
          <a:bodyPr vert="horz" lIns="0" tIns="0" rIns="0" bIns="0" rtlCol="0" anchor="b" anchorCtr="0"/>
          <a:lstStyle>
            <a:lvl1pPr algn="l">
              <a:defRPr sz="800">
                <a:solidFill>
                  <a:schemeClr val="bg1"/>
                </a:solidFill>
                <a:latin typeface="Proximus" panose="00000500000000000000" pitchFamily="2" charset="0"/>
              </a:defRPr>
            </a:lvl1pPr>
          </a:lstStyle>
          <a:p>
            <a:r>
              <a:rPr lang="nl-BE" err="1"/>
              <a:t>Proximus</a:t>
            </a:r>
            <a:endParaRPr lang="nl-BE"/>
          </a:p>
        </p:txBody>
      </p:sp>
      <p:sp>
        <p:nvSpPr>
          <p:cNvPr id="4" name="Slide Number Placeholder 9">
            <a:extLst>
              <a:ext uri="{FF2B5EF4-FFF2-40B4-BE49-F238E27FC236}">
                <a16:creationId xmlns:a16="http://schemas.microsoft.com/office/drawing/2014/main" id="{EB7DA06F-B17F-3B05-503B-FA71CB3E648E}"/>
              </a:ext>
            </a:extLst>
          </p:cNvPr>
          <p:cNvSpPr>
            <a:spLocks noGrp="1"/>
          </p:cNvSpPr>
          <p:nvPr>
            <p:ph type="sldNum" sz="quarter" idx="4"/>
          </p:nvPr>
        </p:nvSpPr>
        <p:spPr>
          <a:xfrm>
            <a:off x="10944002" y="6672000"/>
            <a:ext cx="624417" cy="96000"/>
          </a:xfrm>
          <a:prstGeom prst="rect">
            <a:avLst/>
          </a:prstGeom>
        </p:spPr>
        <p:txBody>
          <a:bodyPr lIns="0" tIns="0" rIns="0" bIns="0" anchor="b"/>
          <a:lstStyle>
            <a:lvl1pPr algn="r">
              <a:defRPr sz="800">
                <a:solidFill>
                  <a:schemeClr val="bg1"/>
                </a:solidFill>
                <a:latin typeface="Proximus" panose="00000500000000000000" pitchFamily="2" charset="0"/>
              </a:defRPr>
            </a:lvl1pPr>
          </a:lstStyle>
          <a:p>
            <a:fld id="{AF458780-3DEA-4093-8A6E-7C0E406A36AD}" type="slidenum">
              <a:rPr lang="nl-BE" smtClean="0"/>
              <a:pPr/>
              <a:t>‹#›</a:t>
            </a:fld>
            <a:endParaRPr lang="nl-BE"/>
          </a:p>
        </p:txBody>
      </p:sp>
    </p:spTree>
    <p:extLst>
      <p:ext uri="{BB962C8B-B14F-4D97-AF65-F5344CB8AC3E}">
        <p14:creationId xmlns:p14="http://schemas.microsoft.com/office/powerpoint/2010/main" val="25881044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ntent slide - white bg - Subtitle - bullet men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3838" y="503770"/>
            <a:ext cx="10962217" cy="533399"/>
          </a:xfrm>
        </p:spPr>
        <p:txBody>
          <a:bodyPr anchor="t"/>
          <a:lstStyle>
            <a:lvl1pPr>
              <a:defRPr b="1"/>
            </a:lvl1pPr>
          </a:lstStyle>
          <a:p>
            <a:r>
              <a:rPr lang="en-US"/>
              <a:t>Click to edit slide title</a:t>
            </a:r>
            <a:endParaRPr lang="nl-BE"/>
          </a:p>
        </p:txBody>
      </p:sp>
      <p:sp>
        <p:nvSpPr>
          <p:cNvPr id="11" name="Text Placeholder 2">
            <a:extLst>
              <a:ext uri="{FF2B5EF4-FFF2-40B4-BE49-F238E27FC236}">
                <a16:creationId xmlns:a16="http://schemas.microsoft.com/office/drawing/2014/main" id="{10193D06-FB5B-42EC-9101-F77EE2C16642}"/>
              </a:ext>
            </a:extLst>
          </p:cNvPr>
          <p:cNvSpPr>
            <a:spLocks noGrp="1"/>
          </p:cNvSpPr>
          <p:nvPr>
            <p:ph idx="1" hasCustomPrompt="1"/>
          </p:nvPr>
        </p:nvSpPr>
        <p:spPr>
          <a:xfrm>
            <a:off x="624417" y="1801628"/>
            <a:ext cx="10962216" cy="4644229"/>
          </a:xfrm>
          <a:prstGeom prst="rect">
            <a:avLst/>
          </a:prstGeom>
        </p:spPr>
        <p:txBody>
          <a:bodyPr vert="horz" lIns="0" tIns="0" rIns="0" bIns="0" numCol="1" spcCol="0" rtlCol="0" anchor="t" anchorCtr="0">
            <a:noAutofit/>
          </a:bodyPr>
          <a:lstStyle>
            <a:lvl1pPr>
              <a:spcBef>
                <a:spcPts val="1600"/>
              </a:spcBef>
              <a:defRPr/>
            </a:lvl1pPr>
            <a:lvl2pPr marL="235189" indent="-235189">
              <a:spcBef>
                <a:spcPts val="800"/>
              </a:spcBef>
              <a:defRPr/>
            </a:lvl2pPr>
            <a:lvl3pPr>
              <a:spcBef>
                <a:spcPts val="800"/>
              </a:spcBef>
              <a:defRPr/>
            </a:lvl3pPr>
            <a:lvl4pPr>
              <a:spcBef>
                <a:spcPts val="800"/>
              </a:spcBef>
              <a:defRPr/>
            </a:lvl4pPr>
            <a:lvl5pPr>
              <a:spcBef>
                <a:spcPts val="32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6" name="Text Placeholder 5">
            <a:extLst>
              <a:ext uri="{FF2B5EF4-FFF2-40B4-BE49-F238E27FC236}">
                <a16:creationId xmlns:a16="http://schemas.microsoft.com/office/drawing/2014/main" id="{3CFA2924-4BFC-CB4A-33EA-AFA2F3E1085E}"/>
              </a:ext>
            </a:extLst>
          </p:cNvPr>
          <p:cNvSpPr>
            <a:spLocks noGrp="1"/>
          </p:cNvSpPr>
          <p:nvPr>
            <p:ph type="body" sz="quarter" idx="12"/>
          </p:nvPr>
        </p:nvSpPr>
        <p:spPr>
          <a:xfrm>
            <a:off x="624417" y="1138502"/>
            <a:ext cx="10962216" cy="393967"/>
          </a:xfrm>
        </p:spPr>
        <p:txBody>
          <a:bodyPr/>
          <a:lstStyle>
            <a:lvl1pPr>
              <a:defRPr sz="2133">
                <a:solidFill>
                  <a:schemeClr val="bg1"/>
                </a:solidFill>
                <a:latin typeface="Proximus Light" panose="020B0604020202020204" charset="0"/>
              </a:defRPr>
            </a:lvl1pPr>
          </a:lstStyle>
          <a:p>
            <a:pPr lvl="0"/>
            <a:r>
              <a:rPr lang="en-US"/>
              <a:t>Click to edit Master text styles</a:t>
            </a:r>
          </a:p>
        </p:txBody>
      </p:sp>
      <p:sp>
        <p:nvSpPr>
          <p:cNvPr id="3" name="Footer Placeholder 4">
            <a:extLst>
              <a:ext uri="{FF2B5EF4-FFF2-40B4-BE49-F238E27FC236}">
                <a16:creationId xmlns:a16="http://schemas.microsoft.com/office/drawing/2014/main" id="{2AC1035D-DD0E-FE24-7347-D74271E24CC1}"/>
              </a:ext>
            </a:extLst>
          </p:cNvPr>
          <p:cNvSpPr>
            <a:spLocks noGrp="1"/>
          </p:cNvSpPr>
          <p:nvPr>
            <p:ph type="ftr" sz="quarter" idx="3"/>
          </p:nvPr>
        </p:nvSpPr>
        <p:spPr>
          <a:xfrm>
            <a:off x="624000" y="6672000"/>
            <a:ext cx="480000" cy="96000"/>
          </a:xfrm>
          <a:prstGeom prst="rect">
            <a:avLst/>
          </a:prstGeom>
        </p:spPr>
        <p:txBody>
          <a:bodyPr vert="horz" lIns="0" tIns="0" rIns="0" bIns="0" rtlCol="0" anchor="b" anchorCtr="0"/>
          <a:lstStyle>
            <a:lvl1pPr algn="l">
              <a:defRPr sz="800">
                <a:solidFill>
                  <a:schemeClr val="bg1"/>
                </a:solidFill>
                <a:latin typeface="Proximus" panose="00000500000000000000" pitchFamily="2" charset="0"/>
              </a:defRPr>
            </a:lvl1pPr>
          </a:lstStyle>
          <a:p>
            <a:r>
              <a:rPr lang="nl-BE"/>
              <a:t>Proximus</a:t>
            </a:r>
          </a:p>
        </p:txBody>
      </p:sp>
      <p:sp>
        <p:nvSpPr>
          <p:cNvPr id="4" name="Slide Number Placeholder 9">
            <a:extLst>
              <a:ext uri="{FF2B5EF4-FFF2-40B4-BE49-F238E27FC236}">
                <a16:creationId xmlns:a16="http://schemas.microsoft.com/office/drawing/2014/main" id="{313EE45D-145C-5CE4-4AA9-3635E3BA8535}"/>
              </a:ext>
            </a:extLst>
          </p:cNvPr>
          <p:cNvSpPr>
            <a:spLocks noGrp="1"/>
          </p:cNvSpPr>
          <p:nvPr>
            <p:ph type="sldNum" sz="quarter" idx="4"/>
          </p:nvPr>
        </p:nvSpPr>
        <p:spPr>
          <a:xfrm>
            <a:off x="10944002" y="6672000"/>
            <a:ext cx="624417" cy="96000"/>
          </a:xfrm>
          <a:prstGeom prst="rect">
            <a:avLst/>
          </a:prstGeom>
        </p:spPr>
        <p:txBody>
          <a:bodyPr lIns="0" tIns="0" rIns="0" bIns="0" anchor="b"/>
          <a:lstStyle>
            <a:lvl1pPr algn="r">
              <a:defRPr sz="800">
                <a:solidFill>
                  <a:schemeClr val="bg1"/>
                </a:solidFill>
                <a:latin typeface="Proximus" panose="00000500000000000000" pitchFamily="2" charset="0"/>
              </a:defRPr>
            </a:lvl1pPr>
          </a:lstStyle>
          <a:p>
            <a:fld id="{AF458780-3DEA-4093-8A6E-7C0E406A36AD}" type="slidenum">
              <a:rPr lang="nl-BE" smtClean="0"/>
              <a:pPr/>
              <a:t>‹#›</a:t>
            </a:fld>
            <a:endParaRPr lang="nl-BE"/>
          </a:p>
        </p:txBody>
      </p:sp>
    </p:spTree>
    <p:extLst>
      <p:ext uri="{BB962C8B-B14F-4D97-AF65-F5344CB8AC3E}">
        <p14:creationId xmlns:p14="http://schemas.microsoft.com/office/powerpoint/2010/main" val="212471914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ntent slide - white bg -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b="1"/>
            </a:lvl1pPr>
          </a:lstStyle>
          <a:p>
            <a:r>
              <a:rPr lang="en-US"/>
              <a:t>Click to edit slide title</a:t>
            </a:r>
            <a:endParaRPr lang="nl-BE"/>
          </a:p>
        </p:txBody>
      </p:sp>
      <p:sp>
        <p:nvSpPr>
          <p:cNvPr id="3" name="Footer Placeholder 4">
            <a:extLst>
              <a:ext uri="{FF2B5EF4-FFF2-40B4-BE49-F238E27FC236}">
                <a16:creationId xmlns:a16="http://schemas.microsoft.com/office/drawing/2014/main" id="{D770D896-AE4B-EFD9-A62D-A1215437B35D}"/>
              </a:ext>
            </a:extLst>
          </p:cNvPr>
          <p:cNvSpPr>
            <a:spLocks noGrp="1"/>
          </p:cNvSpPr>
          <p:nvPr>
            <p:ph type="ftr" sz="quarter" idx="3"/>
          </p:nvPr>
        </p:nvSpPr>
        <p:spPr>
          <a:xfrm>
            <a:off x="624000" y="6672000"/>
            <a:ext cx="480000" cy="96000"/>
          </a:xfrm>
          <a:prstGeom prst="rect">
            <a:avLst/>
          </a:prstGeom>
        </p:spPr>
        <p:txBody>
          <a:bodyPr vert="horz" lIns="0" tIns="0" rIns="0" bIns="0" rtlCol="0" anchor="b" anchorCtr="0"/>
          <a:lstStyle>
            <a:lvl1pPr algn="l">
              <a:defRPr sz="800">
                <a:solidFill>
                  <a:schemeClr val="bg1"/>
                </a:solidFill>
                <a:latin typeface="Proximus" panose="00000500000000000000" pitchFamily="2" charset="0"/>
              </a:defRPr>
            </a:lvl1pPr>
          </a:lstStyle>
          <a:p>
            <a:r>
              <a:rPr lang="nl-BE"/>
              <a:t>Proximus</a:t>
            </a:r>
          </a:p>
        </p:txBody>
      </p:sp>
      <p:sp>
        <p:nvSpPr>
          <p:cNvPr id="4" name="Slide Number Placeholder 9">
            <a:extLst>
              <a:ext uri="{FF2B5EF4-FFF2-40B4-BE49-F238E27FC236}">
                <a16:creationId xmlns:a16="http://schemas.microsoft.com/office/drawing/2014/main" id="{5117FE9E-CD45-4F86-8B75-7AEA3709954B}"/>
              </a:ext>
            </a:extLst>
          </p:cNvPr>
          <p:cNvSpPr>
            <a:spLocks noGrp="1"/>
          </p:cNvSpPr>
          <p:nvPr>
            <p:ph type="sldNum" sz="quarter" idx="4"/>
          </p:nvPr>
        </p:nvSpPr>
        <p:spPr>
          <a:xfrm>
            <a:off x="10944002" y="6672000"/>
            <a:ext cx="624417" cy="96000"/>
          </a:xfrm>
          <a:prstGeom prst="rect">
            <a:avLst/>
          </a:prstGeom>
        </p:spPr>
        <p:txBody>
          <a:bodyPr lIns="0" tIns="0" rIns="0" bIns="0" anchor="b"/>
          <a:lstStyle>
            <a:lvl1pPr algn="r">
              <a:defRPr sz="800">
                <a:solidFill>
                  <a:schemeClr val="bg1"/>
                </a:solidFill>
                <a:latin typeface="Proximus" panose="00000500000000000000" pitchFamily="2" charset="0"/>
              </a:defRPr>
            </a:lvl1pPr>
          </a:lstStyle>
          <a:p>
            <a:fld id="{AF458780-3DEA-4093-8A6E-7C0E406A36AD}" type="slidenum">
              <a:rPr lang="nl-BE" smtClean="0"/>
              <a:pPr/>
              <a:t>‹#›</a:t>
            </a:fld>
            <a:endParaRPr lang="nl-BE"/>
          </a:p>
        </p:txBody>
      </p:sp>
    </p:spTree>
    <p:extLst>
      <p:ext uri="{BB962C8B-B14F-4D97-AF65-F5344CB8AC3E}">
        <p14:creationId xmlns:p14="http://schemas.microsoft.com/office/powerpoint/2010/main" val="151862440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ntent slide - white bg - 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3838" y="503770"/>
            <a:ext cx="10962217" cy="533399"/>
          </a:xfrm>
        </p:spPr>
        <p:txBody>
          <a:bodyPr anchor="t"/>
          <a:lstStyle>
            <a:lvl1pPr>
              <a:defRPr b="1"/>
            </a:lvl1pPr>
          </a:lstStyle>
          <a:p>
            <a:r>
              <a:rPr lang="en-US"/>
              <a:t>Click to edit slide title</a:t>
            </a:r>
            <a:endParaRPr lang="nl-BE"/>
          </a:p>
        </p:txBody>
      </p:sp>
      <p:sp>
        <p:nvSpPr>
          <p:cNvPr id="6" name="Text Placeholder 5">
            <a:extLst>
              <a:ext uri="{FF2B5EF4-FFF2-40B4-BE49-F238E27FC236}">
                <a16:creationId xmlns:a16="http://schemas.microsoft.com/office/drawing/2014/main" id="{3CFA2924-4BFC-CB4A-33EA-AFA2F3E1085E}"/>
              </a:ext>
            </a:extLst>
          </p:cNvPr>
          <p:cNvSpPr>
            <a:spLocks noGrp="1"/>
          </p:cNvSpPr>
          <p:nvPr>
            <p:ph type="body" sz="quarter" idx="12"/>
          </p:nvPr>
        </p:nvSpPr>
        <p:spPr>
          <a:xfrm>
            <a:off x="624417" y="1138502"/>
            <a:ext cx="10962216" cy="393967"/>
          </a:xfrm>
        </p:spPr>
        <p:txBody>
          <a:bodyPr/>
          <a:lstStyle>
            <a:lvl1pPr>
              <a:defRPr sz="2133">
                <a:solidFill>
                  <a:schemeClr val="bg1"/>
                </a:solidFill>
                <a:latin typeface="Proximus Light" panose="020B0604020202020204" charset="0"/>
              </a:defRPr>
            </a:lvl1pPr>
          </a:lstStyle>
          <a:p>
            <a:pPr lvl="0"/>
            <a:r>
              <a:rPr lang="en-US"/>
              <a:t>Click to edit Master text styles</a:t>
            </a:r>
          </a:p>
        </p:txBody>
      </p:sp>
      <p:sp>
        <p:nvSpPr>
          <p:cNvPr id="3" name="Footer Placeholder 4">
            <a:extLst>
              <a:ext uri="{FF2B5EF4-FFF2-40B4-BE49-F238E27FC236}">
                <a16:creationId xmlns:a16="http://schemas.microsoft.com/office/drawing/2014/main" id="{CA167155-439D-BBC2-602B-081BDF1B768E}"/>
              </a:ext>
            </a:extLst>
          </p:cNvPr>
          <p:cNvSpPr>
            <a:spLocks noGrp="1"/>
          </p:cNvSpPr>
          <p:nvPr>
            <p:ph type="ftr" sz="quarter" idx="3"/>
          </p:nvPr>
        </p:nvSpPr>
        <p:spPr>
          <a:xfrm>
            <a:off x="624000" y="6672000"/>
            <a:ext cx="480000" cy="96000"/>
          </a:xfrm>
          <a:prstGeom prst="rect">
            <a:avLst/>
          </a:prstGeom>
        </p:spPr>
        <p:txBody>
          <a:bodyPr vert="horz" lIns="0" tIns="0" rIns="0" bIns="0" rtlCol="0" anchor="b" anchorCtr="0"/>
          <a:lstStyle>
            <a:lvl1pPr algn="l">
              <a:defRPr sz="800">
                <a:solidFill>
                  <a:schemeClr val="bg1"/>
                </a:solidFill>
                <a:latin typeface="Proximus" panose="00000500000000000000" pitchFamily="2" charset="0"/>
              </a:defRPr>
            </a:lvl1pPr>
          </a:lstStyle>
          <a:p>
            <a:r>
              <a:rPr lang="nl-BE"/>
              <a:t>Proximus</a:t>
            </a:r>
          </a:p>
        </p:txBody>
      </p:sp>
      <p:sp>
        <p:nvSpPr>
          <p:cNvPr id="4" name="Slide Number Placeholder 9">
            <a:extLst>
              <a:ext uri="{FF2B5EF4-FFF2-40B4-BE49-F238E27FC236}">
                <a16:creationId xmlns:a16="http://schemas.microsoft.com/office/drawing/2014/main" id="{16EC0758-1172-DA56-4F1D-B926E878628B}"/>
              </a:ext>
            </a:extLst>
          </p:cNvPr>
          <p:cNvSpPr>
            <a:spLocks noGrp="1"/>
          </p:cNvSpPr>
          <p:nvPr>
            <p:ph type="sldNum" sz="quarter" idx="4"/>
          </p:nvPr>
        </p:nvSpPr>
        <p:spPr>
          <a:xfrm>
            <a:off x="10944002" y="6672000"/>
            <a:ext cx="624417" cy="96000"/>
          </a:xfrm>
          <a:prstGeom prst="rect">
            <a:avLst/>
          </a:prstGeom>
        </p:spPr>
        <p:txBody>
          <a:bodyPr lIns="0" tIns="0" rIns="0" bIns="0" anchor="b"/>
          <a:lstStyle>
            <a:lvl1pPr algn="r">
              <a:defRPr sz="800">
                <a:solidFill>
                  <a:schemeClr val="bg1"/>
                </a:solidFill>
                <a:latin typeface="Proximus" panose="00000500000000000000" pitchFamily="2" charset="0"/>
              </a:defRPr>
            </a:lvl1pPr>
          </a:lstStyle>
          <a:p>
            <a:fld id="{AF458780-3DEA-4093-8A6E-7C0E406A36AD}" type="slidenum">
              <a:rPr lang="nl-BE" smtClean="0"/>
              <a:pPr/>
              <a:t>‹#›</a:t>
            </a:fld>
            <a:endParaRPr lang="nl-BE"/>
          </a:p>
        </p:txBody>
      </p:sp>
    </p:spTree>
    <p:extLst>
      <p:ext uri="{BB962C8B-B14F-4D97-AF65-F5344CB8AC3E}">
        <p14:creationId xmlns:p14="http://schemas.microsoft.com/office/powerpoint/2010/main" val="3153545479"/>
      </p:ext>
    </p:extLst>
  </p:cSld>
  <p:clrMapOvr>
    <a:masterClrMapping/>
  </p:clrMapOvr>
  <p:extLst>
    <p:ext uri="{DCECCB84-F9BA-43D5-87BE-67443E8EF086}">
      <p15:sldGuideLst xmlns:p15="http://schemas.microsoft.com/office/powerpoint/2012/main">
        <p15:guide id="1" orient="horz" pos="962">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ntent slide - colour bg - bullet menu">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b="1">
                <a:solidFill>
                  <a:schemeClr val="tx1"/>
                </a:solidFill>
              </a:defRPr>
            </a:lvl1pPr>
          </a:lstStyle>
          <a:p>
            <a:r>
              <a:rPr lang="en-US"/>
              <a:t>Click to edit slide title</a:t>
            </a:r>
            <a:endParaRPr lang="nl-BE"/>
          </a:p>
        </p:txBody>
      </p:sp>
      <p:sp>
        <p:nvSpPr>
          <p:cNvPr id="6" name="Text Placeholder 5">
            <a:extLst>
              <a:ext uri="{FF2B5EF4-FFF2-40B4-BE49-F238E27FC236}">
                <a16:creationId xmlns:a16="http://schemas.microsoft.com/office/drawing/2014/main" id="{D62362CE-1A7B-CA66-FD9A-16C348131664}"/>
              </a:ext>
            </a:extLst>
          </p:cNvPr>
          <p:cNvSpPr>
            <a:spLocks noGrp="1"/>
          </p:cNvSpPr>
          <p:nvPr>
            <p:ph type="body" sz="quarter" idx="10"/>
          </p:nvPr>
        </p:nvSpPr>
        <p:spPr>
          <a:xfrm>
            <a:off x="613835" y="1384302"/>
            <a:ext cx="10964333" cy="4688417"/>
          </a:xfrm>
        </p:spPr>
        <p:txBody>
          <a:bodyPr/>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380012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ntent slide - colour bg - Subtitle - bullet menu">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3838" y="503770"/>
            <a:ext cx="10962217" cy="533399"/>
          </a:xfrm>
        </p:spPr>
        <p:txBody>
          <a:bodyPr anchor="t"/>
          <a:lstStyle>
            <a:lvl1pPr>
              <a:defRPr b="1">
                <a:solidFill>
                  <a:schemeClr val="tx1"/>
                </a:solidFill>
              </a:defRPr>
            </a:lvl1pPr>
          </a:lstStyle>
          <a:p>
            <a:r>
              <a:rPr lang="en-US"/>
              <a:t>Click to edit slide title</a:t>
            </a:r>
            <a:endParaRPr lang="nl-BE"/>
          </a:p>
        </p:txBody>
      </p:sp>
      <p:sp>
        <p:nvSpPr>
          <p:cNvPr id="6" name="Text Placeholder 5">
            <a:extLst>
              <a:ext uri="{FF2B5EF4-FFF2-40B4-BE49-F238E27FC236}">
                <a16:creationId xmlns:a16="http://schemas.microsoft.com/office/drawing/2014/main" id="{3CFA2924-4BFC-CB4A-33EA-AFA2F3E1085E}"/>
              </a:ext>
            </a:extLst>
          </p:cNvPr>
          <p:cNvSpPr>
            <a:spLocks noGrp="1"/>
          </p:cNvSpPr>
          <p:nvPr>
            <p:ph type="body" sz="quarter" idx="12"/>
          </p:nvPr>
        </p:nvSpPr>
        <p:spPr>
          <a:xfrm>
            <a:off x="624417" y="1138502"/>
            <a:ext cx="10962216" cy="393967"/>
          </a:xfrm>
        </p:spPr>
        <p:txBody>
          <a:bodyPr/>
          <a:lstStyle>
            <a:lvl1pPr>
              <a:defRPr sz="2133">
                <a:solidFill>
                  <a:schemeClr val="tx1"/>
                </a:solidFill>
                <a:latin typeface="Proximus Light" panose="020B0604020202020204" charset="0"/>
              </a:defRPr>
            </a:lvl1pPr>
          </a:lstStyle>
          <a:p>
            <a:pPr lvl="0"/>
            <a:r>
              <a:rPr lang="en-US"/>
              <a:t>Click to edit Master text styles</a:t>
            </a:r>
          </a:p>
        </p:txBody>
      </p:sp>
      <p:sp>
        <p:nvSpPr>
          <p:cNvPr id="3" name="Text Placeholder 2">
            <a:extLst>
              <a:ext uri="{FF2B5EF4-FFF2-40B4-BE49-F238E27FC236}">
                <a16:creationId xmlns:a16="http://schemas.microsoft.com/office/drawing/2014/main" id="{BA56E9AC-E3FD-B3FD-6B19-4FD87C1EAE48}"/>
              </a:ext>
            </a:extLst>
          </p:cNvPr>
          <p:cNvSpPr>
            <a:spLocks noGrp="1"/>
          </p:cNvSpPr>
          <p:nvPr>
            <p:ph idx="1" hasCustomPrompt="1"/>
          </p:nvPr>
        </p:nvSpPr>
        <p:spPr>
          <a:xfrm>
            <a:off x="613835" y="2057400"/>
            <a:ext cx="10962216" cy="4015317"/>
          </a:xfrm>
          <a:prstGeom prst="rect">
            <a:avLst/>
          </a:prstGeom>
        </p:spPr>
        <p:txBody>
          <a:bodyPr vert="horz" lIns="0" tIns="0" rIns="0" bIns="0" numCol="1" spcCol="0" rtlCol="0" anchor="t" anchorCtr="0">
            <a:noAutofit/>
          </a:bodyPr>
          <a:lstStyle>
            <a:lvl1pPr>
              <a:defRPr>
                <a:solidFill>
                  <a:schemeClr val="tx1"/>
                </a:solidFill>
              </a:defRPr>
            </a:lvl1pPr>
            <a:lvl2pPr marL="235189" indent="-235189">
              <a:spcBef>
                <a:spcPts val="800"/>
              </a:spcBef>
              <a:buClr>
                <a:schemeClr val="tx1"/>
              </a:buClr>
              <a:defRPr>
                <a:solidFill>
                  <a:schemeClr val="tx1"/>
                </a:solidFill>
              </a:defRPr>
            </a:lvl2pPr>
            <a:lvl3pPr>
              <a:spcBef>
                <a:spcPts val="800"/>
              </a:spcBef>
              <a:buClr>
                <a:schemeClr val="tx1"/>
              </a:buClr>
              <a:defRPr>
                <a:solidFill>
                  <a:schemeClr val="tx1"/>
                </a:solidFill>
              </a:defRPr>
            </a:lvl3pPr>
            <a:lvl4pPr>
              <a:spcBef>
                <a:spcPts val="800"/>
              </a:spcBef>
              <a:buClr>
                <a:schemeClr val="tx1"/>
              </a:buClr>
              <a:defRPr>
                <a:solidFill>
                  <a:schemeClr val="tx1"/>
                </a:solidFill>
              </a:defRPr>
            </a:lvl4pPr>
            <a:lvl5pPr>
              <a:spcBef>
                <a:spcPts val="3200"/>
              </a:spcBef>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BE"/>
          </a:p>
        </p:txBody>
      </p:sp>
    </p:spTree>
    <p:extLst>
      <p:ext uri="{BB962C8B-B14F-4D97-AF65-F5344CB8AC3E}">
        <p14:creationId xmlns:p14="http://schemas.microsoft.com/office/powerpoint/2010/main" val="3180510295"/>
      </p:ext>
    </p:extLst>
  </p:cSld>
  <p:clrMapOvr>
    <a:masterClrMapping/>
  </p:clrMapOvr>
  <p:extLst>
    <p:ext uri="{DCECCB84-F9BA-43D5-87BE-67443E8EF086}">
      <p15:sldGuideLst xmlns:p15="http://schemas.microsoft.com/office/powerpoint/2012/main">
        <p15:guide id="1" orient="horz" pos="96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XS ADA - generic content - bg3">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DAD5D2E-70CE-F9FE-C6FA-765BF47E40E9}"/>
              </a:ext>
            </a:extLst>
          </p:cNvPr>
          <p:cNvGrpSpPr/>
          <p:nvPr userDrawn="1"/>
        </p:nvGrpSpPr>
        <p:grpSpPr>
          <a:xfrm>
            <a:off x="-1600" y="1"/>
            <a:ext cx="12193600" cy="6858225"/>
            <a:chOff x="-1200" y="0"/>
            <a:chExt cx="9145200" cy="5143669"/>
          </a:xfrm>
        </p:grpSpPr>
        <p:sp>
          <p:nvSpPr>
            <p:cNvPr id="4" name="Rectangle 3">
              <a:extLst>
                <a:ext uri="{FF2B5EF4-FFF2-40B4-BE49-F238E27FC236}">
                  <a16:creationId xmlns:a16="http://schemas.microsoft.com/office/drawing/2014/main" id="{C92D42EC-93A7-7F31-6D68-FBDBFCD335A1}"/>
                </a:ext>
              </a:extLst>
            </p:cNvPr>
            <p:cNvSpPr/>
            <p:nvPr userDrawn="1"/>
          </p:nvSpPr>
          <p:spPr>
            <a:xfrm>
              <a:off x="0" y="0"/>
              <a:ext cx="9144000" cy="504363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624517"/>
              <a:endParaRPr lang="en-US" sz="1867" err="1">
                <a:solidFill>
                  <a:schemeClr val="tx1"/>
                </a:solidFill>
                <a:latin typeface="Proximus" panose="00000500000000000000" pitchFamily="2" charset="0"/>
                <a:cs typeface="Proximus"/>
              </a:endParaRPr>
            </a:p>
          </p:txBody>
        </p:sp>
        <p:grpSp>
          <p:nvGrpSpPr>
            <p:cNvPr id="5" name="Group 4">
              <a:extLst>
                <a:ext uri="{FF2B5EF4-FFF2-40B4-BE49-F238E27FC236}">
                  <a16:creationId xmlns:a16="http://schemas.microsoft.com/office/drawing/2014/main" id="{257C53BA-B4D6-7B8D-08AE-7E2B3AEB7C40}"/>
                </a:ext>
              </a:extLst>
            </p:cNvPr>
            <p:cNvGrpSpPr/>
            <p:nvPr userDrawn="1"/>
          </p:nvGrpSpPr>
          <p:grpSpPr>
            <a:xfrm>
              <a:off x="2388230" y="0"/>
              <a:ext cx="6755770" cy="5143500"/>
              <a:chOff x="2394583" y="0"/>
              <a:chExt cx="6755770" cy="5143500"/>
            </a:xfrm>
            <a:solidFill>
              <a:schemeClr val="bg1">
                <a:alpha val="20000"/>
              </a:schemeClr>
            </a:solidFill>
          </p:grpSpPr>
          <p:pic>
            <p:nvPicPr>
              <p:cNvPr id="7" name="Graphic 6">
                <a:extLst>
                  <a:ext uri="{FF2B5EF4-FFF2-40B4-BE49-F238E27FC236}">
                    <a16:creationId xmlns:a16="http://schemas.microsoft.com/office/drawing/2014/main" id="{36145DCC-8F49-7E92-431E-D173974E8E3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40699" r="46306"/>
              <a:stretch/>
            </p:blipFill>
            <p:spPr>
              <a:xfrm>
                <a:off x="6868313" y="0"/>
                <a:ext cx="2275687" cy="3490722"/>
              </a:xfrm>
              <a:prstGeom prst="rect">
                <a:avLst/>
              </a:prstGeom>
            </p:spPr>
          </p:pic>
          <p:pic>
            <p:nvPicPr>
              <p:cNvPr id="8" name="Graphic 7">
                <a:extLst>
                  <a:ext uri="{FF2B5EF4-FFF2-40B4-BE49-F238E27FC236}">
                    <a16:creationId xmlns:a16="http://schemas.microsoft.com/office/drawing/2014/main" id="{4F13B53F-3731-299C-C055-BB033536301E}"/>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t="12793"/>
              <a:stretch/>
            </p:blipFill>
            <p:spPr>
              <a:xfrm>
                <a:off x="2394583" y="0"/>
                <a:ext cx="4473730" cy="3490722"/>
              </a:xfrm>
              <a:prstGeom prst="rect">
                <a:avLst/>
              </a:prstGeom>
            </p:spPr>
          </p:pic>
          <p:pic>
            <p:nvPicPr>
              <p:cNvPr id="9" name="Graphic 8">
                <a:extLst>
                  <a:ext uri="{FF2B5EF4-FFF2-40B4-BE49-F238E27FC236}">
                    <a16:creationId xmlns:a16="http://schemas.microsoft.com/office/drawing/2014/main" id="{7BF8295F-36E1-57FE-5A38-2FDD095959C2}"/>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r="39532" b="65156"/>
              <a:stretch/>
            </p:blipFill>
            <p:spPr>
              <a:xfrm>
                <a:off x="6445175" y="3748762"/>
                <a:ext cx="2705178" cy="1394738"/>
              </a:xfrm>
              <a:prstGeom prst="rect">
                <a:avLst/>
              </a:prstGeom>
            </p:spPr>
          </p:pic>
        </p:grpSp>
        <p:sp>
          <p:nvSpPr>
            <p:cNvPr id="6" name="Rectangle 5">
              <a:extLst>
                <a:ext uri="{FF2B5EF4-FFF2-40B4-BE49-F238E27FC236}">
                  <a16:creationId xmlns:a16="http://schemas.microsoft.com/office/drawing/2014/main" id="{665E79B3-8466-D929-26DC-ACB336E8FE31}"/>
                </a:ext>
              </a:extLst>
            </p:cNvPr>
            <p:cNvSpPr/>
            <p:nvPr userDrawn="1"/>
          </p:nvSpPr>
          <p:spPr>
            <a:xfrm>
              <a:off x="-1200" y="0"/>
              <a:ext cx="9145200" cy="5143669"/>
            </a:xfrm>
            <a:prstGeom prst="rect">
              <a:avLst/>
            </a:prstGeom>
            <a:gradFill>
              <a:gsLst>
                <a:gs pos="0">
                  <a:srgbClr val="5C2D91"/>
                </a:gs>
                <a:gs pos="60000">
                  <a:srgbClr val="5C2D91">
                    <a:alpha val="0"/>
                  </a:srgb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2400"/>
            </a:p>
          </p:txBody>
        </p:sp>
      </p:grpSp>
      <p:sp>
        <p:nvSpPr>
          <p:cNvPr id="2" name="Title 1"/>
          <p:cNvSpPr>
            <a:spLocks noGrp="1"/>
          </p:cNvSpPr>
          <p:nvPr>
            <p:ph type="title" hasCustomPrompt="1"/>
          </p:nvPr>
        </p:nvSpPr>
        <p:spPr/>
        <p:txBody>
          <a:bodyPr anchor="t"/>
          <a:lstStyle>
            <a:lvl1pPr>
              <a:defRPr b="0"/>
            </a:lvl1pPr>
          </a:lstStyle>
          <a:p>
            <a:r>
              <a:rPr lang="en-US"/>
              <a:t>Click to edit slide title</a:t>
            </a:r>
            <a:endParaRPr lang="nl-BE"/>
          </a:p>
        </p:txBody>
      </p:sp>
      <p:sp>
        <p:nvSpPr>
          <p:cNvPr id="11" name="Text Placeholder 2">
            <a:extLst>
              <a:ext uri="{FF2B5EF4-FFF2-40B4-BE49-F238E27FC236}">
                <a16:creationId xmlns:a16="http://schemas.microsoft.com/office/drawing/2014/main" id="{10193D06-FB5B-42EC-9101-F77EE2C16642}"/>
              </a:ext>
            </a:extLst>
          </p:cNvPr>
          <p:cNvSpPr>
            <a:spLocks noGrp="1"/>
          </p:cNvSpPr>
          <p:nvPr>
            <p:ph idx="1"/>
          </p:nvPr>
        </p:nvSpPr>
        <p:spPr>
          <a:xfrm>
            <a:off x="613835" y="1382399"/>
            <a:ext cx="10962216" cy="4878700"/>
          </a:xfrm>
          <a:prstGeom prst="rect">
            <a:avLst/>
          </a:prstGeom>
        </p:spPr>
        <p:txBody>
          <a:bodyPr vert="horz" lIns="0" tIns="0" rIns="0" bIns="0" numCol="1" spcCol="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BE"/>
          </a:p>
        </p:txBody>
      </p:sp>
    </p:spTree>
    <p:extLst>
      <p:ext uri="{BB962C8B-B14F-4D97-AF65-F5344CB8AC3E}">
        <p14:creationId xmlns:p14="http://schemas.microsoft.com/office/powerpoint/2010/main" val="74449374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ontent slide - colour bg - 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b="1">
                <a:solidFill>
                  <a:schemeClr val="tx1"/>
                </a:solidFill>
              </a:defRPr>
            </a:lvl1pPr>
          </a:lstStyle>
          <a:p>
            <a:r>
              <a:rPr lang="en-US"/>
              <a:t>Click to edit slide title</a:t>
            </a:r>
            <a:endParaRPr lang="nl-BE"/>
          </a:p>
        </p:txBody>
      </p:sp>
    </p:spTree>
    <p:extLst>
      <p:ext uri="{BB962C8B-B14F-4D97-AF65-F5344CB8AC3E}">
        <p14:creationId xmlns:p14="http://schemas.microsoft.com/office/powerpoint/2010/main" val="423484866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ntent slide - colour bg - Title and sub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3838" y="503770"/>
            <a:ext cx="10962217" cy="533399"/>
          </a:xfrm>
        </p:spPr>
        <p:txBody>
          <a:bodyPr anchor="t"/>
          <a:lstStyle>
            <a:lvl1pPr>
              <a:defRPr b="1">
                <a:solidFill>
                  <a:schemeClr val="tx1"/>
                </a:solidFill>
              </a:defRPr>
            </a:lvl1pPr>
          </a:lstStyle>
          <a:p>
            <a:r>
              <a:rPr lang="en-US"/>
              <a:t>Click to edit slide title</a:t>
            </a:r>
            <a:endParaRPr lang="nl-BE"/>
          </a:p>
        </p:txBody>
      </p:sp>
      <p:sp>
        <p:nvSpPr>
          <p:cNvPr id="6" name="Text Placeholder 5">
            <a:extLst>
              <a:ext uri="{FF2B5EF4-FFF2-40B4-BE49-F238E27FC236}">
                <a16:creationId xmlns:a16="http://schemas.microsoft.com/office/drawing/2014/main" id="{3CFA2924-4BFC-CB4A-33EA-AFA2F3E1085E}"/>
              </a:ext>
            </a:extLst>
          </p:cNvPr>
          <p:cNvSpPr>
            <a:spLocks noGrp="1"/>
          </p:cNvSpPr>
          <p:nvPr>
            <p:ph type="body" sz="quarter" idx="12"/>
          </p:nvPr>
        </p:nvSpPr>
        <p:spPr>
          <a:xfrm>
            <a:off x="624417" y="1138502"/>
            <a:ext cx="10962216" cy="393967"/>
          </a:xfrm>
        </p:spPr>
        <p:txBody>
          <a:bodyPr/>
          <a:lstStyle>
            <a:lvl1pPr>
              <a:defRPr sz="2133">
                <a:solidFill>
                  <a:schemeClr val="tx1"/>
                </a:solidFill>
                <a:latin typeface="Proximus Light" panose="020B0604020202020204" charset="0"/>
              </a:defRPr>
            </a:lvl1pPr>
          </a:lstStyle>
          <a:p>
            <a:pPr lvl="0"/>
            <a:r>
              <a:rPr lang="en-US"/>
              <a:t>Click to edit Master text styles</a:t>
            </a:r>
          </a:p>
        </p:txBody>
      </p:sp>
    </p:spTree>
    <p:extLst>
      <p:ext uri="{BB962C8B-B14F-4D97-AF65-F5344CB8AC3E}">
        <p14:creationId xmlns:p14="http://schemas.microsoft.com/office/powerpoint/2010/main" val="3518208637"/>
      </p:ext>
    </p:extLst>
  </p:cSld>
  <p:clrMapOvr>
    <a:masterClrMapping/>
  </p:clrMapOvr>
  <p:extLst>
    <p:ext uri="{DCECCB84-F9BA-43D5-87BE-67443E8EF086}">
      <p15:sldGuideLst xmlns:p15="http://schemas.microsoft.com/office/powerpoint/2012/main">
        <p15:guide id="1" orient="horz" pos="962">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Agenda">
    <p:bg>
      <p:bgPr>
        <a:gradFill>
          <a:gsLst>
            <a:gs pos="25000">
              <a:schemeClr val="bg1"/>
            </a:gs>
            <a:gs pos="100000">
              <a:srgbClr val="D12E67"/>
            </a:gs>
          </a:gsLst>
          <a:lin ang="30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3838" y="503768"/>
            <a:ext cx="2678004" cy="1223432"/>
          </a:xfrm>
        </p:spPr>
        <p:txBody>
          <a:bodyPr anchor="t"/>
          <a:lstStyle>
            <a:lvl1pPr>
              <a:defRPr b="1">
                <a:solidFill>
                  <a:schemeClr val="tx1"/>
                </a:solidFill>
              </a:defRPr>
            </a:lvl1pPr>
          </a:lstStyle>
          <a:p>
            <a:r>
              <a:rPr lang="en-US"/>
              <a:t>Click to edit slide title</a:t>
            </a:r>
            <a:endParaRPr lang="nl-BE"/>
          </a:p>
        </p:txBody>
      </p:sp>
      <p:sp>
        <p:nvSpPr>
          <p:cNvPr id="3" name="Freeform: Shape 2">
            <a:extLst>
              <a:ext uri="{FF2B5EF4-FFF2-40B4-BE49-F238E27FC236}">
                <a16:creationId xmlns:a16="http://schemas.microsoft.com/office/drawing/2014/main" id="{719802DA-9C6B-5019-6934-ED9FA37D31CC}"/>
              </a:ext>
            </a:extLst>
          </p:cNvPr>
          <p:cNvSpPr/>
          <p:nvPr userDrawn="1"/>
        </p:nvSpPr>
        <p:spPr>
          <a:xfrm>
            <a:off x="2246689" y="-11946"/>
            <a:ext cx="9945313" cy="6869948"/>
          </a:xfrm>
          <a:custGeom>
            <a:avLst/>
            <a:gdLst>
              <a:gd name="connsiteX0" fmla="*/ 2302546 w 9928016"/>
              <a:gd name="connsiteY0" fmla="*/ 0 h 6857999"/>
              <a:gd name="connsiteX1" fmla="*/ 9928016 w 9928016"/>
              <a:gd name="connsiteY1" fmla="*/ 0 h 6857999"/>
              <a:gd name="connsiteX2" fmla="*/ 9928016 w 9928016"/>
              <a:gd name="connsiteY2" fmla="*/ 6857999 h 6857999"/>
              <a:gd name="connsiteX3" fmla="*/ 0 w 9928016"/>
              <a:gd name="connsiteY3" fmla="*/ 6857999 h 6857999"/>
              <a:gd name="connsiteX4" fmla="*/ 1111071 w 9928016"/>
              <a:gd name="connsiteY4" fmla="*/ 2436517 h 6857999"/>
              <a:gd name="connsiteX5" fmla="*/ 2231554 w 9928016"/>
              <a:gd name="connsiteY5" fmla="*/ 89464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28016" h="6857999">
                <a:moveTo>
                  <a:pt x="2302546" y="0"/>
                </a:moveTo>
                <a:lnTo>
                  <a:pt x="9928016" y="0"/>
                </a:lnTo>
                <a:lnTo>
                  <a:pt x="9928016" y="6857999"/>
                </a:lnTo>
                <a:lnTo>
                  <a:pt x="0" y="6857999"/>
                </a:lnTo>
                <a:lnTo>
                  <a:pt x="1111071" y="2436517"/>
                </a:lnTo>
                <a:cubicBezTo>
                  <a:pt x="1331459" y="1559487"/>
                  <a:pt x="1719159" y="768637"/>
                  <a:pt x="2231554" y="89464"/>
                </a:cubicBezTo>
                <a:close/>
              </a:path>
            </a:pathLst>
          </a:cu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vert="horz" wrap="square" lIns="144000" tIns="144000" rIns="144000" bIns="144000" rtlCol="0" anchor="t" anchorCtr="0">
            <a:noAutofit/>
          </a:bodyPr>
          <a:lstStyle/>
          <a:p>
            <a:pPr marL="0" marR="0" lvl="0" indent="0" algn="ctr" defTabSz="1624477" rtl="0" eaLnBrk="1" fontAlgn="auto" latinLnBrk="0" hangingPunct="1">
              <a:lnSpc>
                <a:spcPct val="100000"/>
              </a:lnSpc>
              <a:spcBef>
                <a:spcPts val="0"/>
              </a:spcBef>
              <a:spcAft>
                <a:spcPts val="0"/>
              </a:spcAft>
              <a:buClrTx/>
              <a:buSzTx/>
              <a:buFontTx/>
              <a:buNone/>
              <a:tabLst/>
              <a:defRPr/>
            </a:pPr>
            <a:r>
              <a:rPr kumimoji="0" lang="en-BE" sz="1600" b="1" i="0" u="none" strike="noStrike" kern="1200" cap="none" spc="0" normalizeH="0" baseline="0" noProof="0">
                <a:ln>
                  <a:noFill/>
                </a:ln>
                <a:solidFill>
                  <a:srgbClr val="FFFFFF"/>
                </a:solidFill>
                <a:effectLst/>
                <a:uLnTx/>
                <a:uFillTx/>
                <a:latin typeface="Proximus" panose="00000500000000000000" pitchFamily="2" charset="0"/>
                <a:ea typeface="+mn-ea"/>
                <a:cs typeface="Proximus"/>
              </a:rPr>
              <a:t>  </a:t>
            </a:r>
            <a:endParaRPr kumimoji="0" lang="en-GB" sz="1600" b="1" i="0" u="none" strike="noStrike" kern="1200" cap="none" spc="0" normalizeH="0" baseline="0" noProof="0" err="1">
              <a:ln>
                <a:noFill/>
              </a:ln>
              <a:solidFill>
                <a:srgbClr val="FFFFFF"/>
              </a:solidFill>
              <a:effectLst/>
              <a:uLnTx/>
              <a:uFillTx/>
              <a:latin typeface="Proximus" panose="00000500000000000000" pitchFamily="2" charset="0"/>
              <a:ea typeface="+mn-ea"/>
              <a:cs typeface="Proximus"/>
            </a:endParaRPr>
          </a:p>
        </p:txBody>
      </p:sp>
      <p:sp>
        <p:nvSpPr>
          <p:cNvPr id="6" name="Table Placeholder 5">
            <a:extLst>
              <a:ext uri="{FF2B5EF4-FFF2-40B4-BE49-F238E27FC236}">
                <a16:creationId xmlns:a16="http://schemas.microsoft.com/office/drawing/2014/main" id="{50937FAA-8D57-3878-00AC-49FA9EB8DC1C}"/>
              </a:ext>
            </a:extLst>
          </p:cNvPr>
          <p:cNvSpPr>
            <a:spLocks noGrp="1"/>
          </p:cNvSpPr>
          <p:nvPr>
            <p:ph type="tbl" sz="quarter" idx="10"/>
          </p:nvPr>
        </p:nvSpPr>
        <p:spPr>
          <a:xfrm>
            <a:off x="4551680" y="1383891"/>
            <a:ext cx="7015904" cy="4688828"/>
          </a:xfrm>
        </p:spPr>
        <p:txBody>
          <a:bodyPr/>
          <a:lstStyle/>
          <a:p>
            <a:endParaRPr lang="en-US"/>
          </a:p>
        </p:txBody>
      </p:sp>
    </p:spTree>
    <p:extLst>
      <p:ext uri="{BB962C8B-B14F-4D97-AF65-F5344CB8AC3E}">
        <p14:creationId xmlns:p14="http://schemas.microsoft.com/office/powerpoint/2010/main" val="376656817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ocks -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p:txBody>
          <a:bodyPr/>
          <a:lstStyle/>
          <a:p>
            <a:r>
              <a:rPr lang="en-US"/>
              <a:t>Click to edit Master title style</a:t>
            </a:r>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613833" y="1676401"/>
            <a:ext cx="4900789" cy="4584699"/>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216000" tIns="216000" rIns="216000" bIns="216000"/>
          <a:lstStyle>
            <a:lvl1pPr>
              <a:spcAft>
                <a:spcPts val="800"/>
              </a:spcAft>
              <a:defRPr sz="2400">
                <a:solidFill>
                  <a:schemeClr val="bg1"/>
                </a:solidFill>
                <a:latin typeface="Proximus Light" panose="020B0604020202020204" charset="0"/>
              </a:defRPr>
            </a:lvl1pPr>
            <a:lvl2pPr indent="-234911">
              <a:defRPr/>
            </a:lvl2pPr>
            <a:lvl5pPr>
              <a:spcBef>
                <a:spcPts val="800"/>
              </a:spcBef>
              <a:defRPr sz="18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A4859FEF-708C-918C-2188-2D7CFCDD42BE}"/>
              </a:ext>
            </a:extLst>
          </p:cNvPr>
          <p:cNvSpPr>
            <a:spLocks noGrp="1"/>
          </p:cNvSpPr>
          <p:nvPr>
            <p:ph type="body" sz="quarter" idx="14"/>
          </p:nvPr>
        </p:nvSpPr>
        <p:spPr>
          <a:xfrm>
            <a:off x="6667628" y="1676401"/>
            <a:ext cx="4900789" cy="4584699"/>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216000" tIns="216000" rIns="216000" bIns="216000"/>
          <a:lstStyle>
            <a:lvl1pPr>
              <a:spcAft>
                <a:spcPts val="800"/>
              </a:spcAft>
              <a:defRPr sz="2400">
                <a:solidFill>
                  <a:schemeClr val="bg1"/>
                </a:solidFill>
                <a:latin typeface="Proximus Light" panose="020B0604020202020204" charset="0"/>
              </a:defRPr>
            </a:lvl1pPr>
            <a:lvl2pPr indent="-234911">
              <a:defRPr/>
            </a:lvl2pPr>
            <a:lvl5pPr>
              <a:spcBef>
                <a:spcPts val="800"/>
              </a:spcBef>
              <a:defRPr sz="18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4">
            <a:extLst>
              <a:ext uri="{FF2B5EF4-FFF2-40B4-BE49-F238E27FC236}">
                <a16:creationId xmlns:a16="http://schemas.microsoft.com/office/drawing/2014/main" id="{FCBBCEB2-1DFD-CCA0-7CC1-403523652201}"/>
              </a:ext>
            </a:extLst>
          </p:cNvPr>
          <p:cNvSpPr>
            <a:spLocks noGrp="1"/>
          </p:cNvSpPr>
          <p:nvPr>
            <p:ph type="ftr" sz="quarter" idx="3"/>
          </p:nvPr>
        </p:nvSpPr>
        <p:spPr>
          <a:xfrm>
            <a:off x="624000" y="6672000"/>
            <a:ext cx="480000" cy="96000"/>
          </a:xfrm>
          <a:prstGeom prst="rect">
            <a:avLst/>
          </a:prstGeom>
        </p:spPr>
        <p:txBody>
          <a:bodyPr vert="horz" lIns="0" tIns="0" rIns="0" bIns="0" rtlCol="0" anchor="b" anchorCtr="0"/>
          <a:lstStyle>
            <a:lvl1pPr algn="l">
              <a:defRPr sz="800">
                <a:solidFill>
                  <a:schemeClr val="bg1"/>
                </a:solidFill>
                <a:latin typeface="Proximus" panose="00000500000000000000" pitchFamily="2" charset="0"/>
              </a:defRPr>
            </a:lvl1pPr>
          </a:lstStyle>
          <a:p>
            <a:r>
              <a:rPr lang="nl-BE"/>
              <a:t>Proximus</a:t>
            </a:r>
          </a:p>
        </p:txBody>
      </p:sp>
      <p:sp>
        <p:nvSpPr>
          <p:cNvPr id="4" name="Slide Number Placeholder 9">
            <a:extLst>
              <a:ext uri="{FF2B5EF4-FFF2-40B4-BE49-F238E27FC236}">
                <a16:creationId xmlns:a16="http://schemas.microsoft.com/office/drawing/2014/main" id="{7D757E14-0E8E-93D5-55AA-DA9A9D3A50A8}"/>
              </a:ext>
            </a:extLst>
          </p:cNvPr>
          <p:cNvSpPr>
            <a:spLocks noGrp="1"/>
          </p:cNvSpPr>
          <p:nvPr>
            <p:ph type="sldNum" sz="quarter" idx="4"/>
          </p:nvPr>
        </p:nvSpPr>
        <p:spPr>
          <a:xfrm>
            <a:off x="10944002" y="6672000"/>
            <a:ext cx="624417" cy="96000"/>
          </a:xfrm>
          <a:prstGeom prst="rect">
            <a:avLst/>
          </a:prstGeom>
        </p:spPr>
        <p:txBody>
          <a:bodyPr lIns="0" tIns="0" rIns="0" bIns="0" anchor="b"/>
          <a:lstStyle>
            <a:lvl1pPr algn="r">
              <a:defRPr sz="800">
                <a:solidFill>
                  <a:schemeClr val="bg1"/>
                </a:solidFill>
                <a:latin typeface="Proximus" panose="00000500000000000000" pitchFamily="2" charset="0"/>
              </a:defRPr>
            </a:lvl1pPr>
          </a:lstStyle>
          <a:p>
            <a:fld id="{AF458780-3DEA-4093-8A6E-7C0E406A36AD}" type="slidenum">
              <a:rPr lang="nl-BE" smtClean="0"/>
              <a:pPr/>
              <a:t>‹#›</a:t>
            </a:fld>
            <a:endParaRPr lang="nl-BE"/>
          </a:p>
        </p:txBody>
      </p:sp>
    </p:spTree>
    <p:extLst>
      <p:ext uri="{BB962C8B-B14F-4D97-AF65-F5344CB8AC3E}">
        <p14:creationId xmlns:p14="http://schemas.microsoft.com/office/powerpoint/2010/main" val="3278898029"/>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ocks -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p:txBody>
          <a:bodyPr/>
          <a:lstStyle/>
          <a:p>
            <a:r>
              <a:rPr lang="en-US"/>
              <a:t>Click to edit Master title style</a:t>
            </a:r>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613833" y="1676401"/>
            <a:ext cx="3360000" cy="4584699"/>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216000" tIns="216000" rIns="216000" bIns="216000"/>
          <a:lstStyle>
            <a:lvl1pPr>
              <a:spcAft>
                <a:spcPts val="800"/>
              </a:spcAft>
              <a:defRPr sz="2400">
                <a:solidFill>
                  <a:schemeClr val="bg1"/>
                </a:solidFill>
                <a:latin typeface="Proximus Light" panose="020B0604020202020204" charset="0"/>
              </a:defRPr>
            </a:lvl1pPr>
            <a:lvl2pPr indent="-234911">
              <a:defRPr/>
            </a:lvl2pPr>
            <a:lvl5pPr>
              <a:spcBef>
                <a:spcPts val="800"/>
              </a:spcBef>
              <a:defRPr sz="18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26366419-4CB1-22C2-BFEF-A47ACEC91643}"/>
              </a:ext>
            </a:extLst>
          </p:cNvPr>
          <p:cNvSpPr>
            <a:spLocks noGrp="1"/>
          </p:cNvSpPr>
          <p:nvPr>
            <p:ph type="body" sz="quarter" idx="14"/>
          </p:nvPr>
        </p:nvSpPr>
        <p:spPr>
          <a:xfrm>
            <a:off x="4411125" y="1676401"/>
            <a:ext cx="3360000" cy="4584699"/>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216000" tIns="216000" rIns="216000" bIns="216000"/>
          <a:lstStyle>
            <a:lvl1pPr>
              <a:spcAft>
                <a:spcPts val="800"/>
              </a:spcAft>
              <a:defRPr sz="2400">
                <a:solidFill>
                  <a:schemeClr val="bg1"/>
                </a:solidFill>
                <a:latin typeface="Proximus Light" panose="020B0604020202020204" charset="0"/>
              </a:defRPr>
            </a:lvl1pPr>
            <a:lvl2pPr indent="-234911">
              <a:defRPr/>
            </a:lvl2pPr>
            <a:lvl5pPr>
              <a:spcBef>
                <a:spcPts val="800"/>
              </a:spcBef>
              <a:defRPr sz="18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2498A6E2-70E0-E343-408B-2BDF74C11E13}"/>
              </a:ext>
            </a:extLst>
          </p:cNvPr>
          <p:cNvSpPr>
            <a:spLocks noGrp="1"/>
          </p:cNvSpPr>
          <p:nvPr>
            <p:ph type="body" sz="quarter" idx="15"/>
          </p:nvPr>
        </p:nvSpPr>
        <p:spPr>
          <a:xfrm>
            <a:off x="8208417" y="1676401"/>
            <a:ext cx="3360000" cy="4584699"/>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216000" tIns="216000" rIns="216000" bIns="216000"/>
          <a:lstStyle>
            <a:lvl1pPr>
              <a:spcAft>
                <a:spcPts val="800"/>
              </a:spcAft>
              <a:defRPr sz="2400">
                <a:solidFill>
                  <a:schemeClr val="bg1"/>
                </a:solidFill>
                <a:latin typeface="Proximus Light" panose="020B0604020202020204" charset="0"/>
              </a:defRPr>
            </a:lvl1pPr>
            <a:lvl2pPr indent="-234911">
              <a:defRPr/>
            </a:lvl2pPr>
            <a:lvl5pPr>
              <a:spcBef>
                <a:spcPts val="800"/>
              </a:spcBef>
              <a:defRPr sz="18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4">
            <a:extLst>
              <a:ext uri="{FF2B5EF4-FFF2-40B4-BE49-F238E27FC236}">
                <a16:creationId xmlns:a16="http://schemas.microsoft.com/office/drawing/2014/main" id="{B2BE704E-50AD-C211-E91A-1FC2737043D8}"/>
              </a:ext>
            </a:extLst>
          </p:cNvPr>
          <p:cNvSpPr>
            <a:spLocks noGrp="1"/>
          </p:cNvSpPr>
          <p:nvPr>
            <p:ph type="ftr" sz="quarter" idx="3"/>
          </p:nvPr>
        </p:nvSpPr>
        <p:spPr>
          <a:xfrm>
            <a:off x="624000" y="6672000"/>
            <a:ext cx="480000" cy="96000"/>
          </a:xfrm>
          <a:prstGeom prst="rect">
            <a:avLst/>
          </a:prstGeom>
        </p:spPr>
        <p:txBody>
          <a:bodyPr vert="horz" lIns="0" tIns="0" rIns="0" bIns="0" rtlCol="0" anchor="b" anchorCtr="0"/>
          <a:lstStyle>
            <a:lvl1pPr algn="l">
              <a:defRPr sz="800">
                <a:solidFill>
                  <a:schemeClr val="bg1"/>
                </a:solidFill>
                <a:latin typeface="Proximus" panose="00000500000000000000" pitchFamily="2" charset="0"/>
              </a:defRPr>
            </a:lvl1pPr>
          </a:lstStyle>
          <a:p>
            <a:r>
              <a:rPr lang="nl-BE"/>
              <a:t>Proximus</a:t>
            </a:r>
          </a:p>
        </p:txBody>
      </p:sp>
      <p:sp>
        <p:nvSpPr>
          <p:cNvPr id="4" name="Slide Number Placeholder 9">
            <a:extLst>
              <a:ext uri="{FF2B5EF4-FFF2-40B4-BE49-F238E27FC236}">
                <a16:creationId xmlns:a16="http://schemas.microsoft.com/office/drawing/2014/main" id="{11DB6492-ABD8-5A4F-A30E-B9905394901E}"/>
              </a:ext>
            </a:extLst>
          </p:cNvPr>
          <p:cNvSpPr>
            <a:spLocks noGrp="1"/>
          </p:cNvSpPr>
          <p:nvPr>
            <p:ph type="sldNum" sz="quarter" idx="4"/>
          </p:nvPr>
        </p:nvSpPr>
        <p:spPr>
          <a:xfrm>
            <a:off x="10944002" y="6672000"/>
            <a:ext cx="624417" cy="96000"/>
          </a:xfrm>
          <a:prstGeom prst="rect">
            <a:avLst/>
          </a:prstGeom>
        </p:spPr>
        <p:txBody>
          <a:bodyPr lIns="0" tIns="0" rIns="0" bIns="0" anchor="b"/>
          <a:lstStyle>
            <a:lvl1pPr algn="r">
              <a:defRPr sz="800">
                <a:solidFill>
                  <a:schemeClr val="bg1"/>
                </a:solidFill>
                <a:latin typeface="Proximus" panose="00000500000000000000" pitchFamily="2" charset="0"/>
              </a:defRPr>
            </a:lvl1pPr>
          </a:lstStyle>
          <a:p>
            <a:fld id="{AF458780-3DEA-4093-8A6E-7C0E406A36AD}" type="slidenum">
              <a:rPr lang="nl-BE" smtClean="0"/>
              <a:pPr/>
              <a:t>‹#›</a:t>
            </a:fld>
            <a:endParaRPr lang="nl-BE"/>
          </a:p>
        </p:txBody>
      </p:sp>
    </p:spTree>
    <p:extLst>
      <p:ext uri="{BB962C8B-B14F-4D97-AF65-F5344CB8AC3E}">
        <p14:creationId xmlns:p14="http://schemas.microsoft.com/office/powerpoint/2010/main" val="130896322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ocks -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p:txBody>
          <a:bodyPr/>
          <a:lstStyle/>
          <a:p>
            <a:r>
              <a:rPr lang="en-US"/>
              <a:t>Click to edit Master title style</a:t>
            </a:r>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613833" y="1676401"/>
            <a:ext cx="2448000" cy="4584699"/>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144000" tIns="144000" rIns="144000" bIns="144000"/>
          <a:lstStyle>
            <a:lvl1pPr>
              <a:spcAft>
                <a:spcPts val="800"/>
              </a:spcAft>
              <a:defRPr sz="2133">
                <a:solidFill>
                  <a:schemeClr val="bg1"/>
                </a:solidFill>
                <a:latin typeface="Proximus Light" panose="020B0604020202020204" charset="0"/>
              </a:defRPr>
            </a:lvl1pPr>
            <a:lvl2pPr indent="-234911">
              <a:defRPr sz="1600"/>
            </a:lvl2pPr>
            <a:lvl3pPr>
              <a:defRPr sz="1467"/>
            </a:lvl3pPr>
            <a:lvl4pPr>
              <a:defRPr sz="1467"/>
            </a:lvl4pPr>
            <a:lvl5pPr>
              <a:spcBef>
                <a:spcPts val="800"/>
              </a:spcBef>
              <a:defRPr sz="1600">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93504BEB-25CC-71C6-94D9-4580B88D8874}"/>
              </a:ext>
            </a:extLst>
          </p:cNvPr>
          <p:cNvSpPr>
            <a:spLocks noGrp="1"/>
          </p:cNvSpPr>
          <p:nvPr>
            <p:ph type="body" sz="quarter" idx="14"/>
          </p:nvPr>
        </p:nvSpPr>
        <p:spPr>
          <a:xfrm>
            <a:off x="3449361" y="1676401"/>
            <a:ext cx="2448000" cy="4584699"/>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144000" tIns="144000" rIns="144000" bIns="144000"/>
          <a:lstStyle>
            <a:lvl1pPr>
              <a:spcAft>
                <a:spcPts val="800"/>
              </a:spcAft>
              <a:defRPr sz="2133">
                <a:solidFill>
                  <a:schemeClr val="bg1"/>
                </a:solidFill>
                <a:latin typeface="Proximus Light" panose="020B0604020202020204" charset="0"/>
              </a:defRPr>
            </a:lvl1pPr>
            <a:lvl2pPr indent="-234911">
              <a:defRPr sz="1600"/>
            </a:lvl2pPr>
            <a:lvl3pPr>
              <a:defRPr sz="1467"/>
            </a:lvl3pPr>
            <a:lvl4pPr>
              <a:defRPr sz="1467"/>
            </a:lvl4pPr>
            <a:lvl5pPr>
              <a:spcBef>
                <a:spcPts val="800"/>
              </a:spcBef>
              <a:defRPr sz="1600">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a:extLst>
              <a:ext uri="{FF2B5EF4-FFF2-40B4-BE49-F238E27FC236}">
                <a16:creationId xmlns:a16="http://schemas.microsoft.com/office/drawing/2014/main" id="{4F206338-EBF6-8CB9-F01A-867DA14F0351}"/>
              </a:ext>
            </a:extLst>
          </p:cNvPr>
          <p:cNvSpPr>
            <a:spLocks noGrp="1"/>
          </p:cNvSpPr>
          <p:nvPr>
            <p:ph type="body" sz="quarter" idx="15"/>
          </p:nvPr>
        </p:nvSpPr>
        <p:spPr>
          <a:xfrm>
            <a:off x="6284889" y="1676401"/>
            <a:ext cx="2448000" cy="4584699"/>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144000" tIns="144000" rIns="144000" bIns="144000"/>
          <a:lstStyle>
            <a:lvl1pPr>
              <a:spcAft>
                <a:spcPts val="800"/>
              </a:spcAft>
              <a:defRPr sz="2133">
                <a:solidFill>
                  <a:schemeClr val="bg1"/>
                </a:solidFill>
                <a:latin typeface="Proximus Light" panose="020B0604020202020204" charset="0"/>
              </a:defRPr>
            </a:lvl1pPr>
            <a:lvl2pPr indent="-234911">
              <a:defRPr sz="1600"/>
            </a:lvl2pPr>
            <a:lvl3pPr>
              <a:defRPr sz="1467"/>
            </a:lvl3pPr>
            <a:lvl4pPr>
              <a:defRPr sz="1467"/>
            </a:lvl4pPr>
            <a:lvl5pPr>
              <a:spcBef>
                <a:spcPts val="800"/>
              </a:spcBef>
              <a:defRPr sz="1600">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361180D9-7334-AE50-3E49-BCC9D03B5E35}"/>
              </a:ext>
            </a:extLst>
          </p:cNvPr>
          <p:cNvSpPr>
            <a:spLocks noGrp="1"/>
          </p:cNvSpPr>
          <p:nvPr>
            <p:ph type="body" sz="quarter" idx="16"/>
          </p:nvPr>
        </p:nvSpPr>
        <p:spPr>
          <a:xfrm>
            <a:off x="9120417" y="1676401"/>
            <a:ext cx="2448000" cy="4584699"/>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144000" tIns="144000" rIns="144000" bIns="144000"/>
          <a:lstStyle>
            <a:lvl1pPr>
              <a:spcAft>
                <a:spcPts val="800"/>
              </a:spcAft>
              <a:defRPr sz="2133">
                <a:solidFill>
                  <a:schemeClr val="bg1"/>
                </a:solidFill>
                <a:latin typeface="Proximus Light" panose="020B0604020202020204" charset="0"/>
              </a:defRPr>
            </a:lvl1pPr>
            <a:lvl2pPr indent="-234911">
              <a:defRPr sz="1600"/>
            </a:lvl2pPr>
            <a:lvl3pPr>
              <a:defRPr sz="1467"/>
            </a:lvl3pPr>
            <a:lvl4pPr>
              <a:defRPr sz="1467"/>
            </a:lvl4pPr>
            <a:lvl5pPr>
              <a:spcBef>
                <a:spcPts val="800"/>
              </a:spcBef>
              <a:defRPr sz="1600">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4">
            <a:extLst>
              <a:ext uri="{FF2B5EF4-FFF2-40B4-BE49-F238E27FC236}">
                <a16:creationId xmlns:a16="http://schemas.microsoft.com/office/drawing/2014/main" id="{B95A9C24-6F95-679E-4B4B-E00ECE23FCE3}"/>
              </a:ext>
            </a:extLst>
          </p:cNvPr>
          <p:cNvSpPr>
            <a:spLocks noGrp="1"/>
          </p:cNvSpPr>
          <p:nvPr>
            <p:ph type="ftr" sz="quarter" idx="3"/>
          </p:nvPr>
        </p:nvSpPr>
        <p:spPr>
          <a:xfrm>
            <a:off x="624000" y="6672000"/>
            <a:ext cx="480000" cy="96000"/>
          </a:xfrm>
          <a:prstGeom prst="rect">
            <a:avLst/>
          </a:prstGeom>
        </p:spPr>
        <p:txBody>
          <a:bodyPr vert="horz" lIns="0" tIns="0" rIns="0" bIns="0" rtlCol="0" anchor="b" anchorCtr="0"/>
          <a:lstStyle>
            <a:lvl1pPr algn="l">
              <a:defRPr sz="800">
                <a:solidFill>
                  <a:schemeClr val="bg1"/>
                </a:solidFill>
                <a:latin typeface="Proximus" panose="00000500000000000000" pitchFamily="2" charset="0"/>
              </a:defRPr>
            </a:lvl1pPr>
          </a:lstStyle>
          <a:p>
            <a:r>
              <a:rPr lang="nl-BE"/>
              <a:t>Proximus</a:t>
            </a:r>
          </a:p>
        </p:txBody>
      </p:sp>
      <p:sp>
        <p:nvSpPr>
          <p:cNvPr id="4" name="Slide Number Placeholder 9">
            <a:extLst>
              <a:ext uri="{FF2B5EF4-FFF2-40B4-BE49-F238E27FC236}">
                <a16:creationId xmlns:a16="http://schemas.microsoft.com/office/drawing/2014/main" id="{05135C37-7E9F-38E8-35C2-8586F243D65D}"/>
              </a:ext>
            </a:extLst>
          </p:cNvPr>
          <p:cNvSpPr>
            <a:spLocks noGrp="1"/>
          </p:cNvSpPr>
          <p:nvPr>
            <p:ph type="sldNum" sz="quarter" idx="4"/>
          </p:nvPr>
        </p:nvSpPr>
        <p:spPr>
          <a:xfrm>
            <a:off x="10944002" y="6672000"/>
            <a:ext cx="624417" cy="96000"/>
          </a:xfrm>
          <a:prstGeom prst="rect">
            <a:avLst/>
          </a:prstGeom>
        </p:spPr>
        <p:txBody>
          <a:bodyPr lIns="0" tIns="0" rIns="0" bIns="0" anchor="b"/>
          <a:lstStyle>
            <a:lvl1pPr algn="r">
              <a:defRPr sz="800">
                <a:solidFill>
                  <a:schemeClr val="bg1"/>
                </a:solidFill>
                <a:latin typeface="Proximus" panose="00000500000000000000" pitchFamily="2" charset="0"/>
              </a:defRPr>
            </a:lvl1pPr>
          </a:lstStyle>
          <a:p>
            <a:fld id="{AF458780-3DEA-4093-8A6E-7C0E406A36AD}" type="slidenum">
              <a:rPr lang="nl-BE" smtClean="0"/>
              <a:pPr/>
              <a:t>‹#›</a:t>
            </a:fld>
            <a:endParaRPr lang="nl-BE"/>
          </a:p>
        </p:txBody>
      </p:sp>
    </p:spTree>
    <p:extLst>
      <p:ext uri="{BB962C8B-B14F-4D97-AF65-F5344CB8AC3E}">
        <p14:creationId xmlns:p14="http://schemas.microsoft.com/office/powerpoint/2010/main" val="330323815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ocks -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p:txBody>
          <a:bodyPr/>
          <a:lstStyle/>
          <a:p>
            <a:r>
              <a:rPr lang="en-US"/>
              <a:t>Click to edit Master title style</a:t>
            </a:r>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613832" y="1676400"/>
            <a:ext cx="3504000" cy="2208000"/>
          </a:xfrm>
          <a:prstGeom prst="roundRect">
            <a:avLst>
              <a:gd name="adj" fmla="val 4957"/>
            </a:avLst>
          </a:prstGeom>
          <a:solidFill>
            <a:schemeClr val="tx1"/>
          </a:solidFill>
          <a:effectLst>
            <a:outerShdw blurRad="317500" dist="114300" dir="5400000" sx="95000" sy="95000" algn="ctr" rotWithShape="0">
              <a:prstClr val="black">
                <a:alpha val="25000"/>
              </a:prstClr>
            </a:outerShdw>
          </a:effectLst>
        </p:spPr>
        <p:txBody>
          <a:bodyPr lIns="144000" tIns="144000" rIns="144000" bIns="144000"/>
          <a:lstStyle>
            <a:lvl1pPr>
              <a:spcBef>
                <a:spcPts val="1067"/>
              </a:spcBef>
              <a:spcAft>
                <a:spcPts val="267"/>
              </a:spcAft>
              <a:defRPr sz="1867">
                <a:solidFill>
                  <a:schemeClr val="bg1"/>
                </a:solidFill>
                <a:latin typeface="Proximus Light" panose="020B0604020202020204" charset="0"/>
              </a:defRPr>
            </a:lvl1pPr>
            <a:lvl2pPr indent="-234911">
              <a:spcBef>
                <a:spcPts val="267"/>
              </a:spcBef>
              <a:defRPr sz="1467"/>
            </a:lvl2pPr>
            <a:lvl3pPr>
              <a:spcBef>
                <a:spcPts val="267"/>
              </a:spcBef>
              <a:defRPr sz="1400"/>
            </a:lvl3pPr>
            <a:lvl4pPr>
              <a:spcBef>
                <a:spcPts val="267"/>
              </a:spcBef>
              <a:defRPr sz="1400"/>
            </a:lvl4pPr>
            <a:lvl5pPr>
              <a:spcBef>
                <a:spcPts val="267"/>
              </a:spcBef>
              <a:defRPr sz="14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7">
            <a:extLst>
              <a:ext uri="{FF2B5EF4-FFF2-40B4-BE49-F238E27FC236}">
                <a16:creationId xmlns:a16="http://schemas.microsoft.com/office/drawing/2014/main" id="{3A3B5652-B85B-757E-9330-B39C45EFD833}"/>
              </a:ext>
            </a:extLst>
          </p:cNvPr>
          <p:cNvSpPr>
            <a:spLocks noGrp="1"/>
          </p:cNvSpPr>
          <p:nvPr>
            <p:ph type="body" sz="quarter" idx="14"/>
          </p:nvPr>
        </p:nvSpPr>
        <p:spPr>
          <a:xfrm>
            <a:off x="4339125" y="1676400"/>
            <a:ext cx="3504000" cy="2208000"/>
          </a:xfrm>
          <a:prstGeom prst="roundRect">
            <a:avLst>
              <a:gd name="adj" fmla="val 4957"/>
            </a:avLst>
          </a:prstGeom>
          <a:solidFill>
            <a:schemeClr val="tx1"/>
          </a:solidFill>
          <a:effectLst>
            <a:outerShdw blurRad="317500" dist="114300" dir="5400000" sx="95000" sy="95000" algn="ctr" rotWithShape="0">
              <a:prstClr val="black">
                <a:alpha val="25000"/>
              </a:prstClr>
            </a:outerShdw>
          </a:effectLst>
        </p:spPr>
        <p:txBody>
          <a:bodyPr lIns="144000" tIns="144000" rIns="144000" bIns="144000"/>
          <a:lstStyle>
            <a:lvl1pPr>
              <a:spcBef>
                <a:spcPts val="1067"/>
              </a:spcBef>
              <a:spcAft>
                <a:spcPts val="267"/>
              </a:spcAft>
              <a:defRPr sz="1867">
                <a:solidFill>
                  <a:schemeClr val="bg1"/>
                </a:solidFill>
                <a:latin typeface="Proximus Light" panose="020B0604020202020204" charset="0"/>
              </a:defRPr>
            </a:lvl1pPr>
            <a:lvl2pPr indent="-234911">
              <a:spcBef>
                <a:spcPts val="267"/>
              </a:spcBef>
              <a:defRPr sz="1467"/>
            </a:lvl2pPr>
            <a:lvl3pPr>
              <a:spcBef>
                <a:spcPts val="267"/>
              </a:spcBef>
              <a:defRPr sz="1400"/>
            </a:lvl3pPr>
            <a:lvl4pPr>
              <a:spcBef>
                <a:spcPts val="267"/>
              </a:spcBef>
              <a:defRPr sz="1400"/>
            </a:lvl4pPr>
            <a:lvl5pPr>
              <a:spcBef>
                <a:spcPts val="267"/>
              </a:spcBef>
              <a:defRPr sz="14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7">
            <a:extLst>
              <a:ext uri="{FF2B5EF4-FFF2-40B4-BE49-F238E27FC236}">
                <a16:creationId xmlns:a16="http://schemas.microsoft.com/office/drawing/2014/main" id="{53F67889-29D2-56A1-49EE-EC1B0F73688E}"/>
              </a:ext>
            </a:extLst>
          </p:cNvPr>
          <p:cNvSpPr>
            <a:spLocks noGrp="1"/>
          </p:cNvSpPr>
          <p:nvPr>
            <p:ph type="body" sz="quarter" idx="15"/>
          </p:nvPr>
        </p:nvSpPr>
        <p:spPr>
          <a:xfrm>
            <a:off x="8064417" y="1676400"/>
            <a:ext cx="3504000" cy="2208000"/>
          </a:xfrm>
          <a:prstGeom prst="roundRect">
            <a:avLst>
              <a:gd name="adj" fmla="val 4957"/>
            </a:avLst>
          </a:prstGeom>
          <a:solidFill>
            <a:schemeClr val="tx1"/>
          </a:solidFill>
          <a:effectLst>
            <a:outerShdw blurRad="317500" dist="114300" dir="5400000" sx="95000" sy="95000" algn="ctr" rotWithShape="0">
              <a:prstClr val="black">
                <a:alpha val="25000"/>
              </a:prstClr>
            </a:outerShdw>
          </a:effectLst>
        </p:spPr>
        <p:txBody>
          <a:bodyPr lIns="144000" tIns="144000" rIns="144000" bIns="144000"/>
          <a:lstStyle>
            <a:lvl1pPr>
              <a:spcBef>
                <a:spcPts val="1067"/>
              </a:spcBef>
              <a:spcAft>
                <a:spcPts val="267"/>
              </a:spcAft>
              <a:defRPr sz="1867">
                <a:solidFill>
                  <a:schemeClr val="bg1"/>
                </a:solidFill>
                <a:latin typeface="Proximus Light" panose="020B0604020202020204" charset="0"/>
              </a:defRPr>
            </a:lvl1pPr>
            <a:lvl2pPr indent="-234911">
              <a:spcBef>
                <a:spcPts val="267"/>
              </a:spcBef>
              <a:defRPr sz="1467"/>
            </a:lvl2pPr>
            <a:lvl3pPr>
              <a:spcBef>
                <a:spcPts val="267"/>
              </a:spcBef>
              <a:defRPr sz="1400"/>
            </a:lvl3pPr>
            <a:lvl4pPr>
              <a:spcBef>
                <a:spcPts val="267"/>
              </a:spcBef>
              <a:defRPr sz="1400"/>
            </a:lvl4pPr>
            <a:lvl5pPr>
              <a:spcBef>
                <a:spcPts val="267"/>
              </a:spcBef>
              <a:defRPr sz="14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7">
            <a:extLst>
              <a:ext uri="{FF2B5EF4-FFF2-40B4-BE49-F238E27FC236}">
                <a16:creationId xmlns:a16="http://schemas.microsoft.com/office/drawing/2014/main" id="{CAE41158-A608-39EA-5CF4-2BE0BBB08300}"/>
              </a:ext>
            </a:extLst>
          </p:cNvPr>
          <p:cNvSpPr>
            <a:spLocks noGrp="1"/>
          </p:cNvSpPr>
          <p:nvPr>
            <p:ph type="body" sz="quarter" idx="16"/>
          </p:nvPr>
        </p:nvSpPr>
        <p:spPr>
          <a:xfrm>
            <a:off x="613832" y="4053100"/>
            <a:ext cx="3504000" cy="2208000"/>
          </a:xfrm>
          <a:prstGeom prst="roundRect">
            <a:avLst>
              <a:gd name="adj" fmla="val 4957"/>
            </a:avLst>
          </a:prstGeom>
          <a:solidFill>
            <a:schemeClr val="tx1"/>
          </a:solidFill>
          <a:effectLst>
            <a:outerShdw blurRad="317500" dist="114300" dir="5400000" sx="95000" sy="95000" algn="ctr" rotWithShape="0">
              <a:prstClr val="black">
                <a:alpha val="25000"/>
              </a:prstClr>
            </a:outerShdw>
          </a:effectLst>
        </p:spPr>
        <p:txBody>
          <a:bodyPr lIns="144000" tIns="144000" rIns="144000" bIns="144000"/>
          <a:lstStyle>
            <a:lvl1pPr>
              <a:spcBef>
                <a:spcPts val="1067"/>
              </a:spcBef>
              <a:spcAft>
                <a:spcPts val="267"/>
              </a:spcAft>
              <a:defRPr sz="1867">
                <a:solidFill>
                  <a:schemeClr val="bg1"/>
                </a:solidFill>
                <a:latin typeface="Proximus Light" panose="020B0604020202020204" charset="0"/>
              </a:defRPr>
            </a:lvl1pPr>
            <a:lvl2pPr indent="-234911">
              <a:spcBef>
                <a:spcPts val="267"/>
              </a:spcBef>
              <a:defRPr sz="1467"/>
            </a:lvl2pPr>
            <a:lvl3pPr>
              <a:spcBef>
                <a:spcPts val="267"/>
              </a:spcBef>
              <a:defRPr sz="1400"/>
            </a:lvl3pPr>
            <a:lvl4pPr>
              <a:spcBef>
                <a:spcPts val="267"/>
              </a:spcBef>
              <a:defRPr sz="1400"/>
            </a:lvl4pPr>
            <a:lvl5pPr>
              <a:spcBef>
                <a:spcPts val="267"/>
              </a:spcBef>
              <a:defRPr sz="14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7">
            <a:extLst>
              <a:ext uri="{FF2B5EF4-FFF2-40B4-BE49-F238E27FC236}">
                <a16:creationId xmlns:a16="http://schemas.microsoft.com/office/drawing/2014/main" id="{627C1256-05EF-332A-1823-7C684DE76AAE}"/>
              </a:ext>
            </a:extLst>
          </p:cNvPr>
          <p:cNvSpPr>
            <a:spLocks noGrp="1"/>
          </p:cNvSpPr>
          <p:nvPr>
            <p:ph type="body" sz="quarter" idx="17"/>
          </p:nvPr>
        </p:nvSpPr>
        <p:spPr>
          <a:xfrm>
            <a:off x="4339125" y="4053100"/>
            <a:ext cx="3504000" cy="2208000"/>
          </a:xfrm>
          <a:prstGeom prst="roundRect">
            <a:avLst>
              <a:gd name="adj" fmla="val 4957"/>
            </a:avLst>
          </a:prstGeom>
          <a:solidFill>
            <a:schemeClr val="tx1"/>
          </a:solidFill>
          <a:effectLst>
            <a:outerShdw blurRad="317500" dist="114300" dir="5400000" sx="95000" sy="95000" algn="ctr" rotWithShape="0">
              <a:prstClr val="black">
                <a:alpha val="25000"/>
              </a:prstClr>
            </a:outerShdw>
          </a:effectLst>
        </p:spPr>
        <p:txBody>
          <a:bodyPr lIns="144000" tIns="144000" rIns="144000" bIns="144000"/>
          <a:lstStyle>
            <a:lvl1pPr>
              <a:spcBef>
                <a:spcPts val="1067"/>
              </a:spcBef>
              <a:spcAft>
                <a:spcPts val="267"/>
              </a:spcAft>
              <a:defRPr sz="1867">
                <a:solidFill>
                  <a:schemeClr val="bg1"/>
                </a:solidFill>
                <a:latin typeface="Proximus Light" panose="020B0604020202020204" charset="0"/>
              </a:defRPr>
            </a:lvl1pPr>
            <a:lvl2pPr indent="-234911">
              <a:spcBef>
                <a:spcPts val="267"/>
              </a:spcBef>
              <a:defRPr sz="1467"/>
            </a:lvl2pPr>
            <a:lvl3pPr>
              <a:spcBef>
                <a:spcPts val="267"/>
              </a:spcBef>
              <a:defRPr sz="1400"/>
            </a:lvl3pPr>
            <a:lvl4pPr>
              <a:spcBef>
                <a:spcPts val="267"/>
              </a:spcBef>
              <a:defRPr sz="1400"/>
            </a:lvl4pPr>
            <a:lvl5pPr>
              <a:spcBef>
                <a:spcPts val="267"/>
              </a:spcBef>
              <a:defRPr sz="14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7">
            <a:extLst>
              <a:ext uri="{FF2B5EF4-FFF2-40B4-BE49-F238E27FC236}">
                <a16:creationId xmlns:a16="http://schemas.microsoft.com/office/drawing/2014/main" id="{E2D9A6BC-8C8F-88D8-5A9A-B16C1057CAF1}"/>
              </a:ext>
            </a:extLst>
          </p:cNvPr>
          <p:cNvSpPr>
            <a:spLocks noGrp="1"/>
          </p:cNvSpPr>
          <p:nvPr>
            <p:ph type="body" sz="quarter" idx="18"/>
          </p:nvPr>
        </p:nvSpPr>
        <p:spPr>
          <a:xfrm>
            <a:off x="8064417" y="4053100"/>
            <a:ext cx="3504000" cy="2208000"/>
          </a:xfrm>
          <a:prstGeom prst="roundRect">
            <a:avLst>
              <a:gd name="adj" fmla="val 4957"/>
            </a:avLst>
          </a:prstGeom>
          <a:solidFill>
            <a:schemeClr val="tx1"/>
          </a:solidFill>
          <a:effectLst>
            <a:outerShdw blurRad="317500" dist="114300" dir="5400000" sx="95000" sy="95000" algn="ctr" rotWithShape="0">
              <a:prstClr val="black">
                <a:alpha val="25000"/>
              </a:prstClr>
            </a:outerShdw>
          </a:effectLst>
        </p:spPr>
        <p:txBody>
          <a:bodyPr lIns="144000" tIns="144000" rIns="144000" bIns="144000"/>
          <a:lstStyle>
            <a:lvl1pPr>
              <a:spcBef>
                <a:spcPts val="1067"/>
              </a:spcBef>
              <a:spcAft>
                <a:spcPts val="267"/>
              </a:spcAft>
              <a:defRPr sz="1867">
                <a:solidFill>
                  <a:schemeClr val="bg1"/>
                </a:solidFill>
                <a:latin typeface="Proximus Light" panose="020B0604020202020204" charset="0"/>
              </a:defRPr>
            </a:lvl1pPr>
            <a:lvl2pPr indent="-234911">
              <a:spcBef>
                <a:spcPts val="267"/>
              </a:spcBef>
              <a:defRPr sz="1467"/>
            </a:lvl2pPr>
            <a:lvl3pPr>
              <a:spcBef>
                <a:spcPts val="267"/>
              </a:spcBef>
              <a:defRPr sz="1400"/>
            </a:lvl3pPr>
            <a:lvl4pPr>
              <a:spcBef>
                <a:spcPts val="267"/>
              </a:spcBef>
              <a:defRPr sz="1400"/>
            </a:lvl4pPr>
            <a:lvl5pPr>
              <a:spcBef>
                <a:spcPts val="267"/>
              </a:spcBef>
              <a:defRPr sz="14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4">
            <a:extLst>
              <a:ext uri="{FF2B5EF4-FFF2-40B4-BE49-F238E27FC236}">
                <a16:creationId xmlns:a16="http://schemas.microsoft.com/office/drawing/2014/main" id="{60CFB637-9C3F-554D-17AA-3AC21D2D907F}"/>
              </a:ext>
            </a:extLst>
          </p:cNvPr>
          <p:cNvSpPr>
            <a:spLocks noGrp="1"/>
          </p:cNvSpPr>
          <p:nvPr>
            <p:ph type="ftr" sz="quarter" idx="3"/>
          </p:nvPr>
        </p:nvSpPr>
        <p:spPr>
          <a:xfrm>
            <a:off x="624000" y="6672000"/>
            <a:ext cx="480000" cy="96000"/>
          </a:xfrm>
          <a:prstGeom prst="rect">
            <a:avLst/>
          </a:prstGeom>
        </p:spPr>
        <p:txBody>
          <a:bodyPr vert="horz" lIns="0" tIns="0" rIns="0" bIns="0" rtlCol="0" anchor="b" anchorCtr="0"/>
          <a:lstStyle>
            <a:lvl1pPr algn="l">
              <a:defRPr sz="800">
                <a:solidFill>
                  <a:schemeClr val="bg1"/>
                </a:solidFill>
                <a:latin typeface="Proximus" panose="00000500000000000000" pitchFamily="2" charset="0"/>
              </a:defRPr>
            </a:lvl1pPr>
          </a:lstStyle>
          <a:p>
            <a:r>
              <a:rPr lang="nl-BE"/>
              <a:t>Proximus</a:t>
            </a:r>
          </a:p>
        </p:txBody>
      </p:sp>
      <p:sp>
        <p:nvSpPr>
          <p:cNvPr id="4" name="Slide Number Placeholder 9">
            <a:extLst>
              <a:ext uri="{FF2B5EF4-FFF2-40B4-BE49-F238E27FC236}">
                <a16:creationId xmlns:a16="http://schemas.microsoft.com/office/drawing/2014/main" id="{A666CF31-BCE2-BB75-4B33-D200924C51A4}"/>
              </a:ext>
            </a:extLst>
          </p:cNvPr>
          <p:cNvSpPr>
            <a:spLocks noGrp="1"/>
          </p:cNvSpPr>
          <p:nvPr>
            <p:ph type="sldNum" sz="quarter" idx="4"/>
          </p:nvPr>
        </p:nvSpPr>
        <p:spPr>
          <a:xfrm>
            <a:off x="10944002" y="6672000"/>
            <a:ext cx="624417" cy="96000"/>
          </a:xfrm>
          <a:prstGeom prst="rect">
            <a:avLst/>
          </a:prstGeom>
        </p:spPr>
        <p:txBody>
          <a:bodyPr lIns="0" tIns="0" rIns="0" bIns="0" anchor="b"/>
          <a:lstStyle>
            <a:lvl1pPr algn="r">
              <a:defRPr sz="800">
                <a:solidFill>
                  <a:schemeClr val="bg1"/>
                </a:solidFill>
                <a:latin typeface="Proximus" panose="00000500000000000000" pitchFamily="2" charset="0"/>
              </a:defRPr>
            </a:lvl1pPr>
          </a:lstStyle>
          <a:p>
            <a:fld id="{AF458780-3DEA-4093-8A6E-7C0E406A36AD}" type="slidenum">
              <a:rPr lang="nl-BE" smtClean="0"/>
              <a:pPr/>
              <a:t>‹#›</a:t>
            </a:fld>
            <a:endParaRPr lang="nl-BE"/>
          </a:p>
        </p:txBody>
      </p:sp>
    </p:spTree>
    <p:extLst>
      <p:ext uri="{BB962C8B-B14F-4D97-AF65-F5344CB8AC3E}">
        <p14:creationId xmlns:p14="http://schemas.microsoft.com/office/powerpoint/2010/main" val="68573523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ocks - 3 - Gradi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p:txBody>
          <a:bodyPr/>
          <a:lstStyle/>
          <a:p>
            <a:r>
              <a:rPr lang="en-US"/>
              <a:t>Click to edit Master title style</a:t>
            </a:r>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613833" y="1676401"/>
            <a:ext cx="3360000" cy="4584699"/>
          </a:xfrm>
          <a:prstGeom prst="roundRect">
            <a:avLst>
              <a:gd name="adj" fmla="val 3679"/>
            </a:avLst>
          </a:prstGeom>
          <a:gradFill>
            <a:gsLst>
              <a:gs pos="69000">
                <a:schemeClr val="bg1"/>
              </a:gs>
              <a:gs pos="0">
                <a:srgbClr val="A82E76"/>
              </a:gs>
            </a:gsLst>
            <a:lin ang="16200000" scaled="1"/>
          </a:gradFill>
          <a:effectLst>
            <a:outerShdw blurRad="317500" dist="114300" dir="5400000" sx="95000" sy="95000" algn="ctr" rotWithShape="0">
              <a:prstClr val="black">
                <a:alpha val="25000"/>
              </a:prstClr>
            </a:outerShdw>
          </a:effectLst>
        </p:spPr>
        <p:txBody>
          <a:bodyPr lIns="216000" tIns="216000" rIns="216000" bIns="216000"/>
          <a:lstStyle>
            <a:lvl1pPr>
              <a:spcAft>
                <a:spcPts val="800"/>
              </a:spcAft>
              <a:defRPr sz="2400">
                <a:solidFill>
                  <a:schemeClr val="tx1"/>
                </a:solidFill>
                <a:latin typeface="Proximus Light" panose="020B0604020202020204" charset="0"/>
              </a:defRPr>
            </a:lvl1pPr>
            <a:lvl2pPr indent="-234911">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spcBef>
                <a:spcPts val="800"/>
              </a:spcBef>
              <a:defRPr sz="1867">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26366419-4CB1-22C2-BFEF-A47ACEC91643}"/>
              </a:ext>
            </a:extLst>
          </p:cNvPr>
          <p:cNvSpPr>
            <a:spLocks noGrp="1"/>
          </p:cNvSpPr>
          <p:nvPr>
            <p:ph type="body" sz="quarter" idx="14"/>
          </p:nvPr>
        </p:nvSpPr>
        <p:spPr>
          <a:xfrm>
            <a:off x="4411125" y="1676401"/>
            <a:ext cx="3360000" cy="4584699"/>
          </a:xfrm>
          <a:prstGeom prst="roundRect">
            <a:avLst>
              <a:gd name="adj" fmla="val 3679"/>
            </a:avLst>
          </a:prstGeom>
          <a:gradFill>
            <a:gsLst>
              <a:gs pos="69000">
                <a:schemeClr val="bg1"/>
              </a:gs>
              <a:gs pos="0">
                <a:srgbClr val="A82E76"/>
              </a:gs>
            </a:gsLst>
            <a:lin ang="16200000" scaled="1"/>
          </a:gradFill>
          <a:effectLst>
            <a:outerShdw blurRad="317500" dist="114300" dir="5400000" sx="95000" sy="95000" algn="ctr" rotWithShape="0">
              <a:prstClr val="black">
                <a:alpha val="25000"/>
              </a:prstClr>
            </a:outerShdw>
          </a:effectLst>
        </p:spPr>
        <p:txBody>
          <a:bodyPr lIns="216000" tIns="216000" rIns="216000" bIns="216000"/>
          <a:lstStyle>
            <a:lvl1pPr>
              <a:spcAft>
                <a:spcPts val="800"/>
              </a:spcAft>
              <a:defRPr sz="2400">
                <a:solidFill>
                  <a:schemeClr val="tx1"/>
                </a:solidFill>
                <a:latin typeface="Proximus Light" panose="020B0604020202020204" charset="0"/>
              </a:defRPr>
            </a:lvl1pPr>
            <a:lvl2pPr indent="-234911">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spcBef>
                <a:spcPts val="800"/>
              </a:spcBef>
              <a:defRPr sz="1867">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2498A6E2-70E0-E343-408B-2BDF74C11E13}"/>
              </a:ext>
            </a:extLst>
          </p:cNvPr>
          <p:cNvSpPr>
            <a:spLocks noGrp="1"/>
          </p:cNvSpPr>
          <p:nvPr>
            <p:ph type="body" sz="quarter" idx="15"/>
          </p:nvPr>
        </p:nvSpPr>
        <p:spPr>
          <a:xfrm>
            <a:off x="8208417" y="1676401"/>
            <a:ext cx="3360000" cy="4584699"/>
          </a:xfrm>
          <a:prstGeom prst="roundRect">
            <a:avLst>
              <a:gd name="adj" fmla="val 3679"/>
            </a:avLst>
          </a:prstGeom>
          <a:gradFill>
            <a:gsLst>
              <a:gs pos="69000">
                <a:schemeClr val="bg1"/>
              </a:gs>
              <a:gs pos="0">
                <a:srgbClr val="A82E76"/>
              </a:gs>
            </a:gsLst>
            <a:lin ang="16200000" scaled="1"/>
          </a:gradFill>
          <a:effectLst>
            <a:outerShdw blurRad="317500" dist="114300" dir="5400000" sx="95000" sy="95000" algn="ctr" rotWithShape="0">
              <a:prstClr val="black">
                <a:alpha val="25000"/>
              </a:prstClr>
            </a:outerShdw>
          </a:effectLst>
        </p:spPr>
        <p:txBody>
          <a:bodyPr lIns="216000" tIns="216000" rIns="216000" bIns="216000"/>
          <a:lstStyle>
            <a:lvl1pPr>
              <a:spcAft>
                <a:spcPts val="800"/>
              </a:spcAft>
              <a:defRPr sz="2400">
                <a:solidFill>
                  <a:schemeClr val="tx1"/>
                </a:solidFill>
                <a:latin typeface="Proximus Light" panose="020B0604020202020204" charset="0"/>
              </a:defRPr>
            </a:lvl1pPr>
            <a:lvl2pPr indent="-234911">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spcBef>
                <a:spcPts val="800"/>
              </a:spcBef>
              <a:defRPr sz="1867">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4">
            <a:extLst>
              <a:ext uri="{FF2B5EF4-FFF2-40B4-BE49-F238E27FC236}">
                <a16:creationId xmlns:a16="http://schemas.microsoft.com/office/drawing/2014/main" id="{C832E6AD-432A-922A-ABFF-29AC07D53A4E}"/>
              </a:ext>
            </a:extLst>
          </p:cNvPr>
          <p:cNvSpPr>
            <a:spLocks noGrp="1"/>
          </p:cNvSpPr>
          <p:nvPr>
            <p:ph type="ftr" sz="quarter" idx="3"/>
          </p:nvPr>
        </p:nvSpPr>
        <p:spPr>
          <a:xfrm>
            <a:off x="624000" y="6672000"/>
            <a:ext cx="480000" cy="96000"/>
          </a:xfrm>
          <a:prstGeom prst="rect">
            <a:avLst/>
          </a:prstGeom>
        </p:spPr>
        <p:txBody>
          <a:bodyPr vert="horz" lIns="0" tIns="0" rIns="0" bIns="0" rtlCol="0" anchor="b" anchorCtr="0"/>
          <a:lstStyle>
            <a:lvl1pPr algn="l">
              <a:defRPr sz="800">
                <a:solidFill>
                  <a:schemeClr val="bg1"/>
                </a:solidFill>
                <a:latin typeface="Proximus" panose="00000500000000000000" pitchFamily="2" charset="0"/>
              </a:defRPr>
            </a:lvl1pPr>
          </a:lstStyle>
          <a:p>
            <a:r>
              <a:rPr lang="nl-BE"/>
              <a:t>Proximus</a:t>
            </a:r>
          </a:p>
        </p:txBody>
      </p:sp>
      <p:sp>
        <p:nvSpPr>
          <p:cNvPr id="4" name="Slide Number Placeholder 9">
            <a:extLst>
              <a:ext uri="{FF2B5EF4-FFF2-40B4-BE49-F238E27FC236}">
                <a16:creationId xmlns:a16="http://schemas.microsoft.com/office/drawing/2014/main" id="{D65F59CB-747F-1995-7DE1-FD9B91B983B2}"/>
              </a:ext>
            </a:extLst>
          </p:cNvPr>
          <p:cNvSpPr>
            <a:spLocks noGrp="1"/>
          </p:cNvSpPr>
          <p:nvPr>
            <p:ph type="sldNum" sz="quarter" idx="4"/>
          </p:nvPr>
        </p:nvSpPr>
        <p:spPr>
          <a:xfrm>
            <a:off x="10944002" y="6672000"/>
            <a:ext cx="624417" cy="96000"/>
          </a:xfrm>
          <a:prstGeom prst="rect">
            <a:avLst/>
          </a:prstGeom>
        </p:spPr>
        <p:txBody>
          <a:bodyPr lIns="0" tIns="0" rIns="0" bIns="0" anchor="b"/>
          <a:lstStyle>
            <a:lvl1pPr algn="r">
              <a:defRPr sz="800">
                <a:solidFill>
                  <a:schemeClr val="bg1"/>
                </a:solidFill>
                <a:latin typeface="Proximus" panose="00000500000000000000" pitchFamily="2" charset="0"/>
              </a:defRPr>
            </a:lvl1pPr>
          </a:lstStyle>
          <a:p>
            <a:fld id="{AF458780-3DEA-4093-8A6E-7C0E406A36AD}" type="slidenum">
              <a:rPr lang="nl-BE" smtClean="0"/>
              <a:pPr/>
              <a:t>‹#›</a:t>
            </a:fld>
            <a:endParaRPr lang="nl-BE"/>
          </a:p>
        </p:txBody>
      </p:sp>
    </p:spTree>
    <p:extLst>
      <p:ext uri="{BB962C8B-B14F-4D97-AF65-F5344CB8AC3E}">
        <p14:creationId xmlns:p14="http://schemas.microsoft.com/office/powerpoint/2010/main" val="173917950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ocks - 3 - Gradient Background">
    <p:bg>
      <p:bgPr>
        <a:gradFill>
          <a:gsLst>
            <a:gs pos="25000">
              <a:schemeClr val="bg1"/>
            </a:gs>
            <a:gs pos="100000">
              <a:srgbClr val="D22E67"/>
            </a:gs>
          </a:gsLst>
          <a:lin ang="3000000" scaled="0"/>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613833" y="1676401"/>
            <a:ext cx="3360000" cy="4584699"/>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216000" tIns="216000" rIns="216000" bIns="216000"/>
          <a:lstStyle>
            <a:lvl1pPr>
              <a:spcAft>
                <a:spcPts val="800"/>
              </a:spcAft>
              <a:defRPr sz="2400">
                <a:solidFill>
                  <a:schemeClr val="bg1"/>
                </a:solidFill>
                <a:latin typeface="Proximus Light" panose="020B0604020202020204" charset="0"/>
              </a:defRPr>
            </a:lvl1pPr>
            <a:lvl2pPr indent="-234911">
              <a:defRPr/>
            </a:lvl2pPr>
            <a:lvl5pPr>
              <a:spcBef>
                <a:spcPts val="800"/>
              </a:spcBef>
              <a:defRPr sz="18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26366419-4CB1-22C2-BFEF-A47ACEC91643}"/>
              </a:ext>
            </a:extLst>
          </p:cNvPr>
          <p:cNvSpPr>
            <a:spLocks noGrp="1"/>
          </p:cNvSpPr>
          <p:nvPr>
            <p:ph type="body" sz="quarter" idx="14"/>
          </p:nvPr>
        </p:nvSpPr>
        <p:spPr>
          <a:xfrm>
            <a:off x="4411125" y="1676401"/>
            <a:ext cx="3360000" cy="4584699"/>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216000" tIns="216000" rIns="216000" bIns="216000"/>
          <a:lstStyle>
            <a:lvl1pPr>
              <a:spcAft>
                <a:spcPts val="800"/>
              </a:spcAft>
              <a:defRPr sz="2400">
                <a:solidFill>
                  <a:schemeClr val="bg1"/>
                </a:solidFill>
                <a:latin typeface="Proximus Light" panose="020B0604020202020204" charset="0"/>
              </a:defRPr>
            </a:lvl1pPr>
            <a:lvl2pPr indent="-234911">
              <a:defRPr/>
            </a:lvl2pPr>
            <a:lvl5pPr>
              <a:spcBef>
                <a:spcPts val="800"/>
              </a:spcBef>
              <a:defRPr sz="18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2498A6E2-70E0-E343-408B-2BDF74C11E13}"/>
              </a:ext>
            </a:extLst>
          </p:cNvPr>
          <p:cNvSpPr>
            <a:spLocks noGrp="1"/>
          </p:cNvSpPr>
          <p:nvPr>
            <p:ph type="body" sz="quarter" idx="15"/>
          </p:nvPr>
        </p:nvSpPr>
        <p:spPr>
          <a:xfrm>
            <a:off x="8208417" y="1676401"/>
            <a:ext cx="3360000" cy="4584699"/>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216000" tIns="216000" rIns="216000" bIns="216000"/>
          <a:lstStyle>
            <a:lvl1pPr>
              <a:spcAft>
                <a:spcPts val="800"/>
              </a:spcAft>
              <a:defRPr sz="2400">
                <a:solidFill>
                  <a:schemeClr val="bg1"/>
                </a:solidFill>
                <a:latin typeface="Proximus Light" panose="020B0604020202020204" charset="0"/>
              </a:defRPr>
            </a:lvl1pPr>
            <a:lvl2pPr indent="-234911">
              <a:defRPr/>
            </a:lvl2pPr>
            <a:lvl5pPr>
              <a:spcBef>
                <a:spcPts val="800"/>
              </a:spcBef>
              <a:defRPr sz="18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473063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Content slide - Image right">
    <p:spTree>
      <p:nvGrpSpPr>
        <p:cNvPr id="1" name=""/>
        <p:cNvGrpSpPr/>
        <p:nvPr/>
      </p:nvGrpSpPr>
      <p:grpSpPr>
        <a:xfrm>
          <a:off x="0" y="0"/>
          <a:ext cx="0" cy="0"/>
          <a:chOff x="0" y="0"/>
          <a:chExt cx="0" cy="0"/>
        </a:xfrm>
      </p:grpSpPr>
      <p:sp>
        <p:nvSpPr>
          <p:cNvPr id="10" name="Picture Placeholder 4"/>
          <p:cNvSpPr>
            <a:spLocks noGrp="1"/>
          </p:cNvSpPr>
          <p:nvPr>
            <p:ph type="pic" sz="quarter" idx="15" hasCustomPrompt="1"/>
          </p:nvPr>
        </p:nvSpPr>
        <p:spPr>
          <a:xfrm>
            <a:off x="6586676" y="0"/>
            <a:ext cx="5616000" cy="6858000"/>
          </a:xfrm>
          <a:blipFill>
            <a:blip r:embed="rId2"/>
            <a:tile tx="0" ty="69850" sx="100000" sy="100000" flip="none" algn="ctr"/>
          </a:blipFill>
        </p:spPr>
        <p:txBody>
          <a:bodyPr anchor="ctr"/>
          <a:lstStyle>
            <a:lvl1pPr marL="0" indent="0" algn="ctr">
              <a:lnSpc>
                <a:spcPct val="100000"/>
              </a:lnSpc>
              <a:buNone/>
              <a:defRPr baseline="0">
                <a:latin typeface="Proximus" panose="00000500000000000000" pitchFamily="2" charset="0"/>
              </a:defRPr>
            </a:lvl1pPr>
          </a:lstStyle>
          <a:p>
            <a:r>
              <a:rPr lang="en-GB"/>
              <a:t>Click icon to change picture</a:t>
            </a:r>
          </a:p>
        </p:txBody>
      </p:sp>
      <p:sp>
        <p:nvSpPr>
          <p:cNvPr id="2" name="Title 1"/>
          <p:cNvSpPr>
            <a:spLocks noGrp="1"/>
          </p:cNvSpPr>
          <p:nvPr>
            <p:ph type="title" hasCustomPrompt="1"/>
          </p:nvPr>
        </p:nvSpPr>
        <p:spPr>
          <a:xfrm>
            <a:off x="613839" y="503768"/>
            <a:ext cx="5264789" cy="1411200"/>
          </a:xfrm>
        </p:spPr>
        <p:txBody>
          <a:bodyPr/>
          <a:lstStyle>
            <a:lvl1pPr>
              <a:defRPr b="1">
                <a:solidFill>
                  <a:schemeClr val="bg1"/>
                </a:solidFill>
                <a:latin typeface="Proximus" panose="00000500000000000000" pitchFamily="2" charset="0"/>
              </a:defRPr>
            </a:lvl1pPr>
          </a:lstStyle>
          <a:p>
            <a:r>
              <a:rPr lang="en-US"/>
              <a:t>Click to edit slide title</a:t>
            </a:r>
            <a:endParaRPr lang="nl-BE"/>
          </a:p>
        </p:txBody>
      </p:sp>
      <p:sp>
        <p:nvSpPr>
          <p:cNvPr id="5" name="Text Placeholder 4">
            <a:extLst>
              <a:ext uri="{FF2B5EF4-FFF2-40B4-BE49-F238E27FC236}">
                <a16:creationId xmlns:a16="http://schemas.microsoft.com/office/drawing/2014/main" id="{92B82360-6E03-CB5A-DE23-8C03DE7AFF22}"/>
              </a:ext>
            </a:extLst>
          </p:cNvPr>
          <p:cNvSpPr>
            <a:spLocks noGrp="1"/>
          </p:cNvSpPr>
          <p:nvPr>
            <p:ph type="body" sz="quarter" idx="18"/>
          </p:nvPr>
        </p:nvSpPr>
        <p:spPr>
          <a:xfrm>
            <a:off x="613835" y="2135999"/>
            <a:ext cx="5264151" cy="4125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79310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XS ADA - title, subtitle, content - bg3">
    <p:bg>
      <p:bgPr>
        <a:solidFill>
          <a:schemeClr val="bg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F97C615E-2CFB-FA44-32D0-E9D0C8F54AE7}"/>
              </a:ext>
            </a:extLst>
          </p:cNvPr>
          <p:cNvGrpSpPr/>
          <p:nvPr userDrawn="1"/>
        </p:nvGrpSpPr>
        <p:grpSpPr>
          <a:xfrm>
            <a:off x="-1600" y="1"/>
            <a:ext cx="12193600" cy="6858225"/>
            <a:chOff x="-1200" y="0"/>
            <a:chExt cx="9145200" cy="5143669"/>
          </a:xfrm>
        </p:grpSpPr>
        <p:sp>
          <p:nvSpPr>
            <p:cNvPr id="5" name="Rectangle 4">
              <a:extLst>
                <a:ext uri="{FF2B5EF4-FFF2-40B4-BE49-F238E27FC236}">
                  <a16:creationId xmlns:a16="http://schemas.microsoft.com/office/drawing/2014/main" id="{5EACE4BA-6C3D-DF27-7D6D-452390428A30}"/>
                </a:ext>
              </a:extLst>
            </p:cNvPr>
            <p:cNvSpPr/>
            <p:nvPr userDrawn="1"/>
          </p:nvSpPr>
          <p:spPr>
            <a:xfrm>
              <a:off x="0" y="0"/>
              <a:ext cx="9144000" cy="504363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624517"/>
              <a:endParaRPr lang="en-US" sz="1867" err="1">
                <a:solidFill>
                  <a:schemeClr val="tx1"/>
                </a:solidFill>
                <a:latin typeface="Proximus" panose="00000500000000000000" pitchFamily="2" charset="0"/>
                <a:cs typeface="Proximus"/>
              </a:endParaRPr>
            </a:p>
          </p:txBody>
        </p:sp>
        <p:grpSp>
          <p:nvGrpSpPr>
            <p:cNvPr id="7" name="Group 6">
              <a:extLst>
                <a:ext uri="{FF2B5EF4-FFF2-40B4-BE49-F238E27FC236}">
                  <a16:creationId xmlns:a16="http://schemas.microsoft.com/office/drawing/2014/main" id="{EE22513C-D7FD-57FF-011B-E9EA5C9D4F11}"/>
                </a:ext>
              </a:extLst>
            </p:cNvPr>
            <p:cNvGrpSpPr/>
            <p:nvPr userDrawn="1"/>
          </p:nvGrpSpPr>
          <p:grpSpPr>
            <a:xfrm>
              <a:off x="2388230" y="0"/>
              <a:ext cx="6755770" cy="5143500"/>
              <a:chOff x="2394583" y="0"/>
              <a:chExt cx="6755770" cy="5143500"/>
            </a:xfrm>
            <a:solidFill>
              <a:schemeClr val="bg1">
                <a:alpha val="20000"/>
              </a:schemeClr>
            </a:solidFill>
          </p:grpSpPr>
          <p:pic>
            <p:nvPicPr>
              <p:cNvPr id="9" name="Graphic 8">
                <a:extLst>
                  <a:ext uri="{FF2B5EF4-FFF2-40B4-BE49-F238E27FC236}">
                    <a16:creationId xmlns:a16="http://schemas.microsoft.com/office/drawing/2014/main" id="{4D169A54-BA12-AD2C-8729-F1A4948C729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40699" r="46306"/>
              <a:stretch/>
            </p:blipFill>
            <p:spPr>
              <a:xfrm>
                <a:off x="6868313" y="0"/>
                <a:ext cx="2275687" cy="3490722"/>
              </a:xfrm>
              <a:prstGeom prst="rect">
                <a:avLst/>
              </a:prstGeom>
            </p:spPr>
          </p:pic>
          <p:pic>
            <p:nvPicPr>
              <p:cNvPr id="10" name="Graphic 9">
                <a:extLst>
                  <a:ext uri="{FF2B5EF4-FFF2-40B4-BE49-F238E27FC236}">
                    <a16:creationId xmlns:a16="http://schemas.microsoft.com/office/drawing/2014/main" id="{D6273140-C89D-9271-1562-56F1926EC537}"/>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t="12793"/>
              <a:stretch/>
            </p:blipFill>
            <p:spPr>
              <a:xfrm>
                <a:off x="2394583" y="0"/>
                <a:ext cx="4473730" cy="3490722"/>
              </a:xfrm>
              <a:prstGeom prst="rect">
                <a:avLst/>
              </a:prstGeom>
            </p:spPr>
          </p:pic>
          <p:pic>
            <p:nvPicPr>
              <p:cNvPr id="11" name="Graphic 10">
                <a:extLst>
                  <a:ext uri="{FF2B5EF4-FFF2-40B4-BE49-F238E27FC236}">
                    <a16:creationId xmlns:a16="http://schemas.microsoft.com/office/drawing/2014/main" id="{24500DC6-C660-E077-0615-C4015D5610F1}"/>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r="39532" b="65156"/>
              <a:stretch/>
            </p:blipFill>
            <p:spPr>
              <a:xfrm>
                <a:off x="6445175" y="3748762"/>
                <a:ext cx="2705178" cy="1394738"/>
              </a:xfrm>
              <a:prstGeom prst="rect">
                <a:avLst/>
              </a:prstGeom>
            </p:spPr>
          </p:pic>
        </p:grpSp>
        <p:sp>
          <p:nvSpPr>
            <p:cNvPr id="8" name="Rectangle 7">
              <a:extLst>
                <a:ext uri="{FF2B5EF4-FFF2-40B4-BE49-F238E27FC236}">
                  <a16:creationId xmlns:a16="http://schemas.microsoft.com/office/drawing/2014/main" id="{FB7FA38A-F873-DAEB-D824-0578395DFAEA}"/>
                </a:ext>
              </a:extLst>
            </p:cNvPr>
            <p:cNvSpPr/>
            <p:nvPr userDrawn="1"/>
          </p:nvSpPr>
          <p:spPr>
            <a:xfrm>
              <a:off x="-1200" y="0"/>
              <a:ext cx="9145200" cy="5143669"/>
            </a:xfrm>
            <a:prstGeom prst="rect">
              <a:avLst/>
            </a:prstGeom>
            <a:gradFill>
              <a:gsLst>
                <a:gs pos="0">
                  <a:srgbClr val="5C2D91"/>
                </a:gs>
                <a:gs pos="60000">
                  <a:srgbClr val="5C2D91">
                    <a:alpha val="0"/>
                  </a:srgb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2400"/>
            </a:p>
          </p:txBody>
        </p:sp>
      </p:grpSp>
      <p:sp>
        <p:nvSpPr>
          <p:cNvPr id="2" name="Title 1"/>
          <p:cNvSpPr>
            <a:spLocks noGrp="1"/>
          </p:cNvSpPr>
          <p:nvPr>
            <p:ph type="title" hasCustomPrompt="1"/>
          </p:nvPr>
        </p:nvSpPr>
        <p:spPr>
          <a:xfrm>
            <a:off x="613837" y="503769"/>
            <a:ext cx="10962217" cy="533399"/>
          </a:xfrm>
        </p:spPr>
        <p:txBody>
          <a:bodyPr anchor="t"/>
          <a:lstStyle>
            <a:lvl1pPr>
              <a:defRPr b="0">
                <a:solidFill>
                  <a:schemeClr val="tx1"/>
                </a:solidFill>
              </a:defRPr>
            </a:lvl1pPr>
          </a:lstStyle>
          <a:p>
            <a:r>
              <a:rPr lang="en-US"/>
              <a:t>Click to edit slide title</a:t>
            </a:r>
            <a:endParaRPr lang="nl-BE"/>
          </a:p>
        </p:txBody>
      </p:sp>
      <p:sp>
        <p:nvSpPr>
          <p:cNvPr id="6" name="Text Placeholder 5">
            <a:extLst>
              <a:ext uri="{FF2B5EF4-FFF2-40B4-BE49-F238E27FC236}">
                <a16:creationId xmlns:a16="http://schemas.microsoft.com/office/drawing/2014/main" id="{3CFA2924-4BFC-CB4A-33EA-AFA2F3E1085E}"/>
              </a:ext>
            </a:extLst>
          </p:cNvPr>
          <p:cNvSpPr>
            <a:spLocks noGrp="1"/>
          </p:cNvSpPr>
          <p:nvPr>
            <p:ph type="body" sz="quarter" idx="12"/>
          </p:nvPr>
        </p:nvSpPr>
        <p:spPr>
          <a:xfrm>
            <a:off x="624417" y="1138501"/>
            <a:ext cx="10962216" cy="393967"/>
          </a:xfrm>
        </p:spPr>
        <p:txBody>
          <a:bodyPr/>
          <a:lstStyle>
            <a:lvl1pPr>
              <a:defRPr sz="2133" b="1">
                <a:solidFill>
                  <a:schemeClr val="tx1"/>
                </a:solidFill>
                <a:latin typeface="+mn-lt"/>
              </a:defRPr>
            </a:lvl1pPr>
          </a:lstStyle>
          <a:p>
            <a:pPr lvl="0"/>
            <a:r>
              <a:rPr lang="en-US"/>
              <a:t>Click to edit Master text styles</a:t>
            </a:r>
          </a:p>
        </p:txBody>
      </p:sp>
      <p:sp>
        <p:nvSpPr>
          <p:cNvPr id="3" name="Text Placeholder 2">
            <a:extLst>
              <a:ext uri="{FF2B5EF4-FFF2-40B4-BE49-F238E27FC236}">
                <a16:creationId xmlns:a16="http://schemas.microsoft.com/office/drawing/2014/main" id="{45B36AB5-2884-9593-24D3-EBB22AD300A4}"/>
              </a:ext>
            </a:extLst>
          </p:cNvPr>
          <p:cNvSpPr>
            <a:spLocks noGrp="1"/>
          </p:cNvSpPr>
          <p:nvPr>
            <p:ph idx="1"/>
          </p:nvPr>
        </p:nvSpPr>
        <p:spPr>
          <a:xfrm>
            <a:off x="613835" y="2036234"/>
            <a:ext cx="10962216" cy="4224865"/>
          </a:xfrm>
          <a:prstGeom prst="rect">
            <a:avLst/>
          </a:prstGeom>
        </p:spPr>
        <p:txBody>
          <a:bodyPr vert="horz" lIns="0" tIns="0" rIns="0" bIns="0" numCol="1" spcCol="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BE"/>
          </a:p>
        </p:txBody>
      </p:sp>
    </p:spTree>
    <p:extLst>
      <p:ext uri="{BB962C8B-B14F-4D97-AF65-F5344CB8AC3E}">
        <p14:creationId xmlns:p14="http://schemas.microsoft.com/office/powerpoint/2010/main" val="400169100"/>
      </p:ext>
    </p:extLst>
  </p:cSld>
  <p:clrMapOvr>
    <a:masterClrMapping/>
  </p:clrMapOvr>
  <p:extLst>
    <p:ext uri="{DCECCB84-F9BA-43D5-87BE-67443E8EF086}">
      <p15:sldGuideLst xmlns:p15="http://schemas.microsoft.com/office/powerpoint/2012/main">
        <p15:guide id="1" orient="horz" pos="962">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Content slide - Image left">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0BDA83C3-91B0-900B-BC21-475B0DD60759}"/>
              </a:ext>
            </a:extLst>
          </p:cNvPr>
          <p:cNvSpPr>
            <a:spLocks noGrp="1"/>
          </p:cNvSpPr>
          <p:nvPr>
            <p:ph type="pic" sz="quarter" idx="19" hasCustomPrompt="1"/>
          </p:nvPr>
        </p:nvSpPr>
        <p:spPr>
          <a:xfrm>
            <a:off x="2" y="0"/>
            <a:ext cx="6588428" cy="6858000"/>
          </a:xfrm>
          <a:blipFill>
            <a:blip r:embed="rId2"/>
            <a:tile tx="0" ty="69850" sx="100000" sy="100000" flip="none" algn="ctr"/>
          </a:blipFill>
        </p:spPr>
        <p:txBody>
          <a:bodyPr anchor="ctr"/>
          <a:lstStyle>
            <a:lvl1pPr marL="0" indent="0" algn="ctr">
              <a:lnSpc>
                <a:spcPct val="100000"/>
              </a:lnSpc>
              <a:buNone/>
              <a:defRPr baseline="0">
                <a:latin typeface="Proximus" panose="00000500000000000000" pitchFamily="2" charset="0"/>
              </a:defRPr>
            </a:lvl1pPr>
          </a:lstStyle>
          <a:p>
            <a:r>
              <a:rPr lang="en-GB"/>
              <a:t>Click icon to change picture</a:t>
            </a:r>
          </a:p>
        </p:txBody>
      </p:sp>
      <p:sp>
        <p:nvSpPr>
          <p:cNvPr id="2" name="Title 1"/>
          <p:cNvSpPr>
            <a:spLocks noGrp="1"/>
          </p:cNvSpPr>
          <p:nvPr>
            <p:ph type="title" hasCustomPrompt="1"/>
          </p:nvPr>
        </p:nvSpPr>
        <p:spPr>
          <a:xfrm>
            <a:off x="7247489" y="503769"/>
            <a:ext cx="4320928" cy="1409743"/>
          </a:xfrm>
        </p:spPr>
        <p:txBody>
          <a:bodyPr/>
          <a:lstStyle>
            <a:lvl1pPr>
              <a:defRPr b="1">
                <a:solidFill>
                  <a:schemeClr val="bg1"/>
                </a:solidFill>
                <a:latin typeface="Proximus" panose="00000500000000000000" pitchFamily="2" charset="0"/>
              </a:defRPr>
            </a:lvl1pPr>
          </a:lstStyle>
          <a:p>
            <a:r>
              <a:rPr lang="en-US"/>
              <a:t>Click to edit slide title</a:t>
            </a:r>
            <a:endParaRPr lang="nl-BE"/>
          </a:p>
        </p:txBody>
      </p:sp>
      <p:sp>
        <p:nvSpPr>
          <p:cNvPr id="5" name="Text Placeholder 4">
            <a:extLst>
              <a:ext uri="{FF2B5EF4-FFF2-40B4-BE49-F238E27FC236}">
                <a16:creationId xmlns:a16="http://schemas.microsoft.com/office/drawing/2014/main" id="{92B82360-6E03-CB5A-DE23-8C03DE7AFF22}"/>
              </a:ext>
            </a:extLst>
          </p:cNvPr>
          <p:cNvSpPr>
            <a:spLocks noGrp="1"/>
          </p:cNvSpPr>
          <p:nvPr>
            <p:ph type="body" sz="quarter" idx="18"/>
          </p:nvPr>
        </p:nvSpPr>
        <p:spPr>
          <a:xfrm>
            <a:off x="7247467" y="2133599"/>
            <a:ext cx="4320404" cy="4127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3164554"/>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ontent slide - Full image">
    <p:bg>
      <p:bgPr>
        <a:solidFill>
          <a:schemeClr val="tx1"/>
        </a:solidFill>
        <a:effectLst/>
      </p:bgPr>
    </p:bg>
    <p:spTree>
      <p:nvGrpSpPr>
        <p:cNvPr id="1" name=""/>
        <p:cNvGrpSpPr/>
        <p:nvPr/>
      </p:nvGrpSpPr>
      <p:grpSpPr>
        <a:xfrm>
          <a:off x="0" y="0"/>
          <a:ext cx="0" cy="0"/>
          <a:chOff x="0" y="0"/>
          <a:chExt cx="0" cy="0"/>
        </a:xfrm>
      </p:grpSpPr>
      <p:sp>
        <p:nvSpPr>
          <p:cNvPr id="9" name="Picture Placeholder 4"/>
          <p:cNvSpPr>
            <a:spLocks noGrp="1"/>
          </p:cNvSpPr>
          <p:nvPr>
            <p:ph type="pic" sz="quarter" idx="15" hasCustomPrompt="1"/>
          </p:nvPr>
        </p:nvSpPr>
        <p:spPr>
          <a:xfrm>
            <a:off x="0" y="2"/>
            <a:ext cx="12192000" cy="6864625"/>
          </a:xfrm>
          <a:blipFill dpi="0" rotWithShape="1">
            <a:blip r:embed="rId2"/>
            <a:srcRect/>
            <a:tile tx="0" ty="69850" sx="100000" sy="100000" flip="none" algn="ctr"/>
          </a:blipFill>
        </p:spPr>
        <p:txBody>
          <a:bodyPr anchor="ctr"/>
          <a:lstStyle>
            <a:lvl1pPr marL="0" indent="0" algn="ctr">
              <a:lnSpc>
                <a:spcPct val="100000"/>
              </a:lnSpc>
              <a:buNone/>
              <a:defRPr baseline="0">
                <a:noFill/>
                <a:latin typeface="Proximus" panose="00000500000000000000" pitchFamily="2" charset="0"/>
              </a:defRPr>
            </a:lvl1pPr>
          </a:lstStyle>
          <a:p>
            <a:r>
              <a:rPr lang="en-GB"/>
              <a:t>Click icon to change picture</a:t>
            </a:r>
          </a:p>
        </p:txBody>
      </p:sp>
      <p:sp>
        <p:nvSpPr>
          <p:cNvPr id="2" name="Title 1"/>
          <p:cNvSpPr>
            <a:spLocks noGrp="1"/>
          </p:cNvSpPr>
          <p:nvPr>
            <p:ph type="title" hasCustomPrompt="1"/>
          </p:nvPr>
        </p:nvSpPr>
        <p:spPr/>
        <p:txBody>
          <a:bodyPr/>
          <a:lstStyle>
            <a:lvl1pPr>
              <a:defRPr b="1">
                <a:solidFill>
                  <a:schemeClr val="bg1"/>
                </a:solidFill>
                <a:latin typeface="Proximus" panose="00000500000000000000" pitchFamily="2" charset="0"/>
              </a:defRPr>
            </a:lvl1pPr>
          </a:lstStyle>
          <a:p>
            <a:r>
              <a:rPr lang="en-US"/>
              <a:t>Click to edit slide title</a:t>
            </a:r>
            <a:endParaRPr lang="nl-BE"/>
          </a:p>
        </p:txBody>
      </p:sp>
    </p:spTree>
    <p:extLst>
      <p:ext uri="{BB962C8B-B14F-4D97-AF65-F5344CB8AC3E}">
        <p14:creationId xmlns:p14="http://schemas.microsoft.com/office/powerpoint/2010/main" val="415093903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gradFill>
          <a:gsLst>
            <a:gs pos="25000">
              <a:schemeClr val="bg1"/>
            </a:gs>
            <a:gs pos="100000">
              <a:srgbClr val="D12E67"/>
            </a:gs>
          </a:gsLst>
          <a:lin ang="3000000" scaled="0"/>
        </a:gra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A4627669-EBE6-429E-B1FA-C8D75FC5EB99}"/>
              </a:ext>
            </a:extLst>
          </p:cNvPr>
          <p:cNvSpPr txBox="1"/>
          <p:nvPr userDrawn="1"/>
        </p:nvSpPr>
        <p:spPr>
          <a:xfrm>
            <a:off x="613833" y="1383693"/>
            <a:ext cx="10990456" cy="861775"/>
          </a:xfrm>
          <a:prstGeom prst="rect">
            <a:avLst/>
          </a:prstGeom>
        </p:spPr>
        <p:txBody>
          <a:bodyPr vert="horz" lIns="0" tIns="0" rIns="0" bIns="0" rtlCol="0" anchor="b" anchorCtr="0">
            <a:normAutofit/>
          </a:bodyPr>
          <a:lstStyle>
            <a:lvl1pPr defTabSz="914287">
              <a:spcBef>
                <a:spcPct val="0"/>
              </a:spcBef>
              <a:buNone/>
              <a:defRPr sz="4200" b="0" i="0">
                <a:solidFill>
                  <a:srgbClr val="FFFFFF"/>
                </a:solidFill>
                <a:latin typeface="Proximus ExtraBold" panose="00000900000000000000" pitchFamily="2" charset="0"/>
                <a:ea typeface="+mj-ea"/>
                <a:cs typeface="Proximus" panose="00000500000000000000" pitchFamily="2" charset="0"/>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marL="0" marR="0" lvl="0" indent="0" algn="l" defTabSz="1218988" rtl="0" eaLnBrk="1" fontAlgn="auto" latinLnBrk="0" hangingPunct="1">
              <a:lnSpc>
                <a:spcPct val="100000"/>
              </a:lnSpc>
              <a:spcBef>
                <a:spcPct val="0"/>
              </a:spcBef>
              <a:spcAft>
                <a:spcPts val="0"/>
              </a:spcAft>
              <a:buClrTx/>
              <a:buSzTx/>
              <a:buFontTx/>
              <a:buNone/>
              <a:tabLst/>
              <a:defRPr/>
            </a:pPr>
            <a:r>
              <a:rPr kumimoji="0" lang="en-BE" sz="5600" b="0" i="0" u="none" strike="noStrike" kern="1200" cap="none" spc="0" normalizeH="0" baseline="0" noProof="0">
                <a:ln>
                  <a:noFill/>
                </a:ln>
                <a:solidFill>
                  <a:srgbClr val="FFFFFF"/>
                </a:solidFill>
                <a:effectLst/>
                <a:uLnTx/>
                <a:uFillTx/>
                <a:latin typeface="Proximus ExtraBold" panose="00000900000000000000" pitchFamily="2" charset="0"/>
                <a:ea typeface="+mj-ea"/>
              </a:rPr>
              <a:t>T</a:t>
            </a:r>
            <a:r>
              <a:rPr kumimoji="0" lang="en-US" sz="5600" b="0" i="0" u="none" strike="noStrike" kern="1200" cap="none" spc="0" normalizeH="0" baseline="0" noProof="0">
                <a:ln>
                  <a:noFill/>
                </a:ln>
                <a:solidFill>
                  <a:srgbClr val="FFFFFF"/>
                </a:solidFill>
                <a:effectLst/>
                <a:uLnTx/>
                <a:uFillTx/>
                <a:latin typeface="Proximus ExtraBold" panose="00000900000000000000" pitchFamily="2" charset="0"/>
                <a:ea typeface="+mj-ea"/>
              </a:rPr>
              <a:t>h</a:t>
            </a:r>
            <a:r>
              <a:rPr kumimoji="0" lang="en-BE" sz="5600" b="0" i="0" u="none" strike="noStrike" kern="1200" cap="none" spc="0" normalizeH="0" baseline="0" noProof="0">
                <a:ln>
                  <a:noFill/>
                </a:ln>
                <a:solidFill>
                  <a:srgbClr val="FFFFFF"/>
                </a:solidFill>
                <a:effectLst/>
                <a:uLnTx/>
                <a:uFillTx/>
                <a:latin typeface="Proximus ExtraBold" panose="00000900000000000000" pitchFamily="2" charset="0"/>
                <a:ea typeface="+mj-ea"/>
              </a:rPr>
              <a:t>a</a:t>
            </a:r>
            <a:r>
              <a:rPr kumimoji="0" lang="en-US" sz="5600" b="0" i="0" u="none" strike="noStrike" kern="1200" cap="none" spc="0" normalizeH="0" baseline="0" noProof="0">
                <a:ln>
                  <a:noFill/>
                </a:ln>
                <a:solidFill>
                  <a:srgbClr val="FFFFFF"/>
                </a:solidFill>
                <a:effectLst/>
                <a:uLnTx/>
                <a:uFillTx/>
                <a:latin typeface="Proximus ExtraBold" panose="00000900000000000000" pitchFamily="2" charset="0"/>
                <a:ea typeface="+mj-ea"/>
              </a:rPr>
              <a:t>n</a:t>
            </a:r>
            <a:r>
              <a:rPr kumimoji="0" lang="en-BE" sz="5600" b="0" i="0" u="none" strike="noStrike" kern="1200" cap="none" spc="0" normalizeH="0" baseline="0" noProof="0">
                <a:ln>
                  <a:noFill/>
                </a:ln>
                <a:solidFill>
                  <a:srgbClr val="FFFFFF"/>
                </a:solidFill>
                <a:effectLst/>
                <a:uLnTx/>
                <a:uFillTx/>
                <a:latin typeface="Proximus ExtraBold" panose="00000900000000000000" pitchFamily="2" charset="0"/>
                <a:ea typeface="+mj-ea"/>
              </a:rPr>
              <a:t>k </a:t>
            </a:r>
            <a:r>
              <a:rPr kumimoji="0" lang="en-US" sz="5600" b="0" i="0" u="none" strike="noStrike" kern="1200" cap="none" spc="0" normalizeH="0" baseline="0" noProof="0">
                <a:ln>
                  <a:noFill/>
                </a:ln>
                <a:solidFill>
                  <a:srgbClr val="FFFFFF"/>
                </a:solidFill>
                <a:effectLst/>
                <a:uLnTx/>
                <a:uFillTx/>
                <a:latin typeface="Proximus ExtraBold" panose="00000900000000000000" pitchFamily="2" charset="0"/>
                <a:ea typeface="+mj-ea"/>
              </a:rPr>
              <a:t>Y</a:t>
            </a:r>
            <a:r>
              <a:rPr kumimoji="0" lang="en-BE" sz="5600" b="0" i="0" u="none" strike="noStrike" kern="1200" cap="none" spc="0" normalizeH="0" baseline="0" noProof="0">
                <a:ln>
                  <a:noFill/>
                </a:ln>
                <a:solidFill>
                  <a:srgbClr val="FFFFFF"/>
                </a:solidFill>
                <a:effectLst/>
                <a:uLnTx/>
                <a:uFillTx/>
                <a:latin typeface="Proximus ExtraBold" panose="00000900000000000000" pitchFamily="2" charset="0"/>
                <a:ea typeface="+mj-ea"/>
              </a:rPr>
              <a:t>o</a:t>
            </a:r>
            <a:r>
              <a:rPr kumimoji="0" lang="en-US" sz="5600" b="0" i="0" u="none" strike="noStrike" kern="1200" cap="none" spc="0" normalizeH="0" baseline="0" noProof="0">
                <a:ln>
                  <a:noFill/>
                </a:ln>
                <a:solidFill>
                  <a:srgbClr val="FFFFFF"/>
                </a:solidFill>
                <a:effectLst/>
                <a:uLnTx/>
                <a:uFillTx/>
                <a:latin typeface="Proximus ExtraBold" panose="00000900000000000000" pitchFamily="2" charset="0"/>
                <a:ea typeface="+mj-ea"/>
              </a:rPr>
              <a:t>u</a:t>
            </a:r>
          </a:p>
        </p:txBody>
      </p:sp>
      <p:sp>
        <p:nvSpPr>
          <p:cNvPr id="9" name="TextBox 8">
            <a:extLst>
              <a:ext uri="{FF2B5EF4-FFF2-40B4-BE49-F238E27FC236}">
                <a16:creationId xmlns:a16="http://schemas.microsoft.com/office/drawing/2014/main" id="{C1327079-BB69-4AA7-AE65-44FE269F5EF2}"/>
              </a:ext>
            </a:extLst>
          </p:cNvPr>
          <p:cNvSpPr txBox="1"/>
          <p:nvPr userDrawn="1"/>
        </p:nvSpPr>
        <p:spPr>
          <a:xfrm>
            <a:off x="613833" y="5033936"/>
            <a:ext cx="10962219" cy="357229"/>
          </a:xfrm>
          <a:prstGeom prst="rect">
            <a:avLst/>
          </a:prstGeom>
        </p:spPr>
        <p:txBody>
          <a:bodyPr vert="horz" lIns="0" tIns="0" rIns="0" bIns="0" numCol="1" spcCol="0" rtlCol="0" anchor="t" anchorCtr="0">
            <a:noAutofit/>
          </a:bodyPr>
          <a:lstStyle>
            <a:lvl1pPr lvl="0" indent="0" defTabSz="914287">
              <a:lnSpc>
                <a:spcPts val="2200"/>
              </a:lnSpc>
              <a:spcBef>
                <a:spcPts val="0"/>
              </a:spcBef>
              <a:spcAft>
                <a:spcPts val="1100"/>
              </a:spcAft>
              <a:buClr>
                <a:schemeClr val="tx2"/>
              </a:buClr>
              <a:buSzPct val="100000"/>
              <a:buFont typeface="Arial" panose="020B0604020202020204" pitchFamily="34" charset="0"/>
              <a:buNone/>
              <a:tabLst/>
              <a:defRPr sz="1800">
                <a:latin typeface="Proximus" panose="00000500000000000000" pitchFamily="2" charset="0"/>
              </a:defRPr>
            </a:lvl1pPr>
            <a:lvl2pPr marL="358730" indent="-176192" defTabSz="914287">
              <a:spcBef>
                <a:spcPts val="0"/>
              </a:spcBef>
              <a:spcAft>
                <a:spcPts val="1100"/>
              </a:spcAft>
              <a:buClr>
                <a:schemeClr val="bg1"/>
              </a:buClr>
              <a:buSzPct val="100000"/>
              <a:buFont typeface="Arial" panose="020B0604020202020204" pitchFamily="34" charset="0"/>
              <a:buChar char="•"/>
              <a:tabLst/>
              <a:defRPr sz="1800">
                <a:solidFill>
                  <a:schemeClr val="bg1"/>
                </a:solidFill>
                <a:latin typeface="Proximus" panose="00000500000000000000" pitchFamily="2" charset="0"/>
              </a:defRPr>
            </a:lvl2pPr>
            <a:lvl3pPr marL="536507" indent="-177779" defTabSz="914287">
              <a:spcBef>
                <a:spcPts val="0"/>
              </a:spcBef>
              <a:spcAft>
                <a:spcPts val="1100"/>
              </a:spcAft>
              <a:buClr>
                <a:schemeClr val="bg1"/>
              </a:buClr>
              <a:buSzPct val="100000"/>
              <a:buFont typeface="Arial" panose="020B0604020202020204" pitchFamily="34" charset="0"/>
              <a:buChar char="•"/>
              <a:tabLst/>
              <a:defRPr sz="1600">
                <a:solidFill>
                  <a:schemeClr val="bg1"/>
                </a:solidFill>
                <a:latin typeface="Proximus" panose="00000500000000000000" pitchFamily="2" charset="0"/>
              </a:defRPr>
            </a:lvl3pPr>
            <a:lvl4pPr marL="712699" indent="-176192" defTabSz="914287">
              <a:spcBef>
                <a:spcPts val="0"/>
              </a:spcBef>
              <a:spcAft>
                <a:spcPts val="1100"/>
              </a:spcAft>
              <a:buClr>
                <a:schemeClr val="bg1"/>
              </a:buClr>
              <a:buSzPct val="100000"/>
              <a:buFont typeface="Arial" panose="020B0604020202020204" pitchFamily="34" charset="0"/>
              <a:buChar char="•"/>
              <a:tabLst/>
              <a:defRPr sz="1400">
                <a:solidFill>
                  <a:schemeClr val="bg1"/>
                </a:solidFill>
                <a:latin typeface="Proximus" panose="00000500000000000000" pitchFamily="2" charset="0"/>
              </a:defRPr>
            </a:lvl4pPr>
            <a:lvl5pPr marL="888889" indent="-176192" defTabSz="914287">
              <a:spcBef>
                <a:spcPts val="0"/>
              </a:spcBef>
              <a:spcAft>
                <a:spcPts val="1100"/>
              </a:spcAft>
              <a:buClr>
                <a:schemeClr val="bg1"/>
              </a:buClr>
              <a:buSzPct val="100000"/>
              <a:buFont typeface="Arial" panose="020B0604020202020204" pitchFamily="34" charset="0"/>
              <a:buChar char="•"/>
              <a:tabLst/>
              <a:defRPr sz="1200">
                <a:solidFill>
                  <a:schemeClr val="bg1"/>
                </a:solidFill>
                <a:latin typeface="Proximus" panose="00000500000000000000" pitchFamily="2" charset="0"/>
              </a:defRPr>
            </a:lvl5pPr>
            <a:lvl6pPr marL="2514286" indent="-228572" defTabSz="914287">
              <a:spcBef>
                <a:spcPct val="20000"/>
              </a:spcBef>
              <a:buFont typeface="Arial" panose="020B0604020202020204" pitchFamily="34" charset="0"/>
              <a:buChar char="•"/>
              <a:defRPr sz="2000"/>
            </a:lvl6pPr>
            <a:lvl7pPr marL="2971429" indent="-228572" defTabSz="914287">
              <a:spcBef>
                <a:spcPct val="20000"/>
              </a:spcBef>
              <a:buFont typeface="Arial" panose="020B0604020202020204" pitchFamily="34" charset="0"/>
              <a:buChar char="•"/>
              <a:defRPr sz="2000"/>
            </a:lvl7pPr>
            <a:lvl8pPr marL="3428572" indent="-228572" defTabSz="914287">
              <a:spcBef>
                <a:spcPct val="20000"/>
              </a:spcBef>
              <a:buFont typeface="Arial" panose="020B0604020202020204" pitchFamily="34" charset="0"/>
              <a:buChar char="•"/>
              <a:defRPr sz="2000"/>
            </a:lvl8pPr>
            <a:lvl9pPr marL="3885715" indent="-228572" defTabSz="914287">
              <a:spcBef>
                <a:spcPct val="20000"/>
              </a:spcBef>
              <a:buFont typeface="Arial" panose="020B0604020202020204" pitchFamily="34" charset="0"/>
              <a:buChar char="•"/>
              <a:defRPr sz="2000"/>
            </a:lvl9pPr>
          </a:lstStyle>
          <a:p>
            <a:pPr marL="0" marR="0" lvl="0" indent="0" algn="l" defTabSz="1218988" rtl="0" eaLnBrk="1" fontAlgn="auto" latinLnBrk="0" hangingPunct="1">
              <a:lnSpc>
                <a:spcPts val="2933"/>
              </a:lnSpc>
              <a:spcBef>
                <a:spcPts val="0"/>
              </a:spcBef>
              <a:spcAft>
                <a:spcPts val="1467"/>
              </a:spcAft>
              <a:buClr>
                <a:srgbClr val="EE2E5D"/>
              </a:buClr>
              <a:buSzPct val="100000"/>
              <a:buFont typeface="Arial" panose="020B0604020202020204" pitchFamily="34" charset="0"/>
              <a:buNone/>
              <a:tabLst/>
              <a:defRPr/>
            </a:pPr>
            <a:r>
              <a:rPr kumimoji="0" lang="en-US" sz="2400" b="0" i="0" u="none" strike="noStrike" kern="1200" cap="none" spc="0" normalizeH="0" baseline="0" noProof="0">
                <a:ln>
                  <a:noFill/>
                </a:ln>
                <a:solidFill>
                  <a:srgbClr val="FFFFFF"/>
                </a:solidFill>
                <a:effectLst/>
                <a:uLnTx/>
                <a:uFillTx/>
                <a:latin typeface="Proximus" panose="00000500000000000000" pitchFamily="2" charset="0"/>
                <a:ea typeface="+mn-ea"/>
                <a:cs typeface="+mn-cs"/>
              </a:rPr>
              <a:t>More info?</a:t>
            </a:r>
          </a:p>
        </p:txBody>
      </p:sp>
      <p:sp>
        <p:nvSpPr>
          <p:cNvPr id="10" name="Text Placeholder 13">
            <a:extLst>
              <a:ext uri="{FF2B5EF4-FFF2-40B4-BE49-F238E27FC236}">
                <a16:creationId xmlns:a16="http://schemas.microsoft.com/office/drawing/2014/main" id="{8372C999-9A28-4AA4-991B-7FBAC93D34FF}"/>
              </a:ext>
            </a:extLst>
          </p:cNvPr>
          <p:cNvSpPr>
            <a:spLocks noGrp="1"/>
          </p:cNvSpPr>
          <p:nvPr>
            <p:ph type="body" sz="quarter" idx="10" hasCustomPrompt="1"/>
          </p:nvPr>
        </p:nvSpPr>
        <p:spPr>
          <a:xfrm>
            <a:off x="586320" y="5473700"/>
            <a:ext cx="11017249" cy="357717"/>
          </a:xfrm>
          <a:noFill/>
        </p:spPr>
        <p:txBody>
          <a:bodyPr/>
          <a:lstStyle>
            <a:lvl1pPr>
              <a:defRPr>
                <a:solidFill>
                  <a:schemeClr val="tx1"/>
                </a:solidFill>
              </a:defRPr>
            </a:lvl1pPr>
          </a:lstStyle>
          <a:p>
            <a:pPr lvl="0"/>
            <a:r>
              <a:rPr lang="en-US"/>
              <a:t>firstname.lastname@proximus.com</a:t>
            </a:r>
          </a:p>
        </p:txBody>
      </p:sp>
      <p:pic>
        <p:nvPicPr>
          <p:cNvPr id="11" name="Graphic 10">
            <a:extLst>
              <a:ext uri="{FF2B5EF4-FFF2-40B4-BE49-F238E27FC236}">
                <a16:creationId xmlns:a16="http://schemas.microsoft.com/office/drawing/2014/main" id="{6DE3DAB3-B0CE-47F8-80EF-9E05EC59DA2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702899" y="5724528"/>
            <a:ext cx="889207" cy="720725"/>
          </a:xfrm>
          <a:prstGeom prst="rect">
            <a:avLst/>
          </a:prstGeom>
        </p:spPr>
      </p:pic>
    </p:spTree>
    <p:extLst>
      <p:ext uri="{BB962C8B-B14F-4D97-AF65-F5344CB8AC3E}">
        <p14:creationId xmlns:p14="http://schemas.microsoft.com/office/powerpoint/2010/main" val="97586564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354421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Bold - empty">
    <p:bg>
      <p:bgPr>
        <a:gradFill>
          <a:gsLst>
            <a:gs pos="100000">
              <a:srgbClr val="EAEAEE"/>
            </a:gs>
            <a:gs pos="69000">
              <a:srgbClr val="F3F4F7"/>
            </a:gs>
          </a:gsLst>
          <a:path path="circle">
            <a:fillToRect l="50000" t="50000" r="50000" b="50000"/>
          </a:path>
        </a:gradFill>
        <a:effectLst/>
      </p:bgPr>
    </p:bg>
    <p:spTree>
      <p:nvGrpSpPr>
        <p:cNvPr id="1" name=""/>
        <p:cNvGrpSpPr/>
        <p:nvPr/>
      </p:nvGrpSpPr>
      <p:grpSpPr>
        <a:xfrm>
          <a:off x="0" y="0"/>
          <a:ext cx="0" cy="0"/>
          <a:chOff x="0" y="0"/>
          <a:chExt cx="0" cy="0"/>
        </a:xfrm>
      </p:grpSpPr>
      <p:sp>
        <p:nvSpPr>
          <p:cNvPr id="8" name="TextBox 7" hidden="1">
            <a:extLst>
              <a:ext uri="{FF2B5EF4-FFF2-40B4-BE49-F238E27FC236}">
                <a16:creationId xmlns:a16="http://schemas.microsoft.com/office/drawing/2014/main" id="{C5E6288D-7571-A443-FA6C-42734FA6525D}"/>
              </a:ext>
            </a:extLst>
          </p:cNvPr>
          <p:cNvSpPr txBox="1"/>
          <p:nvPr userDrawn="1"/>
        </p:nvSpPr>
        <p:spPr>
          <a:xfrm>
            <a:off x="602195" y="6157201"/>
            <a:ext cx="4214191" cy="215444"/>
          </a:xfrm>
          <a:prstGeom prst="rect">
            <a:avLst/>
          </a:prstGeom>
          <a:noFill/>
        </p:spPr>
        <p:txBody>
          <a:bodyPr wrap="square" lIns="0" tIns="0" rIns="0" bIns="0" rtlCol="0">
            <a:spAutoFit/>
          </a:bodyPr>
          <a:lstStyle/>
          <a:p>
            <a:pPr marL="0" marR="0" lvl="0" indent="0" algn="l" defTabSz="544112" rtl="0" eaLnBrk="1" fontAlgn="auto" latinLnBrk="0" hangingPunct="1">
              <a:lnSpc>
                <a:spcPct val="100000"/>
              </a:lnSpc>
              <a:spcBef>
                <a:spcPts val="0"/>
              </a:spcBef>
              <a:spcAft>
                <a:spcPts val="0"/>
              </a:spcAft>
              <a:buClrTx/>
              <a:buSzTx/>
              <a:buFontTx/>
              <a:buNone/>
              <a:tabLst/>
              <a:defRPr/>
            </a:pPr>
            <a:r>
              <a:rPr kumimoji="0" lang="en-BE" sz="1400" b="0" i="0" u="none" strike="noStrike" kern="1200" cap="none" spc="0" normalizeH="0" baseline="0" noProof="0">
                <a:ln>
                  <a:noFill/>
                </a:ln>
                <a:solidFill>
                  <a:srgbClr val="000000"/>
                </a:solidFill>
                <a:effectLst/>
                <a:uLnTx/>
                <a:uFillTx/>
                <a:latin typeface="Proximus Light" panose="00000500000000000000" pitchFamily="2" charset="0"/>
                <a:ea typeface="+mn-ea"/>
                <a:cs typeface="+mn-cs"/>
              </a:rPr>
              <a:t>Bold2025 | Strategy Cascade</a:t>
            </a:r>
            <a:endParaRPr kumimoji="0" lang="en-GB" sz="1400" b="0" i="0" u="none" strike="noStrike" kern="1200" cap="none" spc="0" normalizeH="0" baseline="0" noProof="0" err="1">
              <a:ln>
                <a:noFill/>
              </a:ln>
              <a:solidFill>
                <a:srgbClr val="000000"/>
              </a:solidFill>
              <a:effectLst/>
              <a:uLnTx/>
              <a:uFillTx/>
              <a:latin typeface="Proximus Light" panose="00000500000000000000" pitchFamily="2" charset="0"/>
              <a:ea typeface="+mn-ea"/>
              <a:cs typeface="+mn-cs"/>
            </a:endParaRPr>
          </a:p>
        </p:txBody>
      </p:sp>
    </p:spTree>
    <p:extLst>
      <p:ext uri="{BB962C8B-B14F-4D97-AF65-F5344CB8AC3E}">
        <p14:creationId xmlns:p14="http://schemas.microsoft.com/office/powerpoint/2010/main" val="1572350690"/>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Content slide - white bg - bullet menu">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b="1"/>
            </a:lvl1pPr>
          </a:lstStyle>
          <a:p>
            <a:r>
              <a:rPr lang="en-US"/>
              <a:t>Click to edit slide title</a:t>
            </a:r>
            <a:endParaRPr lang="nl-BE"/>
          </a:p>
        </p:txBody>
      </p:sp>
      <p:sp>
        <p:nvSpPr>
          <p:cNvPr id="11" name="Text Placeholder 2">
            <a:extLst>
              <a:ext uri="{FF2B5EF4-FFF2-40B4-BE49-F238E27FC236}">
                <a16:creationId xmlns:a16="http://schemas.microsoft.com/office/drawing/2014/main" id="{10193D06-FB5B-42EC-9101-F77EE2C16642}"/>
              </a:ext>
            </a:extLst>
          </p:cNvPr>
          <p:cNvSpPr>
            <a:spLocks noGrp="1"/>
          </p:cNvSpPr>
          <p:nvPr>
            <p:ph idx="1"/>
          </p:nvPr>
        </p:nvSpPr>
        <p:spPr>
          <a:xfrm>
            <a:off x="613835" y="1382400"/>
            <a:ext cx="10962216" cy="4690317"/>
          </a:xfrm>
          <a:prstGeom prst="rect">
            <a:avLst/>
          </a:prstGeom>
        </p:spPr>
        <p:txBody>
          <a:bodyPr vert="horz" lIns="0" tIns="0" rIns="0" bIns="0" numCol="1" spcCol="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Footer Placeholder 8">
            <a:extLst>
              <a:ext uri="{FF2B5EF4-FFF2-40B4-BE49-F238E27FC236}">
                <a16:creationId xmlns:a16="http://schemas.microsoft.com/office/drawing/2014/main" id="{1BEC235D-7755-4100-975E-72ADDD05E345}"/>
              </a:ext>
            </a:extLst>
          </p:cNvPr>
          <p:cNvSpPr>
            <a:spLocks noGrp="1"/>
          </p:cNvSpPr>
          <p:nvPr>
            <p:ph type="ftr" sz="quarter" idx="11"/>
          </p:nvPr>
        </p:nvSpPr>
        <p:spPr>
          <a:xfrm>
            <a:off x="624000" y="6672000"/>
            <a:ext cx="480000" cy="96000"/>
          </a:xfrm>
        </p:spPr>
        <p:txBody>
          <a:bodyPr/>
          <a:lstStyle>
            <a:lvl1pPr>
              <a:defRPr>
                <a:latin typeface="Proximus" panose="00000500000000000000" pitchFamily="2" charset="0"/>
              </a:defRPr>
            </a:lvl1pPr>
          </a:lstStyle>
          <a:p>
            <a:r>
              <a:rPr lang="nl-BE"/>
              <a:t>Proximus</a:t>
            </a:r>
          </a:p>
        </p:txBody>
      </p:sp>
      <p:sp>
        <p:nvSpPr>
          <p:cNvPr id="7" name="Slide Number Placeholder 9">
            <a:extLst>
              <a:ext uri="{FF2B5EF4-FFF2-40B4-BE49-F238E27FC236}">
                <a16:creationId xmlns:a16="http://schemas.microsoft.com/office/drawing/2014/main" id="{E7498DA2-42B7-405F-9189-EC96568FD2E7}"/>
              </a:ext>
            </a:extLst>
          </p:cNvPr>
          <p:cNvSpPr>
            <a:spLocks noGrp="1"/>
          </p:cNvSpPr>
          <p:nvPr>
            <p:ph type="sldNum" sz="quarter" idx="4"/>
          </p:nvPr>
        </p:nvSpPr>
        <p:spPr>
          <a:xfrm>
            <a:off x="10944002" y="6672000"/>
            <a:ext cx="624417" cy="96000"/>
          </a:xfrm>
          <a:prstGeom prst="rect">
            <a:avLst/>
          </a:prstGeom>
        </p:spPr>
        <p:txBody>
          <a:bodyPr lIns="0" tIns="0" rIns="0" bIns="0" anchor="b"/>
          <a:lstStyle>
            <a:lvl1pPr algn="r">
              <a:defRPr sz="800">
                <a:solidFill>
                  <a:schemeClr val="bg1"/>
                </a:solidFill>
                <a:latin typeface="Proximus" panose="00000500000000000000" pitchFamily="2" charset="0"/>
              </a:defRPr>
            </a:lvl1pPr>
          </a:lstStyle>
          <a:p>
            <a:fld id="{AF458780-3DEA-4093-8A6E-7C0E406A36AD}" type="slidenum">
              <a:rPr lang="nl-BE" smtClean="0"/>
              <a:pPr/>
              <a:t>‹#›</a:t>
            </a:fld>
            <a:endParaRPr lang="nl-BE"/>
          </a:p>
        </p:txBody>
      </p:sp>
    </p:spTree>
    <p:extLst>
      <p:ext uri="{BB962C8B-B14F-4D97-AF65-F5344CB8AC3E}">
        <p14:creationId xmlns:p14="http://schemas.microsoft.com/office/powerpoint/2010/main" val="360076160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ontent slide -purple bg - text img">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b="1">
                <a:solidFill>
                  <a:schemeClr val="tx1"/>
                </a:solidFill>
              </a:defRPr>
            </a:lvl1pPr>
          </a:lstStyle>
          <a:p>
            <a:r>
              <a:rPr lang="en-US"/>
              <a:t>Click to edit slide title</a:t>
            </a:r>
            <a:endParaRPr lang="nl-BE"/>
          </a:p>
        </p:txBody>
      </p:sp>
      <p:sp>
        <p:nvSpPr>
          <p:cNvPr id="11" name="Text Placeholder 2">
            <a:extLst>
              <a:ext uri="{FF2B5EF4-FFF2-40B4-BE49-F238E27FC236}">
                <a16:creationId xmlns:a16="http://schemas.microsoft.com/office/drawing/2014/main" id="{10193D06-FB5B-42EC-9101-F77EE2C16642}"/>
              </a:ext>
            </a:extLst>
          </p:cNvPr>
          <p:cNvSpPr>
            <a:spLocks noGrp="1"/>
          </p:cNvSpPr>
          <p:nvPr>
            <p:ph idx="1" hasCustomPrompt="1"/>
          </p:nvPr>
        </p:nvSpPr>
        <p:spPr>
          <a:xfrm>
            <a:off x="613835" y="1382400"/>
            <a:ext cx="10962216" cy="4690317"/>
          </a:xfrm>
          <a:prstGeom prst="rect">
            <a:avLst/>
          </a:prstGeom>
        </p:spPr>
        <p:txBody>
          <a:bodyPr vert="horz" lIns="0" tIns="0" rIns="0" bIns="0" numCol="1" spcCol="0" rtlCol="0" anchor="t" anchorCtr="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p:txBody>
      </p:sp>
      <p:sp>
        <p:nvSpPr>
          <p:cNvPr id="5" name="Footer Placeholder 4">
            <a:extLst>
              <a:ext uri="{FF2B5EF4-FFF2-40B4-BE49-F238E27FC236}">
                <a16:creationId xmlns:a16="http://schemas.microsoft.com/office/drawing/2014/main" id="{F48C74D3-095D-491A-81A9-0EF40F9ABCB8}"/>
              </a:ext>
            </a:extLst>
          </p:cNvPr>
          <p:cNvSpPr>
            <a:spLocks noGrp="1"/>
          </p:cNvSpPr>
          <p:nvPr>
            <p:ph type="ftr" sz="quarter" idx="3"/>
          </p:nvPr>
        </p:nvSpPr>
        <p:spPr>
          <a:xfrm>
            <a:off x="624000" y="6672000"/>
            <a:ext cx="480000" cy="96000"/>
          </a:xfrm>
          <a:prstGeom prst="rect">
            <a:avLst/>
          </a:prstGeom>
        </p:spPr>
        <p:txBody>
          <a:bodyPr vert="horz" lIns="0" tIns="0" rIns="0" bIns="0" rtlCol="0" anchor="b" anchorCtr="0"/>
          <a:lstStyle>
            <a:lvl1pPr algn="l">
              <a:defRPr sz="800">
                <a:solidFill>
                  <a:schemeClr val="tx1"/>
                </a:solidFill>
                <a:latin typeface="Proximus" panose="00000500000000000000" pitchFamily="2" charset="0"/>
              </a:defRPr>
            </a:lvl1pPr>
          </a:lstStyle>
          <a:p>
            <a:r>
              <a:rPr lang="nl-BE"/>
              <a:t>Proximus</a:t>
            </a:r>
          </a:p>
        </p:txBody>
      </p:sp>
      <p:sp>
        <p:nvSpPr>
          <p:cNvPr id="7" name="Slide Number Placeholder 9">
            <a:extLst>
              <a:ext uri="{FF2B5EF4-FFF2-40B4-BE49-F238E27FC236}">
                <a16:creationId xmlns:a16="http://schemas.microsoft.com/office/drawing/2014/main" id="{8DC298D1-3AC0-4E62-9399-2F4CC51EF643}"/>
              </a:ext>
            </a:extLst>
          </p:cNvPr>
          <p:cNvSpPr>
            <a:spLocks noGrp="1"/>
          </p:cNvSpPr>
          <p:nvPr>
            <p:ph type="sldNum" sz="quarter" idx="4"/>
          </p:nvPr>
        </p:nvSpPr>
        <p:spPr>
          <a:xfrm>
            <a:off x="10944002" y="6672000"/>
            <a:ext cx="624417" cy="96000"/>
          </a:xfrm>
          <a:prstGeom prst="rect">
            <a:avLst/>
          </a:prstGeom>
        </p:spPr>
        <p:txBody>
          <a:bodyPr lIns="0" tIns="0" rIns="0" bIns="0" anchor="b"/>
          <a:lstStyle>
            <a:lvl1pPr algn="r">
              <a:defRPr sz="800">
                <a:solidFill>
                  <a:schemeClr val="tx1"/>
                </a:solidFill>
                <a:latin typeface="Proximus" panose="00000500000000000000" pitchFamily="2" charset="0"/>
              </a:defRPr>
            </a:lvl1pPr>
          </a:lstStyle>
          <a:p>
            <a:fld id="{AF458780-3DEA-4093-8A6E-7C0E406A36AD}" type="slidenum">
              <a:rPr lang="nl-BE" smtClean="0"/>
              <a:pPr/>
              <a:t>‹#›</a:t>
            </a:fld>
            <a:endParaRPr lang="nl-BE"/>
          </a:p>
        </p:txBody>
      </p:sp>
    </p:spTree>
    <p:extLst>
      <p:ext uri="{BB962C8B-B14F-4D97-AF65-F5344CB8AC3E}">
        <p14:creationId xmlns:p14="http://schemas.microsoft.com/office/powerpoint/2010/main" val="245810764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ontent slide - white bg - 1 column img">
    <p:spTree>
      <p:nvGrpSpPr>
        <p:cNvPr id="1" name=""/>
        <p:cNvGrpSpPr/>
        <p:nvPr/>
      </p:nvGrpSpPr>
      <p:grpSpPr>
        <a:xfrm>
          <a:off x="0" y="0"/>
          <a:ext cx="0" cy="0"/>
          <a:chOff x="0" y="0"/>
          <a:chExt cx="0" cy="0"/>
        </a:xfrm>
      </p:grpSpPr>
      <p:sp>
        <p:nvSpPr>
          <p:cNvPr id="10" name="Picture Placeholder 4"/>
          <p:cNvSpPr>
            <a:spLocks noGrp="1"/>
          </p:cNvSpPr>
          <p:nvPr>
            <p:ph type="pic" sz="quarter" idx="15" hasCustomPrompt="1"/>
          </p:nvPr>
        </p:nvSpPr>
        <p:spPr>
          <a:xfrm>
            <a:off x="6096001" y="1377541"/>
            <a:ext cx="5482168" cy="4684595"/>
          </a:xfrm>
          <a:blipFill dpi="0" rotWithShape="0">
            <a:blip r:embed="rId2"/>
            <a:srcRect/>
            <a:tile tx="0" ty="0" sx="87000" sy="83000" flip="none" algn="ctr"/>
          </a:blipFill>
        </p:spPr>
        <p:txBody>
          <a:bodyPr anchor="ctr"/>
          <a:lstStyle>
            <a:lvl1pPr marL="0" indent="0" algn="ctr">
              <a:lnSpc>
                <a:spcPct val="100000"/>
              </a:lnSpc>
              <a:buNone/>
              <a:defRPr baseline="0">
                <a:latin typeface="Proximus" panose="00000500000000000000" pitchFamily="2" charset="0"/>
              </a:defRPr>
            </a:lvl1pPr>
          </a:lstStyle>
          <a:p>
            <a:r>
              <a:rPr lang="en-GB"/>
              <a:t>Click icon to change picture</a:t>
            </a:r>
          </a:p>
        </p:txBody>
      </p:sp>
      <p:sp>
        <p:nvSpPr>
          <p:cNvPr id="2" name="Title 1"/>
          <p:cNvSpPr>
            <a:spLocks noGrp="1"/>
          </p:cNvSpPr>
          <p:nvPr>
            <p:ph type="title" hasCustomPrompt="1"/>
          </p:nvPr>
        </p:nvSpPr>
        <p:spPr>
          <a:xfrm>
            <a:off x="613838" y="503769"/>
            <a:ext cx="10962217" cy="880123"/>
          </a:xfrm>
        </p:spPr>
        <p:txBody>
          <a:bodyPr/>
          <a:lstStyle>
            <a:lvl1pPr>
              <a:defRPr b="1">
                <a:solidFill>
                  <a:schemeClr val="bg1"/>
                </a:solidFill>
                <a:latin typeface="Proximus" panose="00000500000000000000" pitchFamily="2" charset="0"/>
              </a:defRPr>
            </a:lvl1pPr>
          </a:lstStyle>
          <a:p>
            <a:r>
              <a:rPr lang="en-US"/>
              <a:t>Click to edit slide title</a:t>
            </a:r>
            <a:endParaRPr lang="nl-BE"/>
          </a:p>
        </p:txBody>
      </p:sp>
      <p:sp>
        <p:nvSpPr>
          <p:cNvPr id="9" name="Content Placeholder 3"/>
          <p:cNvSpPr>
            <a:spLocks noGrp="1"/>
          </p:cNvSpPr>
          <p:nvPr>
            <p:ph sz="half" idx="2"/>
          </p:nvPr>
        </p:nvSpPr>
        <p:spPr>
          <a:xfrm>
            <a:off x="613837" y="1383894"/>
            <a:ext cx="5264791" cy="4678244"/>
          </a:xfrm>
        </p:spPr>
        <p:txBody>
          <a:bodyPr/>
          <a:lstStyle>
            <a:lvl1pPr marL="0" indent="0">
              <a:buClr>
                <a:schemeClr val="bg1"/>
              </a:buClr>
              <a:buFont typeface="Arial" panose="020B0604020202020204" pitchFamily="34" charset="0"/>
              <a:buNone/>
              <a:tabLst/>
              <a:defRPr sz="2400">
                <a:latin typeface="Proximus" panose="00000500000000000000" pitchFamily="2" charset="0"/>
              </a:defRPr>
            </a:lvl1pPr>
            <a:lvl2pPr>
              <a:defRPr sz="2400"/>
            </a:lvl2pPr>
            <a:lvl3pPr>
              <a:defRPr sz="2133"/>
            </a:lvl3pPr>
            <a:lvl4pPr>
              <a:defRPr sz="1867"/>
            </a:lvl4pPr>
            <a:lvl5pPr>
              <a:defRPr sz="1600"/>
            </a:lvl5pPr>
            <a:lvl6pPr>
              <a:defRPr sz="2133"/>
            </a:lvl6pPr>
            <a:lvl7pPr>
              <a:defRPr sz="2133"/>
            </a:lvl7pPr>
            <a:lvl8pPr>
              <a:defRPr sz="2133"/>
            </a:lvl8pPr>
            <a:lvl9pPr>
              <a:defRPr sz="2133"/>
            </a:lvl9pPr>
          </a:lstStyle>
          <a:p>
            <a:pPr lvl="0"/>
            <a:r>
              <a:rPr lang="en-US"/>
              <a:t>Edit Master text styles</a:t>
            </a:r>
          </a:p>
        </p:txBody>
      </p:sp>
      <p:sp>
        <p:nvSpPr>
          <p:cNvPr id="8" name="Footer Placeholder 7"/>
          <p:cNvSpPr>
            <a:spLocks noGrp="1"/>
          </p:cNvSpPr>
          <p:nvPr>
            <p:ph type="ftr" sz="quarter" idx="17"/>
          </p:nvPr>
        </p:nvSpPr>
        <p:spPr/>
        <p:txBody>
          <a:bodyPr/>
          <a:lstStyle>
            <a:lvl1pPr>
              <a:defRPr>
                <a:latin typeface="Proximus" panose="00000500000000000000" pitchFamily="2" charset="0"/>
              </a:defRPr>
            </a:lvl1pPr>
          </a:lstStyle>
          <a:p>
            <a:r>
              <a:rPr lang="nl-BE"/>
              <a:t>Proximus</a:t>
            </a:r>
          </a:p>
        </p:txBody>
      </p:sp>
      <p:sp>
        <p:nvSpPr>
          <p:cNvPr id="7" name="Slide Number Placeholder 9">
            <a:extLst>
              <a:ext uri="{FF2B5EF4-FFF2-40B4-BE49-F238E27FC236}">
                <a16:creationId xmlns:a16="http://schemas.microsoft.com/office/drawing/2014/main" id="{65FB7154-74AA-4FD5-9968-E5E2C2F57AB6}"/>
              </a:ext>
            </a:extLst>
          </p:cNvPr>
          <p:cNvSpPr>
            <a:spLocks noGrp="1"/>
          </p:cNvSpPr>
          <p:nvPr>
            <p:ph type="sldNum" sz="quarter" idx="4"/>
          </p:nvPr>
        </p:nvSpPr>
        <p:spPr>
          <a:xfrm>
            <a:off x="10944002" y="6672000"/>
            <a:ext cx="624417" cy="96000"/>
          </a:xfrm>
          <a:prstGeom prst="rect">
            <a:avLst/>
          </a:prstGeom>
        </p:spPr>
        <p:txBody>
          <a:bodyPr lIns="0" tIns="0" rIns="0" bIns="0" anchor="b"/>
          <a:lstStyle>
            <a:lvl1pPr algn="r">
              <a:defRPr sz="800">
                <a:solidFill>
                  <a:schemeClr val="bg1"/>
                </a:solidFill>
                <a:latin typeface="Proximus" panose="00000500000000000000" pitchFamily="2" charset="0"/>
              </a:defRPr>
            </a:lvl1pPr>
          </a:lstStyle>
          <a:p>
            <a:fld id="{AF458780-3DEA-4093-8A6E-7C0E406A36AD}" type="slidenum">
              <a:rPr lang="nl-BE" smtClean="0"/>
              <a:pPr/>
              <a:t>‹#›</a:t>
            </a:fld>
            <a:endParaRPr lang="nl-BE"/>
          </a:p>
        </p:txBody>
      </p:sp>
    </p:spTree>
    <p:extLst>
      <p:ext uri="{BB962C8B-B14F-4D97-AF65-F5344CB8AC3E}">
        <p14:creationId xmlns:p14="http://schemas.microsoft.com/office/powerpoint/2010/main" val="2305814896"/>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ontent slide - white bg - big img">
    <p:spTree>
      <p:nvGrpSpPr>
        <p:cNvPr id="1" name=""/>
        <p:cNvGrpSpPr/>
        <p:nvPr/>
      </p:nvGrpSpPr>
      <p:grpSpPr>
        <a:xfrm>
          <a:off x="0" y="0"/>
          <a:ext cx="0" cy="0"/>
          <a:chOff x="0" y="0"/>
          <a:chExt cx="0" cy="0"/>
        </a:xfrm>
      </p:grpSpPr>
      <p:sp>
        <p:nvSpPr>
          <p:cNvPr id="10" name="Picture Placeholder 4"/>
          <p:cNvSpPr>
            <a:spLocks noGrp="1"/>
          </p:cNvSpPr>
          <p:nvPr>
            <p:ph type="pic" sz="quarter" idx="15" hasCustomPrompt="1"/>
          </p:nvPr>
        </p:nvSpPr>
        <p:spPr>
          <a:xfrm>
            <a:off x="615949" y="1383894"/>
            <a:ext cx="10962219" cy="4678244"/>
          </a:xfrm>
          <a:blipFill dpi="0" rotWithShape="1">
            <a:blip r:embed="rId2"/>
            <a:srcRect/>
            <a:tile tx="0" ty="69850" sx="86000" sy="85000" flip="none" algn="ctr"/>
          </a:blipFill>
        </p:spPr>
        <p:txBody>
          <a:bodyPr anchor="ctr"/>
          <a:lstStyle>
            <a:lvl1pPr marL="0" indent="0" algn="ctr">
              <a:lnSpc>
                <a:spcPct val="100000"/>
              </a:lnSpc>
              <a:buNone/>
              <a:defRPr baseline="0">
                <a:latin typeface="Proximus" panose="00000500000000000000" pitchFamily="2" charset="0"/>
              </a:defRPr>
            </a:lvl1pPr>
          </a:lstStyle>
          <a:p>
            <a:r>
              <a:rPr lang="en-GB"/>
              <a:t>Click icon to change picture</a:t>
            </a:r>
          </a:p>
        </p:txBody>
      </p:sp>
      <p:sp>
        <p:nvSpPr>
          <p:cNvPr id="2" name="Title 1"/>
          <p:cNvSpPr>
            <a:spLocks noGrp="1"/>
          </p:cNvSpPr>
          <p:nvPr>
            <p:ph type="title" hasCustomPrompt="1"/>
          </p:nvPr>
        </p:nvSpPr>
        <p:spPr/>
        <p:txBody>
          <a:bodyPr/>
          <a:lstStyle>
            <a:lvl1pPr>
              <a:defRPr b="1">
                <a:latin typeface="Proximus" panose="00000500000000000000" pitchFamily="2" charset="0"/>
              </a:defRPr>
            </a:lvl1pPr>
          </a:lstStyle>
          <a:p>
            <a:r>
              <a:rPr lang="en-US"/>
              <a:t>Click to edit slide title</a:t>
            </a:r>
            <a:endParaRPr lang="nl-BE"/>
          </a:p>
        </p:txBody>
      </p:sp>
      <p:sp>
        <p:nvSpPr>
          <p:cNvPr id="7" name="Footer Placeholder 6"/>
          <p:cNvSpPr>
            <a:spLocks noGrp="1"/>
          </p:cNvSpPr>
          <p:nvPr>
            <p:ph type="ftr" sz="quarter" idx="17"/>
          </p:nvPr>
        </p:nvSpPr>
        <p:spPr/>
        <p:txBody>
          <a:bodyPr/>
          <a:lstStyle>
            <a:lvl1pPr>
              <a:defRPr>
                <a:latin typeface="Proximus" panose="00000500000000000000" pitchFamily="2" charset="0"/>
              </a:defRPr>
            </a:lvl1pPr>
          </a:lstStyle>
          <a:p>
            <a:r>
              <a:rPr lang="nl-BE"/>
              <a:t>Proximus</a:t>
            </a:r>
          </a:p>
        </p:txBody>
      </p:sp>
      <p:sp>
        <p:nvSpPr>
          <p:cNvPr id="6" name="Slide Number Placeholder 9">
            <a:extLst>
              <a:ext uri="{FF2B5EF4-FFF2-40B4-BE49-F238E27FC236}">
                <a16:creationId xmlns:a16="http://schemas.microsoft.com/office/drawing/2014/main" id="{C368D004-EBB6-49E9-B24B-3A9D2C9E0B2D}"/>
              </a:ext>
            </a:extLst>
          </p:cNvPr>
          <p:cNvSpPr>
            <a:spLocks noGrp="1"/>
          </p:cNvSpPr>
          <p:nvPr>
            <p:ph type="sldNum" sz="quarter" idx="4"/>
          </p:nvPr>
        </p:nvSpPr>
        <p:spPr>
          <a:xfrm>
            <a:off x="10944002" y="6672000"/>
            <a:ext cx="624417" cy="96000"/>
          </a:xfrm>
          <a:prstGeom prst="rect">
            <a:avLst/>
          </a:prstGeom>
        </p:spPr>
        <p:txBody>
          <a:bodyPr lIns="0" tIns="0" rIns="0" bIns="0" anchor="b"/>
          <a:lstStyle>
            <a:lvl1pPr algn="r">
              <a:defRPr sz="800">
                <a:solidFill>
                  <a:schemeClr val="bg1"/>
                </a:solidFill>
                <a:latin typeface="Proximus" panose="00000500000000000000" pitchFamily="2" charset="0"/>
              </a:defRPr>
            </a:lvl1pPr>
          </a:lstStyle>
          <a:p>
            <a:fld id="{AF458780-3DEA-4093-8A6E-7C0E406A36AD}" type="slidenum">
              <a:rPr lang="nl-BE" smtClean="0"/>
              <a:pPr/>
              <a:t>‹#›</a:t>
            </a:fld>
            <a:endParaRPr lang="nl-BE"/>
          </a:p>
        </p:txBody>
      </p:sp>
    </p:spTree>
    <p:extLst>
      <p:ext uri="{BB962C8B-B14F-4D97-AF65-F5344CB8AC3E}">
        <p14:creationId xmlns:p14="http://schemas.microsoft.com/office/powerpoint/2010/main" val="288477013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ontent slide - white bg - full img">
    <p:bg>
      <p:bgPr>
        <a:solidFill>
          <a:schemeClr val="tx1"/>
        </a:solidFill>
        <a:effectLst/>
      </p:bgPr>
    </p:bg>
    <p:spTree>
      <p:nvGrpSpPr>
        <p:cNvPr id="1" name=""/>
        <p:cNvGrpSpPr/>
        <p:nvPr/>
      </p:nvGrpSpPr>
      <p:grpSpPr>
        <a:xfrm>
          <a:off x="0" y="0"/>
          <a:ext cx="0" cy="0"/>
          <a:chOff x="0" y="0"/>
          <a:chExt cx="0" cy="0"/>
        </a:xfrm>
      </p:grpSpPr>
      <p:sp>
        <p:nvSpPr>
          <p:cNvPr id="9" name="Picture Placeholder 4"/>
          <p:cNvSpPr>
            <a:spLocks noGrp="1"/>
          </p:cNvSpPr>
          <p:nvPr>
            <p:ph type="pic" sz="quarter" idx="15" hasCustomPrompt="1"/>
          </p:nvPr>
        </p:nvSpPr>
        <p:spPr>
          <a:xfrm>
            <a:off x="0" y="2"/>
            <a:ext cx="12192000" cy="6864625"/>
          </a:xfrm>
          <a:blipFill dpi="0" rotWithShape="1">
            <a:blip r:embed="rId2"/>
            <a:srcRect/>
            <a:tile tx="0" ty="69850" sx="100000" sy="100000" flip="none" algn="ctr"/>
          </a:blipFill>
        </p:spPr>
        <p:txBody>
          <a:bodyPr anchor="ctr"/>
          <a:lstStyle>
            <a:lvl1pPr marL="0" indent="0" algn="ctr">
              <a:lnSpc>
                <a:spcPct val="100000"/>
              </a:lnSpc>
              <a:buNone/>
              <a:defRPr baseline="0">
                <a:noFill/>
                <a:latin typeface="Proximus" panose="00000500000000000000" pitchFamily="2" charset="0"/>
              </a:defRPr>
            </a:lvl1pPr>
          </a:lstStyle>
          <a:p>
            <a:r>
              <a:rPr lang="en-GB"/>
              <a:t>Click icon to change picture</a:t>
            </a:r>
          </a:p>
        </p:txBody>
      </p:sp>
      <p:sp>
        <p:nvSpPr>
          <p:cNvPr id="8" name="Footer Placeholder 6">
            <a:extLst>
              <a:ext uri="{FF2B5EF4-FFF2-40B4-BE49-F238E27FC236}">
                <a16:creationId xmlns:a16="http://schemas.microsoft.com/office/drawing/2014/main" id="{0718898B-21BE-490C-90FB-A927B1ECA6CB}"/>
              </a:ext>
            </a:extLst>
          </p:cNvPr>
          <p:cNvSpPr txBox="1">
            <a:spLocks/>
          </p:cNvSpPr>
          <p:nvPr userDrawn="1"/>
        </p:nvSpPr>
        <p:spPr>
          <a:xfrm>
            <a:off x="624000" y="6672000"/>
            <a:ext cx="480000" cy="96000"/>
          </a:xfrm>
          <a:prstGeom prst="rect">
            <a:avLst/>
          </a:prstGeom>
        </p:spPr>
        <p:txBody>
          <a:bodyPr vert="horz" lIns="0" tIns="0" rIns="0" bIns="0" rtlCol="0" anchor="b" anchorCtr="0"/>
          <a:lstStyle>
            <a:defPPr>
              <a:defRPr lang="en-US"/>
            </a:defPPr>
            <a:lvl1pPr marL="0" algn="l" defTabSz="408104" rtl="0" eaLnBrk="1" latinLnBrk="0" hangingPunct="1">
              <a:defRPr sz="600" kern="1200">
                <a:solidFill>
                  <a:schemeClr val="bg1"/>
                </a:solidFill>
                <a:latin typeface="Proximus" panose="00000500000000000000" pitchFamily="2" charset="0"/>
                <a:ea typeface="+mn-ea"/>
                <a:cs typeface="+mn-cs"/>
              </a:defRPr>
            </a:lvl1pPr>
            <a:lvl2pPr marL="408104" algn="l" defTabSz="408104" rtl="0" eaLnBrk="1" latinLnBrk="0" hangingPunct="1">
              <a:defRPr sz="1620" kern="1200">
                <a:solidFill>
                  <a:schemeClr val="tx1"/>
                </a:solidFill>
                <a:latin typeface="+mn-lt"/>
                <a:ea typeface="+mn-ea"/>
                <a:cs typeface="+mn-cs"/>
              </a:defRPr>
            </a:lvl2pPr>
            <a:lvl3pPr marL="816209" algn="l" defTabSz="408104" rtl="0" eaLnBrk="1" latinLnBrk="0" hangingPunct="1">
              <a:defRPr sz="1620" kern="1200">
                <a:solidFill>
                  <a:schemeClr val="tx1"/>
                </a:solidFill>
                <a:latin typeface="+mn-lt"/>
                <a:ea typeface="+mn-ea"/>
                <a:cs typeface="+mn-cs"/>
              </a:defRPr>
            </a:lvl3pPr>
            <a:lvl4pPr marL="1224314" algn="l" defTabSz="408104" rtl="0" eaLnBrk="1" latinLnBrk="0" hangingPunct="1">
              <a:defRPr sz="1620" kern="1200">
                <a:solidFill>
                  <a:schemeClr val="tx1"/>
                </a:solidFill>
                <a:latin typeface="+mn-lt"/>
                <a:ea typeface="+mn-ea"/>
                <a:cs typeface="+mn-cs"/>
              </a:defRPr>
            </a:lvl4pPr>
            <a:lvl5pPr marL="1632419" algn="l" defTabSz="408104" rtl="0" eaLnBrk="1" latinLnBrk="0" hangingPunct="1">
              <a:defRPr sz="1620" kern="1200">
                <a:solidFill>
                  <a:schemeClr val="tx1"/>
                </a:solidFill>
                <a:latin typeface="+mn-lt"/>
                <a:ea typeface="+mn-ea"/>
                <a:cs typeface="+mn-cs"/>
              </a:defRPr>
            </a:lvl5pPr>
            <a:lvl6pPr marL="2040523" algn="l" defTabSz="408104" rtl="0" eaLnBrk="1" latinLnBrk="0" hangingPunct="1">
              <a:defRPr sz="1620" kern="1200">
                <a:solidFill>
                  <a:schemeClr val="tx1"/>
                </a:solidFill>
                <a:latin typeface="+mn-lt"/>
                <a:ea typeface="+mn-ea"/>
                <a:cs typeface="+mn-cs"/>
              </a:defRPr>
            </a:lvl6pPr>
            <a:lvl7pPr marL="2448629" algn="l" defTabSz="408104" rtl="0" eaLnBrk="1" latinLnBrk="0" hangingPunct="1">
              <a:defRPr sz="1620" kern="1200">
                <a:solidFill>
                  <a:schemeClr val="tx1"/>
                </a:solidFill>
                <a:latin typeface="+mn-lt"/>
                <a:ea typeface="+mn-ea"/>
                <a:cs typeface="+mn-cs"/>
              </a:defRPr>
            </a:lvl7pPr>
            <a:lvl8pPr marL="2856731" algn="l" defTabSz="408104" rtl="0" eaLnBrk="1" latinLnBrk="0" hangingPunct="1">
              <a:defRPr sz="1620" kern="1200">
                <a:solidFill>
                  <a:schemeClr val="tx1"/>
                </a:solidFill>
                <a:latin typeface="+mn-lt"/>
                <a:ea typeface="+mn-ea"/>
                <a:cs typeface="+mn-cs"/>
              </a:defRPr>
            </a:lvl8pPr>
            <a:lvl9pPr marL="3264837" algn="l" defTabSz="408104" rtl="0" eaLnBrk="1" latinLnBrk="0" hangingPunct="1">
              <a:defRPr sz="1620" kern="1200">
                <a:solidFill>
                  <a:schemeClr val="tx1"/>
                </a:solidFill>
                <a:latin typeface="+mn-lt"/>
                <a:ea typeface="+mn-ea"/>
                <a:cs typeface="+mn-cs"/>
              </a:defRPr>
            </a:lvl9pPr>
          </a:lstStyle>
          <a:p>
            <a:r>
              <a:rPr lang="nl-BE" sz="800"/>
              <a:t>Proximus</a:t>
            </a:r>
          </a:p>
        </p:txBody>
      </p:sp>
      <p:sp>
        <p:nvSpPr>
          <p:cNvPr id="10" name="Slide Number Placeholder 9">
            <a:extLst>
              <a:ext uri="{FF2B5EF4-FFF2-40B4-BE49-F238E27FC236}">
                <a16:creationId xmlns:a16="http://schemas.microsoft.com/office/drawing/2014/main" id="{3F51F589-37A6-4FE3-A4E4-D43DE066AABC}"/>
              </a:ext>
            </a:extLst>
          </p:cNvPr>
          <p:cNvSpPr txBox="1">
            <a:spLocks/>
          </p:cNvSpPr>
          <p:nvPr userDrawn="1"/>
        </p:nvSpPr>
        <p:spPr>
          <a:xfrm>
            <a:off x="10944002" y="6672000"/>
            <a:ext cx="624417" cy="96000"/>
          </a:xfrm>
          <a:prstGeom prst="rect">
            <a:avLst/>
          </a:prstGeom>
        </p:spPr>
        <p:txBody>
          <a:bodyPr lIns="0" tIns="0" rIns="0" bIns="0" anchor="b"/>
          <a:lstStyle>
            <a:defPPr>
              <a:defRPr lang="en-US"/>
            </a:defPPr>
            <a:lvl1pPr marL="0" algn="r" defTabSz="408104" rtl="0" eaLnBrk="1" latinLnBrk="0" hangingPunct="1">
              <a:defRPr sz="600" kern="1200">
                <a:solidFill>
                  <a:schemeClr val="bg1"/>
                </a:solidFill>
                <a:latin typeface="Proximus" panose="00000500000000000000" pitchFamily="2" charset="0"/>
                <a:ea typeface="+mn-ea"/>
                <a:cs typeface="+mn-cs"/>
              </a:defRPr>
            </a:lvl1pPr>
            <a:lvl2pPr marL="408104" algn="l" defTabSz="408104" rtl="0" eaLnBrk="1" latinLnBrk="0" hangingPunct="1">
              <a:defRPr sz="1620" kern="1200">
                <a:solidFill>
                  <a:schemeClr val="tx1"/>
                </a:solidFill>
                <a:latin typeface="+mn-lt"/>
                <a:ea typeface="+mn-ea"/>
                <a:cs typeface="+mn-cs"/>
              </a:defRPr>
            </a:lvl2pPr>
            <a:lvl3pPr marL="816209" algn="l" defTabSz="408104" rtl="0" eaLnBrk="1" latinLnBrk="0" hangingPunct="1">
              <a:defRPr sz="1620" kern="1200">
                <a:solidFill>
                  <a:schemeClr val="tx1"/>
                </a:solidFill>
                <a:latin typeface="+mn-lt"/>
                <a:ea typeface="+mn-ea"/>
                <a:cs typeface="+mn-cs"/>
              </a:defRPr>
            </a:lvl3pPr>
            <a:lvl4pPr marL="1224314" algn="l" defTabSz="408104" rtl="0" eaLnBrk="1" latinLnBrk="0" hangingPunct="1">
              <a:defRPr sz="1620" kern="1200">
                <a:solidFill>
                  <a:schemeClr val="tx1"/>
                </a:solidFill>
                <a:latin typeface="+mn-lt"/>
                <a:ea typeface="+mn-ea"/>
                <a:cs typeface="+mn-cs"/>
              </a:defRPr>
            </a:lvl4pPr>
            <a:lvl5pPr marL="1632419" algn="l" defTabSz="408104" rtl="0" eaLnBrk="1" latinLnBrk="0" hangingPunct="1">
              <a:defRPr sz="1620" kern="1200">
                <a:solidFill>
                  <a:schemeClr val="tx1"/>
                </a:solidFill>
                <a:latin typeface="+mn-lt"/>
                <a:ea typeface="+mn-ea"/>
                <a:cs typeface="+mn-cs"/>
              </a:defRPr>
            </a:lvl5pPr>
            <a:lvl6pPr marL="2040523" algn="l" defTabSz="408104" rtl="0" eaLnBrk="1" latinLnBrk="0" hangingPunct="1">
              <a:defRPr sz="1620" kern="1200">
                <a:solidFill>
                  <a:schemeClr val="tx1"/>
                </a:solidFill>
                <a:latin typeface="+mn-lt"/>
                <a:ea typeface="+mn-ea"/>
                <a:cs typeface="+mn-cs"/>
              </a:defRPr>
            </a:lvl6pPr>
            <a:lvl7pPr marL="2448629" algn="l" defTabSz="408104" rtl="0" eaLnBrk="1" latinLnBrk="0" hangingPunct="1">
              <a:defRPr sz="1620" kern="1200">
                <a:solidFill>
                  <a:schemeClr val="tx1"/>
                </a:solidFill>
                <a:latin typeface="+mn-lt"/>
                <a:ea typeface="+mn-ea"/>
                <a:cs typeface="+mn-cs"/>
              </a:defRPr>
            </a:lvl7pPr>
            <a:lvl8pPr marL="2856731" algn="l" defTabSz="408104" rtl="0" eaLnBrk="1" latinLnBrk="0" hangingPunct="1">
              <a:defRPr sz="1620" kern="1200">
                <a:solidFill>
                  <a:schemeClr val="tx1"/>
                </a:solidFill>
                <a:latin typeface="+mn-lt"/>
                <a:ea typeface="+mn-ea"/>
                <a:cs typeface="+mn-cs"/>
              </a:defRPr>
            </a:lvl8pPr>
            <a:lvl9pPr marL="3264837" algn="l" defTabSz="408104" rtl="0" eaLnBrk="1" latinLnBrk="0" hangingPunct="1">
              <a:defRPr sz="1620" kern="1200">
                <a:solidFill>
                  <a:schemeClr val="tx1"/>
                </a:solidFill>
                <a:latin typeface="+mn-lt"/>
                <a:ea typeface="+mn-ea"/>
                <a:cs typeface="+mn-cs"/>
              </a:defRPr>
            </a:lvl9pPr>
          </a:lstStyle>
          <a:p>
            <a:fld id="{AF458780-3DEA-4093-8A6E-7C0E406A36AD}" type="slidenum">
              <a:rPr lang="nl-BE" sz="800" smtClean="0"/>
              <a:pPr/>
              <a:t>‹#›</a:t>
            </a:fld>
            <a:endParaRPr lang="nl-BE" sz="800"/>
          </a:p>
        </p:txBody>
      </p:sp>
      <p:sp>
        <p:nvSpPr>
          <p:cNvPr id="2" name="Title 1"/>
          <p:cNvSpPr>
            <a:spLocks noGrp="1"/>
          </p:cNvSpPr>
          <p:nvPr>
            <p:ph type="title" hasCustomPrompt="1"/>
          </p:nvPr>
        </p:nvSpPr>
        <p:spPr/>
        <p:txBody>
          <a:bodyPr/>
          <a:lstStyle>
            <a:lvl1pPr>
              <a:defRPr b="1">
                <a:solidFill>
                  <a:schemeClr val="bg1"/>
                </a:solidFill>
                <a:latin typeface="Proximus" panose="00000500000000000000" pitchFamily="2" charset="0"/>
              </a:defRPr>
            </a:lvl1pPr>
          </a:lstStyle>
          <a:p>
            <a:r>
              <a:rPr lang="en-US"/>
              <a:t>Click to edit slide title</a:t>
            </a:r>
            <a:endParaRPr lang="nl-BE"/>
          </a:p>
        </p:txBody>
      </p:sp>
    </p:spTree>
    <p:extLst>
      <p:ext uri="{BB962C8B-B14F-4D97-AF65-F5344CB8AC3E}">
        <p14:creationId xmlns:p14="http://schemas.microsoft.com/office/powerpoint/2010/main" val="13076592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PXS ADA - title only - white 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b="0">
                <a:solidFill>
                  <a:schemeClr val="bg1"/>
                </a:solidFill>
              </a:defRPr>
            </a:lvl1pPr>
          </a:lstStyle>
          <a:p>
            <a:r>
              <a:rPr lang="en-US"/>
              <a:t>Click to edit slide title</a:t>
            </a:r>
            <a:endParaRPr lang="nl-BE"/>
          </a:p>
        </p:txBody>
      </p:sp>
    </p:spTree>
    <p:extLst>
      <p:ext uri="{BB962C8B-B14F-4D97-AF65-F5344CB8AC3E}">
        <p14:creationId xmlns:p14="http://schemas.microsoft.com/office/powerpoint/2010/main" val="192125569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ontent slide - white bg - 3 imgs bullets p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3838" y="503767"/>
            <a:ext cx="10962217" cy="750784"/>
          </a:xfrm>
        </p:spPr>
        <p:txBody>
          <a:bodyPr/>
          <a:lstStyle>
            <a:lvl1pPr>
              <a:defRPr>
                <a:latin typeface="Proximus" panose="00000500000000000000" pitchFamily="2" charset="0"/>
              </a:defRPr>
            </a:lvl1pPr>
          </a:lstStyle>
          <a:p>
            <a:r>
              <a:rPr lang="en-US"/>
              <a:t>Click to edit slide title</a:t>
            </a:r>
            <a:endParaRPr lang="nl-BE"/>
          </a:p>
        </p:txBody>
      </p:sp>
      <p:sp>
        <p:nvSpPr>
          <p:cNvPr id="4" name="Text Placeholder 3"/>
          <p:cNvSpPr>
            <a:spLocks noGrp="1"/>
          </p:cNvSpPr>
          <p:nvPr>
            <p:ph type="body" sz="quarter" idx="16"/>
          </p:nvPr>
        </p:nvSpPr>
        <p:spPr>
          <a:xfrm>
            <a:off x="2428241" y="1377940"/>
            <a:ext cx="9147811" cy="1500717"/>
          </a:xfrm>
        </p:spPr>
        <p:txBody>
          <a:bodyPr anchor="t"/>
          <a:lstStyle>
            <a:lvl1pPr>
              <a:lnSpc>
                <a:spcPct val="100000"/>
              </a:lnSpc>
              <a:spcAft>
                <a:spcPts val="800"/>
              </a:spcAft>
              <a:defRPr>
                <a:latin typeface="Proximus" panose="00000500000000000000" pitchFamily="2" charset="0"/>
              </a:defRPr>
            </a:lvl1pPr>
            <a:lvl2pPr>
              <a:lnSpc>
                <a:spcPct val="100000"/>
              </a:lnSpc>
              <a:spcAft>
                <a:spcPts val="800"/>
              </a:spcAft>
              <a:defRPr>
                <a:latin typeface="Proximus" panose="00000500000000000000" pitchFamily="2" charset="0"/>
              </a:defRPr>
            </a:lvl2pPr>
            <a:lvl3pPr>
              <a:lnSpc>
                <a:spcPct val="100000"/>
              </a:lnSpc>
              <a:spcAft>
                <a:spcPts val="800"/>
              </a:spcAft>
              <a:defRPr>
                <a:latin typeface="Proximus" panose="00000500000000000000" pitchFamily="2" charset="0"/>
              </a:defRPr>
            </a:lvl3pPr>
          </a:lstStyle>
          <a:p>
            <a:pPr lvl="0"/>
            <a:r>
              <a:rPr lang="en-US"/>
              <a:t>Edit Master text styles</a:t>
            </a:r>
          </a:p>
          <a:p>
            <a:pPr lvl="1"/>
            <a:r>
              <a:rPr lang="en-US"/>
              <a:t>Second level</a:t>
            </a:r>
          </a:p>
          <a:p>
            <a:pPr lvl="2"/>
            <a:r>
              <a:rPr lang="en-US"/>
              <a:t>Third level</a:t>
            </a:r>
          </a:p>
        </p:txBody>
      </p:sp>
      <p:sp>
        <p:nvSpPr>
          <p:cNvPr id="21" name="Text Placeholder 3"/>
          <p:cNvSpPr>
            <a:spLocks noGrp="1"/>
          </p:cNvSpPr>
          <p:nvPr>
            <p:ph type="body" sz="quarter" idx="17"/>
          </p:nvPr>
        </p:nvSpPr>
        <p:spPr>
          <a:xfrm>
            <a:off x="2426124" y="3011867"/>
            <a:ext cx="9149931" cy="1500717"/>
          </a:xfrm>
        </p:spPr>
        <p:txBody>
          <a:bodyPr anchor="t"/>
          <a:lstStyle>
            <a:lvl1pPr>
              <a:lnSpc>
                <a:spcPct val="100000"/>
              </a:lnSpc>
              <a:spcAft>
                <a:spcPts val="800"/>
              </a:spcAft>
              <a:defRPr>
                <a:latin typeface="Proximus" panose="00000500000000000000" pitchFamily="2" charset="0"/>
              </a:defRPr>
            </a:lvl1pPr>
            <a:lvl2pPr>
              <a:lnSpc>
                <a:spcPct val="100000"/>
              </a:lnSpc>
              <a:spcAft>
                <a:spcPts val="800"/>
              </a:spcAft>
              <a:defRPr>
                <a:latin typeface="Proximus" panose="00000500000000000000" pitchFamily="2" charset="0"/>
              </a:defRPr>
            </a:lvl2pPr>
            <a:lvl3pPr>
              <a:lnSpc>
                <a:spcPct val="100000"/>
              </a:lnSpc>
              <a:spcAft>
                <a:spcPts val="800"/>
              </a:spcAft>
              <a:defRPr>
                <a:latin typeface="Proximus" panose="00000500000000000000" pitchFamily="2" charset="0"/>
              </a:defRPr>
            </a:lvl3pPr>
          </a:lstStyle>
          <a:p>
            <a:pPr lvl="0"/>
            <a:r>
              <a:rPr lang="en-US"/>
              <a:t>Edit Master text styles</a:t>
            </a:r>
          </a:p>
          <a:p>
            <a:pPr lvl="1"/>
            <a:r>
              <a:rPr lang="en-US"/>
              <a:t>Second level</a:t>
            </a:r>
          </a:p>
          <a:p>
            <a:pPr lvl="2"/>
            <a:r>
              <a:rPr lang="en-US"/>
              <a:t>Third level</a:t>
            </a:r>
          </a:p>
        </p:txBody>
      </p:sp>
      <p:sp>
        <p:nvSpPr>
          <p:cNvPr id="22" name="Text Placeholder 3"/>
          <p:cNvSpPr>
            <a:spLocks noGrp="1"/>
          </p:cNvSpPr>
          <p:nvPr>
            <p:ph type="body" sz="quarter" idx="18"/>
          </p:nvPr>
        </p:nvSpPr>
        <p:spPr>
          <a:xfrm>
            <a:off x="2426124" y="4644460"/>
            <a:ext cx="9147811" cy="1500717"/>
          </a:xfrm>
        </p:spPr>
        <p:txBody>
          <a:bodyPr anchor="t"/>
          <a:lstStyle>
            <a:lvl1pPr>
              <a:lnSpc>
                <a:spcPct val="100000"/>
              </a:lnSpc>
              <a:spcAft>
                <a:spcPts val="800"/>
              </a:spcAft>
              <a:defRPr>
                <a:latin typeface="Proximus" panose="00000500000000000000" pitchFamily="2" charset="0"/>
              </a:defRPr>
            </a:lvl1pPr>
            <a:lvl2pPr>
              <a:lnSpc>
                <a:spcPct val="100000"/>
              </a:lnSpc>
              <a:spcAft>
                <a:spcPts val="800"/>
              </a:spcAft>
              <a:defRPr>
                <a:latin typeface="Proximus" panose="00000500000000000000" pitchFamily="2" charset="0"/>
              </a:defRPr>
            </a:lvl2pPr>
            <a:lvl3pPr>
              <a:lnSpc>
                <a:spcPct val="100000"/>
              </a:lnSpc>
              <a:spcAft>
                <a:spcPts val="800"/>
              </a:spcAft>
              <a:defRPr>
                <a:latin typeface="Proximus" panose="00000500000000000000" pitchFamily="2" charset="0"/>
              </a:defRPr>
            </a:lvl3pPr>
          </a:lstStyle>
          <a:p>
            <a:pPr lvl="0"/>
            <a:r>
              <a:rPr lang="en-US"/>
              <a:t>Edit Master text styles</a:t>
            </a:r>
          </a:p>
          <a:p>
            <a:pPr lvl="1"/>
            <a:r>
              <a:rPr lang="en-US"/>
              <a:t>Second level</a:t>
            </a:r>
          </a:p>
          <a:p>
            <a:pPr lvl="2"/>
            <a:r>
              <a:rPr lang="en-US"/>
              <a:t>Third level</a:t>
            </a:r>
          </a:p>
        </p:txBody>
      </p:sp>
      <p:sp>
        <p:nvSpPr>
          <p:cNvPr id="16" name="Picture Placeholder 4"/>
          <p:cNvSpPr>
            <a:spLocks noGrp="1"/>
          </p:cNvSpPr>
          <p:nvPr>
            <p:ph type="pic" sz="quarter" idx="37"/>
          </p:nvPr>
        </p:nvSpPr>
        <p:spPr>
          <a:xfrm>
            <a:off x="613833" y="1377600"/>
            <a:ext cx="1502400" cy="1502400"/>
          </a:xfrm>
          <a:blipFill dpi="0" rotWithShape="1">
            <a:blip r:embed="rId2" cstate="screen">
              <a:extLst>
                <a:ext uri="{28A0092B-C50C-407E-A947-70E740481C1C}">
                  <a14:useLocalDpi xmlns:a14="http://schemas.microsoft.com/office/drawing/2010/main"/>
                </a:ext>
              </a:extLst>
            </a:blip>
            <a:srcRect/>
            <a:tile tx="0" ty="0" sx="29000" sy="29000" flip="none" algn="ctr"/>
          </a:blipFill>
        </p:spPr>
        <p:txBody>
          <a:bodyPr anchor="ctr"/>
          <a:lstStyle>
            <a:lvl1pPr marL="0" indent="0" algn="ctr">
              <a:buNone/>
              <a:defRPr sz="1333">
                <a:latin typeface="Proximus" panose="00000500000000000000" pitchFamily="2" charset="0"/>
              </a:defRPr>
            </a:lvl1pPr>
          </a:lstStyle>
          <a:p>
            <a:r>
              <a:rPr lang="en-US"/>
              <a:t>Click icon to add picture</a:t>
            </a:r>
            <a:endParaRPr lang="en-GB"/>
          </a:p>
        </p:txBody>
      </p:sp>
      <p:sp>
        <p:nvSpPr>
          <p:cNvPr id="5" name="Footer Placeholder 4"/>
          <p:cNvSpPr>
            <a:spLocks noGrp="1"/>
          </p:cNvSpPr>
          <p:nvPr>
            <p:ph type="ftr" sz="quarter" idx="41"/>
          </p:nvPr>
        </p:nvSpPr>
        <p:spPr/>
        <p:txBody>
          <a:bodyPr/>
          <a:lstStyle>
            <a:lvl1pPr>
              <a:defRPr>
                <a:latin typeface="Proximus" panose="00000500000000000000" pitchFamily="2" charset="0"/>
              </a:defRPr>
            </a:lvl1pPr>
          </a:lstStyle>
          <a:p>
            <a:r>
              <a:rPr lang="nl-BE"/>
              <a:t>Proximus</a:t>
            </a:r>
          </a:p>
        </p:txBody>
      </p:sp>
      <p:sp>
        <p:nvSpPr>
          <p:cNvPr id="11" name="Slide Number Placeholder 9">
            <a:extLst>
              <a:ext uri="{FF2B5EF4-FFF2-40B4-BE49-F238E27FC236}">
                <a16:creationId xmlns:a16="http://schemas.microsoft.com/office/drawing/2014/main" id="{2E8BAEA7-29D9-4A96-9686-F0ED3A313AA0}"/>
              </a:ext>
            </a:extLst>
          </p:cNvPr>
          <p:cNvSpPr>
            <a:spLocks noGrp="1"/>
          </p:cNvSpPr>
          <p:nvPr>
            <p:ph type="sldNum" sz="quarter" idx="4"/>
          </p:nvPr>
        </p:nvSpPr>
        <p:spPr>
          <a:xfrm>
            <a:off x="10944002" y="6672000"/>
            <a:ext cx="624417" cy="96000"/>
          </a:xfrm>
          <a:prstGeom prst="rect">
            <a:avLst/>
          </a:prstGeom>
        </p:spPr>
        <p:txBody>
          <a:bodyPr lIns="0" tIns="0" rIns="0" bIns="0" anchor="b"/>
          <a:lstStyle>
            <a:lvl1pPr algn="r">
              <a:defRPr sz="800">
                <a:solidFill>
                  <a:schemeClr val="bg1"/>
                </a:solidFill>
                <a:latin typeface="Proximus" panose="00000500000000000000" pitchFamily="2" charset="0"/>
              </a:defRPr>
            </a:lvl1pPr>
          </a:lstStyle>
          <a:p>
            <a:fld id="{AF458780-3DEA-4093-8A6E-7C0E406A36AD}" type="slidenum">
              <a:rPr lang="nl-BE" smtClean="0"/>
              <a:pPr/>
              <a:t>‹#›</a:t>
            </a:fld>
            <a:endParaRPr lang="nl-BE"/>
          </a:p>
        </p:txBody>
      </p:sp>
      <p:sp>
        <p:nvSpPr>
          <p:cNvPr id="12" name="Picture Placeholder 4">
            <a:extLst>
              <a:ext uri="{FF2B5EF4-FFF2-40B4-BE49-F238E27FC236}">
                <a16:creationId xmlns:a16="http://schemas.microsoft.com/office/drawing/2014/main" id="{7720C285-CB40-4CF1-A429-9831C5579C18}"/>
              </a:ext>
            </a:extLst>
          </p:cNvPr>
          <p:cNvSpPr>
            <a:spLocks noGrp="1"/>
          </p:cNvSpPr>
          <p:nvPr>
            <p:ph type="pic" sz="quarter" idx="42"/>
          </p:nvPr>
        </p:nvSpPr>
        <p:spPr>
          <a:xfrm>
            <a:off x="613836" y="3006115"/>
            <a:ext cx="1502400" cy="1502400"/>
          </a:xfrm>
          <a:blipFill dpi="0" rotWithShape="1">
            <a:blip r:embed="rId2" cstate="screen">
              <a:extLst>
                <a:ext uri="{28A0092B-C50C-407E-A947-70E740481C1C}">
                  <a14:useLocalDpi xmlns:a14="http://schemas.microsoft.com/office/drawing/2010/main"/>
                </a:ext>
              </a:extLst>
            </a:blip>
            <a:srcRect/>
            <a:tile tx="0" ty="0" sx="29000" sy="29000" flip="none" algn="ctr"/>
          </a:blipFill>
        </p:spPr>
        <p:txBody>
          <a:bodyPr anchor="ctr"/>
          <a:lstStyle>
            <a:lvl1pPr marL="0" indent="0" algn="ctr">
              <a:buNone/>
              <a:defRPr sz="1333">
                <a:latin typeface="Proximus" panose="00000500000000000000" pitchFamily="2" charset="0"/>
              </a:defRPr>
            </a:lvl1pPr>
          </a:lstStyle>
          <a:p>
            <a:r>
              <a:rPr lang="en-US"/>
              <a:t>Click icon to add picture</a:t>
            </a:r>
            <a:endParaRPr lang="en-GB"/>
          </a:p>
        </p:txBody>
      </p:sp>
      <p:sp>
        <p:nvSpPr>
          <p:cNvPr id="13" name="Picture Placeholder 4">
            <a:extLst>
              <a:ext uri="{FF2B5EF4-FFF2-40B4-BE49-F238E27FC236}">
                <a16:creationId xmlns:a16="http://schemas.microsoft.com/office/drawing/2014/main" id="{E5B1889B-F1A2-4CB6-99D6-7C8D3CBB437F}"/>
              </a:ext>
            </a:extLst>
          </p:cNvPr>
          <p:cNvSpPr>
            <a:spLocks noGrp="1"/>
          </p:cNvSpPr>
          <p:nvPr>
            <p:ph type="pic" sz="quarter" idx="43"/>
          </p:nvPr>
        </p:nvSpPr>
        <p:spPr>
          <a:xfrm>
            <a:off x="609597" y="4640335"/>
            <a:ext cx="1502400" cy="1502400"/>
          </a:xfrm>
          <a:blipFill dpi="0" rotWithShape="1">
            <a:blip r:embed="rId2" cstate="screen">
              <a:extLst>
                <a:ext uri="{28A0092B-C50C-407E-A947-70E740481C1C}">
                  <a14:useLocalDpi xmlns:a14="http://schemas.microsoft.com/office/drawing/2010/main"/>
                </a:ext>
              </a:extLst>
            </a:blip>
            <a:srcRect/>
            <a:tile tx="0" ty="0" sx="29000" sy="29000" flip="none" algn="ctr"/>
          </a:blipFill>
        </p:spPr>
        <p:txBody>
          <a:bodyPr anchor="ctr"/>
          <a:lstStyle>
            <a:lvl1pPr marL="0" indent="0" algn="ctr">
              <a:buNone/>
              <a:defRPr sz="1333">
                <a:latin typeface="Proximus" panose="00000500000000000000" pitchFamily="2" charset="0"/>
              </a:defRPr>
            </a:lvl1pPr>
          </a:lstStyle>
          <a:p>
            <a:r>
              <a:rPr lang="en-US"/>
              <a:t>Click icon to add picture</a:t>
            </a:r>
            <a:endParaRPr lang="en-GB"/>
          </a:p>
        </p:txBody>
      </p:sp>
    </p:spTree>
    <p:extLst>
      <p:ext uri="{BB962C8B-B14F-4D97-AF65-F5344CB8AC3E}">
        <p14:creationId xmlns:p14="http://schemas.microsoft.com/office/powerpoint/2010/main" val="20056799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ontent slide - white bg - img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3838" y="503767"/>
            <a:ext cx="10962217" cy="750784"/>
          </a:xfrm>
        </p:spPr>
        <p:txBody>
          <a:bodyPr/>
          <a:lstStyle>
            <a:lvl1pPr>
              <a:defRPr>
                <a:latin typeface="Proximus" panose="00000500000000000000" pitchFamily="2" charset="0"/>
              </a:defRPr>
            </a:lvl1pPr>
          </a:lstStyle>
          <a:p>
            <a:r>
              <a:rPr lang="en-US"/>
              <a:t>Click to edit slide title</a:t>
            </a:r>
            <a:endParaRPr lang="nl-BE"/>
          </a:p>
        </p:txBody>
      </p:sp>
      <p:sp>
        <p:nvSpPr>
          <p:cNvPr id="4" name="Text Placeholder 3"/>
          <p:cNvSpPr>
            <a:spLocks noGrp="1"/>
          </p:cNvSpPr>
          <p:nvPr>
            <p:ph type="body" sz="quarter" idx="16"/>
          </p:nvPr>
        </p:nvSpPr>
        <p:spPr>
          <a:xfrm>
            <a:off x="2428241" y="1377940"/>
            <a:ext cx="9147811" cy="1500717"/>
          </a:xfrm>
        </p:spPr>
        <p:txBody>
          <a:bodyPr anchor="t"/>
          <a:lstStyle>
            <a:lvl1pPr>
              <a:lnSpc>
                <a:spcPct val="100000"/>
              </a:lnSpc>
              <a:spcAft>
                <a:spcPts val="800"/>
              </a:spcAft>
              <a:defRPr>
                <a:latin typeface="Proximus" panose="00000500000000000000" pitchFamily="2" charset="0"/>
              </a:defRPr>
            </a:lvl1pPr>
            <a:lvl2pPr>
              <a:lnSpc>
                <a:spcPct val="100000"/>
              </a:lnSpc>
              <a:spcAft>
                <a:spcPts val="800"/>
              </a:spcAft>
              <a:defRPr>
                <a:latin typeface="Proximus" panose="00000500000000000000" pitchFamily="2" charset="0"/>
              </a:defRPr>
            </a:lvl2pPr>
            <a:lvl3pPr>
              <a:lnSpc>
                <a:spcPct val="100000"/>
              </a:lnSpc>
              <a:spcAft>
                <a:spcPts val="800"/>
              </a:spcAft>
              <a:defRPr>
                <a:latin typeface="Proximus" panose="00000500000000000000" pitchFamily="2" charset="0"/>
              </a:defRPr>
            </a:lvl3pPr>
          </a:lstStyle>
          <a:p>
            <a:pPr lvl="0"/>
            <a:r>
              <a:rPr lang="en-US"/>
              <a:t>Edit Master text styles</a:t>
            </a:r>
          </a:p>
          <a:p>
            <a:pPr lvl="0"/>
            <a:endParaRPr lang="en-US"/>
          </a:p>
        </p:txBody>
      </p:sp>
      <p:sp>
        <p:nvSpPr>
          <p:cNvPr id="21" name="Text Placeholder 3"/>
          <p:cNvSpPr>
            <a:spLocks noGrp="1"/>
          </p:cNvSpPr>
          <p:nvPr>
            <p:ph type="body" sz="quarter" idx="17"/>
          </p:nvPr>
        </p:nvSpPr>
        <p:spPr>
          <a:xfrm>
            <a:off x="2426124" y="3011867"/>
            <a:ext cx="9149931" cy="1500717"/>
          </a:xfrm>
        </p:spPr>
        <p:txBody>
          <a:bodyPr anchor="t"/>
          <a:lstStyle>
            <a:lvl1pPr>
              <a:lnSpc>
                <a:spcPct val="100000"/>
              </a:lnSpc>
              <a:spcAft>
                <a:spcPts val="800"/>
              </a:spcAft>
              <a:defRPr>
                <a:latin typeface="Proximus" panose="00000500000000000000" pitchFamily="2" charset="0"/>
              </a:defRPr>
            </a:lvl1pPr>
            <a:lvl2pPr>
              <a:lnSpc>
                <a:spcPct val="100000"/>
              </a:lnSpc>
              <a:spcAft>
                <a:spcPts val="800"/>
              </a:spcAft>
              <a:defRPr>
                <a:latin typeface="Proximus" panose="00000500000000000000" pitchFamily="2" charset="0"/>
              </a:defRPr>
            </a:lvl2pPr>
            <a:lvl3pPr>
              <a:lnSpc>
                <a:spcPct val="100000"/>
              </a:lnSpc>
              <a:spcAft>
                <a:spcPts val="800"/>
              </a:spcAft>
              <a:defRPr>
                <a:latin typeface="Proximus" panose="00000500000000000000" pitchFamily="2" charset="0"/>
              </a:defRPr>
            </a:lvl3pPr>
          </a:lstStyle>
          <a:p>
            <a:pPr lvl="0"/>
            <a:r>
              <a:rPr lang="en-US"/>
              <a:t>Edit Master text styles</a:t>
            </a:r>
          </a:p>
        </p:txBody>
      </p:sp>
      <p:sp>
        <p:nvSpPr>
          <p:cNvPr id="22" name="Text Placeholder 3"/>
          <p:cNvSpPr>
            <a:spLocks noGrp="1"/>
          </p:cNvSpPr>
          <p:nvPr>
            <p:ph type="body" sz="quarter" idx="18"/>
          </p:nvPr>
        </p:nvSpPr>
        <p:spPr>
          <a:xfrm>
            <a:off x="2426124" y="4644460"/>
            <a:ext cx="9147811" cy="1500717"/>
          </a:xfrm>
        </p:spPr>
        <p:txBody>
          <a:bodyPr anchor="t"/>
          <a:lstStyle>
            <a:lvl1pPr>
              <a:lnSpc>
                <a:spcPct val="100000"/>
              </a:lnSpc>
              <a:spcAft>
                <a:spcPts val="800"/>
              </a:spcAft>
              <a:defRPr>
                <a:latin typeface="Proximus" panose="00000500000000000000" pitchFamily="2" charset="0"/>
              </a:defRPr>
            </a:lvl1pPr>
            <a:lvl2pPr>
              <a:lnSpc>
                <a:spcPct val="100000"/>
              </a:lnSpc>
              <a:spcAft>
                <a:spcPts val="800"/>
              </a:spcAft>
              <a:defRPr>
                <a:latin typeface="Proximus" panose="00000500000000000000" pitchFamily="2" charset="0"/>
              </a:defRPr>
            </a:lvl2pPr>
            <a:lvl3pPr>
              <a:lnSpc>
                <a:spcPct val="100000"/>
              </a:lnSpc>
              <a:spcAft>
                <a:spcPts val="800"/>
              </a:spcAft>
              <a:defRPr>
                <a:latin typeface="Proximus" panose="00000500000000000000" pitchFamily="2" charset="0"/>
              </a:defRPr>
            </a:lvl3pPr>
          </a:lstStyle>
          <a:p>
            <a:pPr lvl="0"/>
            <a:r>
              <a:rPr lang="en-US"/>
              <a:t>Edit Master text styles</a:t>
            </a:r>
          </a:p>
        </p:txBody>
      </p:sp>
      <p:sp>
        <p:nvSpPr>
          <p:cNvPr id="16" name="Picture Placeholder 4"/>
          <p:cNvSpPr>
            <a:spLocks noGrp="1"/>
          </p:cNvSpPr>
          <p:nvPr>
            <p:ph type="pic" sz="quarter" idx="37"/>
          </p:nvPr>
        </p:nvSpPr>
        <p:spPr>
          <a:xfrm>
            <a:off x="613833" y="1377600"/>
            <a:ext cx="1502400" cy="1502400"/>
          </a:xfrm>
          <a:blipFill dpi="0" rotWithShape="1">
            <a:blip r:embed="rId2" cstate="screen">
              <a:extLst>
                <a:ext uri="{28A0092B-C50C-407E-A947-70E740481C1C}">
                  <a14:useLocalDpi xmlns:a14="http://schemas.microsoft.com/office/drawing/2010/main"/>
                </a:ext>
              </a:extLst>
            </a:blip>
            <a:srcRect/>
            <a:tile tx="0" ty="0" sx="29000" sy="29000" flip="none" algn="ctr"/>
          </a:blipFill>
        </p:spPr>
        <p:txBody>
          <a:bodyPr anchor="ctr"/>
          <a:lstStyle>
            <a:lvl1pPr marL="0" indent="0" algn="ctr">
              <a:buNone/>
              <a:defRPr sz="1333">
                <a:latin typeface="Proximus" panose="00000500000000000000" pitchFamily="2" charset="0"/>
              </a:defRPr>
            </a:lvl1pPr>
          </a:lstStyle>
          <a:p>
            <a:r>
              <a:rPr lang="en-US"/>
              <a:t>Click icon to add picture</a:t>
            </a:r>
            <a:endParaRPr lang="en-GB"/>
          </a:p>
        </p:txBody>
      </p:sp>
      <p:sp>
        <p:nvSpPr>
          <p:cNvPr id="5" name="Footer Placeholder 4"/>
          <p:cNvSpPr>
            <a:spLocks noGrp="1"/>
          </p:cNvSpPr>
          <p:nvPr>
            <p:ph type="ftr" sz="quarter" idx="41"/>
          </p:nvPr>
        </p:nvSpPr>
        <p:spPr/>
        <p:txBody>
          <a:bodyPr/>
          <a:lstStyle>
            <a:lvl1pPr>
              <a:defRPr>
                <a:latin typeface="Proximus" panose="00000500000000000000" pitchFamily="2" charset="0"/>
              </a:defRPr>
            </a:lvl1pPr>
          </a:lstStyle>
          <a:p>
            <a:r>
              <a:rPr lang="nl-BE"/>
              <a:t>Proximus</a:t>
            </a:r>
          </a:p>
        </p:txBody>
      </p:sp>
      <p:sp>
        <p:nvSpPr>
          <p:cNvPr id="11" name="Slide Number Placeholder 9">
            <a:extLst>
              <a:ext uri="{FF2B5EF4-FFF2-40B4-BE49-F238E27FC236}">
                <a16:creationId xmlns:a16="http://schemas.microsoft.com/office/drawing/2014/main" id="{2E8BAEA7-29D9-4A96-9686-F0ED3A313AA0}"/>
              </a:ext>
            </a:extLst>
          </p:cNvPr>
          <p:cNvSpPr>
            <a:spLocks noGrp="1"/>
          </p:cNvSpPr>
          <p:nvPr>
            <p:ph type="sldNum" sz="quarter" idx="4"/>
          </p:nvPr>
        </p:nvSpPr>
        <p:spPr>
          <a:xfrm>
            <a:off x="10944002" y="6672000"/>
            <a:ext cx="624417" cy="96000"/>
          </a:xfrm>
          <a:prstGeom prst="rect">
            <a:avLst/>
          </a:prstGeom>
        </p:spPr>
        <p:txBody>
          <a:bodyPr lIns="0" tIns="0" rIns="0" bIns="0" anchor="b"/>
          <a:lstStyle>
            <a:lvl1pPr algn="r">
              <a:defRPr sz="800">
                <a:solidFill>
                  <a:schemeClr val="bg1"/>
                </a:solidFill>
                <a:latin typeface="Proximus" panose="00000500000000000000" pitchFamily="2" charset="0"/>
              </a:defRPr>
            </a:lvl1pPr>
          </a:lstStyle>
          <a:p>
            <a:fld id="{AF458780-3DEA-4093-8A6E-7C0E406A36AD}" type="slidenum">
              <a:rPr lang="nl-BE" smtClean="0"/>
              <a:pPr/>
              <a:t>‹#›</a:t>
            </a:fld>
            <a:endParaRPr lang="nl-BE"/>
          </a:p>
        </p:txBody>
      </p:sp>
      <p:sp>
        <p:nvSpPr>
          <p:cNvPr id="12" name="Picture Placeholder 4">
            <a:extLst>
              <a:ext uri="{FF2B5EF4-FFF2-40B4-BE49-F238E27FC236}">
                <a16:creationId xmlns:a16="http://schemas.microsoft.com/office/drawing/2014/main" id="{7720C285-CB40-4CF1-A429-9831C5579C18}"/>
              </a:ext>
            </a:extLst>
          </p:cNvPr>
          <p:cNvSpPr>
            <a:spLocks noGrp="1"/>
          </p:cNvSpPr>
          <p:nvPr>
            <p:ph type="pic" sz="quarter" idx="42"/>
          </p:nvPr>
        </p:nvSpPr>
        <p:spPr>
          <a:xfrm>
            <a:off x="613836" y="3006115"/>
            <a:ext cx="1502400" cy="1502400"/>
          </a:xfrm>
          <a:blipFill dpi="0" rotWithShape="1">
            <a:blip r:embed="rId2" cstate="screen">
              <a:extLst>
                <a:ext uri="{28A0092B-C50C-407E-A947-70E740481C1C}">
                  <a14:useLocalDpi xmlns:a14="http://schemas.microsoft.com/office/drawing/2010/main"/>
                </a:ext>
              </a:extLst>
            </a:blip>
            <a:srcRect/>
            <a:tile tx="0" ty="0" sx="29000" sy="29000" flip="none" algn="ctr"/>
          </a:blipFill>
        </p:spPr>
        <p:txBody>
          <a:bodyPr anchor="ctr"/>
          <a:lstStyle>
            <a:lvl1pPr marL="0" indent="0" algn="ctr">
              <a:buNone/>
              <a:defRPr sz="1333">
                <a:latin typeface="Proximus" panose="00000500000000000000" pitchFamily="2" charset="0"/>
              </a:defRPr>
            </a:lvl1pPr>
          </a:lstStyle>
          <a:p>
            <a:r>
              <a:rPr lang="en-US"/>
              <a:t>Click icon to add picture</a:t>
            </a:r>
            <a:endParaRPr lang="en-GB"/>
          </a:p>
        </p:txBody>
      </p:sp>
      <p:sp>
        <p:nvSpPr>
          <p:cNvPr id="13" name="Picture Placeholder 4">
            <a:extLst>
              <a:ext uri="{FF2B5EF4-FFF2-40B4-BE49-F238E27FC236}">
                <a16:creationId xmlns:a16="http://schemas.microsoft.com/office/drawing/2014/main" id="{E5B1889B-F1A2-4CB6-99D6-7C8D3CBB437F}"/>
              </a:ext>
            </a:extLst>
          </p:cNvPr>
          <p:cNvSpPr>
            <a:spLocks noGrp="1"/>
          </p:cNvSpPr>
          <p:nvPr>
            <p:ph type="pic" sz="quarter" idx="43"/>
          </p:nvPr>
        </p:nvSpPr>
        <p:spPr>
          <a:xfrm>
            <a:off x="609597" y="4640335"/>
            <a:ext cx="1502400" cy="1502400"/>
          </a:xfrm>
          <a:blipFill dpi="0" rotWithShape="1">
            <a:blip r:embed="rId2" cstate="screen">
              <a:extLst>
                <a:ext uri="{28A0092B-C50C-407E-A947-70E740481C1C}">
                  <a14:useLocalDpi xmlns:a14="http://schemas.microsoft.com/office/drawing/2010/main"/>
                </a:ext>
              </a:extLst>
            </a:blip>
            <a:srcRect/>
            <a:tile tx="0" ty="0" sx="29000" sy="29000" flip="none" algn="ctr"/>
          </a:blipFill>
        </p:spPr>
        <p:txBody>
          <a:bodyPr anchor="ctr"/>
          <a:lstStyle>
            <a:lvl1pPr marL="0" indent="0" algn="ctr">
              <a:buNone/>
              <a:defRPr sz="1333">
                <a:latin typeface="Proximus" panose="00000500000000000000" pitchFamily="2" charset="0"/>
              </a:defRPr>
            </a:lvl1pPr>
          </a:lstStyle>
          <a:p>
            <a:r>
              <a:rPr lang="en-US"/>
              <a:t>Click icon to add picture</a:t>
            </a:r>
            <a:endParaRPr lang="en-GB"/>
          </a:p>
        </p:txBody>
      </p:sp>
    </p:spTree>
    <p:extLst>
      <p:ext uri="{BB962C8B-B14F-4D97-AF65-F5344CB8AC3E}">
        <p14:creationId xmlns:p14="http://schemas.microsoft.com/office/powerpoint/2010/main" val="124266832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userDrawn="1">
  <p:cSld name="Corporate - Thank you">
    <p:bg>
      <p:bgPr>
        <a:solidFill>
          <a:schemeClr val="bg1"/>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B1B71B8E-2EE5-42DA-9DCB-050A1D881288}"/>
              </a:ext>
            </a:extLst>
          </p:cNvPr>
          <p:cNvSpPr txBox="1"/>
          <p:nvPr userDrawn="1"/>
        </p:nvSpPr>
        <p:spPr>
          <a:xfrm>
            <a:off x="613833" y="1383694"/>
            <a:ext cx="10990456" cy="861775"/>
          </a:xfrm>
          <a:prstGeom prst="rect">
            <a:avLst/>
          </a:prstGeom>
        </p:spPr>
        <p:txBody>
          <a:bodyPr vert="horz" lIns="0" tIns="0" rIns="0" bIns="0" rtlCol="0" anchor="b" anchorCtr="0">
            <a:normAutofit/>
          </a:bodyPr>
          <a:lstStyle>
            <a:lvl1pPr defTabSz="914287">
              <a:spcBef>
                <a:spcPct val="0"/>
              </a:spcBef>
              <a:buNone/>
              <a:defRPr sz="4200" b="0" i="0">
                <a:solidFill>
                  <a:srgbClr val="FFFFFF"/>
                </a:solidFill>
                <a:latin typeface="Proximus ExtraBold" panose="00000900000000000000" pitchFamily="2" charset="0"/>
                <a:ea typeface="+mj-ea"/>
                <a:cs typeface="Proximus" panose="00000500000000000000" pitchFamily="2" charset="0"/>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BE" sz="5600"/>
              <a:t>T</a:t>
            </a:r>
            <a:r>
              <a:rPr lang="en-US" sz="5600"/>
              <a:t>h</a:t>
            </a:r>
            <a:r>
              <a:rPr lang="en-BE" sz="5600"/>
              <a:t>a</a:t>
            </a:r>
            <a:r>
              <a:rPr lang="en-US" sz="5600"/>
              <a:t>n</a:t>
            </a:r>
            <a:r>
              <a:rPr lang="en-BE" sz="5600"/>
              <a:t>k </a:t>
            </a:r>
            <a:r>
              <a:rPr lang="en-US" sz="5600"/>
              <a:t>Y</a:t>
            </a:r>
            <a:r>
              <a:rPr lang="en-BE" sz="5600"/>
              <a:t>o</a:t>
            </a:r>
            <a:r>
              <a:rPr lang="en-US" sz="5600"/>
              <a:t>u</a:t>
            </a:r>
          </a:p>
        </p:txBody>
      </p:sp>
      <p:sp>
        <p:nvSpPr>
          <p:cNvPr id="9" name="TextBox 8">
            <a:extLst>
              <a:ext uri="{FF2B5EF4-FFF2-40B4-BE49-F238E27FC236}">
                <a16:creationId xmlns:a16="http://schemas.microsoft.com/office/drawing/2014/main" id="{3D625A43-E143-4D22-B3C4-4B1ECE1CDE39}"/>
              </a:ext>
            </a:extLst>
          </p:cNvPr>
          <p:cNvSpPr txBox="1"/>
          <p:nvPr userDrawn="1"/>
        </p:nvSpPr>
        <p:spPr>
          <a:xfrm>
            <a:off x="613833" y="5033936"/>
            <a:ext cx="10962219" cy="357229"/>
          </a:xfrm>
          <a:prstGeom prst="rect">
            <a:avLst/>
          </a:prstGeom>
        </p:spPr>
        <p:txBody>
          <a:bodyPr vert="horz" lIns="0" tIns="0" rIns="0" bIns="0" numCol="1" spcCol="0" rtlCol="0" anchor="t" anchorCtr="0">
            <a:noAutofit/>
          </a:bodyPr>
          <a:lstStyle>
            <a:lvl1pPr lvl="0" indent="0" defTabSz="914287">
              <a:lnSpc>
                <a:spcPts val="2200"/>
              </a:lnSpc>
              <a:spcBef>
                <a:spcPts val="0"/>
              </a:spcBef>
              <a:spcAft>
                <a:spcPts val="1100"/>
              </a:spcAft>
              <a:buClr>
                <a:schemeClr val="tx2"/>
              </a:buClr>
              <a:buSzPct val="100000"/>
              <a:buFont typeface="Arial" panose="020B0604020202020204" pitchFamily="34" charset="0"/>
              <a:buNone/>
              <a:tabLst/>
              <a:defRPr sz="1800">
                <a:latin typeface="Proximus" panose="00000500000000000000" pitchFamily="2" charset="0"/>
              </a:defRPr>
            </a:lvl1pPr>
            <a:lvl2pPr marL="358730" indent="-176192" defTabSz="914287">
              <a:spcBef>
                <a:spcPts val="0"/>
              </a:spcBef>
              <a:spcAft>
                <a:spcPts val="1100"/>
              </a:spcAft>
              <a:buClr>
                <a:schemeClr val="bg1"/>
              </a:buClr>
              <a:buSzPct val="100000"/>
              <a:buFont typeface="Arial" panose="020B0604020202020204" pitchFamily="34" charset="0"/>
              <a:buChar char="•"/>
              <a:tabLst/>
              <a:defRPr sz="1800">
                <a:solidFill>
                  <a:schemeClr val="bg1"/>
                </a:solidFill>
                <a:latin typeface="Proximus" panose="00000500000000000000" pitchFamily="2" charset="0"/>
              </a:defRPr>
            </a:lvl2pPr>
            <a:lvl3pPr marL="536507" indent="-177779" defTabSz="914287">
              <a:spcBef>
                <a:spcPts val="0"/>
              </a:spcBef>
              <a:spcAft>
                <a:spcPts val="1100"/>
              </a:spcAft>
              <a:buClr>
                <a:schemeClr val="bg1"/>
              </a:buClr>
              <a:buSzPct val="100000"/>
              <a:buFont typeface="Arial" panose="020B0604020202020204" pitchFamily="34" charset="0"/>
              <a:buChar char="•"/>
              <a:tabLst/>
              <a:defRPr sz="1600">
                <a:solidFill>
                  <a:schemeClr val="bg1"/>
                </a:solidFill>
                <a:latin typeface="Proximus" panose="00000500000000000000" pitchFamily="2" charset="0"/>
              </a:defRPr>
            </a:lvl3pPr>
            <a:lvl4pPr marL="712699" indent="-176192" defTabSz="914287">
              <a:spcBef>
                <a:spcPts val="0"/>
              </a:spcBef>
              <a:spcAft>
                <a:spcPts val="1100"/>
              </a:spcAft>
              <a:buClr>
                <a:schemeClr val="bg1"/>
              </a:buClr>
              <a:buSzPct val="100000"/>
              <a:buFont typeface="Arial" panose="020B0604020202020204" pitchFamily="34" charset="0"/>
              <a:buChar char="•"/>
              <a:tabLst/>
              <a:defRPr sz="1400">
                <a:solidFill>
                  <a:schemeClr val="bg1"/>
                </a:solidFill>
                <a:latin typeface="Proximus" panose="00000500000000000000" pitchFamily="2" charset="0"/>
              </a:defRPr>
            </a:lvl4pPr>
            <a:lvl5pPr marL="888889" indent="-176192" defTabSz="914287">
              <a:spcBef>
                <a:spcPts val="0"/>
              </a:spcBef>
              <a:spcAft>
                <a:spcPts val="1100"/>
              </a:spcAft>
              <a:buClr>
                <a:schemeClr val="bg1"/>
              </a:buClr>
              <a:buSzPct val="100000"/>
              <a:buFont typeface="Arial" panose="020B0604020202020204" pitchFamily="34" charset="0"/>
              <a:buChar char="•"/>
              <a:tabLst/>
              <a:defRPr sz="1200">
                <a:solidFill>
                  <a:schemeClr val="bg1"/>
                </a:solidFill>
                <a:latin typeface="Proximus" panose="00000500000000000000" pitchFamily="2" charset="0"/>
              </a:defRPr>
            </a:lvl5pPr>
            <a:lvl6pPr marL="2514286" indent="-228572" defTabSz="914287">
              <a:spcBef>
                <a:spcPct val="20000"/>
              </a:spcBef>
              <a:buFont typeface="Arial" panose="020B0604020202020204" pitchFamily="34" charset="0"/>
              <a:buChar char="•"/>
              <a:defRPr sz="2000"/>
            </a:lvl6pPr>
            <a:lvl7pPr marL="2971429" indent="-228572" defTabSz="914287">
              <a:spcBef>
                <a:spcPct val="20000"/>
              </a:spcBef>
              <a:buFont typeface="Arial" panose="020B0604020202020204" pitchFamily="34" charset="0"/>
              <a:buChar char="•"/>
              <a:defRPr sz="2000"/>
            </a:lvl7pPr>
            <a:lvl8pPr marL="3428572" indent="-228572" defTabSz="914287">
              <a:spcBef>
                <a:spcPct val="20000"/>
              </a:spcBef>
              <a:buFont typeface="Arial" panose="020B0604020202020204" pitchFamily="34" charset="0"/>
              <a:buChar char="•"/>
              <a:defRPr sz="2000"/>
            </a:lvl8pPr>
            <a:lvl9pPr marL="3885715" indent="-228572" defTabSz="914287">
              <a:spcBef>
                <a:spcPct val="20000"/>
              </a:spcBef>
              <a:buFont typeface="Arial" panose="020B0604020202020204" pitchFamily="34" charset="0"/>
              <a:buChar char="•"/>
              <a:defRPr sz="2000"/>
            </a:lvl9pPr>
          </a:lstStyle>
          <a:p>
            <a:pPr lvl="0"/>
            <a:r>
              <a:rPr lang="en-US" sz="2400"/>
              <a:t>More info?</a:t>
            </a:r>
          </a:p>
        </p:txBody>
      </p:sp>
      <p:sp>
        <p:nvSpPr>
          <p:cNvPr id="10" name="Text Placeholder 13">
            <a:extLst>
              <a:ext uri="{FF2B5EF4-FFF2-40B4-BE49-F238E27FC236}">
                <a16:creationId xmlns:a16="http://schemas.microsoft.com/office/drawing/2014/main" id="{49F2A999-C938-4D11-9094-618C3F7F8575}"/>
              </a:ext>
            </a:extLst>
          </p:cNvPr>
          <p:cNvSpPr>
            <a:spLocks noGrp="1"/>
          </p:cNvSpPr>
          <p:nvPr>
            <p:ph type="body" sz="quarter" idx="10" hasCustomPrompt="1"/>
          </p:nvPr>
        </p:nvSpPr>
        <p:spPr>
          <a:xfrm>
            <a:off x="586321" y="5473700"/>
            <a:ext cx="11017249" cy="357717"/>
          </a:xfrm>
          <a:noFill/>
        </p:spPr>
        <p:txBody>
          <a:bodyPr/>
          <a:lstStyle>
            <a:lvl1pPr>
              <a:defRPr>
                <a:solidFill>
                  <a:schemeClr val="tx1"/>
                </a:solidFill>
              </a:defRPr>
            </a:lvl1pPr>
          </a:lstStyle>
          <a:p>
            <a:pPr lvl="0"/>
            <a:r>
              <a:rPr lang="en-US"/>
              <a:t>firstname.lastname@proximus.com</a:t>
            </a:r>
          </a:p>
        </p:txBody>
      </p:sp>
      <p:pic>
        <p:nvPicPr>
          <p:cNvPr id="11" name="Graphic 10">
            <a:extLst>
              <a:ext uri="{FF2B5EF4-FFF2-40B4-BE49-F238E27FC236}">
                <a16:creationId xmlns:a16="http://schemas.microsoft.com/office/drawing/2014/main" id="{C6AA7F00-5945-4311-A437-777A4B87C40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962188" y="6152360"/>
            <a:ext cx="1642101" cy="357229"/>
          </a:xfrm>
          <a:prstGeom prst="rect">
            <a:avLst/>
          </a:prstGeom>
        </p:spPr>
      </p:pic>
    </p:spTree>
    <p:extLst>
      <p:ext uri="{BB962C8B-B14F-4D97-AF65-F5344CB8AC3E}">
        <p14:creationId xmlns:p14="http://schemas.microsoft.com/office/powerpoint/2010/main" val="416138376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Corporate - Cover - Gradient">
    <p:bg>
      <p:bgPr>
        <a:gradFill>
          <a:gsLst>
            <a:gs pos="50000">
              <a:schemeClr val="bg1"/>
            </a:gs>
            <a:gs pos="100000">
              <a:schemeClr val="bg2"/>
            </a:gs>
          </a:gsLst>
          <a:lin ang="5400000" scaled="1"/>
        </a:gradFill>
        <a:effectLst/>
      </p:bgPr>
    </p:bg>
    <p:spTree>
      <p:nvGrpSpPr>
        <p:cNvPr id="1" name=""/>
        <p:cNvGrpSpPr/>
        <p:nvPr/>
      </p:nvGrpSpPr>
      <p:grpSpPr>
        <a:xfrm>
          <a:off x="0" y="0"/>
          <a:ext cx="0" cy="0"/>
          <a:chOff x="0" y="0"/>
          <a:chExt cx="0" cy="0"/>
        </a:xfrm>
      </p:grpSpPr>
      <p:sp>
        <p:nvSpPr>
          <p:cNvPr id="9" name="Subtitle 2">
            <a:extLst>
              <a:ext uri="{FF2B5EF4-FFF2-40B4-BE49-F238E27FC236}">
                <a16:creationId xmlns:a16="http://schemas.microsoft.com/office/drawing/2014/main" id="{68271E0E-DE3F-4783-845C-6A1BD163044D}"/>
              </a:ext>
            </a:extLst>
          </p:cNvPr>
          <p:cNvSpPr>
            <a:spLocks noGrp="1"/>
          </p:cNvSpPr>
          <p:nvPr>
            <p:ph type="subTitle" idx="1" hasCustomPrompt="1"/>
          </p:nvPr>
        </p:nvSpPr>
        <p:spPr>
          <a:xfrm>
            <a:off x="613836" y="2624867"/>
            <a:ext cx="10962217" cy="1335741"/>
          </a:xfrm>
        </p:spPr>
        <p:txBody>
          <a:bodyPr/>
          <a:lstStyle>
            <a:lvl1pPr marL="0" indent="0" algn="l">
              <a:lnSpc>
                <a:spcPct val="100000"/>
              </a:lnSpc>
              <a:buNone/>
              <a:defRPr sz="3467">
                <a:solidFill>
                  <a:schemeClr val="tx1"/>
                </a:solidFill>
                <a:latin typeface="Proximus Light" panose="00000500000000000000" pitchFamily="2"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Subtitle</a:t>
            </a:r>
            <a:endParaRPr lang="nl-BE"/>
          </a:p>
        </p:txBody>
      </p:sp>
      <p:sp>
        <p:nvSpPr>
          <p:cNvPr id="10" name="Title 1">
            <a:extLst>
              <a:ext uri="{FF2B5EF4-FFF2-40B4-BE49-F238E27FC236}">
                <a16:creationId xmlns:a16="http://schemas.microsoft.com/office/drawing/2014/main" id="{D67E921E-1CFB-476B-9B0A-7398C810B027}"/>
              </a:ext>
            </a:extLst>
          </p:cNvPr>
          <p:cNvSpPr>
            <a:spLocks noGrp="1"/>
          </p:cNvSpPr>
          <p:nvPr>
            <p:ph type="title" hasCustomPrompt="1"/>
          </p:nvPr>
        </p:nvSpPr>
        <p:spPr>
          <a:xfrm>
            <a:off x="613836" y="504000"/>
            <a:ext cx="10962217" cy="1748400"/>
          </a:xfrm>
        </p:spPr>
        <p:txBody>
          <a:bodyPr anchor="b">
            <a:noAutofit/>
          </a:bodyPr>
          <a:lstStyle>
            <a:lvl1pPr>
              <a:defRPr sz="5600" b="0">
                <a:solidFill>
                  <a:srgbClr val="FFFFFF"/>
                </a:solidFill>
                <a:latin typeface="Proximus ExtraBold" panose="00000900000000000000" pitchFamily="2" charset="0"/>
              </a:defRPr>
            </a:lvl1pPr>
          </a:lstStyle>
          <a:p>
            <a:r>
              <a:rPr lang="en-US"/>
              <a:t>Click to edit </a:t>
            </a:r>
            <a:br>
              <a:rPr lang="en-US"/>
            </a:br>
            <a:r>
              <a:rPr lang="en-US"/>
              <a:t>presentation title</a:t>
            </a:r>
            <a:endParaRPr lang="nl-BE"/>
          </a:p>
        </p:txBody>
      </p:sp>
      <p:pic>
        <p:nvPicPr>
          <p:cNvPr id="5" name="Graphic 4">
            <a:extLst>
              <a:ext uri="{FF2B5EF4-FFF2-40B4-BE49-F238E27FC236}">
                <a16:creationId xmlns:a16="http://schemas.microsoft.com/office/drawing/2014/main" id="{165F34CC-2FDB-40BF-B341-5B34C0F625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962188" y="6152360"/>
            <a:ext cx="1642101" cy="357229"/>
          </a:xfrm>
          <a:prstGeom prst="rect">
            <a:avLst/>
          </a:prstGeom>
        </p:spPr>
      </p:pic>
    </p:spTree>
    <p:extLst>
      <p:ext uri="{BB962C8B-B14F-4D97-AF65-F5344CB8AC3E}">
        <p14:creationId xmlns:p14="http://schemas.microsoft.com/office/powerpoint/2010/main" val="176969955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1_Cover - Gradient - Image">
    <p:bg>
      <p:bgPr>
        <a:gradFill>
          <a:gsLst>
            <a:gs pos="25000">
              <a:schemeClr val="bg1"/>
            </a:gs>
            <a:gs pos="100000">
              <a:srgbClr val="D12E67"/>
            </a:gs>
          </a:gsLst>
          <a:lin ang="3000000" scaled="0"/>
        </a:gra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13833" y="505886"/>
            <a:ext cx="5928077" cy="2923116"/>
          </a:xfrm>
        </p:spPr>
        <p:txBody>
          <a:bodyPr anchor="b">
            <a:noAutofit/>
          </a:bodyPr>
          <a:lstStyle>
            <a:lvl1pPr>
              <a:defRPr sz="5600" b="0">
                <a:solidFill>
                  <a:srgbClr val="FFFFFF"/>
                </a:solidFill>
                <a:latin typeface="Proximus ExtraBold" panose="00000900000000000000" pitchFamily="2" charset="0"/>
              </a:defRPr>
            </a:lvl1pPr>
          </a:lstStyle>
          <a:p>
            <a:r>
              <a:rPr lang="en-US"/>
              <a:t>Click to edit </a:t>
            </a:r>
            <a:br>
              <a:rPr lang="en-US"/>
            </a:br>
            <a:r>
              <a:rPr lang="en-US"/>
              <a:t>presentation title</a:t>
            </a:r>
            <a:endParaRPr lang="nl-BE"/>
          </a:p>
        </p:txBody>
      </p:sp>
      <p:sp>
        <p:nvSpPr>
          <p:cNvPr id="6" name="Subtitle 2">
            <a:extLst>
              <a:ext uri="{FF2B5EF4-FFF2-40B4-BE49-F238E27FC236}">
                <a16:creationId xmlns:a16="http://schemas.microsoft.com/office/drawing/2014/main" id="{56176E85-8408-4B89-A7FD-D33D192C3CE4}"/>
              </a:ext>
            </a:extLst>
          </p:cNvPr>
          <p:cNvSpPr>
            <a:spLocks noGrp="1"/>
          </p:cNvSpPr>
          <p:nvPr>
            <p:ph type="subTitle" idx="1" hasCustomPrompt="1"/>
          </p:nvPr>
        </p:nvSpPr>
        <p:spPr>
          <a:xfrm>
            <a:off x="613835" y="3801467"/>
            <a:ext cx="5482167" cy="1335741"/>
          </a:xfrm>
        </p:spPr>
        <p:txBody>
          <a:bodyPr/>
          <a:lstStyle>
            <a:lvl1pPr marL="0" indent="0" algn="l">
              <a:lnSpc>
                <a:spcPct val="100000"/>
              </a:lnSpc>
              <a:buNone/>
              <a:defRPr sz="3467">
                <a:solidFill>
                  <a:schemeClr val="tx1"/>
                </a:solidFill>
                <a:latin typeface="Proximus Light" panose="00000500000000000000" pitchFamily="2"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Subtitle</a:t>
            </a:r>
            <a:endParaRPr lang="nl-BE"/>
          </a:p>
        </p:txBody>
      </p:sp>
    </p:spTree>
    <p:extLst>
      <p:ext uri="{BB962C8B-B14F-4D97-AF65-F5344CB8AC3E}">
        <p14:creationId xmlns:p14="http://schemas.microsoft.com/office/powerpoint/2010/main" val="281311974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over - Gradient">
    <p:bg>
      <p:bgPr>
        <a:gradFill>
          <a:gsLst>
            <a:gs pos="25000">
              <a:schemeClr val="bg1"/>
            </a:gs>
            <a:gs pos="100000">
              <a:srgbClr val="D12E67"/>
            </a:gs>
          </a:gsLst>
          <a:lin ang="3000000" scaled="0"/>
        </a:gra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13834" y="504000"/>
            <a:ext cx="10962217" cy="1748400"/>
          </a:xfrm>
          <a:prstGeom prst="rect">
            <a:avLst/>
          </a:prstGeom>
        </p:spPr>
        <p:txBody>
          <a:bodyPr anchor="b">
            <a:noAutofit/>
          </a:bodyPr>
          <a:lstStyle>
            <a:lvl1pPr>
              <a:defRPr sz="5600" b="0">
                <a:solidFill>
                  <a:srgbClr val="FFFFFF"/>
                </a:solidFill>
                <a:latin typeface="Proximus ExtraBold" panose="00000900000000000000" pitchFamily="2" charset="0"/>
              </a:defRPr>
            </a:lvl1pPr>
          </a:lstStyle>
          <a:p>
            <a:r>
              <a:rPr lang="en-US"/>
              <a:t>Click to edit </a:t>
            </a:r>
            <a:br>
              <a:rPr lang="en-US"/>
            </a:br>
            <a:r>
              <a:rPr lang="en-US"/>
              <a:t>presentation title</a:t>
            </a:r>
            <a:endParaRPr lang="nl-BE"/>
          </a:p>
        </p:txBody>
      </p:sp>
      <p:sp>
        <p:nvSpPr>
          <p:cNvPr id="6" name="Subtitle 2">
            <a:extLst>
              <a:ext uri="{FF2B5EF4-FFF2-40B4-BE49-F238E27FC236}">
                <a16:creationId xmlns:a16="http://schemas.microsoft.com/office/drawing/2014/main" id="{56176E85-8408-4B89-A7FD-D33D192C3CE4}"/>
              </a:ext>
            </a:extLst>
          </p:cNvPr>
          <p:cNvSpPr>
            <a:spLocks noGrp="1"/>
          </p:cNvSpPr>
          <p:nvPr>
            <p:ph type="subTitle" idx="1" hasCustomPrompt="1"/>
          </p:nvPr>
        </p:nvSpPr>
        <p:spPr>
          <a:xfrm>
            <a:off x="613834" y="2624866"/>
            <a:ext cx="10962217" cy="1335741"/>
          </a:xfrm>
          <a:prstGeom prst="rect">
            <a:avLst/>
          </a:prstGeom>
        </p:spPr>
        <p:txBody>
          <a:bodyPr/>
          <a:lstStyle>
            <a:lvl1pPr marL="0" indent="0" algn="l">
              <a:lnSpc>
                <a:spcPct val="100000"/>
              </a:lnSpc>
              <a:buNone/>
              <a:defRPr sz="3467">
                <a:solidFill>
                  <a:schemeClr val="tx1"/>
                </a:solidFill>
                <a:latin typeface="Proximus Light" panose="00000500000000000000" pitchFamily="2"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Subtitle</a:t>
            </a:r>
            <a:endParaRPr lang="nl-BE"/>
          </a:p>
        </p:txBody>
      </p:sp>
      <p:pic>
        <p:nvPicPr>
          <p:cNvPr id="5" name="Graphic 4">
            <a:extLst>
              <a:ext uri="{FF2B5EF4-FFF2-40B4-BE49-F238E27FC236}">
                <a16:creationId xmlns:a16="http://schemas.microsoft.com/office/drawing/2014/main" id="{FDB73C8E-6ED7-46A1-909B-13EF4FD2AEA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702898" y="5724528"/>
            <a:ext cx="889207" cy="720725"/>
          </a:xfrm>
          <a:prstGeom prst="rect">
            <a:avLst/>
          </a:prstGeom>
        </p:spPr>
      </p:pic>
      <p:sp>
        <p:nvSpPr>
          <p:cNvPr id="3" name="Date Placeholder 8">
            <a:extLst>
              <a:ext uri="{FF2B5EF4-FFF2-40B4-BE49-F238E27FC236}">
                <a16:creationId xmlns:a16="http://schemas.microsoft.com/office/drawing/2014/main" id="{C6D253A4-9E71-17BB-14ED-6271A75930B9}"/>
              </a:ext>
            </a:extLst>
          </p:cNvPr>
          <p:cNvSpPr>
            <a:spLocks noGrp="1"/>
          </p:cNvSpPr>
          <p:nvPr>
            <p:ph type="dt" sz="half" idx="2"/>
          </p:nvPr>
        </p:nvSpPr>
        <p:spPr>
          <a:xfrm>
            <a:off x="613832" y="5760153"/>
            <a:ext cx="2880000" cy="500948"/>
          </a:xfrm>
          <a:prstGeom prst="roundRect">
            <a:avLst>
              <a:gd name="adj" fmla="val 50000"/>
            </a:avLst>
          </a:prstGeom>
          <a:solidFill>
            <a:schemeClr val="tx1"/>
          </a:solidFill>
        </p:spPr>
        <p:txBody>
          <a:bodyPr vert="horz" wrap="none" lIns="72000" tIns="36000" rIns="72000" bIns="36000" rtlCol="0" anchor="ctr">
            <a:noAutofit/>
          </a:bodyPr>
          <a:lstStyle>
            <a:lvl1pPr algn="ctr">
              <a:defRPr sz="1600">
                <a:solidFill>
                  <a:schemeClr val="bg1"/>
                </a:solidFill>
              </a:defRPr>
            </a:lvl1pPr>
          </a:lstStyle>
          <a:p>
            <a:endParaRPr lang="en-US"/>
          </a:p>
        </p:txBody>
      </p:sp>
    </p:spTree>
    <p:extLst>
      <p:ext uri="{BB962C8B-B14F-4D97-AF65-F5344CB8AC3E}">
        <p14:creationId xmlns:p14="http://schemas.microsoft.com/office/powerpoint/2010/main" val="427590947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Cover - Gradient - Image">
    <p:bg>
      <p:bgPr>
        <a:gradFill>
          <a:gsLst>
            <a:gs pos="25000">
              <a:schemeClr val="bg1"/>
            </a:gs>
            <a:gs pos="100000">
              <a:srgbClr val="D12E67"/>
            </a:gs>
          </a:gsLst>
          <a:lin ang="3000000" scaled="0"/>
        </a:gradFill>
        <a:effectLst/>
      </p:bgPr>
    </p:bg>
    <p:spTree>
      <p:nvGrpSpPr>
        <p:cNvPr id="1" name=""/>
        <p:cNvGrpSpPr/>
        <p:nvPr/>
      </p:nvGrpSpPr>
      <p:grpSpPr>
        <a:xfrm>
          <a:off x="0" y="0"/>
          <a:ext cx="0" cy="0"/>
          <a:chOff x="0" y="0"/>
          <a:chExt cx="0" cy="0"/>
        </a:xfrm>
      </p:grpSpPr>
      <p:grpSp>
        <p:nvGrpSpPr>
          <p:cNvPr id="11" name="Graphic 4">
            <a:extLst>
              <a:ext uri="{FF2B5EF4-FFF2-40B4-BE49-F238E27FC236}">
                <a16:creationId xmlns:a16="http://schemas.microsoft.com/office/drawing/2014/main" id="{15EDE4F8-FC59-7BE7-1801-8537A16910DD}"/>
              </a:ext>
            </a:extLst>
          </p:cNvPr>
          <p:cNvGrpSpPr/>
          <p:nvPr userDrawn="1"/>
        </p:nvGrpSpPr>
        <p:grpSpPr>
          <a:xfrm>
            <a:off x="10706048" y="5727768"/>
            <a:ext cx="884432" cy="712555"/>
            <a:chOff x="8029536" y="4295826"/>
            <a:chExt cx="663324" cy="534416"/>
          </a:xfrm>
        </p:grpSpPr>
        <p:grpSp>
          <p:nvGrpSpPr>
            <p:cNvPr id="12" name="Graphic 4">
              <a:extLst>
                <a:ext uri="{FF2B5EF4-FFF2-40B4-BE49-F238E27FC236}">
                  <a16:creationId xmlns:a16="http://schemas.microsoft.com/office/drawing/2014/main" id="{6940611F-F0A4-39EB-FD9E-D5424E86FCE5}"/>
                </a:ext>
              </a:extLst>
            </p:cNvPr>
            <p:cNvGrpSpPr/>
            <p:nvPr userDrawn="1"/>
          </p:nvGrpSpPr>
          <p:grpSpPr>
            <a:xfrm>
              <a:off x="8029536" y="4708959"/>
              <a:ext cx="663324" cy="121283"/>
              <a:chOff x="8029536" y="4708959"/>
              <a:chExt cx="663324" cy="121283"/>
            </a:xfrm>
            <a:solidFill>
              <a:srgbClr val="FFFFFF"/>
            </a:solidFill>
          </p:grpSpPr>
          <p:sp>
            <p:nvSpPr>
              <p:cNvPr id="13" name="Freeform: Shape 12">
                <a:extLst>
                  <a:ext uri="{FF2B5EF4-FFF2-40B4-BE49-F238E27FC236}">
                    <a16:creationId xmlns:a16="http://schemas.microsoft.com/office/drawing/2014/main" id="{35DF712F-A3AE-145E-2BE5-0AC407A707EF}"/>
                  </a:ext>
                </a:extLst>
              </p:cNvPr>
              <p:cNvSpPr/>
              <p:nvPr userDrawn="1"/>
            </p:nvSpPr>
            <p:spPr>
              <a:xfrm>
                <a:off x="8029536" y="4708959"/>
                <a:ext cx="81783" cy="121283"/>
              </a:xfrm>
              <a:custGeom>
                <a:avLst/>
                <a:gdLst>
                  <a:gd name="connsiteX0" fmla="*/ 81784 w 81783"/>
                  <a:gd name="connsiteY0" fmla="*/ 44180 h 121283"/>
                  <a:gd name="connsiteX1" fmla="*/ 40740 w 81783"/>
                  <a:gd name="connsiteY1" fmla="*/ 88640 h 121283"/>
                  <a:gd name="connsiteX2" fmla="*/ 20522 w 81783"/>
                  <a:gd name="connsiteY2" fmla="*/ 82883 h 121283"/>
                  <a:gd name="connsiteX3" fmla="*/ 20522 w 81783"/>
                  <a:gd name="connsiteY3" fmla="*/ 121283 h 121283"/>
                  <a:gd name="connsiteX4" fmla="*/ 0 w 81783"/>
                  <a:gd name="connsiteY4" fmla="*/ 121283 h 121283"/>
                  <a:gd name="connsiteX5" fmla="*/ 0 w 81783"/>
                  <a:gd name="connsiteY5" fmla="*/ 43688 h 121283"/>
                  <a:gd name="connsiteX6" fmla="*/ 40740 w 81783"/>
                  <a:gd name="connsiteY6" fmla="*/ 0 h 121283"/>
                  <a:gd name="connsiteX7" fmla="*/ 81784 w 81783"/>
                  <a:gd name="connsiteY7" fmla="*/ 44180 h 121283"/>
                  <a:gd name="connsiteX8" fmla="*/ 61121 w 81783"/>
                  <a:gd name="connsiteY8" fmla="*/ 44180 h 121283"/>
                  <a:gd name="connsiteX9" fmla="*/ 40763 w 81783"/>
                  <a:gd name="connsiteY9" fmla="*/ 19469 h 121283"/>
                  <a:gd name="connsiteX10" fmla="*/ 20545 w 81783"/>
                  <a:gd name="connsiteY10" fmla="*/ 44180 h 121283"/>
                  <a:gd name="connsiteX11" fmla="*/ 40763 w 81783"/>
                  <a:gd name="connsiteY11" fmla="*/ 69218 h 121283"/>
                  <a:gd name="connsiteX12" fmla="*/ 61121 w 81783"/>
                  <a:gd name="connsiteY12" fmla="*/ 44180 h 121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1783" h="121283">
                    <a:moveTo>
                      <a:pt x="81784" y="44180"/>
                    </a:moveTo>
                    <a:cubicBezTo>
                      <a:pt x="81784" y="72798"/>
                      <a:pt x="64210" y="88640"/>
                      <a:pt x="40740" y="88640"/>
                    </a:cubicBezTo>
                    <a:cubicBezTo>
                      <a:pt x="33111" y="88640"/>
                      <a:pt x="26278" y="86768"/>
                      <a:pt x="20522" y="82883"/>
                    </a:cubicBezTo>
                    <a:lnTo>
                      <a:pt x="20522" y="121283"/>
                    </a:lnTo>
                    <a:lnTo>
                      <a:pt x="0" y="121283"/>
                    </a:lnTo>
                    <a:lnTo>
                      <a:pt x="0" y="43688"/>
                    </a:lnTo>
                    <a:cubicBezTo>
                      <a:pt x="0" y="15234"/>
                      <a:pt x="17410" y="0"/>
                      <a:pt x="40740" y="0"/>
                    </a:cubicBezTo>
                    <a:cubicBezTo>
                      <a:pt x="64210" y="23"/>
                      <a:pt x="81784" y="15725"/>
                      <a:pt x="81784" y="44180"/>
                    </a:cubicBezTo>
                    <a:close/>
                    <a:moveTo>
                      <a:pt x="61121" y="44180"/>
                    </a:moveTo>
                    <a:cubicBezTo>
                      <a:pt x="61121" y="26770"/>
                      <a:pt x="53189" y="19469"/>
                      <a:pt x="40763" y="19469"/>
                    </a:cubicBezTo>
                    <a:cubicBezTo>
                      <a:pt x="28478" y="19469"/>
                      <a:pt x="20545" y="26770"/>
                      <a:pt x="20545" y="44180"/>
                    </a:cubicBezTo>
                    <a:cubicBezTo>
                      <a:pt x="20545" y="61917"/>
                      <a:pt x="28478" y="69218"/>
                      <a:pt x="40763" y="69218"/>
                    </a:cubicBezTo>
                    <a:cubicBezTo>
                      <a:pt x="53189" y="69194"/>
                      <a:pt x="61121" y="61893"/>
                      <a:pt x="61121" y="44180"/>
                    </a:cubicBezTo>
                    <a:close/>
                  </a:path>
                </a:pathLst>
              </a:custGeom>
              <a:solidFill>
                <a:srgbClr val="FFFFFF"/>
              </a:solidFill>
              <a:ln w="2339" cap="flat">
                <a:noFill/>
                <a:prstDash val="solid"/>
                <a:miter/>
              </a:ln>
            </p:spPr>
            <p:txBody>
              <a:bodyPr rtlCol="0" anchor="ctr"/>
              <a:lstStyle/>
              <a:p>
                <a:endParaRPr lang="en-US" sz="2400"/>
              </a:p>
            </p:txBody>
          </p:sp>
          <p:sp>
            <p:nvSpPr>
              <p:cNvPr id="14" name="Freeform: Shape 13">
                <a:extLst>
                  <a:ext uri="{FF2B5EF4-FFF2-40B4-BE49-F238E27FC236}">
                    <a16:creationId xmlns:a16="http://schemas.microsoft.com/office/drawing/2014/main" id="{0FF1B7DF-7CA9-52C1-7C8E-B6FBA392CD79}"/>
                  </a:ext>
                </a:extLst>
              </p:cNvPr>
              <p:cNvSpPr/>
              <p:nvPr userDrawn="1"/>
            </p:nvSpPr>
            <p:spPr>
              <a:xfrm>
                <a:off x="8126717" y="4708983"/>
                <a:ext cx="46191" cy="87072"/>
              </a:xfrm>
              <a:custGeom>
                <a:avLst/>
                <a:gdLst>
                  <a:gd name="connsiteX0" fmla="*/ 20522 w 46191"/>
                  <a:gd name="connsiteY0" fmla="*/ 87072 h 87072"/>
                  <a:gd name="connsiteX1" fmla="*/ 0 w 46191"/>
                  <a:gd name="connsiteY1" fmla="*/ 87072 h 87072"/>
                  <a:gd name="connsiteX2" fmla="*/ 0 w 46191"/>
                  <a:gd name="connsiteY2" fmla="*/ 36855 h 87072"/>
                  <a:gd name="connsiteX3" fmla="*/ 37791 w 46191"/>
                  <a:gd name="connsiteY3" fmla="*/ 0 h 87072"/>
                  <a:gd name="connsiteX4" fmla="*/ 46192 w 46191"/>
                  <a:gd name="connsiteY4" fmla="*/ 772 h 87072"/>
                  <a:gd name="connsiteX5" fmla="*/ 42776 w 46191"/>
                  <a:gd name="connsiteY5" fmla="*/ 20358 h 87072"/>
                  <a:gd name="connsiteX6" fmla="*/ 37791 w 46191"/>
                  <a:gd name="connsiteY6" fmla="*/ 20054 h 87072"/>
                  <a:gd name="connsiteX7" fmla="*/ 20522 w 46191"/>
                  <a:gd name="connsiteY7" fmla="*/ 38400 h 87072"/>
                  <a:gd name="connsiteX8" fmla="*/ 20522 w 46191"/>
                  <a:gd name="connsiteY8" fmla="*/ 87072 h 87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91" h="87072">
                    <a:moveTo>
                      <a:pt x="20522" y="87072"/>
                    </a:moveTo>
                    <a:lnTo>
                      <a:pt x="0" y="87072"/>
                    </a:lnTo>
                    <a:lnTo>
                      <a:pt x="0" y="36855"/>
                    </a:lnTo>
                    <a:cubicBezTo>
                      <a:pt x="0" y="15865"/>
                      <a:pt x="13689" y="0"/>
                      <a:pt x="37791" y="0"/>
                    </a:cubicBezTo>
                    <a:cubicBezTo>
                      <a:pt x="41840" y="0"/>
                      <a:pt x="44952" y="468"/>
                      <a:pt x="46192" y="772"/>
                    </a:cubicBezTo>
                    <a:lnTo>
                      <a:pt x="42776" y="20358"/>
                    </a:lnTo>
                    <a:cubicBezTo>
                      <a:pt x="41535" y="20194"/>
                      <a:pt x="39195" y="20054"/>
                      <a:pt x="37791" y="20054"/>
                    </a:cubicBezTo>
                    <a:cubicBezTo>
                      <a:pt x="25974" y="20054"/>
                      <a:pt x="20522" y="27214"/>
                      <a:pt x="20522" y="38400"/>
                    </a:cubicBezTo>
                    <a:lnTo>
                      <a:pt x="20522" y="87072"/>
                    </a:lnTo>
                    <a:close/>
                  </a:path>
                </a:pathLst>
              </a:custGeom>
              <a:solidFill>
                <a:srgbClr val="FFFFFF"/>
              </a:solidFill>
              <a:ln w="2339" cap="flat">
                <a:noFill/>
                <a:prstDash val="solid"/>
                <a:miter/>
              </a:ln>
            </p:spPr>
            <p:txBody>
              <a:bodyPr rtlCol="0" anchor="ctr"/>
              <a:lstStyle/>
              <a:p>
                <a:endParaRPr lang="en-US" sz="2400"/>
              </a:p>
            </p:txBody>
          </p:sp>
          <p:sp>
            <p:nvSpPr>
              <p:cNvPr id="15" name="Freeform: Shape 14">
                <a:extLst>
                  <a:ext uri="{FF2B5EF4-FFF2-40B4-BE49-F238E27FC236}">
                    <a16:creationId xmlns:a16="http://schemas.microsoft.com/office/drawing/2014/main" id="{4D513318-B548-1E38-6DE2-BC4B8CED227D}"/>
                  </a:ext>
                </a:extLst>
              </p:cNvPr>
              <p:cNvSpPr/>
              <p:nvPr userDrawn="1"/>
            </p:nvSpPr>
            <p:spPr>
              <a:xfrm>
                <a:off x="8176629" y="4708983"/>
                <a:ext cx="83351" cy="88616"/>
              </a:xfrm>
              <a:custGeom>
                <a:avLst/>
                <a:gdLst>
                  <a:gd name="connsiteX0" fmla="*/ 41676 w 83351"/>
                  <a:gd name="connsiteY0" fmla="*/ 88616 h 88616"/>
                  <a:gd name="connsiteX1" fmla="*/ 0 w 83351"/>
                  <a:gd name="connsiteY1" fmla="*/ 44156 h 88616"/>
                  <a:gd name="connsiteX2" fmla="*/ 41676 w 83351"/>
                  <a:gd name="connsiteY2" fmla="*/ 0 h 88616"/>
                  <a:gd name="connsiteX3" fmla="*/ 83351 w 83351"/>
                  <a:gd name="connsiteY3" fmla="*/ 44156 h 88616"/>
                  <a:gd name="connsiteX4" fmla="*/ 41676 w 83351"/>
                  <a:gd name="connsiteY4" fmla="*/ 88616 h 88616"/>
                  <a:gd name="connsiteX5" fmla="*/ 41676 w 83351"/>
                  <a:gd name="connsiteY5" fmla="*/ 19422 h 88616"/>
                  <a:gd name="connsiteX6" fmla="*/ 20686 w 83351"/>
                  <a:gd name="connsiteY6" fmla="*/ 44297 h 88616"/>
                  <a:gd name="connsiteX7" fmla="*/ 41676 w 83351"/>
                  <a:gd name="connsiteY7" fmla="*/ 69171 h 88616"/>
                  <a:gd name="connsiteX8" fmla="*/ 62666 w 83351"/>
                  <a:gd name="connsiteY8" fmla="*/ 44297 h 88616"/>
                  <a:gd name="connsiteX9" fmla="*/ 41676 w 83351"/>
                  <a:gd name="connsiteY9" fmla="*/ 19422 h 88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351" h="88616">
                    <a:moveTo>
                      <a:pt x="41676" y="88616"/>
                    </a:moveTo>
                    <a:cubicBezTo>
                      <a:pt x="18205" y="88616"/>
                      <a:pt x="0" y="72915"/>
                      <a:pt x="0" y="44156"/>
                    </a:cubicBezTo>
                    <a:cubicBezTo>
                      <a:pt x="0" y="15701"/>
                      <a:pt x="18182" y="0"/>
                      <a:pt x="41676" y="0"/>
                    </a:cubicBezTo>
                    <a:cubicBezTo>
                      <a:pt x="65146" y="0"/>
                      <a:pt x="83351" y="15701"/>
                      <a:pt x="83351" y="44156"/>
                    </a:cubicBezTo>
                    <a:cubicBezTo>
                      <a:pt x="83351" y="72915"/>
                      <a:pt x="65146" y="88616"/>
                      <a:pt x="41676" y="88616"/>
                    </a:cubicBezTo>
                    <a:close/>
                    <a:moveTo>
                      <a:pt x="41676" y="19422"/>
                    </a:moveTo>
                    <a:cubicBezTo>
                      <a:pt x="29391" y="19422"/>
                      <a:pt x="20686" y="26723"/>
                      <a:pt x="20686" y="44297"/>
                    </a:cubicBezTo>
                    <a:cubicBezTo>
                      <a:pt x="20686" y="61870"/>
                      <a:pt x="29391" y="69171"/>
                      <a:pt x="41676" y="69171"/>
                    </a:cubicBezTo>
                    <a:cubicBezTo>
                      <a:pt x="53797" y="69171"/>
                      <a:pt x="62666" y="61870"/>
                      <a:pt x="62666" y="44297"/>
                    </a:cubicBezTo>
                    <a:cubicBezTo>
                      <a:pt x="62666" y="26723"/>
                      <a:pt x="53797" y="19422"/>
                      <a:pt x="41676" y="19422"/>
                    </a:cubicBezTo>
                    <a:close/>
                  </a:path>
                </a:pathLst>
              </a:custGeom>
              <a:solidFill>
                <a:srgbClr val="FFFFFF"/>
              </a:solidFill>
              <a:ln w="2339" cap="flat">
                <a:noFill/>
                <a:prstDash val="solid"/>
                <a:miter/>
              </a:ln>
            </p:spPr>
            <p:txBody>
              <a:bodyPr rtlCol="0" anchor="ctr"/>
              <a:lstStyle/>
              <a:p>
                <a:endParaRPr lang="en-US" sz="2400"/>
              </a:p>
            </p:txBody>
          </p:sp>
          <p:sp>
            <p:nvSpPr>
              <p:cNvPr id="16" name="Freeform: Shape 15">
                <a:extLst>
                  <a:ext uri="{FF2B5EF4-FFF2-40B4-BE49-F238E27FC236}">
                    <a16:creationId xmlns:a16="http://schemas.microsoft.com/office/drawing/2014/main" id="{488B492F-3B08-F01C-AC04-3066CB281937}"/>
                  </a:ext>
                </a:extLst>
              </p:cNvPr>
              <p:cNvSpPr/>
              <p:nvPr userDrawn="1"/>
            </p:nvSpPr>
            <p:spPr>
              <a:xfrm>
                <a:off x="8262157" y="4710527"/>
                <a:ext cx="82415" cy="85527"/>
              </a:xfrm>
              <a:custGeom>
                <a:avLst/>
                <a:gdLst>
                  <a:gd name="connsiteX0" fmla="*/ 52557 w 82415"/>
                  <a:gd name="connsiteY0" fmla="*/ 42448 h 85527"/>
                  <a:gd name="connsiteX1" fmla="*/ 82415 w 82415"/>
                  <a:gd name="connsiteY1" fmla="*/ 85528 h 85527"/>
                  <a:gd name="connsiteX2" fmla="*/ 59717 w 82415"/>
                  <a:gd name="connsiteY2" fmla="*/ 85528 h 85527"/>
                  <a:gd name="connsiteX3" fmla="*/ 41208 w 82415"/>
                  <a:gd name="connsiteY3" fmla="*/ 57705 h 85527"/>
                  <a:gd name="connsiteX4" fmla="*/ 22698 w 82415"/>
                  <a:gd name="connsiteY4" fmla="*/ 85528 h 85527"/>
                  <a:gd name="connsiteX5" fmla="*/ 0 w 82415"/>
                  <a:gd name="connsiteY5" fmla="*/ 85528 h 85527"/>
                  <a:gd name="connsiteX6" fmla="*/ 29999 w 82415"/>
                  <a:gd name="connsiteY6" fmla="*/ 42448 h 85527"/>
                  <a:gd name="connsiteX7" fmla="*/ 0 w 82415"/>
                  <a:gd name="connsiteY7" fmla="*/ 0 h 85527"/>
                  <a:gd name="connsiteX8" fmla="*/ 22862 w 82415"/>
                  <a:gd name="connsiteY8" fmla="*/ 0 h 85527"/>
                  <a:gd name="connsiteX9" fmla="*/ 41208 w 82415"/>
                  <a:gd name="connsiteY9" fmla="*/ 27519 h 85527"/>
                  <a:gd name="connsiteX10" fmla="*/ 59553 w 82415"/>
                  <a:gd name="connsiteY10" fmla="*/ 0 h 85527"/>
                  <a:gd name="connsiteX11" fmla="*/ 82415 w 82415"/>
                  <a:gd name="connsiteY11" fmla="*/ 0 h 85527"/>
                  <a:gd name="connsiteX12" fmla="*/ 52557 w 82415"/>
                  <a:gd name="connsiteY12" fmla="*/ 42448 h 8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415" h="85527">
                    <a:moveTo>
                      <a:pt x="52557" y="42448"/>
                    </a:moveTo>
                    <a:lnTo>
                      <a:pt x="82415" y="85528"/>
                    </a:lnTo>
                    <a:lnTo>
                      <a:pt x="59717" y="85528"/>
                    </a:lnTo>
                    <a:lnTo>
                      <a:pt x="41208" y="57705"/>
                    </a:lnTo>
                    <a:lnTo>
                      <a:pt x="22698" y="85528"/>
                    </a:lnTo>
                    <a:lnTo>
                      <a:pt x="0" y="85528"/>
                    </a:lnTo>
                    <a:lnTo>
                      <a:pt x="29999" y="42448"/>
                    </a:lnTo>
                    <a:lnTo>
                      <a:pt x="0" y="0"/>
                    </a:lnTo>
                    <a:lnTo>
                      <a:pt x="22862" y="0"/>
                    </a:lnTo>
                    <a:lnTo>
                      <a:pt x="41208" y="27519"/>
                    </a:lnTo>
                    <a:lnTo>
                      <a:pt x="59553" y="0"/>
                    </a:lnTo>
                    <a:lnTo>
                      <a:pt x="82415" y="0"/>
                    </a:lnTo>
                    <a:lnTo>
                      <a:pt x="52557" y="42448"/>
                    </a:lnTo>
                    <a:close/>
                  </a:path>
                </a:pathLst>
              </a:custGeom>
              <a:solidFill>
                <a:srgbClr val="FFFFFF"/>
              </a:solidFill>
              <a:ln w="2339" cap="flat">
                <a:noFill/>
                <a:prstDash val="solid"/>
                <a:miter/>
              </a:ln>
            </p:spPr>
            <p:txBody>
              <a:bodyPr rtlCol="0" anchor="ctr"/>
              <a:lstStyle/>
              <a:p>
                <a:endParaRPr lang="en-US" sz="2400"/>
              </a:p>
            </p:txBody>
          </p:sp>
          <p:sp>
            <p:nvSpPr>
              <p:cNvPr id="17" name="Freeform: Shape 16">
                <a:extLst>
                  <a:ext uri="{FF2B5EF4-FFF2-40B4-BE49-F238E27FC236}">
                    <a16:creationId xmlns:a16="http://schemas.microsoft.com/office/drawing/2014/main" id="{20FD94F1-C7F8-55C6-5A21-D125F19E6533}"/>
                  </a:ext>
                </a:extLst>
              </p:cNvPr>
              <p:cNvSpPr/>
              <p:nvPr userDrawn="1"/>
            </p:nvSpPr>
            <p:spPr>
              <a:xfrm>
                <a:off x="8356062" y="4710527"/>
                <a:ext cx="20521" cy="85504"/>
              </a:xfrm>
              <a:custGeom>
                <a:avLst/>
                <a:gdLst>
                  <a:gd name="connsiteX0" fmla="*/ 0 w 20521"/>
                  <a:gd name="connsiteY0" fmla="*/ 0 h 85504"/>
                  <a:gd name="connsiteX1" fmla="*/ 20522 w 20521"/>
                  <a:gd name="connsiteY1" fmla="*/ 0 h 85504"/>
                  <a:gd name="connsiteX2" fmla="*/ 20522 w 20521"/>
                  <a:gd name="connsiteY2" fmla="*/ 85504 h 85504"/>
                  <a:gd name="connsiteX3" fmla="*/ 0 w 20521"/>
                  <a:gd name="connsiteY3" fmla="*/ 85504 h 85504"/>
                  <a:gd name="connsiteX4" fmla="*/ 0 w 20521"/>
                  <a:gd name="connsiteY4" fmla="*/ 0 h 85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21" h="85504">
                    <a:moveTo>
                      <a:pt x="0" y="0"/>
                    </a:moveTo>
                    <a:lnTo>
                      <a:pt x="20522" y="0"/>
                    </a:lnTo>
                    <a:lnTo>
                      <a:pt x="20522" y="85504"/>
                    </a:lnTo>
                    <a:lnTo>
                      <a:pt x="0" y="85504"/>
                    </a:lnTo>
                    <a:lnTo>
                      <a:pt x="0" y="0"/>
                    </a:lnTo>
                    <a:close/>
                  </a:path>
                </a:pathLst>
              </a:custGeom>
              <a:solidFill>
                <a:srgbClr val="FFFFFF"/>
              </a:solidFill>
              <a:ln w="2339" cap="flat">
                <a:noFill/>
                <a:prstDash val="solid"/>
                <a:miter/>
              </a:ln>
            </p:spPr>
            <p:txBody>
              <a:bodyPr rtlCol="0" anchor="ctr"/>
              <a:lstStyle/>
              <a:p>
                <a:endParaRPr lang="en-US" sz="2400"/>
              </a:p>
            </p:txBody>
          </p:sp>
          <p:sp>
            <p:nvSpPr>
              <p:cNvPr id="18" name="Freeform: Shape 17">
                <a:extLst>
                  <a:ext uri="{FF2B5EF4-FFF2-40B4-BE49-F238E27FC236}">
                    <a16:creationId xmlns:a16="http://schemas.microsoft.com/office/drawing/2014/main" id="{75796C52-1203-22F0-77EB-899192F32D36}"/>
                  </a:ext>
                </a:extLst>
              </p:cNvPr>
              <p:cNvSpPr/>
              <p:nvPr userDrawn="1"/>
            </p:nvSpPr>
            <p:spPr>
              <a:xfrm>
                <a:off x="8394508" y="4708983"/>
                <a:ext cx="124208" cy="87072"/>
              </a:xfrm>
              <a:custGeom>
                <a:avLst/>
                <a:gdLst>
                  <a:gd name="connsiteX0" fmla="*/ 124208 w 124208"/>
                  <a:gd name="connsiteY0" fmla="*/ 32643 h 87072"/>
                  <a:gd name="connsiteX1" fmla="*/ 124208 w 124208"/>
                  <a:gd name="connsiteY1" fmla="*/ 87072 h 87072"/>
                  <a:gd name="connsiteX2" fmla="*/ 103686 w 124208"/>
                  <a:gd name="connsiteY2" fmla="*/ 87072 h 87072"/>
                  <a:gd name="connsiteX3" fmla="*/ 103686 w 124208"/>
                  <a:gd name="connsiteY3" fmla="*/ 34047 h 87072"/>
                  <a:gd name="connsiteX4" fmla="*/ 88148 w 124208"/>
                  <a:gd name="connsiteY4" fmla="*/ 19422 h 87072"/>
                  <a:gd name="connsiteX5" fmla="*/ 72283 w 124208"/>
                  <a:gd name="connsiteY5" fmla="*/ 34047 h 87072"/>
                  <a:gd name="connsiteX6" fmla="*/ 72283 w 124208"/>
                  <a:gd name="connsiteY6" fmla="*/ 87072 h 87072"/>
                  <a:gd name="connsiteX7" fmla="*/ 51925 w 124208"/>
                  <a:gd name="connsiteY7" fmla="*/ 87072 h 87072"/>
                  <a:gd name="connsiteX8" fmla="*/ 51925 w 124208"/>
                  <a:gd name="connsiteY8" fmla="*/ 34047 h 87072"/>
                  <a:gd name="connsiteX9" fmla="*/ 36060 w 124208"/>
                  <a:gd name="connsiteY9" fmla="*/ 19422 h 87072"/>
                  <a:gd name="connsiteX10" fmla="*/ 20522 w 124208"/>
                  <a:gd name="connsiteY10" fmla="*/ 34047 h 87072"/>
                  <a:gd name="connsiteX11" fmla="*/ 20522 w 124208"/>
                  <a:gd name="connsiteY11" fmla="*/ 87072 h 87072"/>
                  <a:gd name="connsiteX12" fmla="*/ 0 w 124208"/>
                  <a:gd name="connsiteY12" fmla="*/ 87072 h 87072"/>
                  <a:gd name="connsiteX13" fmla="*/ 0 w 124208"/>
                  <a:gd name="connsiteY13" fmla="*/ 32643 h 87072"/>
                  <a:gd name="connsiteX14" fmla="*/ 36223 w 124208"/>
                  <a:gd name="connsiteY14" fmla="*/ 0 h 87072"/>
                  <a:gd name="connsiteX15" fmla="*/ 62338 w 124208"/>
                  <a:gd name="connsiteY15" fmla="*/ 10577 h 87072"/>
                  <a:gd name="connsiteX16" fmla="*/ 88148 w 124208"/>
                  <a:gd name="connsiteY16" fmla="*/ 0 h 87072"/>
                  <a:gd name="connsiteX17" fmla="*/ 124208 w 124208"/>
                  <a:gd name="connsiteY17" fmla="*/ 32643 h 87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4208" h="87072">
                    <a:moveTo>
                      <a:pt x="124208" y="32643"/>
                    </a:moveTo>
                    <a:lnTo>
                      <a:pt x="124208" y="87072"/>
                    </a:lnTo>
                    <a:lnTo>
                      <a:pt x="103686" y="87072"/>
                    </a:lnTo>
                    <a:lnTo>
                      <a:pt x="103686" y="34047"/>
                    </a:lnTo>
                    <a:cubicBezTo>
                      <a:pt x="103686" y="24243"/>
                      <a:pt x="98866" y="19422"/>
                      <a:pt x="88148" y="19422"/>
                    </a:cubicBezTo>
                    <a:cubicBezTo>
                      <a:pt x="75863" y="19422"/>
                      <a:pt x="72283" y="25319"/>
                      <a:pt x="72283" y="34047"/>
                    </a:cubicBezTo>
                    <a:lnTo>
                      <a:pt x="72283" y="87072"/>
                    </a:lnTo>
                    <a:lnTo>
                      <a:pt x="51925" y="87072"/>
                    </a:lnTo>
                    <a:lnTo>
                      <a:pt x="51925" y="34047"/>
                    </a:lnTo>
                    <a:cubicBezTo>
                      <a:pt x="51925" y="24243"/>
                      <a:pt x="47105" y="19422"/>
                      <a:pt x="36060" y="19422"/>
                    </a:cubicBezTo>
                    <a:cubicBezTo>
                      <a:pt x="23938" y="19422"/>
                      <a:pt x="20522" y="25319"/>
                      <a:pt x="20522" y="34047"/>
                    </a:cubicBezTo>
                    <a:lnTo>
                      <a:pt x="20522" y="87072"/>
                    </a:lnTo>
                    <a:lnTo>
                      <a:pt x="0" y="87072"/>
                    </a:lnTo>
                    <a:lnTo>
                      <a:pt x="0" y="32643"/>
                    </a:lnTo>
                    <a:cubicBezTo>
                      <a:pt x="0" y="10881"/>
                      <a:pt x="16170" y="0"/>
                      <a:pt x="36223" y="0"/>
                    </a:cubicBezTo>
                    <a:cubicBezTo>
                      <a:pt x="45560" y="0"/>
                      <a:pt x="55809" y="3884"/>
                      <a:pt x="62338" y="10577"/>
                    </a:cubicBezTo>
                    <a:cubicBezTo>
                      <a:pt x="68399" y="3884"/>
                      <a:pt x="78976" y="0"/>
                      <a:pt x="88148" y="0"/>
                    </a:cubicBezTo>
                    <a:cubicBezTo>
                      <a:pt x="107103" y="0"/>
                      <a:pt x="124208" y="9313"/>
                      <a:pt x="124208" y="32643"/>
                    </a:cubicBezTo>
                    <a:close/>
                  </a:path>
                </a:pathLst>
              </a:custGeom>
              <a:solidFill>
                <a:srgbClr val="FFFFFF"/>
              </a:solidFill>
              <a:ln w="2339" cap="flat">
                <a:noFill/>
                <a:prstDash val="solid"/>
                <a:miter/>
              </a:ln>
            </p:spPr>
            <p:txBody>
              <a:bodyPr rtlCol="0" anchor="ctr"/>
              <a:lstStyle/>
              <a:p>
                <a:endParaRPr lang="en-US" sz="2400"/>
              </a:p>
            </p:txBody>
          </p:sp>
          <p:sp>
            <p:nvSpPr>
              <p:cNvPr id="19" name="Freeform: Shape 18">
                <a:extLst>
                  <a:ext uri="{FF2B5EF4-FFF2-40B4-BE49-F238E27FC236}">
                    <a16:creationId xmlns:a16="http://schemas.microsoft.com/office/drawing/2014/main" id="{8AE7ECFA-2993-7B80-C96F-67E5DBE065F1}"/>
                  </a:ext>
                </a:extLst>
              </p:cNvPr>
              <p:cNvSpPr/>
              <p:nvPr userDrawn="1"/>
            </p:nvSpPr>
            <p:spPr>
              <a:xfrm>
                <a:off x="8535027" y="4710527"/>
                <a:ext cx="76518" cy="87072"/>
              </a:xfrm>
              <a:custGeom>
                <a:avLst/>
                <a:gdLst>
                  <a:gd name="connsiteX0" fmla="*/ 76519 w 76518"/>
                  <a:gd name="connsiteY0" fmla="*/ 0 h 87072"/>
                  <a:gd name="connsiteX1" fmla="*/ 76519 w 76518"/>
                  <a:gd name="connsiteY1" fmla="*/ 48977 h 87072"/>
                  <a:gd name="connsiteX2" fmla="*/ 38259 w 76518"/>
                  <a:gd name="connsiteY2" fmla="*/ 87072 h 87072"/>
                  <a:gd name="connsiteX3" fmla="*/ 0 w 76518"/>
                  <a:gd name="connsiteY3" fmla="*/ 48977 h 87072"/>
                  <a:gd name="connsiteX4" fmla="*/ 0 w 76518"/>
                  <a:gd name="connsiteY4" fmla="*/ 0 h 87072"/>
                  <a:gd name="connsiteX5" fmla="*/ 20522 w 76518"/>
                  <a:gd name="connsiteY5" fmla="*/ 0 h 87072"/>
                  <a:gd name="connsiteX6" fmla="*/ 20522 w 76518"/>
                  <a:gd name="connsiteY6" fmla="*/ 48977 h 87072"/>
                  <a:gd name="connsiteX7" fmla="*/ 38236 w 76518"/>
                  <a:gd name="connsiteY7" fmla="*/ 67627 h 87072"/>
                  <a:gd name="connsiteX8" fmla="*/ 55950 w 76518"/>
                  <a:gd name="connsiteY8" fmla="*/ 48977 h 87072"/>
                  <a:gd name="connsiteX9" fmla="*/ 55950 w 76518"/>
                  <a:gd name="connsiteY9" fmla="*/ 0 h 87072"/>
                  <a:gd name="connsiteX10" fmla="*/ 76519 w 76518"/>
                  <a:gd name="connsiteY10" fmla="*/ 0 h 87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8" h="87072">
                    <a:moveTo>
                      <a:pt x="76519" y="0"/>
                    </a:moveTo>
                    <a:lnTo>
                      <a:pt x="76519" y="48977"/>
                    </a:lnTo>
                    <a:cubicBezTo>
                      <a:pt x="76519" y="74483"/>
                      <a:pt x="63461" y="87072"/>
                      <a:pt x="38259" y="87072"/>
                    </a:cubicBezTo>
                    <a:cubicBezTo>
                      <a:pt x="13221" y="87072"/>
                      <a:pt x="0" y="74483"/>
                      <a:pt x="0" y="48977"/>
                    </a:cubicBezTo>
                    <a:lnTo>
                      <a:pt x="0" y="0"/>
                    </a:lnTo>
                    <a:lnTo>
                      <a:pt x="20522" y="0"/>
                    </a:lnTo>
                    <a:lnTo>
                      <a:pt x="20522" y="48977"/>
                    </a:lnTo>
                    <a:cubicBezTo>
                      <a:pt x="20522" y="63134"/>
                      <a:pt x="28455" y="67627"/>
                      <a:pt x="38236" y="67627"/>
                    </a:cubicBezTo>
                    <a:cubicBezTo>
                      <a:pt x="48041" y="67627"/>
                      <a:pt x="55950" y="63110"/>
                      <a:pt x="55950" y="48977"/>
                    </a:cubicBezTo>
                    <a:lnTo>
                      <a:pt x="55950" y="0"/>
                    </a:lnTo>
                    <a:lnTo>
                      <a:pt x="76519" y="0"/>
                    </a:lnTo>
                    <a:close/>
                  </a:path>
                </a:pathLst>
              </a:custGeom>
              <a:solidFill>
                <a:srgbClr val="FFFFFF"/>
              </a:solidFill>
              <a:ln w="2339" cap="flat">
                <a:noFill/>
                <a:prstDash val="solid"/>
                <a:miter/>
              </a:ln>
            </p:spPr>
            <p:txBody>
              <a:bodyPr rtlCol="0" anchor="ctr"/>
              <a:lstStyle/>
              <a:p>
                <a:endParaRPr lang="en-US" sz="2400"/>
              </a:p>
            </p:txBody>
          </p:sp>
          <p:sp>
            <p:nvSpPr>
              <p:cNvPr id="20" name="Freeform: Shape 19">
                <a:extLst>
                  <a:ext uri="{FF2B5EF4-FFF2-40B4-BE49-F238E27FC236}">
                    <a16:creationId xmlns:a16="http://schemas.microsoft.com/office/drawing/2014/main" id="{DD2F73A2-4A2C-ADD7-F1BF-8211B2562C2F}"/>
                  </a:ext>
                </a:extLst>
              </p:cNvPr>
              <p:cNvSpPr/>
              <p:nvPr userDrawn="1"/>
            </p:nvSpPr>
            <p:spPr>
              <a:xfrm>
                <a:off x="8624626" y="4708983"/>
                <a:ext cx="68234" cy="88616"/>
              </a:xfrm>
              <a:custGeom>
                <a:avLst/>
                <a:gdLst>
                  <a:gd name="connsiteX0" fmla="*/ 68235 w 68234"/>
                  <a:gd name="connsiteY0" fmla="*/ 61870 h 88616"/>
                  <a:gd name="connsiteX1" fmla="*/ 34351 w 68234"/>
                  <a:gd name="connsiteY1" fmla="*/ 88616 h 88616"/>
                  <a:gd name="connsiteX2" fmla="*/ 0 w 68234"/>
                  <a:gd name="connsiteY2" fmla="*/ 81152 h 88616"/>
                  <a:gd name="connsiteX3" fmla="*/ 4820 w 68234"/>
                  <a:gd name="connsiteY3" fmla="*/ 63274 h 88616"/>
                  <a:gd name="connsiteX4" fmla="*/ 33439 w 68234"/>
                  <a:gd name="connsiteY4" fmla="*/ 70271 h 88616"/>
                  <a:gd name="connsiteX5" fmla="*/ 47736 w 68234"/>
                  <a:gd name="connsiteY5" fmla="*/ 62502 h 88616"/>
                  <a:gd name="connsiteX6" fmla="*/ 32339 w 68234"/>
                  <a:gd name="connsiteY6" fmla="*/ 51785 h 88616"/>
                  <a:gd name="connsiteX7" fmla="*/ 26419 w 68234"/>
                  <a:gd name="connsiteY7" fmla="*/ 49608 h 88616"/>
                  <a:gd name="connsiteX8" fmla="*/ 1240 w 68234"/>
                  <a:gd name="connsiteY8" fmla="*/ 25038 h 88616"/>
                  <a:gd name="connsiteX9" fmla="*/ 32503 w 68234"/>
                  <a:gd name="connsiteY9" fmla="*/ 0 h 88616"/>
                  <a:gd name="connsiteX10" fmla="*/ 63602 w 68234"/>
                  <a:gd name="connsiteY10" fmla="*/ 4657 h 88616"/>
                  <a:gd name="connsiteX11" fmla="*/ 59717 w 68234"/>
                  <a:gd name="connsiteY11" fmla="*/ 22230 h 88616"/>
                  <a:gd name="connsiteX12" fmla="*/ 32362 w 68234"/>
                  <a:gd name="connsiteY12" fmla="*/ 18182 h 88616"/>
                  <a:gd name="connsiteX13" fmla="*/ 21786 w 68234"/>
                  <a:gd name="connsiteY13" fmla="*/ 24102 h 88616"/>
                  <a:gd name="connsiteX14" fmla="*/ 35615 w 68234"/>
                  <a:gd name="connsiteY14" fmla="*/ 33275 h 88616"/>
                  <a:gd name="connsiteX15" fmla="*/ 41840 w 68234"/>
                  <a:gd name="connsiteY15" fmla="*/ 35615 h 88616"/>
                  <a:gd name="connsiteX16" fmla="*/ 68235 w 68234"/>
                  <a:gd name="connsiteY16" fmla="*/ 61870 h 88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8234" h="88616">
                    <a:moveTo>
                      <a:pt x="68235" y="61870"/>
                    </a:moveTo>
                    <a:cubicBezTo>
                      <a:pt x="68235" y="76636"/>
                      <a:pt x="59834" y="88616"/>
                      <a:pt x="34351" y="88616"/>
                    </a:cubicBezTo>
                    <a:cubicBezTo>
                      <a:pt x="21598" y="88616"/>
                      <a:pt x="9313" y="85668"/>
                      <a:pt x="0" y="81152"/>
                    </a:cubicBezTo>
                    <a:lnTo>
                      <a:pt x="4820" y="63274"/>
                    </a:lnTo>
                    <a:cubicBezTo>
                      <a:pt x="14625" y="67322"/>
                      <a:pt x="23798" y="70271"/>
                      <a:pt x="33439" y="70271"/>
                    </a:cubicBezTo>
                    <a:cubicBezTo>
                      <a:pt x="43548" y="70271"/>
                      <a:pt x="47736" y="66995"/>
                      <a:pt x="47736" y="62502"/>
                    </a:cubicBezTo>
                    <a:cubicBezTo>
                      <a:pt x="47736" y="57377"/>
                      <a:pt x="42612" y="55505"/>
                      <a:pt x="32339" y="51785"/>
                    </a:cubicBezTo>
                    <a:lnTo>
                      <a:pt x="26419" y="49608"/>
                    </a:lnTo>
                    <a:cubicBezTo>
                      <a:pt x="8541" y="43244"/>
                      <a:pt x="1240" y="38891"/>
                      <a:pt x="1240" y="25038"/>
                    </a:cubicBezTo>
                    <a:cubicBezTo>
                      <a:pt x="1240" y="12285"/>
                      <a:pt x="7137" y="0"/>
                      <a:pt x="32503" y="0"/>
                    </a:cubicBezTo>
                    <a:cubicBezTo>
                      <a:pt x="43852" y="0"/>
                      <a:pt x="57541" y="2644"/>
                      <a:pt x="63602" y="4657"/>
                    </a:cubicBezTo>
                    <a:lnTo>
                      <a:pt x="59717" y="22230"/>
                    </a:lnTo>
                    <a:cubicBezTo>
                      <a:pt x="53189" y="20522"/>
                      <a:pt x="40436" y="18182"/>
                      <a:pt x="32362" y="18182"/>
                    </a:cubicBezTo>
                    <a:cubicBezTo>
                      <a:pt x="25202" y="18182"/>
                      <a:pt x="21786" y="19726"/>
                      <a:pt x="21786" y="24102"/>
                    </a:cubicBezTo>
                    <a:cubicBezTo>
                      <a:pt x="21786" y="28150"/>
                      <a:pt x="24594" y="29227"/>
                      <a:pt x="35615" y="33275"/>
                    </a:cubicBezTo>
                    <a:lnTo>
                      <a:pt x="41840" y="35615"/>
                    </a:lnTo>
                    <a:cubicBezTo>
                      <a:pt x="60606" y="42448"/>
                      <a:pt x="68235" y="48181"/>
                      <a:pt x="68235" y="61870"/>
                    </a:cubicBezTo>
                    <a:close/>
                  </a:path>
                </a:pathLst>
              </a:custGeom>
              <a:solidFill>
                <a:srgbClr val="FFFFFF"/>
              </a:solidFill>
              <a:ln w="2339" cap="flat">
                <a:noFill/>
                <a:prstDash val="solid"/>
                <a:miter/>
              </a:ln>
            </p:spPr>
            <p:txBody>
              <a:bodyPr rtlCol="0" anchor="ctr"/>
              <a:lstStyle/>
              <a:p>
                <a:endParaRPr lang="en-US" sz="2400"/>
              </a:p>
            </p:txBody>
          </p:sp>
        </p:grpSp>
        <p:grpSp>
          <p:nvGrpSpPr>
            <p:cNvPr id="21" name="Graphic 4">
              <a:extLst>
                <a:ext uri="{FF2B5EF4-FFF2-40B4-BE49-F238E27FC236}">
                  <a16:creationId xmlns:a16="http://schemas.microsoft.com/office/drawing/2014/main" id="{A3FBB68A-DC56-B89A-3EC9-6AE0F6299B82}"/>
                </a:ext>
              </a:extLst>
            </p:cNvPr>
            <p:cNvGrpSpPr/>
            <p:nvPr userDrawn="1"/>
          </p:nvGrpSpPr>
          <p:grpSpPr>
            <a:xfrm>
              <a:off x="8195045" y="4295826"/>
              <a:ext cx="332188" cy="331794"/>
              <a:chOff x="8195045" y="4295826"/>
              <a:chExt cx="332188" cy="331794"/>
            </a:xfrm>
          </p:grpSpPr>
          <p:grpSp>
            <p:nvGrpSpPr>
              <p:cNvPr id="22" name="Graphic 4">
                <a:extLst>
                  <a:ext uri="{FF2B5EF4-FFF2-40B4-BE49-F238E27FC236}">
                    <a16:creationId xmlns:a16="http://schemas.microsoft.com/office/drawing/2014/main" id="{8187DE17-F357-2A22-F20C-458844AE72D2}"/>
                  </a:ext>
                </a:extLst>
              </p:cNvPr>
              <p:cNvGrpSpPr/>
              <p:nvPr userDrawn="1"/>
            </p:nvGrpSpPr>
            <p:grpSpPr>
              <a:xfrm>
                <a:off x="8315884" y="4398907"/>
                <a:ext cx="90535" cy="125635"/>
                <a:chOff x="8315884" y="4398907"/>
                <a:chExt cx="90534" cy="125635"/>
              </a:xfrm>
              <a:solidFill>
                <a:srgbClr val="B1B8CC"/>
              </a:solidFill>
            </p:grpSpPr>
            <p:sp>
              <p:nvSpPr>
                <p:cNvPr id="23" name="Freeform: Shape 22">
                  <a:extLst>
                    <a:ext uri="{FF2B5EF4-FFF2-40B4-BE49-F238E27FC236}">
                      <a16:creationId xmlns:a16="http://schemas.microsoft.com/office/drawing/2014/main" id="{F0CE3E14-D941-AE41-0093-3CAEE8F4C2CB}"/>
                    </a:ext>
                  </a:extLst>
                </p:cNvPr>
                <p:cNvSpPr/>
                <p:nvPr userDrawn="1"/>
              </p:nvSpPr>
              <p:spPr>
                <a:xfrm>
                  <a:off x="8315907" y="4480082"/>
                  <a:ext cx="90511" cy="44460"/>
                </a:xfrm>
                <a:custGeom>
                  <a:avLst/>
                  <a:gdLst>
                    <a:gd name="connsiteX0" fmla="*/ 84428 w 90511"/>
                    <a:gd name="connsiteY0" fmla="*/ 44460 h 44460"/>
                    <a:gd name="connsiteX1" fmla="*/ 45209 w 90511"/>
                    <a:gd name="connsiteY1" fmla="*/ 41582 h 44460"/>
                    <a:gd name="connsiteX2" fmla="*/ 6061 w 90511"/>
                    <a:gd name="connsiteY2" fmla="*/ 44460 h 44460"/>
                    <a:gd name="connsiteX3" fmla="*/ 0 w 90511"/>
                    <a:gd name="connsiteY3" fmla="*/ 3253 h 44460"/>
                    <a:gd name="connsiteX4" fmla="*/ 45233 w 90511"/>
                    <a:gd name="connsiteY4" fmla="*/ 0 h 44460"/>
                    <a:gd name="connsiteX5" fmla="*/ 90512 w 90511"/>
                    <a:gd name="connsiteY5" fmla="*/ 3253 h 44460"/>
                    <a:gd name="connsiteX6" fmla="*/ 84428 w 90511"/>
                    <a:gd name="connsiteY6" fmla="*/ 44460 h 44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511" h="44460">
                      <a:moveTo>
                        <a:pt x="84428" y="44460"/>
                      </a:moveTo>
                      <a:cubicBezTo>
                        <a:pt x="71768" y="42588"/>
                        <a:pt x="58571" y="41606"/>
                        <a:pt x="45209" y="41582"/>
                      </a:cubicBezTo>
                      <a:cubicBezTo>
                        <a:pt x="31894" y="41606"/>
                        <a:pt x="18720" y="42588"/>
                        <a:pt x="6061" y="44460"/>
                      </a:cubicBezTo>
                      <a:lnTo>
                        <a:pt x="0" y="3253"/>
                      </a:lnTo>
                      <a:cubicBezTo>
                        <a:pt x="14625" y="1100"/>
                        <a:pt x="29859" y="23"/>
                        <a:pt x="45233" y="0"/>
                      </a:cubicBezTo>
                      <a:cubicBezTo>
                        <a:pt x="60677" y="23"/>
                        <a:pt x="75887" y="1076"/>
                        <a:pt x="90512" y="3253"/>
                      </a:cubicBezTo>
                      <a:lnTo>
                        <a:pt x="84428" y="44460"/>
                      </a:lnTo>
                      <a:close/>
                    </a:path>
                  </a:pathLst>
                </a:custGeom>
                <a:solidFill>
                  <a:srgbClr val="B1B8CC"/>
                </a:solidFill>
                <a:ln w="2339" cap="flat">
                  <a:noFill/>
                  <a:prstDash val="solid"/>
                  <a:miter/>
                </a:ln>
              </p:spPr>
              <p:txBody>
                <a:bodyPr rtlCol="0" anchor="ctr"/>
                <a:lstStyle/>
                <a:p>
                  <a:endParaRPr lang="en-US" sz="2400"/>
                </a:p>
              </p:txBody>
            </p:sp>
            <p:sp>
              <p:nvSpPr>
                <p:cNvPr id="24" name="Freeform: Shape 23">
                  <a:extLst>
                    <a:ext uri="{FF2B5EF4-FFF2-40B4-BE49-F238E27FC236}">
                      <a16:creationId xmlns:a16="http://schemas.microsoft.com/office/drawing/2014/main" id="{FC5B55BA-6298-5E03-56E1-BC001D8A8023}"/>
                    </a:ext>
                  </a:extLst>
                </p:cNvPr>
                <p:cNvSpPr/>
                <p:nvPr userDrawn="1"/>
              </p:nvSpPr>
              <p:spPr>
                <a:xfrm>
                  <a:off x="8315884" y="4398907"/>
                  <a:ext cx="90488" cy="44436"/>
                </a:xfrm>
                <a:custGeom>
                  <a:avLst/>
                  <a:gdLst>
                    <a:gd name="connsiteX0" fmla="*/ 45279 w 90488"/>
                    <a:gd name="connsiteY0" fmla="*/ 44437 h 44436"/>
                    <a:gd name="connsiteX1" fmla="*/ 0 w 90488"/>
                    <a:gd name="connsiteY1" fmla="*/ 41208 h 44436"/>
                    <a:gd name="connsiteX2" fmla="*/ 6061 w 90488"/>
                    <a:gd name="connsiteY2" fmla="*/ 0 h 44436"/>
                    <a:gd name="connsiteX3" fmla="*/ 45279 w 90488"/>
                    <a:gd name="connsiteY3" fmla="*/ 2878 h 44436"/>
                    <a:gd name="connsiteX4" fmla="*/ 84428 w 90488"/>
                    <a:gd name="connsiteY4" fmla="*/ 0 h 44436"/>
                    <a:gd name="connsiteX5" fmla="*/ 90488 w 90488"/>
                    <a:gd name="connsiteY5" fmla="*/ 41208 h 44436"/>
                    <a:gd name="connsiteX6" fmla="*/ 45279 w 90488"/>
                    <a:gd name="connsiteY6" fmla="*/ 44437 h 44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488" h="44436">
                      <a:moveTo>
                        <a:pt x="45279" y="44437"/>
                      </a:moveTo>
                      <a:cubicBezTo>
                        <a:pt x="29835" y="44414"/>
                        <a:pt x="14625" y="43361"/>
                        <a:pt x="0" y="41208"/>
                      </a:cubicBezTo>
                      <a:lnTo>
                        <a:pt x="6061" y="0"/>
                      </a:lnTo>
                      <a:cubicBezTo>
                        <a:pt x="18720" y="1872"/>
                        <a:pt x="31918" y="2855"/>
                        <a:pt x="45279" y="2878"/>
                      </a:cubicBezTo>
                      <a:cubicBezTo>
                        <a:pt x="58594" y="2855"/>
                        <a:pt x="71768" y="1872"/>
                        <a:pt x="84428" y="0"/>
                      </a:cubicBezTo>
                      <a:lnTo>
                        <a:pt x="90488" y="41208"/>
                      </a:lnTo>
                      <a:cubicBezTo>
                        <a:pt x="75863" y="43361"/>
                        <a:pt x="60653" y="44414"/>
                        <a:pt x="45279" y="44437"/>
                      </a:cubicBezTo>
                      <a:close/>
                    </a:path>
                  </a:pathLst>
                </a:custGeom>
                <a:solidFill>
                  <a:srgbClr val="B1B8CC"/>
                </a:solidFill>
                <a:ln w="2339" cap="flat">
                  <a:noFill/>
                  <a:prstDash val="solid"/>
                  <a:miter/>
                </a:ln>
              </p:spPr>
              <p:txBody>
                <a:bodyPr rtlCol="0" anchor="ctr"/>
                <a:lstStyle/>
                <a:p>
                  <a:endParaRPr lang="en-US" sz="2400"/>
                </a:p>
              </p:txBody>
            </p:sp>
          </p:grpSp>
          <p:grpSp>
            <p:nvGrpSpPr>
              <p:cNvPr id="25" name="Graphic 4">
                <a:extLst>
                  <a:ext uri="{FF2B5EF4-FFF2-40B4-BE49-F238E27FC236}">
                    <a16:creationId xmlns:a16="http://schemas.microsoft.com/office/drawing/2014/main" id="{F51543B4-B646-2EB5-79C2-129CEBBE59B6}"/>
                  </a:ext>
                </a:extLst>
              </p:cNvPr>
              <p:cNvGrpSpPr/>
              <p:nvPr userDrawn="1"/>
            </p:nvGrpSpPr>
            <p:grpSpPr>
              <a:xfrm>
                <a:off x="8195045" y="4333223"/>
                <a:ext cx="332188" cy="107360"/>
                <a:chOff x="8195045" y="4333223"/>
                <a:chExt cx="332189" cy="107360"/>
              </a:xfrm>
            </p:grpSpPr>
            <p:grpSp>
              <p:nvGrpSpPr>
                <p:cNvPr id="26" name="Graphic 4">
                  <a:extLst>
                    <a:ext uri="{FF2B5EF4-FFF2-40B4-BE49-F238E27FC236}">
                      <a16:creationId xmlns:a16="http://schemas.microsoft.com/office/drawing/2014/main" id="{D81D0BA9-7100-FAB3-491E-2527FC434561}"/>
                    </a:ext>
                  </a:extLst>
                </p:cNvPr>
                <p:cNvGrpSpPr/>
                <p:nvPr userDrawn="1"/>
              </p:nvGrpSpPr>
              <p:grpSpPr>
                <a:xfrm>
                  <a:off x="8195045" y="4333223"/>
                  <a:ext cx="144893" cy="107360"/>
                  <a:chOff x="8195045" y="4333223"/>
                  <a:chExt cx="144893" cy="107359"/>
                </a:xfrm>
              </p:grpSpPr>
              <p:sp>
                <p:nvSpPr>
                  <p:cNvPr id="27" name="Freeform: Shape 26">
                    <a:extLst>
                      <a:ext uri="{FF2B5EF4-FFF2-40B4-BE49-F238E27FC236}">
                        <a16:creationId xmlns:a16="http://schemas.microsoft.com/office/drawing/2014/main" id="{0948CA29-F1EA-5323-4AC3-93C95AE6867A}"/>
                      </a:ext>
                    </a:extLst>
                  </p:cNvPr>
                  <p:cNvSpPr/>
                  <p:nvPr userDrawn="1"/>
                </p:nvSpPr>
                <p:spPr>
                  <a:xfrm>
                    <a:off x="8297842" y="439850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1B8CC"/>
                  </a:solidFill>
                  <a:ln w="2339" cap="flat">
                    <a:noFill/>
                    <a:prstDash val="solid"/>
                    <a:miter/>
                  </a:ln>
                </p:spPr>
                <p:txBody>
                  <a:bodyPr rtlCol="0" anchor="ctr"/>
                  <a:lstStyle/>
                  <a:p>
                    <a:endParaRPr lang="en-US" sz="2400"/>
                  </a:p>
                </p:txBody>
              </p:sp>
              <p:sp>
                <p:nvSpPr>
                  <p:cNvPr id="28" name="Freeform: Shape 27">
                    <a:extLst>
                      <a:ext uri="{FF2B5EF4-FFF2-40B4-BE49-F238E27FC236}">
                        <a16:creationId xmlns:a16="http://schemas.microsoft.com/office/drawing/2014/main" id="{6F42DCFC-1BC2-A01A-B27A-ACE57A5113D3}"/>
                      </a:ext>
                    </a:extLst>
                  </p:cNvPr>
                  <p:cNvSpPr/>
                  <p:nvPr userDrawn="1"/>
                </p:nvSpPr>
                <p:spPr>
                  <a:xfrm>
                    <a:off x="8297281" y="439843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43"/>
                          <a:pt x="42097" y="21037"/>
                        </a:cubicBezTo>
                        <a:close/>
                      </a:path>
                    </a:pathLst>
                  </a:custGeom>
                  <a:solidFill>
                    <a:srgbClr val="B1B8CC"/>
                  </a:solidFill>
                  <a:ln w="2339" cap="flat">
                    <a:noFill/>
                    <a:prstDash val="solid"/>
                    <a:miter/>
                  </a:ln>
                </p:spPr>
                <p:txBody>
                  <a:bodyPr rtlCol="0" anchor="ctr"/>
                  <a:lstStyle/>
                  <a:p>
                    <a:endParaRPr lang="en-US" sz="2400"/>
                  </a:p>
                </p:txBody>
              </p:sp>
              <p:sp>
                <p:nvSpPr>
                  <p:cNvPr id="29" name="Freeform: Shape 28">
                    <a:extLst>
                      <a:ext uri="{FF2B5EF4-FFF2-40B4-BE49-F238E27FC236}">
                        <a16:creationId xmlns:a16="http://schemas.microsoft.com/office/drawing/2014/main" id="{A63513B6-C4C7-5EBE-C4BF-DD48FBB60CBA}"/>
                      </a:ext>
                    </a:extLst>
                  </p:cNvPr>
                  <p:cNvSpPr/>
                  <p:nvPr userDrawn="1"/>
                </p:nvSpPr>
                <p:spPr>
                  <a:xfrm>
                    <a:off x="8296719" y="4398345"/>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B2B9CC"/>
                  </a:solidFill>
                  <a:ln w="2339" cap="flat">
                    <a:noFill/>
                    <a:prstDash val="solid"/>
                    <a:miter/>
                  </a:ln>
                </p:spPr>
                <p:txBody>
                  <a:bodyPr rtlCol="0" anchor="ctr"/>
                  <a:lstStyle/>
                  <a:p>
                    <a:endParaRPr lang="en-US" sz="2400"/>
                  </a:p>
                </p:txBody>
              </p:sp>
              <p:sp>
                <p:nvSpPr>
                  <p:cNvPr id="30" name="Freeform: Shape 29">
                    <a:extLst>
                      <a:ext uri="{FF2B5EF4-FFF2-40B4-BE49-F238E27FC236}">
                        <a16:creationId xmlns:a16="http://schemas.microsoft.com/office/drawing/2014/main" id="{4CF84CFB-1D22-CFE4-7D7A-48AB9F7B3C68}"/>
                      </a:ext>
                    </a:extLst>
                  </p:cNvPr>
                  <p:cNvSpPr/>
                  <p:nvPr userDrawn="1"/>
                </p:nvSpPr>
                <p:spPr>
                  <a:xfrm>
                    <a:off x="8296158" y="4398252"/>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2B9CD"/>
                  </a:solidFill>
                  <a:ln w="2339" cap="flat">
                    <a:noFill/>
                    <a:prstDash val="solid"/>
                    <a:miter/>
                  </a:ln>
                </p:spPr>
                <p:txBody>
                  <a:bodyPr rtlCol="0" anchor="ctr"/>
                  <a:lstStyle/>
                  <a:p>
                    <a:endParaRPr lang="en-US" sz="2400"/>
                  </a:p>
                </p:txBody>
              </p:sp>
              <p:sp>
                <p:nvSpPr>
                  <p:cNvPr id="31" name="Freeform: Shape 30">
                    <a:extLst>
                      <a:ext uri="{FF2B5EF4-FFF2-40B4-BE49-F238E27FC236}">
                        <a16:creationId xmlns:a16="http://schemas.microsoft.com/office/drawing/2014/main" id="{45B4B2F5-FCAE-3043-50EC-C8474809FDF3}"/>
                      </a:ext>
                    </a:extLst>
                  </p:cNvPr>
                  <p:cNvSpPr/>
                  <p:nvPr userDrawn="1"/>
                </p:nvSpPr>
                <p:spPr>
                  <a:xfrm>
                    <a:off x="8295596" y="439818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43"/>
                          <a:pt x="42097" y="21037"/>
                        </a:cubicBezTo>
                        <a:close/>
                      </a:path>
                    </a:pathLst>
                  </a:custGeom>
                  <a:solidFill>
                    <a:srgbClr val="B2B9CD"/>
                  </a:solidFill>
                  <a:ln w="2339" cap="flat">
                    <a:noFill/>
                    <a:prstDash val="solid"/>
                    <a:miter/>
                  </a:ln>
                </p:spPr>
                <p:txBody>
                  <a:bodyPr rtlCol="0" anchor="ctr"/>
                  <a:lstStyle/>
                  <a:p>
                    <a:endParaRPr lang="en-US" sz="2400"/>
                  </a:p>
                </p:txBody>
              </p:sp>
              <p:sp>
                <p:nvSpPr>
                  <p:cNvPr id="32" name="Freeform: Shape 31">
                    <a:extLst>
                      <a:ext uri="{FF2B5EF4-FFF2-40B4-BE49-F238E27FC236}">
                        <a16:creationId xmlns:a16="http://schemas.microsoft.com/office/drawing/2014/main" id="{80A44563-27AF-2AC1-56B2-91251AA0EBC0}"/>
                      </a:ext>
                    </a:extLst>
                  </p:cNvPr>
                  <p:cNvSpPr/>
                  <p:nvPr userDrawn="1"/>
                </p:nvSpPr>
                <p:spPr>
                  <a:xfrm>
                    <a:off x="8295034" y="4398088"/>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43"/>
                          <a:pt x="42097" y="21037"/>
                        </a:cubicBezTo>
                        <a:close/>
                      </a:path>
                    </a:pathLst>
                  </a:custGeom>
                  <a:solidFill>
                    <a:srgbClr val="B3B9CD"/>
                  </a:solidFill>
                  <a:ln w="2339" cap="flat">
                    <a:noFill/>
                    <a:prstDash val="solid"/>
                    <a:miter/>
                  </a:ln>
                </p:spPr>
                <p:txBody>
                  <a:bodyPr rtlCol="0" anchor="ctr"/>
                  <a:lstStyle/>
                  <a:p>
                    <a:endParaRPr lang="en-US" sz="2400"/>
                  </a:p>
                </p:txBody>
              </p:sp>
              <p:sp>
                <p:nvSpPr>
                  <p:cNvPr id="33" name="Freeform: Shape 32">
                    <a:extLst>
                      <a:ext uri="{FF2B5EF4-FFF2-40B4-BE49-F238E27FC236}">
                        <a16:creationId xmlns:a16="http://schemas.microsoft.com/office/drawing/2014/main" id="{9C655716-1BBC-7C8A-66B6-9F4CAE778342}"/>
                      </a:ext>
                    </a:extLst>
                  </p:cNvPr>
                  <p:cNvSpPr/>
                  <p:nvPr userDrawn="1"/>
                </p:nvSpPr>
                <p:spPr>
                  <a:xfrm>
                    <a:off x="8294449" y="4397994"/>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3BACD"/>
                  </a:solidFill>
                  <a:ln w="2339" cap="flat">
                    <a:noFill/>
                    <a:prstDash val="solid"/>
                    <a:miter/>
                  </a:ln>
                </p:spPr>
                <p:txBody>
                  <a:bodyPr rtlCol="0" anchor="ctr"/>
                  <a:lstStyle/>
                  <a:p>
                    <a:endParaRPr lang="en-US" sz="2400"/>
                  </a:p>
                </p:txBody>
              </p:sp>
              <p:sp>
                <p:nvSpPr>
                  <p:cNvPr id="34" name="Freeform: Shape 33">
                    <a:extLst>
                      <a:ext uri="{FF2B5EF4-FFF2-40B4-BE49-F238E27FC236}">
                        <a16:creationId xmlns:a16="http://schemas.microsoft.com/office/drawing/2014/main" id="{47A8CC21-2223-A1B9-4DC5-FC3B50B21D43}"/>
                      </a:ext>
                    </a:extLst>
                  </p:cNvPr>
                  <p:cNvSpPr/>
                  <p:nvPr userDrawn="1"/>
                </p:nvSpPr>
                <p:spPr>
                  <a:xfrm>
                    <a:off x="8293888" y="439790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3BACD"/>
                  </a:solidFill>
                  <a:ln w="2339" cap="flat">
                    <a:noFill/>
                    <a:prstDash val="solid"/>
                    <a:miter/>
                  </a:ln>
                </p:spPr>
                <p:txBody>
                  <a:bodyPr rtlCol="0" anchor="ctr"/>
                  <a:lstStyle/>
                  <a:p>
                    <a:endParaRPr lang="en-US" sz="2400"/>
                  </a:p>
                </p:txBody>
              </p:sp>
              <p:sp>
                <p:nvSpPr>
                  <p:cNvPr id="35" name="Freeform: Shape 34">
                    <a:extLst>
                      <a:ext uri="{FF2B5EF4-FFF2-40B4-BE49-F238E27FC236}">
                        <a16:creationId xmlns:a16="http://schemas.microsoft.com/office/drawing/2014/main" id="{042C32FA-1CA1-8506-E5E5-B486A7F5F6AE}"/>
                      </a:ext>
                    </a:extLst>
                  </p:cNvPr>
                  <p:cNvSpPr/>
                  <p:nvPr userDrawn="1"/>
                </p:nvSpPr>
                <p:spPr>
                  <a:xfrm>
                    <a:off x="8293326" y="4397807"/>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3BACE"/>
                  </a:solidFill>
                  <a:ln w="2339" cap="flat">
                    <a:noFill/>
                    <a:prstDash val="solid"/>
                    <a:miter/>
                  </a:ln>
                </p:spPr>
                <p:txBody>
                  <a:bodyPr rtlCol="0" anchor="ctr"/>
                  <a:lstStyle/>
                  <a:p>
                    <a:endParaRPr lang="en-US" sz="2400"/>
                  </a:p>
                </p:txBody>
              </p:sp>
              <p:sp>
                <p:nvSpPr>
                  <p:cNvPr id="36" name="Freeform: Shape 35">
                    <a:extLst>
                      <a:ext uri="{FF2B5EF4-FFF2-40B4-BE49-F238E27FC236}">
                        <a16:creationId xmlns:a16="http://schemas.microsoft.com/office/drawing/2014/main" id="{8F1B69FC-497F-C27D-8E64-B16EAA9C642C}"/>
                      </a:ext>
                    </a:extLst>
                  </p:cNvPr>
                  <p:cNvSpPr/>
                  <p:nvPr userDrawn="1"/>
                </p:nvSpPr>
                <p:spPr>
                  <a:xfrm>
                    <a:off x="8292764" y="4397713"/>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4BBCE"/>
                  </a:solidFill>
                  <a:ln w="2339" cap="flat">
                    <a:noFill/>
                    <a:prstDash val="solid"/>
                    <a:miter/>
                  </a:ln>
                </p:spPr>
                <p:txBody>
                  <a:bodyPr rtlCol="0" anchor="ctr"/>
                  <a:lstStyle/>
                  <a:p>
                    <a:endParaRPr lang="en-US" sz="2400"/>
                  </a:p>
                </p:txBody>
              </p:sp>
              <p:sp>
                <p:nvSpPr>
                  <p:cNvPr id="37" name="Freeform: Shape 36">
                    <a:extLst>
                      <a:ext uri="{FF2B5EF4-FFF2-40B4-BE49-F238E27FC236}">
                        <a16:creationId xmlns:a16="http://schemas.microsoft.com/office/drawing/2014/main" id="{B201881B-EE47-C37C-990E-183C3FB41AA8}"/>
                      </a:ext>
                    </a:extLst>
                  </p:cNvPr>
                  <p:cNvSpPr/>
                  <p:nvPr userDrawn="1"/>
                </p:nvSpPr>
                <p:spPr>
                  <a:xfrm>
                    <a:off x="8292203" y="439762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4BBCE"/>
                  </a:solidFill>
                  <a:ln w="2339" cap="flat">
                    <a:noFill/>
                    <a:prstDash val="solid"/>
                    <a:miter/>
                  </a:ln>
                </p:spPr>
                <p:txBody>
                  <a:bodyPr rtlCol="0" anchor="ctr"/>
                  <a:lstStyle/>
                  <a:p>
                    <a:endParaRPr lang="en-US" sz="2400"/>
                  </a:p>
                </p:txBody>
              </p:sp>
              <p:sp>
                <p:nvSpPr>
                  <p:cNvPr id="38" name="Freeform: Shape 37">
                    <a:extLst>
                      <a:ext uri="{FF2B5EF4-FFF2-40B4-BE49-F238E27FC236}">
                        <a16:creationId xmlns:a16="http://schemas.microsoft.com/office/drawing/2014/main" id="{7555418D-BCF3-113B-6424-F63F942B29A3}"/>
                      </a:ext>
                    </a:extLst>
                  </p:cNvPr>
                  <p:cNvSpPr/>
                  <p:nvPr userDrawn="1"/>
                </p:nvSpPr>
                <p:spPr>
                  <a:xfrm>
                    <a:off x="8291641" y="4397526"/>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43"/>
                          <a:pt x="42097" y="21037"/>
                        </a:cubicBezTo>
                        <a:close/>
                      </a:path>
                    </a:pathLst>
                  </a:custGeom>
                  <a:solidFill>
                    <a:srgbClr val="B4BBCE"/>
                  </a:solidFill>
                  <a:ln w="2339" cap="flat">
                    <a:noFill/>
                    <a:prstDash val="solid"/>
                    <a:miter/>
                  </a:ln>
                </p:spPr>
                <p:txBody>
                  <a:bodyPr rtlCol="0" anchor="ctr"/>
                  <a:lstStyle/>
                  <a:p>
                    <a:endParaRPr lang="en-US" sz="2400"/>
                  </a:p>
                </p:txBody>
              </p:sp>
              <p:sp>
                <p:nvSpPr>
                  <p:cNvPr id="39" name="Freeform: Shape 38">
                    <a:extLst>
                      <a:ext uri="{FF2B5EF4-FFF2-40B4-BE49-F238E27FC236}">
                        <a16:creationId xmlns:a16="http://schemas.microsoft.com/office/drawing/2014/main" id="{FEEA0CC4-E6DE-3107-36F8-F3943C4DCD4D}"/>
                      </a:ext>
                    </a:extLst>
                  </p:cNvPr>
                  <p:cNvSpPr/>
                  <p:nvPr userDrawn="1"/>
                </p:nvSpPr>
                <p:spPr>
                  <a:xfrm>
                    <a:off x="8291080" y="4397433"/>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43"/>
                          <a:pt x="42097" y="21037"/>
                        </a:cubicBezTo>
                        <a:close/>
                      </a:path>
                    </a:pathLst>
                  </a:custGeom>
                  <a:solidFill>
                    <a:srgbClr val="B5BBCE"/>
                  </a:solidFill>
                  <a:ln w="2339" cap="flat">
                    <a:noFill/>
                    <a:prstDash val="solid"/>
                    <a:miter/>
                  </a:ln>
                </p:spPr>
                <p:txBody>
                  <a:bodyPr rtlCol="0" anchor="ctr"/>
                  <a:lstStyle/>
                  <a:p>
                    <a:endParaRPr lang="en-US" sz="2400"/>
                  </a:p>
                </p:txBody>
              </p:sp>
              <p:sp>
                <p:nvSpPr>
                  <p:cNvPr id="40" name="Freeform: Shape 39">
                    <a:extLst>
                      <a:ext uri="{FF2B5EF4-FFF2-40B4-BE49-F238E27FC236}">
                        <a16:creationId xmlns:a16="http://schemas.microsoft.com/office/drawing/2014/main" id="{377C7ADB-EC11-0C0B-65CB-63BFB1118E50}"/>
                      </a:ext>
                    </a:extLst>
                  </p:cNvPr>
                  <p:cNvSpPr/>
                  <p:nvPr userDrawn="1"/>
                </p:nvSpPr>
                <p:spPr>
                  <a:xfrm>
                    <a:off x="8290518" y="4397316"/>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5BCCF"/>
                  </a:solidFill>
                  <a:ln w="2339" cap="flat">
                    <a:noFill/>
                    <a:prstDash val="solid"/>
                    <a:miter/>
                  </a:ln>
                </p:spPr>
                <p:txBody>
                  <a:bodyPr rtlCol="0" anchor="ctr"/>
                  <a:lstStyle/>
                  <a:p>
                    <a:endParaRPr lang="en-US" sz="2400"/>
                  </a:p>
                </p:txBody>
              </p:sp>
              <p:sp>
                <p:nvSpPr>
                  <p:cNvPr id="41" name="Freeform: Shape 40">
                    <a:extLst>
                      <a:ext uri="{FF2B5EF4-FFF2-40B4-BE49-F238E27FC236}">
                        <a16:creationId xmlns:a16="http://schemas.microsoft.com/office/drawing/2014/main" id="{B9D84B9A-DAB9-69A7-C045-994A3F9747C7}"/>
                      </a:ext>
                    </a:extLst>
                  </p:cNvPr>
                  <p:cNvSpPr/>
                  <p:nvPr userDrawn="1"/>
                </p:nvSpPr>
                <p:spPr>
                  <a:xfrm>
                    <a:off x="8289956" y="4397222"/>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5BCCF"/>
                  </a:solidFill>
                  <a:ln w="2339" cap="flat">
                    <a:noFill/>
                    <a:prstDash val="solid"/>
                    <a:miter/>
                  </a:ln>
                </p:spPr>
                <p:txBody>
                  <a:bodyPr rtlCol="0" anchor="ctr"/>
                  <a:lstStyle/>
                  <a:p>
                    <a:endParaRPr lang="en-US" sz="2400"/>
                  </a:p>
                </p:txBody>
              </p:sp>
              <p:sp>
                <p:nvSpPr>
                  <p:cNvPr id="42" name="Freeform: Shape 41">
                    <a:extLst>
                      <a:ext uri="{FF2B5EF4-FFF2-40B4-BE49-F238E27FC236}">
                        <a16:creationId xmlns:a16="http://schemas.microsoft.com/office/drawing/2014/main" id="{CCE84C10-F79F-860B-5BB8-25FBC4DF75F1}"/>
                      </a:ext>
                    </a:extLst>
                  </p:cNvPr>
                  <p:cNvSpPr/>
                  <p:nvPr userDrawn="1"/>
                </p:nvSpPr>
                <p:spPr>
                  <a:xfrm>
                    <a:off x="8289418" y="4397128"/>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43"/>
                          <a:pt x="42097" y="21037"/>
                        </a:cubicBezTo>
                        <a:close/>
                      </a:path>
                    </a:pathLst>
                  </a:custGeom>
                  <a:solidFill>
                    <a:srgbClr val="B6BCCF"/>
                  </a:solidFill>
                  <a:ln w="2339" cap="flat">
                    <a:noFill/>
                    <a:prstDash val="solid"/>
                    <a:miter/>
                  </a:ln>
                </p:spPr>
                <p:txBody>
                  <a:bodyPr rtlCol="0" anchor="ctr"/>
                  <a:lstStyle/>
                  <a:p>
                    <a:endParaRPr lang="en-US" sz="2400"/>
                  </a:p>
                </p:txBody>
              </p:sp>
              <p:sp>
                <p:nvSpPr>
                  <p:cNvPr id="43" name="Freeform: Shape 42">
                    <a:extLst>
                      <a:ext uri="{FF2B5EF4-FFF2-40B4-BE49-F238E27FC236}">
                        <a16:creationId xmlns:a16="http://schemas.microsoft.com/office/drawing/2014/main" id="{14903043-909C-E7C9-21D6-7C1165A3F017}"/>
                      </a:ext>
                    </a:extLst>
                  </p:cNvPr>
                  <p:cNvSpPr/>
                  <p:nvPr userDrawn="1"/>
                </p:nvSpPr>
                <p:spPr>
                  <a:xfrm>
                    <a:off x="8288857" y="439701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6BCCF"/>
                  </a:solidFill>
                  <a:ln w="2339" cap="flat">
                    <a:noFill/>
                    <a:prstDash val="solid"/>
                    <a:miter/>
                  </a:ln>
                </p:spPr>
                <p:txBody>
                  <a:bodyPr rtlCol="0" anchor="ctr"/>
                  <a:lstStyle/>
                  <a:p>
                    <a:endParaRPr lang="en-US" sz="2400"/>
                  </a:p>
                </p:txBody>
              </p:sp>
              <p:sp>
                <p:nvSpPr>
                  <p:cNvPr id="44" name="Freeform: Shape 43">
                    <a:extLst>
                      <a:ext uri="{FF2B5EF4-FFF2-40B4-BE49-F238E27FC236}">
                        <a16:creationId xmlns:a16="http://schemas.microsoft.com/office/drawing/2014/main" id="{DA651C90-9546-9D98-A594-E21D97C37190}"/>
                      </a:ext>
                    </a:extLst>
                  </p:cNvPr>
                  <p:cNvSpPr/>
                  <p:nvPr userDrawn="1"/>
                </p:nvSpPr>
                <p:spPr>
                  <a:xfrm>
                    <a:off x="8288295" y="4396918"/>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B6BDCF"/>
                  </a:solidFill>
                  <a:ln w="2339" cap="flat">
                    <a:noFill/>
                    <a:prstDash val="solid"/>
                    <a:miter/>
                  </a:ln>
                </p:spPr>
                <p:txBody>
                  <a:bodyPr rtlCol="0" anchor="ctr"/>
                  <a:lstStyle/>
                  <a:p>
                    <a:endParaRPr lang="en-US" sz="2400"/>
                  </a:p>
                </p:txBody>
              </p:sp>
              <p:sp>
                <p:nvSpPr>
                  <p:cNvPr id="45" name="Freeform: Shape 44">
                    <a:extLst>
                      <a:ext uri="{FF2B5EF4-FFF2-40B4-BE49-F238E27FC236}">
                        <a16:creationId xmlns:a16="http://schemas.microsoft.com/office/drawing/2014/main" id="{E8304E13-6A30-7F03-595C-F7502DEA472E}"/>
                      </a:ext>
                    </a:extLst>
                  </p:cNvPr>
                  <p:cNvSpPr/>
                  <p:nvPr userDrawn="1"/>
                </p:nvSpPr>
                <p:spPr>
                  <a:xfrm>
                    <a:off x="8287733" y="439680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7BDD0"/>
                  </a:solidFill>
                  <a:ln w="2339" cap="flat">
                    <a:noFill/>
                    <a:prstDash val="solid"/>
                    <a:miter/>
                  </a:ln>
                </p:spPr>
                <p:txBody>
                  <a:bodyPr rtlCol="0" anchor="ctr"/>
                  <a:lstStyle/>
                  <a:p>
                    <a:endParaRPr lang="en-US" sz="2400"/>
                  </a:p>
                </p:txBody>
              </p:sp>
              <p:sp>
                <p:nvSpPr>
                  <p:cNvPr id="46" name="Freeform: Shape 45">
                    <a:extLst>
                      <a:ext uri="{FF2B5EF4-FFF2-40B4-BE49-F238E27FC236}">
                        <a16:creationId xmlns:a16="http://schemas.microsoft.com/office/drawing/2014/main" id="{44B7C382-3543-A689-2AAA-128718743CAD}"/>
                      </a:ext>
                    </a:extLst>
                  </p:cNvPr>
                  <p:cNvSpPr/>
                  <p:nvPr userDrawn="1"/>
                </p:nvSpPr>
                <p:spPr>
                  <a:xfrm>
                    <a:off x="8287172" y="4396707"/>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43"/>
                          <a:pt x="42097" y="21037"/>
                        </a:cubicBezTo>
                        <a:close/>
                      </a:path>
                    </a:pathLst>
                  </a:custGeom>
                  <a:solidFill>
                    <a:srgbClr val="B7BDD0"/>
                  </a:solidFill>
                  <a:ln w="2339" cap="flat">
                    <a:noFill/>
                    <a:prstDash val="solid"/>
                    <a:miter/>
                  </a:ln>
                </p:spPr>
                <p:txBody>
                  <a:bodyPr rtlCol="0" anchor="ctr"/>
                  <a:lstStyle/>
                  <a:p>
                    <a:endParaRPr lang="en-US" sz="2400"/>
                  </a:p>
                </p:txBody>
              </p:sp>
              <p:sp>
                <p:nvSpPr>
                  <p:cNvPr id="47" name="Freeform: Shape 46">
                    <a:extLst>
                      <a:ext uri="{FF2B5EF4-FFF2-40B4-BE49-F238E27FC236}">
                        <a16:creationId xmlns:a16="http://schemas.microsoft.com/office/drawing/2014/main" id="{0635088B-1798-BD17-98EF-41FF8BB59472}"/>
                      </a:ext>
                    </a:extLst>
                  </p:cNvPr>
                  <p:cNvSpPr/>
                  <p:nvPr userDrawn="1"/>
                </p:nvSpPr>
                <p:spPr>
                  <a:xfrm>
                    <a:off x="8286634" y="439659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7BED0"/>
                  </a:solidFill>
                  <a:ln w="2339" cap="flat">
                    <a:noFill/>
                    <a:prstDash val="solid"/>
                    <a:miter/>
                  </a:ln>
                </p:spPr>
                <p:txBody>
                  <a:bodyPr rtlCol="0" anchor="ctr"/>
                  <a:lstStyle/>
                  <a:p>
                    <a:endParaRPr lang="en-US" sz="2400"/>
                  </a:p>
                </p:txBody>
              </p:sp>
              <p:sp>
                <p:nvSpPr>
                  <p:cNvPr id="48" name="Freeform: Shape 47">
                    <a:extLst>
                      <a:ext uri="{FF2B5EF4-FFF2-40B4-BE49-F238E27FC236}">
                        <a16:creationId xmlns:a16="http://schemas.microsoft.com/office/drawing/2014/main" id="{240147AE-E4A5-4A94-272E-F01E251CF294}"/>
                      </a:ext>
                    </a:extLst>
                  </p:cNvPr>
                  <p:cNvSpPr/>
                  <p:nvPr userDrawn="1"/>
                </p:nvSpPr>
                <p:spPr>
                  <a:xfrm>
                    <a:off x="8286072" y="4396473"/>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7BED0"/>
                  </a:solidFill>
                  <a:ln w="2339" cap="flat">
                    <a:noFill/>
                    <a:prstDash val="solid"/>
                    <a:miter/>
                  </a:ln>
                </p:spPr>
                <p:txBody>
                  <a:bodyPr rtlCol="0" anchor="ctr"/>
                  <a:lstStyle/>
                  <a:p>
                    <a:endParaRPr lang="en-US" sz="2400"/>
                  </a:p>
                </p:txBody>
              </p:sp>
              <p:sp>
                <p:nvSpPr>
                  <p:cNvPr id="49" name="Freeform: Shape 48">
                    <a:extLst>
                      <a:ext uri="{FF2B5EF4-FFF2-40B4-BE49-F238E27FC236}">
                        <a16:creationId xmlns:a16="http://schemas.microsoft.com/office/drawing/2014/main" id="{6853573F-7F95-7E98-D535-6A7BB652403C}"/>
                      </a:ext>
                    </a:extLst>
                  </p:cNvPr>
                  <p:cNvSpPr/>
                  <p:nvPr userDrawn="1"/>
                </p:nvSpPr>
                <p:spPr>
                  <a:xfrm>
                    <a:off x="8285510" y="439638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43"/>
                          <a:pt x="42097" y="21037"/>
                        </a:cubicBezTo>
                        <a:close/>
                      </a:path>
                    </a:pathLst>
                  </a:custGeom>
                  <a:solidFill>
                    <a:srgbClr val="B8BED0"/>
                  </a:solidFill>
                  <a:ln w="2339" cap="flat">
                    <a:noFill/>
                    <a:prstDash val="solid"/>
                    <a:miter/>
                  </a:ln>
                </p:spPr>
                <p:txBody>
                  <a:bodyPr rtlCol="0" anchor="ctr"/>
                  <a:lstStyle/>
                  <a:p>
                    <a:endParaRPr lang="en-US" sz="2400"/>
                  </a:p>
                </p:txBody>
              </p:sp>
              <p:sp>
                <p:nvSpPr>
                  <p:cNvPr id="50" name="Freeform: Shape 49">
                    <a:extLst>
                      <a:ext uri="{FF2B5EF4-FFF2-40B4-BE49-F238E27FC236}">
                        <a16:creationId xmlns:a16="http://schemas.microsoft.com/office/drawing/2014/main" id="{3C13D6E3-DF26-AC8D-34F6-0B21EDDD5A3B}"/>
                      </a:ext>
                    </a:extLst>
                  </p:cNvPr>
                  <p:cNvSpPr/>
                  <p:nvPr userDrawn="1"/>
                </p:nvSpPr>
                <p:spPr>
                  <a:xfrm>
                    <a:off x="8284972" y="4396263"/>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B8BED1"/>
                  </a:solidFill>
                  <a:ln w="2339" cap="flat">
                    <a:noFill/>
                    <a:prstDash val="solid"/>
                    <a:miter/>
                  </a:ln>
                </p:spPr>
                <p:txBody>
                  <a:bodyPr rtlCol="0" anchor="ctr"/>
                  <a:lstStyle/>
                  <a:p>
                    <a:endParaRPr lang="en-US" sz="2400"/>
                  </a:p>
                </p:txBody>
              </p:sp>
              <p:sp>
                <p:nvSpPr>
                  <p:cNvPr id="51" name="Freeform: Shape 50">
                    <a:extLst>
                      <a:ext uri="{FF2B5EF4-FFF2-40B4-BE49-F238E27FC236}">
                        <a16:creationId xmlns:a16="http://schemas.microsoft.com/office/drawing/2014/main" id="{75F1BAB0-AC7B-394A-2568-87A765642479}"/>
                      </a:ext>
                    </a:extLst>
                  </p:cNvPr>
                  <p:cNvSpPr/>
                  <p:nvPr userDrawn="1"/>
                </p:nvSpPr>
                <p:spPr>
                  <a:xfrm>
                    <a:off x="8284411" y="4396146"/>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8BFD1"/>
                  </a:solidFill>
                  <a:ln w="2339" cap="flat">
                    <a:noFill/>
                    <a:prstDash val="solid"/>
                    <a:miter/>
                  </a:ln>
                </p:spPr>
                <p:txBody>
                  <a:bodyPr rtlCol="0" anchor="ctr"/>
                  <a:lstStyle/>
                  <a:p>
                    <a:endParaRPr lang="en-US" sz="2400"/>
                  </a:p>
                </p:txBody>
              </p:sp>
              <p:sp>
                <p:nvSpPr>
                  <p:cNvPr id="52" name="Freeform: Shape 51">
                    <a:extLst>
                      <a:ext uri="{FF2B5EF4-FFF2-40B4-BE49-F238E27FC236}">
                        <a16:creationId xmlns:a16="http://schemas.microsoft.com/office/drawing/2014/main" id="{EA7FED37-08C5-27E2-D426-097F1FC55A57}"/>
                      </a:ext>
                    </a:extLst>
                  </p:cNvPr>
                  <p:cNvSpPr/>
                  <p:nvPr userDrawn="1"/>
                </p:nvSpPr>
                <p:spPr>
                  <a:xfrm>
                    <a:off x="8283849" y="439602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9BFD1"/>
                  </a:solidFill>
                  <a:ln w="2339" cap="flat">
                    <a:noFill/>
                    <a:prstDash val="solid"/>
                    <a:miter/>
                  </a:ln>
                </p:spPr>
                <p:txBody>
                  <a:bodyPr rtlCol="0" anchor="ctr"/>
                  <a:lstStyle/>
                  <a:p>
                    <a:endParaRPr lang="en-US" sz="2400"/>
                  </a:p>
                </p:txBody>
              </p:sp>
              <p:sp>
                <p:nvSpPr>
                  <p:cNvPr id="53" name="Freeform: Shape 52">
                    <a:extLst>
                      <a:ext uri="{FF2B5EF4-FFF2-40B4-BE49-F238E27FC236}">
                        <a16:creationId xmlns:a16="http://schemas.microsoft.com/office/drawing/2014/main" id="{C6FEAD57-EB2A-D7C4-39C4-ADCF9738C510}"/>
                      </a:ext>
                    </a:extLst>
                  </p:cNvPr>
                  <p:cNvSpPr/>
                  <p:nvPr userDrawn="1"/>
                </p:nvSpPr>
                <p:spPr>
                  <a:xfrm>
                    <a:off x="8283311" y="4395912"/>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9BFD1"/>
                  </a:solidFill>
                  <a:ln w="2339" cap="flat">
                    <a:noFill/>
                    <a:prstDash val="solid"/>
                    <a:miter/>
                  </a:ln>
                </p:spPr>
                <p:txBody>
                  <a:bodyPr rtlCol="0" anchor="ctr"/>
                  <a:lstStyle/>
                  <a:p>
                    <a:endParaRPr lang="en-US" sz="2400"/>
                  </a:p>
                </p:txBody>
              </p:sp>
              <p:sp>
                <p:nvSpPr>
                  <p:cNvPr id="54" name="Freeform: Shape 53">
                    <a:extLst>
                      <a:ext uri="{FF2B5EF4-FFF2-40B4-BE49-F238E27FC236}">
                        <a16:creationId xmlns:a16="http://schemas.microsoft.com/office/drawing/2014/main" id="{110F19B0-8E2E-790C-652B-49640C80EFC9}"/>
                      </a:ext>
                    </a:extLst>
                  </p:cNvPr>
                  <p:cNvSpPr/>
                  <p:nvPr userDrawn="1"/>
                </p:nvSpPr>
                <p:spPr>
                  <a:xfrm>
                    <a:off x="8282749" y="4395795"/>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9C0D1"/>
                  </a:solidFill>
                  <a:ln w="2339" cap="flat">
                    <a:noFill/>
                    <a:prstDash val="solid"/>
                    <a:miter/>
                  </a:ln>
                </p:spPr>
                <p:txBody>
                  <a:bodyPr rtlCol="0" anchor="ctr"/>
                  <a:lstStyle/>
                  <a:p>
                    <a:endParaRPr lang="en-US" sz="2400"/>
                  </a:p>
                </p:txBody>
              </p:sp>
              <p:sp>
                <p:nvSpPr>
                  <p:cNvPr id="55" name="Freeform: Shape 54">
                    <a:extLst>
                      <a:ext uri="{FF2B5EF4-FFF2-40B4-BE49-F238E27FC236}">
                        <a16:creationId xmlns:a16="http://schemas.microsoft.com/office/drawing/2014/main" id="{79CCB09A-9AF1-C4B6-4353-705004E92391}"/>
                      </a:ext>
                    </a:extLst>
                  </p:cNvPr>
                  <p:cNvSpPr/>
                  <p:nvPr userDrawn="1"/>
                </p:nvSpPr>
                <p:spPr>
                  <a:xfrm>
                    <a:off x="8282211" y="4395678"/>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AC0D2"/>
                  </a:solidFill>
                  <a:ln w="2339" cap="flat">
                    <a:noFill/>
                    <a:prstDash val="solid"/>
                    <a:miter/>
                  </a:ln>
                </p:spPr>
                <p:txBody>
                  <a:bodyPr rtlCol="0" anchor="ctr"/>
                  <a:lstStyle/>
                  <a:p>
                    <a:endParaRPr lang="en-US" sz="2400"/>
                  </a:p>
                </p:txBody>
              </p:sp>
              <p:sp>
                <p:nvSpPr>
                  <p:cNvPr id="56" name="Freeform: Shape 55">
                    <a:extLst>
                      <a:ext uri="{FF2B5EF4-FFF2-40B4-BE49-F238E27FC236}">
                        <a16:creationId xmlns:a16="http://schemas.microsoft.com/office/drawing/2014/main" id="{5B0DD83D-3F6D-33FA-9F6B-C77F13F2B825}"/>
                      </a:ext>
                    </a:extLst>
                  </p:cNvPr>
                  <p:cNvSpPr/>
                  <p:nvPr userDrawn="1"/>
                </p:nvSpPr>
                <p:spPr>
                  <a:xfrm>
                    <a:off x="8281649" y="439556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AC0D2"/>
                  </a:solidFill>
                  <a:ln w="2339" cap="flat">
                    <a:noFill/>
                    <a:prstDash val="solid"/>
                    <a:miter/>
                  </a:ln>
                </p:spPr>
                <p:txBody>
                  <a:bodyPr rtlCol="0" anchor="ctr"/>
                  <a:lstStyle/>
                  <a:p>
                    <a:endParaRPr lang="en-US" sz="2400"/>
                  </a:p>
                </p:txBody>
              </p:sp>
              <p:sp>
                <p:nvSpPr>
                  <p:cNvPr id="57" name="Freeform: Shape 56">
                    <a:extLst>
                      <a:ext uri="{FF2B5EF4-FFF2-40B4-BE49-F238E27FC236}">
                        <a16:creationId xmlns:a16="http://schemas.microsoft.com/office/drawing/2014/main" id="{73B83A36-011C-0F83-E5C8-D7A8D9D97550}"/>
                      </a:ext>
                    </a:extLst>
                  </p:cNvPr>
                  <p:cNvSpPr/>
                  <p:nvPr userDrawn="1"/>
                </p:nvSpPr>
                <p:spPr>
                  <a:xfrm>
                    <a:off x="8281111" y="4395444"/>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AC0D2"/>
                  </a:solidFill>
                  <a:ln w="2339" cap="flat">
                    <a:noFill/>
                    <a:prstDash val="solid"/>
                    <a:miter/>
                  </a:ln>
                </p:spPr>
                <p:txBody>
                  <a:bodyPr rtlCol="0" anchor="ctr"/>
                  <a:lstStyle/>
                  <a:p>
                    <a:endParaRPr lang="en-US" sz="2400"/>
                  </a:p>
                </p:txBody>
              </p:sp>
              <p:sp>
                <p:nvSpPr>
                  <p:cNvPr id="58" name="Freeform: Shape 57">
                    <a:extLst>
                      <a:ext uri="{FF2B5EF4-FFF2-40B4-BE49-F238E27FC236}">
                        <a16:creationId xmlns:a16="http://schemas.microsoft.com/office/drawing/2014/main" id="{E2BAB487-8EAF-2BFE-0EF2-27B540B1654F}"/>
                      </a:ext>
                    </a:extLst>
                  </p:cNvPr>
                  <p:cNvSpPr/>
                  <p:nvPr userDrawn="1"/>
                </p:nvSpPr>
                <p:spPr>
                  <a:xfrm>
                    <a:off x="8280550" y="4395327"/>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AC1D2"/>
                  </a:solidFill>
                  <a:ln w="2339" cap="flat">
                    <a:noFill/>
                    <a:prstDash val="solid"/>
                    <a:miter/>
                  </a:ln>
                </p:spPr>
                <p:txBody>
                  <a:bodyPr rtlCol="0" anchor="ctr"/>
                  <a:lstStyle/>
                  <a:p>
                    <a:endParaRPr lang="en-US" sz="2400"/>
                  </a:p>
                </p:txBody>
              </p:sp>
              <p:sp>
                <p:nvSpPr>
                  <p:cNvPr id="59" name="Freeform: Shape 58">
                    <a:extLst>
                      <a:ext uri="{FF2B5EF4-FFF2-40B4-BE49-F238E27FC236}">
                        <a16:creationId xmlns:a16="http://schemas.microsoft.com/office/drawing/2014/main" id="{33493F8B-E14E-BAE2-063E-2A633972C0F9}"/>
                      </a:ext>
                    </a:extLst>
                  </p:cNvPr>
                  <p:cNvSpPr/>
                  <p:nvPr userDrawn="1"/>
                </p:nvSpPr>
                <p:spPr>
                  <a:xfrm>
                    <a:off x="8280011" y="439521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43"/>
                          <a:pt x="42097" y="21037"/>
                        </a:cubicBezTo>
                        <a:close/>
                      </a:path>
                    </a:pathLst>
                  </a:custGeom>
                  <a:solidFill>
                    <a:srgbClr val="BBC1D2"/>
                  </a:solidFill>
                  <a:ln w="2339" cap="flat">
                    <a:noFill/>
                    <a:prstDash val="solid"/>
                    <a:miter/>
                  </a:ln>
                </p:spPr>
                <p:txBody>
                  <a:bodyPr rtlCol="0" anchor="ctr"/>
                  <a:lstStyle/>
                  <a:p>
                    <a:endParaRPr lang="en-US" sz="2400"/>
                  </a:p>
                </p:txBody>
              </p:sp>
              <p:sp>
                <p:nvSpPr>
                  <p:cNvPr id="60" name="Freeform: Shape 59">
                    <a:extLst>
                      <a:ext uri="{FF2B5EF4-FFF2-40B4-BE49-F238E27FC236}">
                        <a16:creationId xmlns:a16="http://schemas.microsoft.com/office/drawing/2014/main" id="{6A43FAD8-3BE2-526F-7F08-29B0CED643D1}"/>
                      </a:ext>
                    </a:extLst>
                  </p:cNvPr>
                  <p:cNvSpPr/>
                  <p:nvPr userDrawn="1"/>
                </p:nvSpPr>
                <p:spPr>
                  <a:xfrm>
                    <a:off x="8279473" y="439506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BC1D3"/>
                  </a:solidFill>
                  <a:ln w="2339" cap="flat">
                    <a:noFill/>
                    <a:prstDash val="solid"/>
                    <a:miter/>
                  </a:ln>
                </p:spPr>
                <p:txBody>
                  <a:bodyPr rtlCol="0" anchor="ctr"/>
                  <a:lstStyle/>
                  <a:p>
                    <a:endParaRPr lang="en-US" sz="2400"/>
                  </a:p>
                </p:txBody>
              </p:sp>
              <p:sp>
                <p:nvSpPr>
                  <p:cNvPr id="61" name="Freeform: Shape 60">
                    <a:extLst>
                      <a:ext uri="{FF2B5EF4-FFF2-40B4-BE49-F238E27FC236}">
                        <a16:creationId xmlns:a16="http://schemas.microsoft.com/office/drawing/2014/main" id="{6FF792E6-76F5-65D2-17D8-C77DCD9EEEAC}"/>
                      </a:ext>
                    </a:extLst>
                  </p:cNvPr>
                  <p:cNvSpPr/>
                  <p:nvPr userDrawn="1"/>
                </p:nvSpPr>
                <p:spPr>
                  <a:xfrm>
                    <a:off x="8278912" y="4394952"/>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BC1D3"/>
                  </a:solidFill>
                  <a:ln w="2339" cap="flat">
                    <a:noFill/>
                    <a:prstDash val="solid"/>
                    <a:miter/>
                  </a:ln>
                </p:spPr>
                <p:txBody>
                  <a:bodyPr rtlCol="0" anchor="ctr"/>
                  <a:lstStyle/>
                  <a:p>
                    <a:endParaRPr lang="en-US" sz="2400"/>
                  </a:p>
                </p:txBody>
              </p:sp>
              <p:sp>
                <p:nvSpPr>
                  <p:cNvPr id="62" name="Freeform: Shape 61">
                    <a:extLst>
                      <a:ext uri="{FF2B5EF4-FFF2-40B4-BE49-F238E27FC236}">
                        <a16:creationId xmlns:a16="http://schemas.microsoft.com/office/drawing/2014/main" id="{423FE69C-13D2-4228-0681-EF2E4554CD85}"/>
                      </a:ext>
                    </a:extLst>
                  </p:cNvPr>
                  <p:cNvSpPr/>
                  <p:nvPr userDrawn="1"/>
                </p:nvSpPr>
                <p:spPr>
                  <a:xfrm>
                    <a:off x="8278373" y="4394835"/>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BCC2D3"/>
                  </a:solidFill>
                  <a:ln w="2339" cap="flat">
                    <a:noFill/>
                    <a:prstDash val="solid"/>
                    <a:miter/>
                  </a:ln>
                </p:spPr>
                <p:txBody>
                  <a:bodyPr rtlCol="0" anchor="ctr"/>
                  <a:lstStyle/>
                  <a:p>
                    <a:endParaRPr lang="en-US" sz="2400"/>
                  </a:p>
                </p:txBody>
              </p:sp>
              <p:sp>
                <p:nvSpPr>
                  <p:cNvPr id="63" name="Freeform: Shape 62">
                    <a:extLst>
                      <a:ext uri="{FF2B5EF4-FFF2-40B4-BE49-F238E27FC236}">
                        <a16:creationId xmlns:a16="http://schemas.microsoft.com/office/drawing/2014/main" id="{5E5982F0-67C7-986F-7CEB-D702236A1E9A}"/>
                      </a:ext>
                    </a:extLst>
                  </p:cNvPr>
                  <p:cNvSpPr/>
                  <p:nvPr userDrawn="1"/>
                </p:nvSpPr>
                <p:spPr>
                  <a:xfrm>
                    <a:off x="8277835" y="4394695"/>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CC2D3"/>
                  </a:solidFill>
                  <a:ln w="2339" cap="flat">
                    <a:noFill/>
                    <a:prstDash val="solid"/>
                    <a:miter/>
                  </a:ln>
                </p:spPr>
                <p:txBody>
                  <a:bodyPr rtlCol="0" anchor="ctr"/>
                  <a:lstStyle/>
                  <a:p>
                    <a:endParaRPr lang="en-US" sz="2400"/>
                  </a:p>
                </p:txBody>
              </p:sp>
              <p:sp>
                <p:nvSpPr>
                  <p:cNvPr id="64" name="Freeform: Shape 63">
                    <a:extLst>
                      <a:ext uri="{FF2B5EF4-FFF2-40B4-BE49-F238E27FC236}">
                        <a16:creationId xmlns:a16="http://schemas.microsoft.com/office/drawing/2014/main" id="{FD859D96-7AFE-D9B0-3F4B-191023BF2A09}"/>
                      </a:ext>
                    </a:extLst>
                  </p:cNvPr>
                  <p:cNvSpPr/>
                  <p:nvPr userDrawn="1"/>
                </p:nvSpPr>
                <p:spPr>
                  <a:xfrm>
                    <a:off x="8277297" y="4394578"/>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BCC2D3"/>
                  </a:solidFill>
                  <a:ln w="2339" cap="flat">
                    <a:noFill/>
                    <a:prstDash val="solid"/>
                    <a:miter/>
                  </a:ln>
                </p:spPr>
                <p:txBody>
                  <a:bodyPr rtlCol="0" anchor="ctr"/>
                  <a:lstStyle/>
                  <a:p>
                    <a:endParaRPr lang="en-US" sz="2400"/>
                  </a:p>
                </p:txBody>
              </p:sp>
              <p:sp>
                <p:nvSpPr>
                  <p:cNvPr id="65" name="Freeform: Shape 64">
                    <a:extLst>
                      <a:ext uri="{FF2B5EF4-FFF2-40B4-BE49-F238E27FC236}">
                        <a16:creationId xmlns:a16="http://schemas.microsoft.com/office/drawing/2014/main" id="{1B070C48-0FAF-B794-610A-E4EE5388919A}"/>
                      </a:ext>
                    </a:extLst>
                  </p:cNvPr>
                  <p:cNvSpPr/>
                  <p:nvPr userDrawn="1"/>
                </p:nvSpPr>
                <p:spPr>
                  <a:xfrm>
                    <a:off x="8276759" y="4394437"/>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DC3D4"/>
                  </a:solidFill>
                  <a:ln w="2339" cap="flat">
                    <a:noFill/>
                    <a:prstDash val="solid"/>
                    <a:miter/>
                  </a:ln>
                </p:spPr>
                <p:txBody>
                  <a:bodyPr rtlCol="0" anchor="ctr"/>
                  <a:lstStyle/>
                  <a:p>
                    <a:endParaRPr lang="en-US" sz="2400"/>
                  </a:p>
                </p:txBody>
              </p:sp>
              <p:sp>
                <p:nvSpPr>
                  <p:cNvPr id="66" name="Freeform: Shape 65">
                    <a:extLst>
                      <a:ext uri="{FF2B5EF4-FFF2-40B4-BE49-F238E27FC236}">
                        <a16:creationId xmlns:a16="http://schemas.microsoft.com/office/drawing/2014/main" id="{D30B3E50-F0B6-67B0-D133-2397C9C40CFC}"/>
                      </a:ext>
                    </a:extLst>
                  </p:cNvPr>
                  <p:cNvSpPr/>
                  <p:nvPr userDrawn="1"/>
                </p:nvSpPr>
                <p:spPr>
                  <a:xfrm>
                    <a:off x="8276197" y="439432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43"/>
                          <a:pt x="42097" y="21037"/>
                        </a:cubicBezTo>
                        <a:close/>
                      </a:path>
                    </a:pathLst>
                  </a:custGeom>
                  <a:solidFill>
                    <a:srgbClr val="BDC3D4"/>
                  </a:solidFill>
                  <a:ln w="2339" cap="flat">
                    <a:noFill/>
                    <a:prstDash val="solid"/>
                    <a:miter/>
                  </a:ln>
                </p:spPr>
                <p:txBody>
                  <a:bodyPr rtlCol="0" anchor="ctr"/>
                  <a:lstStyle/>
                  <a:p>
                    <a:endParaRPr lang="en-US" sz="2400"/>
                  </a:p>
                </p:txBody>
              </p:sp>
              <p:sp>
                <p:nvSpPr>
                  <p:cNvPr id="67" name="Freeform: Shape 66">
                    <a:extLst>
                      <a:ext uri="{FF2B5EF4-FFF2-40B4-BE49-F238E27FC236}">
                        <a16:creationId xmlns:a16="http://schemas.microsoft.com/office/drawing/2014/main" id="{51D518F5-FB44-66CE-246B-C435BA075BF0}"/>
                      </a:ext>
                    </a:extLst>
                  </p:cNvPr>
                  <p:cNvSpPr/>
                  <p:nvPr userDrawn="1"/>
                </p:nvSpPr>
                <p:spPr>
                  <a:xfrm>
                    <a:off x="8275659" y="439418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DC3D4"/>
                  </a:solidFill>
                  <a:ln w="2339" cap="flat">
                    <a:noFill/>
                    <a:prstDash val="solid"/>
                    <a:miter/>
                  </a:ln>
                </p:spPr>
                <p:txBody>
                  <a:bodyPr rtlCol="0" anchor="ctr"/>
                  <a:lstStyle/>
                  <a:p>
                    <a:endParaRPr lang="en-US" sz="2400"/>
                  </a:p>
                </p:txBody>
              </p:sp>
              <p:sp>
                <p:nvSpPr>
                  <p:cNvPr id="68" name="Freeform: Shape 67">
                    <a:extLst>
                      <a:ext uri="{FF2B5EF4-FFF2-40B4-BE49-F238E27FC236}">
                        <a16:creationId xmlns:a16="http://schemas.microsoft.com/office/drawing/2014/main" id="{9F301C91-75BE-40E6-8559-9A6D5754169C}"/>
                      </a:ext>
                    </a:extLst>
                  </p:cNvPr>
                  <p:cNvSpPr/>
                  <p:nvPr userDrawn="1"/>
                </p:nvSpPr>
                <p:spPr>
                  <a:xfrm>
                    <a:off x="8275121" y="439404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EC3D4"/>
                  </a:solidFill>
                  <a:ln w="2339" cap="flat">
                    <a:noFill/>
                    <a:prstDash val="solid"/>
                    <a:miter/>
                  </a:ln>
                </p:spPr>
                <p:txBody>
                  <a:bodyPr rtlCol="0" anchor="ctr"/>
                  <a:lstStyle/>
                  <a:p>
                    <a:endParaRPr lang="en-US" sz="2400"/>
                  </a:p>
                </p:txBody>
              </p:sp>
              <p:sp>
                <p:nvSpPr>
                  <p:cNvPr id="69" name="Freeform: Shape 68">
                    <a:extLst>
                      <a:ext uri="{FF2B5EF4-FFF2-40B4-BE49-F238E27FC236}">
                        <a16:creationId xmlns:a16="http://schemas.microsoft.com/office/drawing/2014/main" id="{DF95538C-DE1B-0243-362B-215068410555}"/>
                      </a:ext>
                    </a:extLst>
                  </p:cNvPr>
                  <p:cNvSpPr/>
                  <p:nvPr userDrawn="1"/>
                </p:nvSpPr>
                <p:spPr>
                  <a:xfrm>
                    <a:off x="8274583" y="4393923"/>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43"/>
                          <a:pt x="42097" y="21037"/>
                        </a:cubicBezTo>
                        <a:close/>
                      </a:path>
                    </a:pathLst>
                  </a:custGeom>
                  <a:solidFill>
                    <a:srgbClr val="BEC4D4"/>
                  </a:solidFill>
                  <a:ln w="2339" cap="flat">
                    <a:noFill/>
                    <a:prstDash val="solid"/>
                    <a:miter/>
                  </a:ln>
                </p:spPr>
                <p:txBody>
                  <a:bodyPr rtlCol="0" anchor="ctr"/>
                  <a:lstStyle/>
                  <a:p>
                    <a:endParaRPr lang="en-US" sz="2400"/>
                  </a:p>
                </p:txBody>
              </p:sp>
              <p:sp>
                <p:nvSpPr>
                  <p:cNvPr id="70" name="Freeform: Shape 69">
                    <a:extLst>
                      <a:ext uri="{FF2B5EF4-FFF2-40B4-BE49-F238E27FC236}">
                        <a16:creationId xmlns:a16="http://schemas.microsoft.com/office/drawing/2014/main" id="{B1189488-3C3C-68EE-A863-EF7C47CFEADC}"/>
                      </a:ext>
                    </a:extLst>
                  </p:cNvPr>
                  <p:cNvSpPr/>
                  <p:nvPr userDrawn="1"/>
                </p:nvSpPr>
                <p:spPr>
                  <a:xfrm>
                    <a:off x="8274044" y="4393782"/>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EC4D5"/>
                  </a:solidFill>
                  <a:ln w="2339" cap="flat">
                    <a:noFill/>
                    <a:prstDash val="solid"/>
                    <a:miter/>
                  </a:ln>
                </p:spPr>
                <p:txBody>
                  <a:bodyPr rtlCol="0" anchor="ctr"/>
                  <a:lstStyle/>
                  <a:p>
                    <a:endParaRPr lang="en-US" sz="2400"/>
                  </a:p>
                </p:txBody>
              </p:sp>
              <p:sp>
                <p:nvSpPr>
                  <p:cNvPr id="71" name="Freeform: Shape 70">
                    <a:extLst>
                      <a:ext uri="{FF2B5EF4-FFF2-40B4-BE49-F238E27FC236}">
                        <a16:creationId xmlns:a16="http://schemas.microsoft.com/office/drawing/2014/main" id="{0C95FD9C-5BDB-801A-51BF-ADF7D808BF91}"/>
                      </a:ext>
                    </a:extLst>
                  </p:cNvPr>
                  <p:cNvSpPr/>
                  <p:nvPr userDrawn="1"/>
                </p:nvSpPr>
                <p:spPr>
                  <a:xfrm>
                    <a:off x="8273506" y="4393642"/>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EC4D5"/>
                  </a:solidFill>
                  <a:ln w="2339" cap="flat">
                    <a:noFill/>
                    <a:prstDash val="solid"/>
                    <a:miter/>
                  </a:ln>
                </p:spPr>
                <p:txBody>
                  <a:bodyPr rtlCol="0" anchor="ctr"/>
                  <a:lstStyle/>
                  <a:p>
                    <a:endParaRPr lang="en-US" sz="2400"/>
                  </a:p>
                </p:txBody>
              </p:sp>
              <p:sp>
                <p:nvSpPr>
                  <p:cNvPr id="72" name="Freeform: Shape 71">
                    <a:extLst>
                      <a:ext uri="{FF2B5EF4-FFF2-40B4-BE49-F238E27FC236}">
                        <a16:creationId xmlns:a16="http://schemas.microsoft.com/office/drawing/2014/main" id="{6DA12769-5C14-5315-F99A-CFE2375E3938}"/>
                      </a:ext>
                    </a:extLst>
                  </p:cNvPr>
                  <p:cNvSpPr/>
                  <p:nvPr userDrawn="1"/>
                </p:nvSpPr>
                <p:spPr>
                  <a:xfrm>
                    <a:off x="8272991" y="439350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FC5D5"/>
                  </a:solidFill>
                  <a:ln w="2339" cap="flat">
                    <a:noFill/>
                    <a:prstDash val="solid"/>
                    <a:miter/>
                  </a:ln>
                </p:spPr>
                <p:txBody>
                  <a:bodyPr rtlCol="0" anchor="ctr"/>
                  <a:lstStyle/>
                  <a:p>
                    <a:endParaRPr lang="en-US" sz="2400"/>
                  </a:p>
                </p:txBody>
              </p:sp>
              <p:sp>
                <p:nvSpPr>
                  <p:cNvPr id="73" name="Freeform: Shape 72">
                    <a:extLst>
                      <a:ext uri="{FF2B5EF4-FFF2-40B4-BE49-F238E27FC236}">
                        <a16:creationId xmlns:a16="http://schemas.microsoft.com/office/drawing/2014/main" id="{F79F2643-7724-7B3F-189D-0A89084A5480}"/>
                      </a:ext>
                    </a:extLst>
                  </p:cNvPr>
                  <p:cNvSpPr/>
                  <p:nvPr userDrawn="1"/>
                </p:nvSpPr>
                <p:spPr>
                  <a:xfrm>
                    <a:off x="8272453" y="439336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FC5D5"/>
                  </a:solidFill>
                  <a:ln w="2339" cap="flat">
                    <a:noFill/>
                    <a:prstDash val="solid"/>
                    <a:miter/>
                  </a:ln>
                </p:spPr>
                <p:txBody>
                  <a:bodyPr rtlCol="0" anchor="ctr"/>
                  <a:lstStyle/>
                  <a:p>
                    <a:endParaRPr lang="en-US" sz="2400"/>
                  </a:p>
                </p:txBody>
              </p:sp>
              <p:sp>
                <p:nvSpPr>
                  <p:cNvPr id="74" name="Freeform: Shape 73">
                    <a:extLst>
                      <a:ext uri="{FF2B5EF4-FFF2-40B4-BE49-F238E27FC236}">
                        <a16:creationId xmlns:a16="http://schemas.microsoft.com/office/drawing/2014/main" id="{10B4A79F-157F-D5BF-E856-5D3945A69380}"/>
                      </a:ext>
                    </a:extLst>
                  </p:cNvPr>
                  <p:cNvSpPr/>
                  <p:nvPr userDrawn="1"/>
                </p:nvSpPr>
                <p:spPr>
                  <a:xfrm>
                    <a:off x="8271915" y="439322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FC5D5"/>
                  </a:solidFill>
                  <a:ln w="2339" cap="flat">
                    <a:noFill/>
                    <a:prstDash val="solid"/>
                    <a:miter/>
                  </a:ln>
                </p:spPr>
                <p:txBody>
                  <a:bodyPr rtlCol="0" anchor="ctr"/>
                  <a:lstStyle/>
                  <a:p>
                    <a:endParaRPr lang="en-US" sz="2400"/>
                  </a:p>
                </p:txBody>
              </p:sp>
              <p:sp>
                <p:nvSpPr>
                  <p:cNvPr id="75" name="Freeform: Shape 74">
                    <a:extLst>
                      <a:ext uri="{FF2B5EF4-FFF2-40B4-BE49-F238E27FC236}">
                        <a16:creationId xmlns:a16="http://schemas.microsoft.com/office/drawing/2014/main" id="{369F2842-08D8-7323-0660-D046BA7329AF}"/>
                      </a:ext>
                    </a:extLst>
                  </p:cNvPr>
                  <p:cNvSpPr/>
                  <p:nvPr userDrawn="1"/>
                </p:nvSpPr>
                <p:spPr>
                  <a:xfrm>
                    <a:off x="8271377" y="439308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C0C5D6"/>
                  </a:solidFill>
                  <a:ln w="2339" cap="flat">
                    <a:noFill/>
                    <a:prstDash val="solid"/>
                    <a:miter/>
                  </a:ln>
                </p:spPr>
                <p:txBody>
                  <a:bodyPr rtlCol="0" anchor="ctr"/>
                  <a:lstStyle/>
                  <a:p>
                    <a:endParaRPr lang="en-US" sz="2400"/>
                  </a:p>
                </p:txBody>
              </p:sp>
              <p:sp>
                <p:nvSpPr>
                  <p:cNvPr id="76" name="Freeform: Shape 75">
                    <a:extLst>
                      <a:ext uri="{FF2B5EF4-FFF2-40B4-BE49-F238E27FC236}">
                        <a16:creationId xmlns:a16="http://schemas.microsoft.com/office/drawing/2014/main" id="{6EF84239-22A1-1C91-B6EE-C2C45BEA916C}"/>
                      </a:ext>
                    </a:extLst>
                  </p:cNvPr>
                  <p:cNvSpPr/>
                  <p:nvPr userDrawn="1"/>
                </p:nvSpPr>
                <p:spPr>
                  <a:xfrm>
                    <a:off x="8270862" y="439294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C0C6D6"/>
                  </a:solidFill>
                  <a:ln w="2339" cap="flat">
                    <a:noFill/>
                    <a:prstDash val="solid"/>
                    <a:miter/>
                  </a:ln>
                </p:spPr>
                <p:txBody>
                  <a:bodyPr rtlCol="0" anchor="ctr"/>
                  <a:lstStyle/>
                  <a:p>
                    <a:endParaRPr lang="en-US" sz="2400"/>
                  </a:p>
                </p:txBody>
              </p:sp>
              <p:sp>
                <p:nvSpPr>
                  <p:cNvPr id="77" name="Freeform: Shape 76">
                    <a:extLst>
                      <a:ext uri="{FF2B5EF4-FFF2-40B4-BE49-F238E27FC236}">
                        <a16:creationId xmlns:a16="http://schemas.microsoft.com/office/drawing/2014/main" id="{41059B14-5D18-A81C-AA2A-B759D4BDA850}"/>
                      </a:ext>
                    </a:extLst>
                  </p:cNvPr>
                  <p:cNvSpPr/>
                  <p:nvPr userDrawn="1"/>
                </p:nvSpPr>
                <p:spPr>
                  <a:xfrm>
                    <a:off x="8270324" y="439279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C0C6D6"/>
                  </a:solidFill>
                  <a:ln w="2339" cap="flat">
                    <a:noFill/>
                    <a:prstDash val="solid"/>
                    <a:miter/>
                  </a:ln>
                </p:spPr>
                <p:txBody>
                  <a:bodyPr rtlCol="0" anchor="ctr"/>
                  <a:lstStyle/>
                  <a:p>
                    <a:endParaRPr lang="en-US" sz="2400"/>
                  </a:p>
                </p:txBody>
              </p:sp>
              <p:sp>
                <p:nvSpPr>
                  <p:cNvPr id="78" name="Freeform: Shape 77">
                    <a:extLst>
                      <a:ext uri="{FF2B5EF4-FFF2-40B4-BE49-F238E27FC236}">
                        <a16:creationId xmlns:a16="http://schemas.microsoft.com/office/drawing/2014/main" id="{D15EDBEA-A775-2F54-AEE7-E32AD11474C6}"/>
                      </a:ext>
                    </a:extLst>
                  </p:cNvPr>
                  <p:cNvSpPr/>
                  <p:nvPr userDrawn="1"/>
                </p:nvSpPr>
                <p:spPr>
                  <a:xfrm>
                    <a:off x="8269786" y="439265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C1C6D6"/>
                  </a:solidFill>
                  <a:ln w="2339" cap="flat">
                    <a:noFill/>
                    <a:prstDash val="solid"/>
                    <a:miter/>
                  </a:ln>
                </p:spPr>
                <p:txBody>
                  <a:bodyPr rtlCol="0" anchor="ctr"/>
                  <a:lstStyle/>
                  <a:p>
                    <a:endParaRPr lang="en-US" sz="2400"/>
                  </a:p>
                </p:txBody>
              </p:sp>
              <p:sp>
                <p:nvSpPr>
                  <p:cNvPr id="79" name="Freeform: Shape 78">
                    <a:extLst>
                      <a:ext uri="{FF2B5EF4-FFF2-40B4-BE49-F238E27FC236}">
                        <a16:creationId xmlns:a16="http://schemas.microsoft.com/office/drawing/2014/main" id="{F829B9D4-B293-DFE3-0172-17D88A206225}"/>
                      </a:ext>
                    </a:extLst>
                  </p:cNvPr>
                  <p:cNvSpPr/>
                  <p:nvPr userDrawn="1"/>
                </p:nvSpPr>
                <p:spPr>
                  <a:xfrm>
                    <a:off x="8269271" y="439251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C1C6D6"/>
                  </a:solidFill>
                  <a:ln w="2339" cap="flat">
                    <a:noFill/>
                    <a:prstDash val="solid"/>
                    <a:miter/>
                  </a:ln>
                </p:spPr>
                <p:txBody>
                  <a:bodyPr rtlCol="0" anchor="ctr"/>
                  <a:lstStyle/>
                  <a:p>
                    <a:endParaRPr lang="en-US" sz="2400"/>
                  </a:p>
                </p:txBody>
              </p:sp>
              <p:sp>
                <p:nvSpPr>
                  <p:cNvPr id="80" name="Freeform: Shape 79">
                    <a:extLst>
                      <a:ext uri="{FF2B5EF4-FFF2-40B4-BE49-F238E27FC236}">
                        <a16:creationId xmlns:a16="http://schemas.microsoft.com/office/drawing/2014/main" id="{6849034D-102C-BBFF-3889-EA6DF18ED95B}"/>
                      </a:ext>
                    </a:extLst>
                  </p:cNvPr>
                  <p:cNvSpPr/>
                  <p:nvPr userDrawn="1"/>
                </p:nvSpPr>
                <p:spPr>
                  <a:xfrm>
                    <a:off x="8268733" y="4392378"/>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43"/>
                          <a:pt x="42097" y="21037"/>
                        </a:cubicBezTo>
                        <a:close/>
                      </a:path>
                    </a:pathLst>
                  </a:custGeom>
                  <a:solidFill>
                    <a:srgbClr val="C1C7D7"/>
                  </a:solidFill>
                  <a:ln w="2339" cap="flat">
                    <a:noFill/>
                    <a:prstDash val="solid"/>
                    <a:miter/>
                  </a:ln>
                </p:spPr>
                <p:txBody>
                  <a:bodyPr rtlCol="0" anchor="ctr"/>
                  <a:lstStyle/>
                  <a:p>
                    <a:endParaRPr lang="en-US" sz="2400"/>
                  </a:p>
                </p:txBody>
              </p:sp>
              <p:sp>
                <p:nvSpPr>
                  <p:cNvPr id="81" name="Freeform: Shape 80">
                    <a:extLst>
                      <a:ext uri="{FF2B5EF4-FFF2-40B4-BE49-F238E27FC236}">
                        <a16:creationId xmlns:a16="http://schemas.microsoft.com/office/drawing/2014/main" id="{402FF4B4-C6DE-55A2-90B3-E17057BDE2E5}"/>
                      </a:ext>
                    </a:extLst>
                  </p:cNvPr>
                  <p:cNvSpPr/>
                  <p:nvPr userDrawn="1"/>
                </p:nvSpPr>
                <p:spPr>
                  <a:xfrm>
                    <a:off x="8268218" y="4392214"/>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C2C7D7"/>
                  </a:solidFill>
                  <a:ln w="2339" cap="flat">
                    <a:noFill/>
                    <a:prstDash val="solid"/>
                    <a:miter/>
                  </a:ln>
                </p:spPr>
                <p:txBody>
                  <a:bodyPr rtlCol="0" anchor="ctr"/>
                  <a:lstStyle/>
                  <a:p>
                    <a:endParaRPr lang="en-US" sz="2400"/>
                  </a:p>
                </p:txBody>
              </p:sp>
              <p:sp>
                <p:nvSpPr>
                  <p:cNvPr id="82" name="Freeform: Shape 81">
                    <a:extLst>
                      <a:ext uri="{FF2B5EF4-FFF2-40B4-BE49-F238E27FC236}">
                        <a16:creationId xmlns:a16="http://schemas.microsoft.com/office/drawing/2014/main" id="{3B50DCAD-063F-24C7-8566-5F9FE4C5DFDF}"/>
                      </a:ext>
                    </a:extLst>
                  </p:cNvPr>
                  <p:cNvSpPr/>
                  <p:nvPr userDrawn="1"/>
                </p:nvSpPr>
                <p:spPr>
                  <a:xfrm>
                    <a:off x="8267680" y="4392074"/>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C2C7D7"/>
                  </a:solidFill>
                  <a:ln w="2339" cap="flat">
                    <a:noFill/>
                    <a:prstDash val="solid"/>
                    <a:miter/>
                  </a:ln>
                </p:spPr>
                <p:txBody>
                  <a:bodyPr rtlCol="0" anchor="ctr"/>
                  <a:lstStyle/>
                  <a:p>
                    <a:endParaRPr lang="en-US" sz="2400"/>
                  </a:p>
                </p:txBody>
              </p:sp>
              <p:sp>
                <p:nvSpPr>
                  <p:cNvPr id="83" name="Freeform: Shape 82">
                    <a:extLst>
                      <a:ext uri="{FF2B5EF4-FFF2-40B4-BE49-F238E27FC236}">
                        <a16:creationId xmlns:a16="http://schemas.microsoft.com/office/drawing/2014/main" id="{455D7766-8F28-03FF-2A5A-7FEDE7918F43}"/>
                      </a:ext>
                    </a:extLst>
                  </p:cNvPr>
                  <p:cNvSpPr/>
                  <p:nvPr userDrawn="1"/>
                </p:nvSpPr>
                <p:spPr>
                  <a:xfrm>
                    <a:off x="8267165" y="439191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C2C8D7"/>
                  </a:solidFill>
                  <a:ln w="2339" cap="flat">
                    <a:noFill/>
                    <a:prstDash val="solid"/>
                    <a:miter/>
                  </a:ln>
                </p:spPr>
                <p:txBody>
                  <a:bodyPr rtlCol="0" anchor="ctr"/>
                  <a:lstStyle/>
                  <a:p>
                    <a:endParaRPr lang="en-US" sz="2400"/>
                  </a:p>
                </p:txBody>
              </p:sp>
              <p:sp>
                <p:nvSpPr>
                  <p:cNvPr id="84" name="Freeform: Shape 83">
                    <a:extLst>
                      <a:ext uri="{FF2B5EF4-FFF2-40B4-BE49-F238E27FC236}">
                        <a16:creationId xmlns:a16="http://schemas.microsoft.com/office/drawing/2014/main" id="{7D1E659B-C3FC-FEA4-C003-FF201157437E}"/>
                      </a:ext>
                    </a:extLst>
                  </p:cNvPr>
                  <p:cNvSpPr/>
                  <p:nvPr userDrawn="1"/>
                </p:nvSpPr>
                <p:spPr>
                  <a:xfrm>
                    <a:off x="8266650" y="439177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C2C8D7"/>
                  </a:solidFill>
                  <a:ln w="2339" cap="flat">
                    <a:noFill/>
                    <a:prstDash val="solid"/>
                    <a:miter/>
                  </a:ln>
                </p:spPr>
                <p:txBody>
                  <a:bodyPr rtlCol="0" anchor="ctr"/>
                  <a:lstStyle/>
                  <a:p>
                    <a:endParaRPr lang="en-US" sz="2400"/>
                  </a:p>
                </p:txBody>
              </p:sp>
              <p:sp>
                <p:nvSpPr>
                  <p:cNvPr id="85" name="Freeform: Shape 84">
                    <a:extLst>
                      <a:ext uri="{FF2B5EF4-FFF2-40B4-BE49-F238E27FC236}">
                        <a16:creationId xmlns:a16="http://schemas.microsoft.com/office/drawing/2014/main" id="{81B30F5E-0A9D-E430-34D7-9E8119F931B5}"/>
                      </a:ext>
                    </a:extLst>
                  </p:cNvPr>
                  <p:cNvSpPr/>
                  <p:nvPr userDrawn="1"/>
                </p:nvSpPr>
                <p:spPr>
                  <a:xfrm>
                    <a:off x="8266112" y="439162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43"/>
                          <a:pt x="42097" y="21037"/>
                        </a:cubicBezTo>
                        <a:close/>
                      </a:path>
                    </a:pathLst>
                  </a:custGeom>
                  <a:solidFill>
                    <a:srgbClr val="C3C8D8"/>
                  </a:solidFill>
                  <a:ln w="2339" cap="flat">
                    <a:noFill/>
                    <a:prstDash val="solid"/>
                    <a:miter/>
                  </a:ln>
                </p:spPr>
                <p:txBody>
                  <a:bodyPr rtlCol="0" anchor="ctr"/>
                  <a:lstStyle/>
                  <a:p>
                    <a:endParaRPr lang="en-US" sz="2400"/>
                  </a:p>
                </p:txBody>
              </p:sp>
              <p:sp>
                <p:nvSpPr>
                  <p:cNvPr id="86" name="Freeform: Shape 85">
                    <a:extLst>
                      <a:ext uri="{FF2B5EF4-FFF2-40B4-BE49-F238E27FC236}">
                        <a16:creationId xmlns:a16="http://schemas.microsoft.com/office/drawing/2014/main" id="{2B2B6BA5-6C57-DBCA-34A6-2153CE2C659A}"/>
                      </a:ext>
                    </a:extLst>
                  </p:cNvPr>
                  <p:cNvSpPr/>
                  <p:nvPr userDrawn="1"/>
                </p:nvSpPr>
                <p:spPr>
                  <a:xfrm>
                    <a:off x="8265597" y="4391466"/>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C3C8D8"/>
                  </a:solidFill>
                  <a:ln w="2339" cap="flat">
                    <a:noFill/>
                    <a:prstDash val="solid"/>
                    <a:miter/>
                  </a:ln>
                </p:spPr>
                <p:txBody>
                  <a:bodyPr rtlCol="0" anchor="ctr"/>
                  <a:lstStyle/>
                  <a:p>
                    <a:endParaRPr lang="en-US" sz="2400"/>
                  </a:p>
                </p:txBody>
              </p:sp>
              <p:sp>
                <p:nvSpPr>
                  <p:cNvPr id="87" name="Freeform: Shape 86">
                    <a:extLst>
                      <a:ext uri="{FF2B5EF4-FFF2-40B4-BE49-F238E27FC236}">
                        <a16:creationId xmlns:a16="http://schemas.microsoft.com/office/drawing/2014/main" id="{EE056D1E-BBC7-CE0A-FBDD-D1F8E34BD9F2}"/>
                      </a:ext>
                    </a:extLst>
                  </p:cNvPr>
                  <p:cNvSpPr/>
                  <p:nvPr userDrawn="1"/>
                </p:nvSpPr>
                <p:spPr>
                  <a:xfrm>
                    <a:off x="8265082" y="4391302"/>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C3C9D8"/>
                  </a:solidFill>
                  <a:ln w="2339" cap="flat">
                    <a:noFill/>
                    <a:prstDash val="solid"/>
                    <a:miter/>
                  </a:ln>
                </p:spPr>
                <p:txBody>
                  <a:bodyPr rtlCol="0" anchor="ctr"/>
                  <a:lstStyle/>
                  <a:p>
                    <a:endParaRPr lang="en-US" sz="2400"/>
                  </a:p>
                </p:txBody>
              </p:sp>
              <p:sp>
                <p:nvSpPr>
                  <p:cNvPr id="88" name="Freeform: Shape 87">
                    <a:extLst>
                      <a:ext uri="{FF2B5EF4-FFF2-40B4-BE49-F238E27FC236}">
                        <a16:creationId xmlns:a16="http://schemas.microsoft.com/office/drawing/2014/main" id="{188700DB-EDC7-B2BB-EA0B-6AC2790ECA25}"/>
                      </a:ext>
                    </a:extLst>
                  </p:cNvPr>
                  <p:cNvSpPr/>
                  <p:nvPr userDrawn="1"/>
                </p:nvSpPr>
                <p:spPr>
                  <a:xfrm>
                    <a:off x="8264567" y="439116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C4C9D8"/>
                  </a:solidFill>
                  <a:ln w="2339" cap="flat">
                    <a:noFill/>
                    <a:prstDash val="solid"/>
                    <a:miter/>
                  </a:ln>
                </p:spPr>
                <p:txBody>
                  <a:bodyPr rtlCol="0" anchor="ctr"/>
                  <a:lstStyle/>
                  <a:p>
                    <a:endParaRPr lang="en-US" sz="2400"/>
                  </a:p>
                </p:txBody>
              </p:sp>
              <p:sp>
                <p:nvSpPr>
                  <p:cNvPr id="89" name="Freeform: Shape 88">
                    <a:extLst>
                      <a:ext uri="{FF2B5EF4-FFF2-40B4-BE49-F238E27FC236}">
                        <a16:creationId xmlns:a16="http://schemas.microsoft.com/office/drawing/2014/main" id="{9F1F3101-56C6-C2B3-D599-1608AE5BC983}"/>
                      </a:ext>
                    </a:extLst>
                  </p:cNvPr>
                  <p:cNvSpPr/>
                  <p:nvPr userDrawn="1"/>
                </p:nvSpPr>
                <p:spPr>
                  <a:xfrm>
                    <a:off x="8264052" y="4390998"/>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C4C9D8"/>
                  </a:solidFill>
                  <a:ln w="2339" cap="flat">
                    <a:noFill/>
                    <a:prstDash val="solid"/>
                    <a:miter/>
                  </a:ln>
                </p:spPr>
                <p:txBody>
                  <a:bodyPr rtlCol="0" anchor="ctr"/>
                  <a:lstStyle/>
                  <a:p>
                    <a:endParaRPr lang="en-US" sz="2400"/>
                  </a:p>
                </p:txBody>
              </p:sp>
              <p:sp>
                <p:nvSpPr>
                  <p:cNvPr id="90" name="Freeform: Shape 89">
                    <a:extLst>
                      <a:ext uri="{FF2B5EF4-FFF2-40B4-BE49-F238E27FC236}">
                        <a16:creationId xmlns:a16="http://schemas.microsoft.com/office/drawing/2014/main" id="{9636668D-E9CF-9742-27C3-501716595CB2}"/>
                      </a:ext>
                    </a:extLst>
                  </p:cNvPr>
                  <p:cNvSpPr/>
                  <p:nvPr userDrawn="1"/>
                </p:nvSpPr>
                <p:spPr>
                  <a:xfrm>
                    <a:off x="8263538" y="4390834"/>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C4CAD9"/>
                  </a:solidFill>
                  <a:ln w="2339" cap="flat">
                    <a:noFill/>
                    <a:prstDash val="solid"/>
                    <a:miter/>
                  </a:ln>
                </p:spPr>
                <p:txBody>
                  <a:bodyPr rtlCol="0" anchor="ctr"/>
                  <a:lstStyle/>
                  <a:p>
                    <a:endParaRPr lang="en-US" sz="2400"/>
                  </a:p>
                </p:txBody>
              </p:sp>
              <p:sp>
                <p:nvSpPr>
                  <p:cNvPr id="91" name="Freeform: Shape 90">
                    <a:extLst>
                      <a:ext uri="{FF2B5EF4-FFF2-40B4-BE49-F238E27FC236}">
                        <a16:creationId xmlns:a16="http://schemas.microsoft.com/office/drawing/2014/main" id="{8C45112E-9A19-5812-1D44-AF758C5C8791}"/>
                      </a:ext>
                    </a:extLst>
                  </p:cNvPr>
                  <p:cNvSpPr/>
                  <p:nvPr userDrawn="1"/>
                </p:nvSpPr>
                <p:spPr>
                  <a:xfrm>
                    <a:off x="8263023" y="4390693"/>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43"/>
                          <a:pt x="42097" y="21037"/>
                        </a:cubicBezTo>
                        <a:close/>
                      </a:path>
                    </a:pathLst>
                  </a:custGeom>
                  <a:solidFill>
                    <a:srgbClr val="C5CAD9"/>
                  </a:solidFill>
                  <a:ln w="2339" cap="flat">
                    <a:noFill/>
                    <a:prstDash val="solid"/>
                    <a:miter/>
                  </a:ln>
                </p:spPr>
                <p:txBody>
                  <a:bodyPr rtlCol="0" anchor="ctr"/>
                  <a:lstStyle/>
                  <a:p>
                    <a:endParaRPr lang="en-US" sz="2400"/>
                  </a:p>
                </p:txBody>
              </p:sp>
              <p:sp>
                <p:nvSpPr>
                  <p:cNvPr id="92" name="Freeform: Shape 91">
                    <a:extLst>
                      <a:ext uri="{FF2B5EF4-FFF2-40B4-BE49-F238E27FC236}">
                        <a16:creationId xmlns:a16="http://schemas.microsoft.com/office/drawing/2014/main" id="{553BAB46-1C04-5E6E-0858-55EC07464F02}"/>
                      </a:ext>
                    </a:extLst>
                  </p:cNvPr>
                  <p:cNvSpPr/>
                  <p:nvPr userDrawn="1"/>
                </p:nvSpPr>
                <p:spPr>
                  <a:xfrm>
                    <a:off x="8262508" y="439053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C5CAD9"/>
                  </a:solidFill>
                  <a:ln w="2339" cap="flat">
                    <a:noFill/>
                    <a:prstDash val="solid"/>
                    <a:miter/>
                  </a:ln>
                </p:spPr>
                <p:txBody>
                  <a:bodyPr rtlCol="0" anchor="ctr"/>
                  <a:lstStyle/>
                  <a:p>
                    <a:endParaRPr lang="en-US" sz="2400"/>
                  </a:p>
                </p:txBody>
              </p:sp>
              <p:sp>
                <p:nvSpPr>
                  <p:cNvPr id="93" name="Freeform: Shape 92">
                    <a:extLst>
                      <a:ext uri="{FF2B5EF4-FFF2-40B4-BE49-F238E27FC236}">
                        <a16:creationId xmlns:a16="http://schemas.microsoft.com/office/drawing/2014/main" id="{66B1D75C-BEFC-F70C-7378-D8850C92DC5D}"/>
                      </a:ext>
                    </a:extLst>
                  </p:cNvPr>
                  <p:cNvSpPr/>
                  <p:nvPr userDrawn="1"/>
                </p:nvSpPr>
                <p:spPr>
                  <a:xfrm>
                    <a:off x="8261993" y="439036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5CAD9"/>
                  </a:solidFill>
                  <a:ln w="2339" cap="flat">
                    <a:noFill/>
                    <a:prstDash val="solid"/>
                    <a:miter/>
                  </a:ln>
                </p:spPr>
                <p:txBody>
                  <a:bodyPr rtlCol="0" anchor="ctr"/>
                  <a:lstStyle/>
                  <a:p>
                    <a:endParaRPr lang="en-US" sz="2400"/>
                  </a:p>
                </p:txBody>
              </p:sp>
              <p:sp>
                <p:nvSpPr>
                  <p:cNvPr id="94" name="Freeform: Shape 93">
                    <a:extLst>
                      <a:ext uri="{FF2B5EF4-FFF2-40B4-BE49-F238E27FC236}">
                        <a16:creationId xmlns:a16="http://schemas.microsoft.com/office/drawing/2014/main" id="{3172E871-A650-A111-0D7A-F9E5B51317FD}"/>
                      </a:ext>
                    </a:extLst>
                  </p:cNvPr>
                  <p:cNvSpPr/>
                  <p:nvPr userDrawn="1"/>
                </p:nvSpPr>
                <p:spPr>
                  <a:xfrm>
                    <a:off x="8261478" y="439020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5CBD9"/>
                  </a:solidFill>
                  <a:ln w="2339" cap="flat">
                    <a:noFill/>
                    <a:prstDash val="solid"/>
                    <a:miter/>
                  </a:ln>
                </p:spPr>
                <p:txBody>
                  <a:bodyPr rtlCol="0" anchor="ctr"/>
                  <a:lstStyle/>
                  <a:p>
                    <a:endParaRPr lang="en-US" sz="2400"/>
                  </a:p>
                </p:txBody>
              </p:sp>
              <p:sp>
                <p:nvSpPr>
                  <p:cNvPr id="95" name="Freeform: Shape 94">
                    <a:extLst>
                      <a:ext uri="{FF2B5EF4-FFF2-40B4-BE49-F238E27FC236}">
                        <a16:creationId xmlns:a16="http://schemas.microsoft.com/office/drawing/2014/main" id="{5C7AF20C-E447-F17C-C73F-85B65C31A13F}"/>
                      </a:ext>
                    </a:extLst>
                  </p:cNvPr>
                  <p:cNvSpPr/>
                  <p:nvPr userDrawn="1"/>
                </p:nvSpPr>
                <p:spPr>
                  <a:xfrm>
                    <a:off x="8260964" y="439003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C6CBDA"/>
                  </a:solidFill>
                  <a:ln w="2339" cap="flat">
                    <a:noFill/>
                    <a:prstDash val="solid"/>
                    <a:miter/>
                  </a:ln>
                </p:spPr>
                <p:txBody>
                  <a:bodyPr rtlCol="0" anchor="ctr"/>
                  <a:lstStyle/>
                  <a:p>
                    <a:endParaRPr lang="en-US" sz="2400"/>
                  </a:p>
                </p:txBody>
              </p:sp>
              <p:sp>
                <p:nvSpPr>
                  <p:cNvPr id="96" name="Freeform: Shape 95">
                    <a:extLst>
                      <a:ext uri="{FF2B5EF4-FFF2-40B4-BE49-F238E27FC236}">
                        <a16:creationId xmlns:a16="http://schemas.microsoft.com/office/drawing/2014/main" id="{7E1495C9-DB5B-061E-868E-0FE1CEC3C89E}"/>
                      </a:ext>
                    </a:extLst>
                  </p:cNvPr>
                  <p:cNvSpPr/>
                  <p:nvPr userDrawn="1"/>
                </p:nvSpPr>
                <p:spPr>
                  <a:xfrm>
                    <a:off x="8260472" y="438987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6CBDA"/>
                  </a:solidFill>
                  <a:ln w="2339" cap="flat">
                    <a:noFill/>
                    <a:prstDash val="solid"/>
                    <a:miter/>
                  </a:ln>
                </p:spPr>
                <p:txBody>
                  <a:bodyPr rtlCol="0" anchor="ctr"/>
                  <a:lstStyle/>
                  <a:p>
                    <a:endParaRPr lang="en-US" sz="2400"/>
                  </a:p>
                </p:txBody>
              </p:sp>
              <p:sp>
                <p:nvSpPr>
                  <p:cNvPr id="97" name="Freeform: Shape 96">
                    <a:extLst>
                      <a:ext uri="{FF2B5EF4-FFF2-40B4-BE49-F238E27FC236}">
                        <a16:creationId xmlns:a16="http://schemas.microsoft.com/office/drawing/2014/main" id="{9DBB5C34-6BDF-EDB5-703F-5EA3B3529C09}"/>
                      </a:ext>
                    </a:extLst>
                  </p:cNvPr>
                  <p:cNvSpPr/>
                  <p:nvPr userDrawn="1"/>
                </p:nvSpPr>
                <p:spPr>
                  <a:xfrm>
                    <a:off x="8259957" y="438971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6CBDA"/>
                  </a:solidFill>
                  <a:ln w="2339" cap="flat">
                    <a:noFill/>
                    <a:prstDash val="solid"/>
                    <a:miter/>
                  </a:ln>
                </p:spPr>
                <p:txBody>
                  <a:bodyPr rtlCol="0" anchor="ctr"/>
                  <a:lstStyle/>
                  <a:p>
                    <a:endParaRPr lang="en-US" sz="2400"/>
                  </a:p>
                </p:txBody>
              </p:sp>
              <p:sp>
                <p:nvSpPr>
                  <p:cNvPr id="98" name="Freeform: Shape 97">
                    <a:extLst>
                      <a:ext uri="{FF2B5EF4-FFF2-40B4-BE49-F238E27FC236}">
                        <a16:creationId xmlns:a16="http://schemas.microsoft.com/office/drawing/2014/main" id="{E06ED34C-9879-A40F-EF6A-577C9281E385}"/>
                      </a:ext>
                    </a:extLst>
                  </p:cNvPr>
                  <p:cNvSpPr/>
                  <p:nvPr userDrawn="1"/>
                </p:nvSpPr>
                <p:spPr>
                  <a:xfrm>
                    <a:off x="8259443" y="438954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C7CCDA"/>
                  </a:solidFill>
                  <a:ln w="2339" cap="flat">
                    <a:noFill/>
                    <a:prstDash val="solid"/>
                    <a:miter/>
                  </a:ln>
                </p:spPr>
                <p:txBody>
                  <a:bodyPr rtlCol="0" anchor="ctr"/>
                  <a:lstStyle/>
                  <a:p>
                    <a:endParaRPr lang="en-US" sz="2400"/>
                  </a:p>
                </p:txBody>
              </p:sp>
              <p:sp>
                <p:nvSpPr>
                  <p:cNvPr id="99" name="Freeform: Shape 98">
                    <a:extLst>
                      <a:ext uri="{FF2B5EF4-FFF2-40B4-BE49-F238E27FC236}">
                        <a16:creationId xmlns:a16="http://schemas.microsoft.com/office/drawing/2014/main" id="{E3D1304D-726C-F70F-7EA2-6EBF7429C477}"/>
                      </a:ext>
                    </a:extLst>
                  </p:cNvPr>
                  <p:cNvSpPr/>
                  <p:nvPr userDrawn="1"/>
                </p:nvSpPr>
                <p:spPr>
                  <a:xfrm>
                    <a:off x="8258951" y="438938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7CCDA"/>
                  </a:solidFill>
                  <a:ln w="2339" cap="flat">
                    <a:noFill/>
                    <a:prstDash val="solid"/>
                    <a:miter/>
                  </a:ln>
                </p:spPr>
                <p:txBody>
                  <a:bodyPr rtlCol="0" anchor="ctr"/>
                  <a:lstStyle/>
                  <a:p>
                    <a:endParaRPr lang="en-US" sz="2400"/>
                  </a:p>
                </p:txBody>
              </p:sp>
              <p:sp>
                <p:nvSpPr>
                  <p:cNvPr id="100" name="Freeform: Shape 99">
                    <a:extLst>
                      <a:ext uri="{FF2B5EF4-FFF2-40B4-BE49-F238E27FC236}">
                        <a16:creationId xmlns:a16="http://schemas.microsoft.com/office/drawing/2014/main" id="{FF54C1F2-633F-9569-BDFE-3F9BF1F95A6A}"/>
                      </a:ext>
                    </a:extLst>
                  </p:cNvPr>
                  <p:cNvSpPr/>
                  <p:nvPr userDrawn="1"/>
                </p:nvSpPr>
                <p:spPr>
                  <a:xfrm>
                    <a:off x="8258436" y="438921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C7CCDB"/>
                  </a:solidFill>
                  <a:ln w="2339" cap="flat">
                    <a:noFill/>
                    <a:prstDash val="solid"/>
                    <a:miter/>
                  </a:ln>
                </p:spPr>
                <p:txBody>
                  <a:bodyPr rtlCol="0" anchor="ctr"/>
                  <a:lstStyle/>
                  <a:p>
                    <a:endParaRPr lang="en-US" sz="2400"/>
                  </a:p>
                </p:txBody>
              </p:sp>
              <p:sp>
                <p:nvSpPr>
                  <p:cNvPr id="101" name="Freeform: Shape 100">
                    <a:extLst>
                      <a:ext uri="{FF2B5EF4-FFF2-40B4-BE49-F238E27FC236}">
                        <a16:creationId xmlns:a16="http://schemas.microsoft.com/office/drawing/2014/main" id="{89FF5A25-9475-E936-0401-4598B6F2ED60}"/>
                      </a:ext>
                    </a:extLst>
                  </p:cNvPr>
                  <p:cNvSpPr/>
                  <p:nvPr userDrawn="1"/>
                </p:nvSpPr>
                <p:spPr>
                  <a:xfrm>
                    <a:off x="8257945" y="438903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8CDDB"/>
                  </a:solidFill>
                  <a:ln w="2339" cap="flat">
                    <a:noFill/>
                    <a:prstDash val="solid"/>
                    <a:miter/>
                  </a:ln>
                </p:spPr>
                <p:txBody>
                  <a:bodyPr rtlCol="0" anchor="ctr"/>
                  <a:lstStyle/>
                  <a:p>
                    <a:endParaRPr lang="en-US" sz="2400"/>
                  </a:p>
                </p:txBody>
              </p:sp>
              <p:sp>
                <p:nvSpPr>
                  <p:cNvPr id="102" name="Freeform: Shape 101">
                    <a:extLst>
                      <a:ext uri="{FF2B5EF4-FFF2-40B4-BE49-F238E27FC236}">
                        <a16:creationId xmlns:a16="http://schemas.microsoft.com/office/drawing/2014/main" id="{534156AE-9CC4-A0BB-29E6-FF8F7EF8438B}"/>
                      </a:ext>
                    </a:extLst>
                  </p:cNvPr>
                  <p:cNvSpPr/>
                  <p:nvPr userDrawn="1"/>
                </p:nvSpPr>
                <p:spPr>
                  <a:xfrm>
                    <a:off x="8257430" y="438886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C8CDDB"/>
                  </a:solidFill>
                  <a:ln w="2339" cap="flat">
                    <a:noFill/>
                    <a:prstDash val="solid"/>
                    <a:miter/>
                  </a:ln>
                </p:spPr>
                <p:txBody>
                  <a:bodyPr rtlCol="0" anchor="ctr"/>
                  <a:lstStyle/>
                  <a:p>
                    <a:endParaRPr lang="en-US" sz="2400"/>
                  </a:p>
                </p:txBody>
              </p:sp>
              <p:sp>
                <p:nvSpPr>
                  <p:cNvPr id="103" name="Freeform: Shape 102">
                    <a:extLst>
                      <a:ext uri="{FF2B5EF4-FFF2-40B4-BE49-F238E27FC236}">
                        <a16:creationId xmlns:a16="http://schemas.microsoft.com/office/drawing/2014/main" id="{B591BB52-0EB7-AEA1-3CB2-CA6EF608CF63}"/>
                      </a:ext>
                    </a:extLst>
                  </p:cNvPr>
                  <p:cNvSpPr/>
                  <p:nvPr userDrawn="1"/>
                </p:nvSpPr>
                <p:spPr>
                  <a:xfrm>
                    <a:off x="8256939" y="438870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8CDDB"/>
                  </a:solidFill>
                  <a:ln w="2339" cap="flat">
                    <a:noFill/>
                    <a:prstDash val="solid"/>
                    <a:miter/>
                  </a:ln>
                </p:spPr>
                <p:txBody>
                  <a:bodyPr rtlCol="0" anchor="ctr"/>
                  <a:lstStyle/>
                  <a:p>
                    <a:endParaRPr lang="en-US" sz="2400"/>
                  </a:p>
                </p:txBody>
              </p:sp>
              <p:sp>
                <p:nvSpPr>
                  <p:cNvPr id="104" name="Freeform: Shape 103">
                    <a:extLst>
                      <a:ext uri="{FF2B5EF4-FFF2-40B4-BE49-F238E27FC236}">
                        <a16:creationId xmlns:a16="http://schemas.microsoft.com/office/drawing/2014/main" id="{8F15B7D0-4202-E5A9-D6D1-84C26373E4C3}"/>
                      </a:ext>
                    </a:extLst>
                  </p:cNvPr>
                  <p:cNvSpPr/>
                  <p:nvPr userDrawn="1"/>
                </p:nvSpPr>
                <p:spPr>
                  <a:xfrm>
                    <a:off x="8256447" y="438851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9CDDB"/>
                  </a:solidFill>
                  <a:ln w="2339" cap="flat">
                    <a:noFill/>
                    <a:prstDash val="solid"/>
                    <a:miter/>
                  </a:ln>
                </p:spPr>
                <p:txBody>
                  <a:bodyPr rtlCol="0" anchor="ctr"/>
                  <a:lstStyle/>
                  <a:p>
                    <a:endParaRPr lang="en-US" sz="2400"/>
                  </a:p>
                </p:txBody>
              </p:sp>
              <p:sp>
                <p:nvSpPr>
                  <p:cNvPr id="105" name="Freeform: Shape 104">
                    <a:extLst>
                      <a:ext uri="{FF2B5EF4-FFF2-40B4-BE49-F238E27FC236}">
                        <a16:creationId xmlns:a16="http://schemas.microsoft.com/office/drawing/2014/main" id="{B1C4A633-80F2-AD5D-E202-EE36B7FB4E3E}"/>
                      </a:ext>
                    </a:extLst>
                  </p:cNvPr>
                  <p:cNvSpPr/>
                  <p:nvPr userDrawn="1"/>
                </p:nvSpPr>
                <p:spPr>
                  <a:xfrm>
                    <a:off x="8255956" y="438835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9CEDC"/>
                  </a:solidFill>
                  <a:ln w="2339" cap="flat">
                    <a:noFill/>
                    <a:prstDash val="solid"/>
                    <a:miter/>
                  </a:ln>
                </p:spPr>
                <p:txBody>
                  <a:bodyPr rtlCol="0" anchor="ctr"/>
                  <a:lstStyle/>
                  <a:p>
                    <a:endParaRPr lang="en-US" sz="2400"/>
                  </a:p>
                </p:txBody>
              </p:sp>
              <p:sp>
                <p:nvSpPr>
                  <p:cNvPr id="106" name="Freeform: Shape 105">
                    <a:extLst>
                      <a:ext uri="{FF2B5EF4-FFF2-40B4-BE49-F238E27FC236}">
                        <a16:creationId xmlns:a16="http://schemas.microsoft.com/office/drawing/2014/main" id="{4DC88251-B9B4-EFFD-0EBB-CB09296CECBC}"/>
                      </a:ext>
                    </a:extLst>
                  </p:cNvPr>
                  <p:cNvSpPr/>
                  <p:nvPr userDrawn="1"/>
                </p:nvSpPr>
                <p:spPr>
                  <a:xfrm>
                    <a:off x="8255465" y="438816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9CEDC"/>
                  </a:solidFill>
                  <a:ln w="2339" cap="flat">
                    <a:noFill/>
                    <a:prstDash val="solid"/>
                    <a:miter/>
                  </a:ln>
                </p:spPr>
                <p:txBody>
                  <a:bodyPr rtlCol="0" anchor="ctr"/>
                  <a:lstStyle/>
                  <a:p>
                    <a:endParaRPr lang="en-US" sz="2400"/>
                  </a:p>
                </p:txBody>
              </p:sp>
              <p:sp>
                <p:nvSpPr>
                  <p:cNvPr id="107" name="Freeform: Shape 106">
                    <a:extLst>
                      <a:ext uri="{FF2B5EF4-FFF2-40B4-BE49-F238E27FC236}">
                        <a16:creationId xmlns:a16="http://schemas.microsoft.com/office/drawing/2014/main" id="{7DD8E78E-526B-E91C-6381-24D579B3807F}"/>
                      </a:ext>
                    </a:extLst>
                  </p:cNvPr>
                  <p:cNvSpPr/>
                  <p:nvPr userDrawn="1"/>
                </p:nvSpPr>
                <p:spPr>
                  <a:xfrm>
                    <a:off x="8254950" y="438800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C9CEDC"/>
                  </a:solidFill>
                  <a:ln w="2339" cap="flat">
                    <a:noFill/>
                    <a:prstDash val="solid"/>
                    <a:miter/>
                  </a:ln>
                </p:spPr>
                <p:txBody>
                  <a:bodyPr rtlCol="0" anchor="ctr"/>
                  <a:lstStyle/>
                  <a:p>
                    <a:endParaRPr lang="en-US" sz="2400"/>
                  </a:p>
                </p:txBody>
              </p:sp>
              <p:sp>
                <p:nvSpPr>
                  <p:cNvPr id="108" name="Freeform: Shape 107">
                    <a:extLst>
                      <a:ext uri="{FF2B5EF4-FFF2-40B4-BE49-F238E27FC236}">
                        <a16:creationId xmlns:a16="http://schemas.microsoft.com/office/drawing/2014/main" id="{ADA26229-E89E-6513-A8E8-0726D80E8FB3}"/>
                      </a:ext>
                    </a:extLst>
                  </p:cNvPr>
                  <p:cNvSpPr/>
                  <p:nvPr userDrawn="1"/>
                </p:nvSpPr>
                <p:spPr>
                  <a:xfrm>
                    <a:off x="8254458" y="438781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CACFDC"/>
                  </a:solidFill>
                  <a:ln w="2339" cap="flat">
                    <a:noFill/>
                    <a:prstDash val="solid"/>
                    <a:miter/>
                  </a:ln>
                </p:spPr>
                <p:txBody>
                  <a:bodyPr rtlCol="0" anchor="ctr"/>
                  <a:lstStyle/>
                  <a:p>
                    <a:endParaRPr lang="en-US" sz="2400"/>
                  </a:p>
                </p:txBody>
              </p:sp>
              <p:sp>
                <p:nvSpPr>
                  <p:cNvPr id="109" name="Freeform: Shape 108">
                    <a:extLst>
                      <a:ext uri="{FF2B5EF4-FFF2-40B4-BE49-F238E27FC236}">
                        <a16:creationId xmlns:a16="http://schemas.microsoft.com/office/drawing/2014/main" id="{E19F32E2-F0A4-CF5B-A6AD-6AFC967A98E7}"/>
                      </a:ext>
                    </a:extLst>
                  </p:cNvPr>
                  <p:cNvSpPr/>
                  <p:nvPr userDrawn="1"/>
                </p:nvSpPr>
                <p:spPr>
                  <a:xfrm>
                    <a:off x="8253967" y="438765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CACFDC"/>
                  </a:solidFill>
                  <a:ln w="2339" cap="flat">
                    <a:noFill/>
                    <a:prstDash val="solid"/>
                    <a:miter/>
                  </a:ln>
                </p:spPr>
                <p:txBody>
                  <a:bodyPr rtlCol="0" anchor="ctr"/>
                  <a:lstStyle/>
                  <a:p>
                    <a:endParaRPr lang="en-US" sz="2400"/>
                  </a:p>
                </p:txBody>
              </p:sp>
              <p:sp>
                <p:nvSpPr>
                  <p:cNvPr id="110" name="Freeform: Shape 109">
                    <a:extLst>
                      <a:ext uri="{FF2B5EF4-FFF2-40B4-BE49-F238E27FC236}">
                        <a16:creationId xmlns:a16="http://schemas.microsoft.com/office/drawing/2014/main" id="{52FE1E2C-68AC-657F-5E67-326E4C9C064E}"/>
                      </a:ext>
                    </a:extLst>
                  </p:cNvPr>
                  <p:cNvSpPr/>
                  <p:nvPr userDrawn="1"/>
                </p:nvSpPr>
                <p:spPr>
                  <a:xfrm>
                    <a:off x="8253499" y="438746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ACFDD"/>
                  </a:solidFill>
                  <a:ln w="2339" cap="flat">
                    <a:noFill/>
                    <a:prstDash val="solid"/>
                    <a:miter/>
                  </a:ln>
                </p:spPr>
                <p:txBody>
                  <a:bodyPr rtlCol="0" anchor="ctr"/>
                  <a:lstStyle/>
                  <a:p>
                    <a:endParaRPr lang="en-US" sz="2400"/>
                  </a:p>
                </p:txBody>
              </p:sp>
              <p:sp>
                <p:nvSpPr>
                  <p:cNvPr id="111" name="Freeform: Shape 110">
                    <a:extLst>
                      <a:ext uri="{FF2B5EF4-FFF2-40B4-BE49-F238E27FC236}">
                        <a16:creationId xmlns:a16="http://schemas.microsoft.com/office/drawing/2014/main" id="{C9C3E0E9-1AA4-5F17-75AE-D7864AFC73F2}"/>
                      </a:ext>
                    </a:extLst>
                  </p:cNvPr>
                  <p:cNvSpPr/>
                  <p:nvPr userDrawn="1"/>
                </p:nvSpPr>
                <p:spPr>
                  <a:xfrm>
                    <a:off x="8253008" y="438730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CBCFDD"/>
                  </a:solidFill>
                  <a:ln w="2339" cap="flat">
                    <a:noFill/>
                    <a:prstDash val="solid"/>
                    <a:miter/>
                  </a:ln>
                </p:spPr>
                <p:txBody>
                  <a:bodyPr rtlCol="0" anchor="ctr"/>
                  <a:lstStyle/>
                  <a:p>
                    <a:endParaRPr lang="en-US" sz="2400"/>
                  </a:p>
                </p:txBody>
              </p:sp>
              <p:sp>
                <p:nvSpPr>
                  <p:cNvPr id="112" name="Freeform: Shape 111">
                    <a:extLst>
                      <a:ext uri="{FF2B5EF4-FFF2-40B4-BE49-F238E27FC236}">
                        <a16:creationId xmlns:a16="http://schemas.microsoft.com/office/drawing/2014/main" id="{DA3DA573-A534-EFF2-D1B3-FBBEFEA9118E}"/>
                      </a:ext>
                    </a:extLst>
                  </p:cNvPr>
                  <p:cNvSpPr/>
                  <p:nvPr userDrawn="1"/>
                </p:nvSpPr>
                <p:spPr>
                  <a:xfrm>
                    <a:off x="8252516" y="438711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BD0DD"/>
                  </a:solidFill>
                  <a:ln w="2339" cap="flat">
                    <a:noFill/>
                    <a:prstDash val="solid"/>
                    <a:miter/>
                  </a:ln>
                </p:spPr>
                <p:txBody>
                  <a:bodyPr rtlCol="0" anchor="ctr"/>
                  <a:lstStyle/>
                  <a:p>
                    <a:endParaRPr lang="en-US" sz="2400"/>
                  </a:p>
                </p:txBody>
              </p:sp>
              <p:sp>
                <p:nvSpPr>
                  <p:cNvPr id="113" name="Freeform: Shape 112">
                    <a:extLst>
                      <a:ext uri="{FF2B5EF4-FFF2-40B4-BE49-F238E27FC236}">
                        <a16:creationId xmlns:a16="http://schemas.microsoft.com/office/drawing/2014/main" id="{D3620381-EC2E-F258-AE41-1258CBDEA4E8}"/>
                      </a:ext>
                    </a:extLst>
                  </p:cNvPr>
                  <p:cNvSpPr/>
                  <p:nvPr userDrawn="1"/>
                </p:nvSpPr>
                <p:spPr>
                  <a:xfrm>
                    <a:off x="8252025" y="438692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CBD0DD"/>
                  </a:solidFill>
                  <a:ln w="2339" cap="flat">
                    <a:noFill/>
                    <a:prstDash val="solid"/>
                    <a:miter/>
                  </a:ln>
                </p:spPr>
                <p:txBody>
                  <a:bodyPr rtlCol="0" anchor="ctr"/>
                  <a:lstStyle/>
                  <a:p>
                    <a:endParaRPr lang="en-US" sz="2400"/>
                  </a:p>
                </p:txBody>
              </p:sp>
              <p:sp>
                <p:nvSpPr>
                  <p:cNvPr id="114" name="Freeform: Shape 113">
                    <a:extLst>
                      <a:ext uri="{FF2B5EF4-FFF2-40B4-BE49-F238E27FC236}">
                        <a16:creationId xmlns:a16="http://schemas.microsoft.com/office/drawing/2014/main" id="{2B8E2D03-A592-4BF0-1E38-A90A93AEFEC1}"/>
                      </a:ext>
                    </a:extLst>
                  </p:cNvPr>
                  <p:cNvSpPr/>
                  <p:nvPr userDrawn="1"/>
                </p:nvSpPr>
                <p:spPr>
                  <a:xfrm>
                    <a:off x="8251557" y="438673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CD0DD"/>
                  </a:solidFill>
                  <a:ln w="2339" cap="flat">
                    <a:noFill/>
                    <a:prstDash val="solid"/>
                    <a:miter/>
                  </a:ln>
                </p:spPr>
                <p:txBody>
                  <a:bodyPr rtlCol="0" anchor="ctr"/>
                  <a:lstStyle/>
                  <a:p>
                    <a:endParaRPr lang="en-US" sz="2400"/>
                  </a:p>
                </p:txBody>
              </p:sp>
              <p:sp>
                <p:nvSpPr>
                  <p:cNvPr id="115" name="Freeform: Shape 114">
                    <a:extLst>
                      <a:ext uri="{FF2B5EF4-FFF2-40B4-BE49-F238E27FC236}">
                        <a16:creationId xmlns:a16="http://schemas.microsoft.com/office/drawing/2014/main" id="{B395B38F-36B3-621A-128F-72C1AF190DFD}"/>
                      </a:ext>
                    </a:extLst>
                  </p:cNvPr>
                  <p:cNvSpPr/>
                  <p:nvPr userDrawn="1"/>
                </p:nvSpPr>
                <p:spPr>
                  <a:xfrm>
                    <a:off x="8251065" y="438655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CD0DE"/>
                  </a:solidFill>
                  <a:ln w="2339" cap="flat">
                    <a:noFill/>
                    <a:prstDash val="solid"/>
                    <a:miter/>
                  </a:ln>
                </p:spPr>
                <p:txBody>
                  <a:bodyPr rtlCol="0" anchor="ctr"/>
                  <a:lstStyle/>
                  <a:p>
                    <a:endParaRPr lang="en-US" sz="2400"/>
                  </a:p>
                </p:txBody>
              </p:sp>
              <p:sp>
                <p:nvSpPr>
                  <p:cNvPr id="116" name="Freeform: Shape 115">
                    <a:extLst>
                      <a:ext uri="{FF2B5EF4-FFF2-40B4-BE49-F238E27FC236}">
                        <a16:creationId xmlns:a16="http://schemas.microsoft.com/office/drawing/2014/main" id="{6D5F45F9-4B00-6D8D-5E86-C16921CDD972}"/>
                      </a:ext>
                    </a:extLst>
                  </p:cNvPr>
                  <p:cNvSpPr/>
                  <p:nvPr userDrawn="1"/>
                </p:nvSpPr>
                <p:spPr>
                  <a:xfrm>
                    <a:off x="8250574" y="438638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CCD1DE"/>
                  </a:solidFill>
                  <a:ln w="2339" cap="flat">
                    <a:noFill/>
                    <a:prstDash val="solid"/>
                    <a:miter/>
                  </a:ln>
                </p:spPr>
                <p:txBody>
                  <a:bodyPr rtlCol="0" anchor="ctr"/>
                  <a:lstStyle/>
                  <a:p>
                    <a:endParaRPr lang="en-US" sz="2400"/>
                  </a:p>
                </p:txBody>
              </p:sp>
              <p:sp>
                <p:nvSpPr>
                  <p:cNvPr id="117" name="Freeform: Shape 116">
                    <a:extLst>
                      <a:ext uri="{FF2B5EF4-FFF2-40B4-BE49-F238E27FC236}">
                        <a16:creationId xmlns:a16="http://schemas.microsoft.com/office/drawing/2014/main" id="{7D43D512-3EE2-ADB5-F34C-23E811FFC186}"/>
                      </a:ext>
                    </a:extLst>
                  </p:cNvPr>
                  <p:cNvSpPr/>
                  <p:nvPr userDrawn="1"/>
                </p:nvSpPr>
                <p:spPr>
                  <a:xfrm>
                    <a:off x="8250106" y="438620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CDD1DE"/>
                  </a:solidFill>
                  <a:ln w="2339" cap="flat">
                    <a:noFill/>
                    <a:prstDash val="solid"/>
                    <a:miter/>
                  </a:ln>
                </p:spPr>
                <p:txBody>
                  <a:bodyPr rtlCol="0" anchor="ctr"/>
                  <a:lstStyle/>
                  <a:p>
                    <a:endParaRPr lang="en-US" sz="2400"/>
                  </a:p>
                </p:txBody>
              </p:sp>
              <p:sp>
                <p:nvSpPr>
                  <p:cNvPr id="118" name="Freeform: Shape 117">
                    <a:extLst>
                      <a:ext uri="{FF2B5EF4-FFF2-40B4-BE49-F238E27FC236}">
                        <a16:creationId xmlns:a16="http://schemas.microsoft.com/office/drawing/2014/main" id="{88B83B20-7320-3890-BB35-C0208A563498}"/>
                      </a:ext>
                    </a:extLst>
                  </p:cNvPr>
                  <p:cNvSpPr/>
                  <p:nvPr userDrawn="1"/>
                </p:nvSpPr>
                <p:spPr>
                  <a:xfrm>
                    <a:off x="8249638" y="438601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CDD1DE"/>
                  </a:solidFill>
                  <a:ln w="2339" cap="flat">
                    <a:noFill/>
                    <a:prstDash val="solid"/>
                    <a:miter/>
                  </a:ln>
                </p:spPr>
                <p:txBody>
                  <a:bodyPr rtlCol="0" anchor="ctr"/>
                  <a:lstStyle/>
                  <a:p>
                    <a:endParaRPr lang="en-US" sz="2400"/>
                  </a:p>
                </p:txBody>
              </p:sp>
              <p:sp>
                <p:nvSpPr>
                  <p:cNvPr id="119" name="Freeform: Shape 118">
                    <a:extLst>
                      <a:ext uri="{FF2B5EF4-FFF2-40B4-BE49-F238E27FC236}">
                        <a16:creationId xmlns:a16="http://schemas.microsoft.com/office/drawing/2014/main" id="{4C34CC4E-DFE6-EE8A-F33F-D209F8EA17AB}"/>
                      </a:ext>
                    </a:extLst>
                  </p:cNvPr>
                  <p:cNvSpPr/>
                  <p:nvPr userDrawn="1"/>
                </p:nvSpPr>
                <p:spPr>
                  <a:xfrm>
                    <a:off x="8249147" y="438582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CDD2DE"/>
                  </a:solidFill>
                  <a:ln w="2339" cap="flat">
                    <a:noFill/>
                    <a:prstDash val="solid"/>
                    <a:miter/>
                  </a:ln>
                </p:spPr>
                <p:txBody>
                  <a:bodyPr rtlCol="0" anchor="ctr"/>
                  <a:lstStyle/>
                  <a:p>
                    <a:endParaRPr lang="en-US" sz="2400"/>
                  </a:p>
                </p:txBody>
              </p:sp>
              <p:sp>
                <p:nvSpPr>
                  <p:cNvPr id="120" name="Freeform: Shape 119">
                    <a:extLst>
                      <a:ext uri="{FF2B5EF4-FFF2-40B4-BE49-F238E27FC236}">
                        <a16:creationId xmlns:a16="http://schemas.microsoft.com/office/drawing/2014/main" id="{2BEBE90C-35D5-FCC7-A352-C82A8DFC9790}"/>
                      </a:ext>
                    </a:extLst>
                  </p:cNvPr>
                  <p:cNvSpPr/>
                  <p:nvPr userDrawn="1"/>
                </p:nvSpPr>
                <p:spPr>
                  <a:xfrm>
                    <a:off x="8248679" y="438563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CDD2DF"/>
                  </a:solidFill>
                  <a:ln w="2339" cap="flat">
                    <a:noFill/>
                    <a:prstDash val="solid"/>
                    <a:miter/>
                  </a:ln>
                </p:spPr>
                <p:txBody>
                  <a:bodyPr rtlCol="0" anchor="ctr"/>
                  <a:lstStyle/>
                  <a:p>
                    <a:endParaRPr lang="en-US" sz="2400"/>
                  </a:p>
                </p:txBody>
              </p:sp>
              <p:sp>
                <p:nvSpPr>
                  <p:cNvPr id="121" name="Freeform: Shape 120">
                    <a:extLst>
                      <a:ext uri="{FF2B5EF4-FFF2-40B4-BE49-F238E27FC236}">
                        <a16:creationId xmlns:a16="http://schemas.microsoft.com/office/drawing/2014/main" id="{439E64F6-E32E-4F1B-38FA-7C610158E70E}"/>
                      </a:ext>
                    </a:extLst>
                  </p:cNvPr>
                  <p:cNvSpPr/>
                  <p:nvPr userDrawn="1"/>
                </p:nvSpPr>
                <p:spPr>
                  <a:xfrm>
                    <a:off x="8248211" y="438542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ED2DF"/>
                  </a:solidFill>
                  <a:ln w="2339" cap="flat">
                    <a:noFill/>
                    <a:prstDash val="solid"/>
                    <a:miter/>
                  </a:ln>
                </p:spPr>
                <p:txBody>
                  <a:bodyPr rtlCol="0" anchor="ctr"/>
                  <a:lstStyle/>
                  <a:p>
                    <a:endParaRPr lang="en-US" sz="2400"/>
                  </a:p>
                </p:txBody>
              </p:sp>
              <p:sp>
                <p:nvSpPr>
                  <p:cNvPr id="122" name="Freeform: Shape 121">
                    <a:extLst>
                      <a:ext uri="{FF2B5EF4-FFF2-40B4-BE49-F238E27FC236}">
                        <a16:creationId xmlns:a16="http://schemas.microsoft.com/office/drawing/2014/main" id="{8CE1AF12-98B4-E5E6-20F2-0C2F40E9A42B}"/>
                      </a:ext>
                    </a:extLst>
                  </p:cNvPr>
                  <p:cNvSpPr/>
                  <p:nvPr userDrawn="1"/>
                </p:nvSpPr>
                <p:spPr>
                  <a:xfrm>
                    <a:off x="8247743" y="438524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ED2DF"/>
                  </a:solidFill>
                  <a:ln w="2339" cap="flat">
                    <a:noFill/>
                    <a:prstDash val="solid"/>
                    <a:miter/>
                  </a:ln>
                </p:spPr>
                <p:txBody>
                  <a:bodyPr rtlCol="0" anchor="ctr"/>
                  <a:lstStyle/>
                  <a:p>
                    <a:endParaRPr lang="en-US" sz="2400"/>
                  </a:p>
                </p:txBody>
              </p:sp>
              <p:sp>
                <p:nvSpPr>
                  <p:cNvPr id="123" name="Freeform: Shape 122">
                    <a:extLst>
                      <a:ext uri="{FF2B5EF4-FFF2-40B4-BE49-F238E27FC236}">
                        <a16:creationId xmlns:a16="http://schemas.microsoft.com/office/drawing/2014/main" id="{A752A530-54F0-DB07-6FF6-5D7BF59D4D7F}"/>
                      </a:ext>
                    </a:extLst>
                  </p:cNvPr>
                  <p:cNvSpPr/>
                  <p:nvPr userDrawn="1"/>
                </p:nvSpPr>
                <p:spPr>
                  <a:xfrm>
                    <a:off x="8247275" y="438505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ED3DF"/>
                  </a:solidFill>
                  <a:ln w="2339" cap="flat">
                    <a:noFill/>
                    <a:prstDash val="solid"/>
                    <a:miter/>
                  </a:ln>
                </p:spPr>
                <p:txBody>
                  <a:bodyPr rtlCol="0" anchor="ctr"/>
                  <a:lstStyle/>
                  <a:p>
                    <a:endParaRPr lang="en-US" sz="2400"/>
                  </a:p>
                </p:txBody>
              </p:sp>
              <p:sp>
                <p:nvSpPr>
                  <p:cNvPr id="124" name="Freeform: Shape 123">
                    <a:extLst>
                      <a:ext uri="{FF2B5EF4-FFF2-40B4-BE49-F238E27FC236}">
                        <a16:creationId xmlns:a16="http://schemas.microsoft.com/office/drawing/2014/main" id="{B996F33B-2B09-EA54-3885-AC4187A682AD}"/>
                      </a:ext>
                    </a:extLst>
                  </p:cNvPr>
                  <p:cNvSpPr/>
                  <p:nvPr userDrawn="1"/>
                </p:nvSpPr>
                <p:spPr>
                  <a:xfrm>
                    <a:off x="8246807" y="438486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FD3DF"/>
                  </a:solidFill>
                  <a:ln w="2339" cap="flat">
                    <a:noFill/>
                    <a:prstDash val="solid"/>
                    <a:miter/>
                  </a:ln>
                </p:spPr>
                <p:txBody>
                  <a:bodyPr rtlCol="0" anchor="ctr"/>
                  <a:lstStyle/>
                  <a:p>
                    <a:endParaRPr lang="en-US" sz="2400"/>
                  </a:p>
                </p:txBody>
              </p:sp>
              <p:sp>
                <p:nvSpPr>
                  <p:cNvPr id="125" name="Freeform: Shape 124">
                    <a:extLst>
                      <a:ext uri="{FF2B5EF4-FFF2-40B4-BE49-F238E27FC236}">
                        <a16:creationId xmlns:a16="http://schemas.microsoft.com/office/drawing/2014/main" id="{1B202053-9904-90D5-E4AE-F77B50D647E3}"/>
                      </a:ext>
                    </a:extLst>
                  </p:cNvPr>
                  <p:cNvSpPr/>
                  <p:nvPr userDrawn="1"/>
                </p:nvSpPr>
                <p:spPr>
                  <a:xfrm>
                    <a:off x="8246339" y="438468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CFD3E0"/>
                  </a:solidFill>
                  <a:ln w="2339" cap="flat">
                    <a:noFill/>
                    <a:prstDash val="solid"/>
                    <a:miter/>
                  </a:ln>
                </p:spPr>
                <p:txBody>
                  <a:bodyPr rtlCol="0" anchor="ctr"/>
                  <a:lstStyle/>
                  <a:p>
                    <a:endParaRPr lang="en-US" sz="2400"/>
                  </a:p>
                </p:txBody>
              </p:sp>
              <p:sp>
                <p:nvSpPr>
                  <p:cNvPr id="126" name="Freeform: Shape 125">
                    <a:extLst>
                      <a:ext uri="{FF2B5EF4-FFF2-40B4-BE49-F238E27FC236}">
                        <a16:creationId xmlns:a16="http://schemas.microsoft.com/office/drawing/2014/main" id="{2FC585E9-4BCC-9EAB-444A-3256CF155865}"/>
                      </a:ext>
                    </a:extLst>
                  </p:cNvPr>
                  <p:cNvSpPr/>
                  <p:nvPr userDrawn="1"/>
                </p:nvSpPr>
                <p:spPr>
                  <a:xfrm>
                    <a:off x="8245871" y="438446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FD4E0"/>
                  </a:solidFill>
                  <a:ln w="2339" cap="flat">
                    <a:noFill/>
                    <a:prstDash val="solid"/>
                    <a:miter/>
                  </a:ln>
                </p:spPr>
                <p:txBody>
                  <a:bodyPr rtlCol="0" anchor="ctr"/>
                  <a:lstStyle/>
                  <a:p>
                    <a:endParaRPr lang="en-US" sz="2400"/>
                  </a:p>
                </p:txBody>
              </p:sp>
              <p:sp>
                <p:nvSpPr>
                  <p:cNvPr id="127" name="Freeform: Shape 126">
                    <a:extLst>
                      <a:ext uri="{FF2B5EF4-FFF2-40B4-BE49-F238E27FC236}">
                        <a16:creationId xmlns:a16="http://schemas.microsoft.com/office/drawing/2014/main" id="{D4D95733-D1CC-8A60-2AAD-AED90FF1DAB0}"/>
                      </a:ext>
                    </a:extLst>
                  </p:cNvPr>
                  <p:cNvSpPr/>
                  <p:nvPr userDrawn="1"/>
                </p:nvSpPr>
                <p:spPr>
                  <a:xfrm>
                    <a:off x="8245403" y="438428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0D4E0"/>
                  </a:solidFill>
                  <a:ln w="2339" cap="flat">
                    <a:noFill/>
                    <a:prstDash val="solid"/>
                    <a:miter/>
                  </a:ln>
                </p:spPr>
                <p:txBody>
                  <a:bodyPr rtlCol="0" anchor="ctr"/>
                  <a:lstStyle/>
                  <a:p>
                    <a:endParaRPr lang="en-US" sz="2400"/>
                  </a:p>
                </p:txBody>
              </p:sp>
              <p:sp>
                <p:nvSpPr>
                  <p:cNvPr id="128" name="Freeform: Shape 127">
                    <a:extLst>
                      <a:ext uri="{FF2B5EF4-FFF2-40B4-BE49-F238E27FC236}">
                        <a16:creationId xmlns:a16="http://schemas.microsoft.com/office/drawing/2014/main" id="{777683B3-DC6D-61C2-7B8B-6179356A7383}"/>
                      </a:ext>
                    </a:extLst>
                  </p:cNvPr>
                  <p:cNvSpPr/>
                  <p:nvPr userDrawn="1"/>
                </p:nvSpPr>
                <p:spPr>
                  <a:xfrm>
                    <a:off x="8244935" y="438409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D0D4E0"/>
                  </a:solidFill>
                  <a:ln w="2339" cap="flat">
                    <a:noFill/>
                    <a:prstDash val="solid"/>
                    <a:miter/>
                  </a:ln>
                </p:spPr>
                <p:txBody>
                  <a:bodyPr rtlCol="0" anchor="ctr"/>
                  <a:lstStyle/>
                  <a:p>
                    <a:endParaRPr lang="en-US" sz="2400"/>
                  </a:p>
                </p:txBody>
              </p:sp>
              <p:sp>
                <p:nvSpPr>
                  <p:cNvPr id="129" name="Freeform: Shape 128">
                    <a:extLst>
                      <a:ext uri="{FF2B5EF4-FFF2-40B4-BE49-F238E27FC236}">
                        <a16:creationId xmlns:a16="http://schemas.microsoft.com/office/drawing/2014/main" id="{6EE9522D-1FA3-D256-0297-A4B2DEBCCF9E}"/>
                      </a:ext>
                    </a:extLst>
                  </p:cNvPr>
                  <p:cNvSpPr/>
                  <p:nvPr userDrawn="1"/>
                </p:nvSpPr>
                <p:spPr>
                  <a:xfrm>
                    <a:off x="8244490" y="438388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0D4E0"/>
                  </a:solidFill>
                  <a:ln w="2339" cap="flat">
                    <a:noFill/>
                    <a:prstDash val="solid"/>
                    <a:miter/>
                  </a:ln>
                </p:spPr>
                <p:txBody>
                  <a:bodyPr rtlCol="0" anchor="ctr"/>
                  <a:lstStyle/>
                  <a:p>
                    <a:endParaRPr lang="en-US" sz="2400"/>
                  </a:p>
                </p:txBody>
              </p:sp>
              <p:sp>
                <p:nvSpPr>
                  <p:cNvPr id="130" name="Freeform: Shape 129">
                    <a:extLst>
                      <a:ext uri="{FF2B5EF4-FFF2-40B4-BE49-F238E27FC236}">
                        <a16:creationId xmlns:a16="http://schemas.microsoft.com/office/drawing/2014/main" id="{4E8E1E33-6B67-5482-3108-8945AD1D0D9D}"/>
                      </a:ext>
                    </a:extLst>
                  </p:cNvPr>
                  <p:cNvSpPr/>
                  <p:nvPr userDrawn="1"/>
                </p:nvSpPr>
                <p:spPr>
                  <a:xfrm>
                    <a:off x="8244022" y="438369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D1D5E1"/>
                  </a:solidFill>
                  <a:ln w="2339" cap="flat">
                    <a:noFill/>
                    <a:prstDash val="solid"/>
                    <a:miter/>
                  </a:ln>
                </p:spPr>
                <p:txBody>
                  <a:bodyPr rtlCol="0" anchor="ctr"/>
                  <a:lstStyle/>
                  <a:p>
                    <a:endParaRPr lang="en-US" sz="2400"/>
                  </a:p>
                </p:txBody>
              </p:sp>
              <p:sp>
                <p:nvSpPr>
                  <p:cNvPr id="131" name="Freeform: Shape 130">
                    <a:extLst>
                      <a:ext uri="{FF2B5EF4-FFF2-40B4-BE49-F238E27FC236}">
                        <a16:creationId xmlns:a16="http://schemas.microsoft.com/office/drawing/2014/main" id="{F2CA6D24-78AF-C896-741F-94D568F4FDD6}"/>
                      </a:ext>
                    </a:extLst>
                  </p:cNvPr>
                  <p:cNvSpPr/>
                  <p:nvPr userDrawn="1"/>
                </p:nvSpPr>
                <p:spPr>
                  <a:xfrm>
                    <a:off x="8243577" y="438348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1D5E1"/>
                  </a:solidFill>
                  <a:ln w="2339" cap="flat">
                    <a:noFill/>
                    <a:prstDash val="solid"/>
                    <a:miter/>
                  </a:ln>
                </p:spPr>
                <p:txBody>
                  <a:bodyPr rtlCol="0" anchor="ctr"/>
                  <a:lstStyle/>
                  <a:p>
                    <a:endParaRPr lang="en-US" sz="2400"/>
                  </a:p>
                </p:txBody>
              </p:sp>
              <p:sp>
                <p:nvSpPr>
                  <p:cNvPr id="132" name="Freeform: Shape 131">
                    <a:extLst>
                      <a:ext uri="{FF2B5EF4-FFF2-40B4-BE49-F238E27FC236}">
                        <a16:creationId xmlns:a16="http://schemas.microsoft.com/office/drawing/2014/main" id="{620A47D3-00B8-8945-4DBA-472F87631E2B}"/>
                      </a:ext>
                    </a:extLst>
                  </p:cNvPr>
                  <p:cNvSpPr/>
                  <p:nvPr userDrawn="1"/>
                </p:nvSpPr>
                <p:spPr>
                  <a:xfrm>
                    <a:off x="8243109" y="438329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D1D5E1"/>
                  </a:solidFill>
                  <a:ln w="2339" cap="flat">
                    <a:noFill/>
                    <a:prstDash val="solid"/>
                    <a:miter/>
                  </a:ln>
                </p:spPr>
                <p:txBody>
                  <a:bodyPr rtlCol="0" anchor="ctr"/>
                  <a:lstStyle/>
                  <a:p>
                    <a:endParaRPr lang="en-US" sz="2400"/>
                  </a:p>
                </p:txBody>
              </p:sp>
              <p:sp>
                <p:nvSpPr>
                  <p:cNvPr id="133" name="Freeform: Shape 132">
                    <a:extLst>
                      <a:ext uri="{FF2B5EF4-FFF2-40B4-BE49-F238E27FC236}">
                        <a16:creationId xmlns:a16="http://schemas.microsoft.com/office/drawing/2014/main" id="{0E1AAE15-2A0F-EACE-A547-D30DED052214}"/>
                      </a:ext>
                    </a:extLst>
                  </p:cNvPr>
                  <p:cNvSpPr/>
                  <p:nvPr userDrawn="1"/>
                </p:nvSpPr>
                <p:spPr>
                  <a:xfrm>
                    <a:off x="8242665" y="438308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1D6E1"/>
                  </a:solidFill>
                  <a:ln w="2339" cap="flat">
                    <a:noFill/>
                    <a:prstDash val="solid"/>
                    <a:miter/>
                  </a:ln>
                </p:spPr>
                <p:txBody>
                  <a:bodyPr rtlCol="0" anchor="ctr"/>
                  <a:lstStyle/>
                  <a:p>
                    <a:endParaRPr lang="en-US" sz="2400"/>
                  </a:p>
                </p:txBody>
              </p:sp>
              <p:sp>
                <p:nvSpPr>
                  <p:cNvPr id="134" name="Freeform: Shape 133">
                    <a:extLst>
                      <a:ext uri="{FF2B5EF4-FFF2-40B4-BE49-F238E27FC236}">
                        <a16:creationId xmlns:a16="http://schemas.microsoft.com/office/drawing/2014/main" id="{A5001617-2A5F-68ED-80E3-FF38020640A8}"/>
                      </a:ext>
                    </a:extLst>
                  </p:cNvPr>
                  <p:cNvSpPr/>
                  <p:nvPr userDrawn="1"/>
                </p:nvSpPr>
                <p:spPr>
                  <a:xfrm>
                    <a:off x="8242220" y="438287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2D6E1"/>
                  </a:solidFill>
                  <a:ln w="2339" cap="flat">
                    <a:noFill/>
                    <a:prstDash val="solid"/>
                    <a:miter/>
                  </a:ln>
                </p:spPr>
                <p:txBody>
                  <a:bodyPr rtlCol="0" anchor="ctr"/>
                  <a:lstStyle/>
                  <a:p>
                    <a:endParaRPr lang="en-US" sz="2400"/>
                  </a:p>
                </p:txBody>
              </p:sp>
              <p:sp>
                <p:nvSpPr>
                  <p:cNvPr id="135" name="Freeform: Shape 134">
                    <a:extLst>
                      <a:ext uri="{FF2B5EF4-FFF2-40B4-BE49-F238E27FC236}">
                        <a16:creationId xmlns:a16="http://schemas.microsoft.com/office/drawing/2014/main" id="{AE5E9859-CCE2-D799-7EA6-D9D7BBFFEEAD}"/>
                      </a:ext>
                    </a:extLst>
                  </p:cNvPr>
                  <p:cNvSpPr/>
                  <p:nvPr userDrawn="1"/>
                </p:nvSpPr>
                <p:spPr>
                  <a:xfrm>
                    <a:off x="8241776" y="438269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D2D6E2"/>
                  </a:solidFill>
                  <a:ln w="2339" cap="flat">
                    <a:noFill/>
                    <a:prstDash val="solid"/>
                    <a:miter/>
                  </a:ln>
                </p:spPr>
                <p:txBody>
                  <a:bodyPr rtlCol="0" anchor="ctr"/>
                  <a:lstStyle/>
                  <a:p>
                    <a:endParaRPr lang="en-US" sz="2400"/>
                  </a:p>
                </p:txBody>
              </p:sp>
              <p:sp>
                <p:nvSpPr>
                  <p:cNvPr id="136" name="Freeform: Shape 135">
                    <a:extLst>
                      <a:ext uri="{FF2B5EF4-FFF2-40B4-BE49-F238E27FC236}">
                        <a16:creationId xmlns:a16="http://schemas.microsoft.com/office/drawing/2014/main" id="{23D8204E-C59A-18F4-C702-D7BB5D929FC4}"/>
                      </a:ext>
                    </a:extLst>
                  </p:cNvPr>
                  <p:cNvSpPr/>
                  <p:nvPr userDrawn="1"/>
                </p:nvSpPr>
                <p:spPr>
                  <a:xfrm>
                    <a:off x="8241308" y="438248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D2D6E2"/>
                  </a:solidFill>
                  <a:ln w="2339" cap="flat">
                    <a:noFill/>
                    <a:prstDash val="solid"/>
                    <a:miter/>
                  </a:ln>
                </p:spPr>
                <p:txBody>
                  <a:bodyPr rtlCol="0" anchor="ctr"/>
                  <a:lstStyle/>
                  <a:p>
                    <a:endParaRPr lang="en-US" sz="2400"/>
                  </a:p>
                </p:txBody>
              </p:sp>
              <p:sp>
                <p:nvSpPr>
                  <p:cNvPr id="137" name="Freeform: Shape 136">
                    <a:extLst>
                      <a:ext uri="{FF2B5EF4-FFF2-40B4-BE49-F238E27FC236}">
                        <a16:creationId xmlns:a16="http://schemas.microsoft.com/office/drawing/2014/main" id="{82F76516-44F3-249D-D8B4-DD56DC93B769}"/>
                      </a:ext>
                    </a:extLst>
                  </p:cNvPr>
                  <p:cNvSpPr/>
                  <p:nvPr userDrawn="1"/>
                </p:nvSpPr>
                <p:spPr>
                  <a:xfrm>
                    <a:off x="8240863" y="438226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3D7E2"/>
                  </a:solidFill>
                  <a:ln w="2339" cap="flat">
                    <a:noFill/>
                    <a:prstDash val="solid"/>
                    <a:miter/>
                  </a:ln>
                </p:spPr>
                <p:txBody>
                  <a:bodyPr rtlCol="0" anchor="ctr"/>
                  <a:lstStyle/>
                  <a:p>
                    <a:endParaRPr lang="en-US" sz="2400"/>
                  </a:p>
                </p:txBody>
              </p:sp>
              <p:sp>
                <p:nvSpPr>
                  <p:cNvPr id="138" name="Freeform: Shape 137">
                    <a:extLst>
                      <a:ext uri="{FF2B5EF4-FFF2-40B4-BE49-F238E27FC236}">
                        <a16:creationId xmlns:a16="http://schemas.microsoft.com/office/drawing/2014/main" id="{6CA2FA66-4AE0-9F5E-1EB6-ED1B1915F11F}"/>
                      </a:ext>
                    </a:extLst>
                  </p:cNvPr>
                  <p:cNvSpPr/>
                  <p:nvPr userDrawn="1"/>
                </p:nvSpPr>
                <p:spPr>
                  <a:xfrm>
                    <a:off x="8240418" y="438205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3D7E2"/>
                  </a:solidFill>
                  <a:ln w="2339" cap="flat">
                    <a:noFill/>
                    <a:prstDash val="solid"/>
                    <a:miter/>
                  </a:ln>
                </p:spPr>
                <p:txBody>
                  <a:bodyPr rtlCol="0" anchor="ctr"/>
                  <a:lstStyle/>
                  <a:p>
                    <a:endParaRPr lang="en-US" sz="2400"/>
                  </a:p>
                </p:txBody>
              </p:sp>
              <p:sp>
                <p:nvSpPr>
                  <p:cNvPr id="139" name="Freeform: Shape 138">
                    <a:extLst>
                      <a:ext uri="{FF2B5EF4-FFF2-40B4-BE49-F238E27FC236}">
                        <a16:creationId xmlns:a16="http://schemas.microsoft.com/office/drawing/2014/main" id="{5877F0AF-54E4-70C2-AC61-A29DAF051328}"/>
                      </a:ext>
                    </a:extLst>
                  </p:cNvPr>
                  <p:cNvSpPr/>
                  <p:nvPr userDrawn="1"/>
                </p:nvSpPr>
                <p:spPr>
                  <a:xfrm>
                    <a:off x="8239997" y="438184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3D7E2"/>
                  </a:solidFill>
                  <a:ln w="2339" cap="flat">
                    <a:noFill/>
                    <a:prstDash val="solid"/>
                    <a:miter/>
                  </a:ln>
                </p:spPr>
                <p:txBody>
                  <a:bodyPr rtlCol="0" anchor="ctr"/>
                  <a:lstStyle/>
                  <a:p>
                    <a:endParaRPr lang="en-US" sz="2400"/>
                  </a:p>
                </p:txBody>
              </p:sp>
              <p:sp>
                <p:nvSpPr>
                  <p:cNvPr id="140" name="Freeform: Shape 139">
                    <a:extLst>
                      <a:ext uri="{FF2B5EF4-FFF2-40B4-BE49-F238E27FC236}">
                        <a16:creationId xmlns:a16="http://schemas.microsoft.com/office/drawing/2014/main" id="{06F0436B-A1AC-8BB0-B44D-4625D97487F9}"/>
                      </a:ext>
                    </a:extLst>
                  </p:cNvPr>
                  <p:cNvSpPr/>
                  <p:nvPr userDrawn="1"/>
                </p:nvSpPr>
                <p:spPr>
                  <a:xfrm>
                    <a:off x="8239552" y="438166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D4D7E3"/>
                  </a:solidFill>
                  <a:ln w="2339" cap="flat">
                    <a:noFill/>
                    <a:prstDash val="solid"/>
                    <a:miter/>
                  </a:ln>
                </p:spPr>
                <p:txBody>
                  <a:bodyPr rtlCol="0" anchor="ctr"/>
                  <a:lstStyle/>
                  <a:p>
                    <a:endParaRPr lang="en-US" sz="2400"/>
                  </a:p>
                </p:txBody>
              </p:sp>
              <p:sp>
                <p:nvSpPr>
                  <p:cNvPr id="141" name="Freeform: Shape 140">
                    <a:extLst>
                      <a:ext uri="{FF2B5EF4-FFF2-40B4-BE49-F238E27FC236}">
                        <a16:creationId xmlns:a16="http://schemas.microsoft.com/office/drawing/2014/main" id="{0D150B3B-78E2-B2FE-FDB0-4E6D2C8ADA4F}"/>
                      </a:ext>
                    </a:extLst>
                  </p:cNvPr>
                  <p:cNvSpPr/>
                  <p:nvPr userDrawn="1"/>
                </p:nvSpPr>
                <p:spPr>
                  <a:xfrm>
                    <a:off x="8239108" y="438145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4D8E3"/>
                  </a:solidFill>
                  <a:ln w="2339" cap="flat">
                    <a:noFill/>
                    <a:prstDash val="solid"/>
                    <a:miter/>
                  </a:ln>
                </p:spPr>
                <p:txBody>
                  <a:bodyPr rtlCol="0" anchor="ctr"/>
                  <a:lstStyle/>
                  <a:p>
                    <a:endParaRPr lang="en-US" sz="2400"/>
                  </a:p>
                </p:txBody>
              </p:sp>
              <p:sp>
                <p:nvSpPr>
                  <p:cNvPr id="142" name="Freeform: Shape 141">
                    <a:extLst>
                      <a:ext uri="{FF2B5EF4-FFF2-40B4-BE49-F238E27FC236}">
                        <a16:creationId xmlns:a16="http://schemas.microsoft.com/office/drawing/2014/main" id="{419BEA29-D264-B79B-B5E6-956EA7DC5538}"/>
                      </a:ext>
                    </a:extLst>
                  </p:cNvPr>
                  <p:cNvSpPr/>
                  <p:nvPr userDrawn="1"/>
                </p:nvSpPr>
                <p:spPr>
                  <a:xfrm>
                    <a:off x="8238663" y="438124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D4D8E3"/>
                  </a:solidFill>
                  <a:ln w="2339" cap="flat">
                    <a:noFill/>
                    <a:prstDash val="solid"/>
                    <a:miter/>
                  </a:ln>
                </p:spPr>
                <p:txBody>
                  <a:bodyPr rtlCol="0" anchor="ctr"/>
                  <a:lstStyle/>
                  <a:p>
                    <a:endParaRPr lang="en-US" sz="2400"/>
                  </a:p>
                </p:txBody>
              </p:sp>
              <p:sp>
                <p:nvSpPr>
                  <p:cNvPr id="143" name="Freeform: Shape 142">
                    <a:extLst>
                      <a:ext uri="{FF2B5EF4-FFF2-40B4-BE49-F238E27FC236}">
                        <a16:creationId xmlns:a16="http://schemas.microsoft.com/office/drawing/2014/main" id="{A44BAA69-4A7A-45E9-7C1E-5B97C6CCC6B5}"/>
                      </a:ext>
                    </a:extLst>
                  </p:cNvPr>
                  <p:cNvSpPr/>
                  <p:nvPr userDrawn="1"/>
                </p:nvSpPr>
                <p:spPr>
                  <a:xfrm>
                    <a:off x="8238242" y="438102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4D8E3"/>
                  </a:solidFill>
                  <a:ln w="2339" cap="flat">
                    <a:noFill/>
                    <a:prstDash val="solid"/>
                    <a:miter/>
                  </a:ln>
                </p:spPr>
                <p:txBody>
                  <a:bodyPr rtlCol="0" anchor="ctr"/>
                  <a:lstStyle/>
                  <a:p>
                    <a:endParaRPr lang="en-US" sz="2400"/>
                  </a:p>
                </p:txBody>
              </p:sp>
              <p:sp>
                <p:nvSpPr>
                  <p:cNvPr id="144" name="Freeform: Shape 143">
                    <a:extLst>
                      <a:ext uri="{FF2B5EF4-FFF2-40B4-BE49-F238E27FC236}">
                        <a16:creationId xmlns:a16="http://schemas.microsoft.com/office/drawing/2014/main" id="{B0D670CD-BCDA-62AB-81ED-8F91C179F774}"/>
                      </a:ext>
                    </a:extLst>
                  </p:cNvPr>
                  <p:cNvSpPr/>
                  <p:nvPr userDrawn="1"/>
                </p:nvSpPr>
                <p:spPr>
                  <a:xfrm>
                    <a:off x="8237797" y="438081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D5D9E3"/>
                  </a:solidFill>
                  <a:ln w="2339" cap="flat">
                    <a:noFill/>
                    <a:prstDash val="solid"/>
                    <a:miter/>
                  </a:ln>
                </p:spPr>
                <p:txBody>
                  <a:bodyPr rtlCol="0" anchor="ctr"/>
                  <a:lstStyle/>
                  <a:p>
                    <a:endParaRPr lang="en-US" sz="2400"/>
                  </a:p>
                </p:txBody>
              </p:sp>
              <p:sp>
                <p:nvSpPr>
                  <p:cNvPr id="145" name="Freeform: Shape 144">
                    <a:extLst>
                      <a:ext uri="{FF2B5EF4-FFF2-40B4-BE49-F238E27FC236}">
                        <a16:creationId xmlns:a16="http://schemas.microsoft.com/office/drawing/2014/main" id="{C77FA1BB-2879-858A-A156-216DD2544C97}"/>
                      </a:ext>
                    </a:extLst>
                  </p:cNvPr>
                  <p:cNvSpPr/>
                  <p:nvPr userDrawn="1"/>
                </p:nvSpPr>
                <p:spPr>
                  <a:xfrm>
                    <a:off x="8237376" y="438060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D5D9E4"/>
                  </a:solidFill>
                  <a:ln w="2339" cap="flat">
                    <a:noFill/>
                    <a:prstDash val="solid"/>
                    <a:miter/>
                  </a:ln>
                </p:spPr>
                <p:txBody>
                  <a:bodyPr rtlCol="0" anchor="ctr"/>
                  <a:lstStyle/>
                  <a:p>
                    <a:endParaRPr lang="en-US" sz="2400"/>
                  </a:p>
                </p:txBody>
              </p:sp>
              <p:sp>
                <p:nvSpPr>
                  <p:cNvPr id="146" name="Freeform: Shape 145">
                    <a:extLst>
                      <a:ext uri="{FF2B5EF4-FFF2-40B4-BE49-F238E27FC236}">
                        <a16:creationId xmlns:a16="http://schemas.microsoft.com/office/drawing/2014/main" id="{BD769A55-FC8A-F50F-29E0-7635893564A5}"/>
                      </a:ext>
                    </a:extLst>
                  </p:cNvPr>
                  <p:cNvSpPr/>
                  <p:nvPr userDrawn="1"/>
                </p:nvSpPr>
                <p:spPr>
                  <a:xfrm>
                    <a:off x="8236932" y="438037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5D9E4"/>
                  </a:solidFill>
                  <a:ln w="2339" cap="flat">
                    <a:noFill/>
                    <a:prstDash val="solid"/>
                    <a:miter/>
                  </a:ln>
                </p:spPr>
                <p:txBody>
                  <a:bodyPr rtlCol="0" anchor="ctr"/>
                  <a:lstStyle/>
                  <a:p>
                    <a:endParaRPr lang="en-US" sz="2400"/>
                  </a:p>
                </p:txBody>
              </p:sp>
              <p:sp>
                <p:nvSpPr>
                  <p:cNvPr id="147" name="Freeform: Shape 146">
                    <a:extLst>
                      <a:ext uri="{FF2B5EF4-FFF2-40B4-BE49-F238E27FC236}">
                        <a16:creationId xmlns:a16="http://schemas.microsoft.com/office/drawing/2014/main" id="{7515514C-C7E4-8829-416A-0848F599CF3E}"/>
                      </a:ext>
                    </a:extLst>
                  </p:cNvPr>
                  <p:cNvSpPr/>
                  <p:nvPr userDrawn="1"/>
                </p:nvSpPr>
                <p:spPr>
                  <a:xfrm>
                    <a:off x="8236510" y="438016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6D9E4"/>
                  </a:solidFill>
                  <a:ln w="2339" cap="flat">
                    <a:noFill/>
                    <a:prstDash val="solid"/>
                    <a:miter/>
                  </a:ln>
                </p:spPr>
                <p:txBody>
                  <a:bodyPr rtlCol="0" anchor="ctr"/>
                  <a:lstStyle/>
                  <a:p>
                    <a:endParaRPr lang="en-US" sz="2400"/>
                  </a:p>
                </p:txBody>
              </p:sp>
              <p:sp>
                <p:nvSpPr>
                  <p:cNvPr id="148" name="Freeform: Shape 147">
                    <a:extLst>
                      <a:ext uri="{FF2B5EF4-FFF2-40B4-BE49-F238E27FC236}">
                        <a16:creationId xmlns:a16="http://schemas.microsoft.com/office/drawing/2014/main" id="{495819BC-B58B-0677-CEA2-4DD85CB0C24C}"/>
                      </a:ext>
                    </a:extLst>
                  </p:cNvPr>
                  <p:cNvSpPr/>
                  <p:nvPr userDrawn="1"/>
                </p:nvSpPr>
                <p:spPr>
                  <a:xfrm>
                    <a:off x="8236089" y="437995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6DAE4"/>
                  </a:solidFill>
                  <a:ln w="2339" cap="flat">
                    <a:noFill/>
                    <a:prstDash val="solid"/>
                    <a:miter/>
                  </a:ln>
                </p:spPr>
                <p:txBody>
                  <a:bodyPr rtlCol="0" anchor="ctr"/>
                  <a:lstStyle/>
                  <a:p>
                    <a:endParaRPr lang="en-US" sz="2400"/>
                  </a:p>
                </p:txBody>
              </p:sp>
              <p:sp>
                <p:nvSpPr>
                  <p:cNvPr id="149" name="Freeform: Shape 148">
                    <a:extLst>
                      <a:ext uri="{FF2B5EF4-FFF2-40B4-BE49-F238E27FC236}">
                        <a16:creationId xmlns:a16="http://schemas.microsoft.com/office/drawing/2014/main" id="{87784435-C46D-7227-C85A-ECC41D0C582C}"/>
                      </a:ext>
                    </a:extLst>
                  </p:cNvPr>
                  <p:cNvSpPr/>
                  <p:nvPr userDrawn="1"/>
                </p:nvSpPr>
                <p:spPr>
                  <a:xfrm>
                    <a:off x="8235668" y="437974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6DAE4"/>
                  </a:solidFill>
                  <a:ln w="2339" cap="flat">
                    <a:noFill/>
                    <a:prstDash val="solid"/>
                    <a:miter/>
                  </a:ln>
                </p:spPr>
                <p:txBody>
                  <a:bodyPr rtlCol="0" anchor="ctr"/>
                  <a:lstStyle/>
                  <a:p>
                    <a:endParaRPr lang="en-US" sz="2400"/>
                  </a:p>
                </p:txBody>
              </p:sp>
              <p:sp>
                <p:nvSpPr>
                  <p:cNvPr id="150" name="Freeform: Shape 149">
                    <a:extLst>
                      <a:ext uri="{FF2B5EF4-FFF2-40B4-BE49-F238E27FC236}">
                        <a16:creationId xmlns:a16="http://schemas.microsoft.com/office/drawing/2014/main" id="{67F594C7-6829-1693-5E71-866989326841}"/>
                      </a:ext>
                    </a:extLst>
                  </p:cNvPr>
                  <p:cNvSpPr/>
                  <p:nvPr userDrawn="1"/>
                </p:nvSpPr>
                <p:spPr>
                  <a:xfrm>
                    <a:off x="8235247" y="437953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D7DAE5"/>
                  </a:solidFill>
                  <a:ln w="2339" cap="flat">
                    <a:noFill/>
                    <a:prstDash val="solid"/>
                    <a:miter/>
                  </a:ln>
                </p:spPr>
                <p:txBody>
                  <a:bodyPr rtlCol="0" anchor="ctr"/>
                  <a:lstStyle/>
                  <a:p>
                    <a:endParaRPr lang="en-US" sz="2400"/>
                  </a:p>
                </p:txBody>
              </p:sp>
              <p:sp>
                <p:nvSpPr>
                  <p:cNvPr id="151" name="Freeform: Shape 150">
                    <a:extLst>
                      <a:ext uri="{FF2B5EF4-FFF2-40B4-BE49-F238E27FC236}">
                        <a16:creationId xmlns:a16="http://schemas.microsoft.com/office/drawing/2014/main" id="{D17BA0A2-9006-F78B-F5C2-0319B68183A9}"/>
                      </a:ext>
                    </a:extLst>
                  </p:cNvPr>
                  <p:cNvSpPr/>
                  <p:nvPr userDrawn="1"/>
                </p:nvSpPr>
                <p:spPr>
                  <a:xfrm>
                    <a:off x="8234826" y="437929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7DBE5"/>
                  </a:solidFill>
                  <a:ln w="2339" cap="flat">
                    <a:noFill/>
                    <a:prstDash val="solid"/>
                    <a:miter/>
                  </a:ln>
                </p:spPr>
                <p:txBody>
                  <a:bodyPr rtlCol="0" anchor="ctr"/>
                  <a:lstStyle/>
                  <a:p>
                    <a:endParaRPr lang="en-US" sz="2400"/>
                  </a:p>
                </p:txBody>
              </p:sp>
              <p:sp>
                <p:nvSpPr>
                  <p:cNvPr id="152" name="Freeform: Shape 151">
                    <a:extLst>
                      <a:ext uri="{FF2B5EF4-FFF2-40B4-BE49-F238E27FC236}">
                        <a16:creationId xmlns:a16="http://schemas.microsoft.com/office/drawing/2014/main" id="{500C0FE3-DD2E-EA35-80AB-EF60480DBB15}"/>
                      </a:ext>
                    </a:extLst>
                  </p:cNvPr>
                  <p:cNvSpPr/>
                  <p:nvPr userDrawn="1"/>
                </p:nvSpPr>
                <p:spPr>
                  <a:xfrm>
                    <a:off x="8234404" y="437908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7DBE5"/>
                  </a:solidFill>
                  <a:ln w="2339" cap="flat">
                    <a:noFill/>
                    <a:prstDash val="solid"/>
                    <a:miter/>
                  </a:ln>
                </p:spPr>
                <p:txBody>
                  <a:bodyPr rtlCol="0" anchor="ctr"/>
                  <a:lstStyle/>
                  <a:p>
                    <a:endParaRPr lang="en-US" sz="2400"/>
                  </a:p>
                </p:txBody>
              </p:sp>
              <p:sp>
                <p:nvSpPr>
                  <p:cNvPr id="153" name="Freeform: Shape 152">
                    <a:extLst>
                      <a:ext uri="{FF2B5EF4-FFF2-40B4-BE49-F238E27FC236}">
                        <a16:creationId xmlns:a16="http://schemas.microsoft.com/office/drawing/2014/main" id="{808D7DB1-F591-3542-7C46-05CA0C769351}"/>
                      </a:ext>
                    </a:extLst>
                  </p:cNvPr>
                  <p:cNvSpPr/>
                  <p:nvPr userDrawn="1"/>
                </p:nvSpPr>
                <p:spPr>
                  <a:xfrm>
                    <a:off x="8233983" y="437887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D8DBE5"/>
                  </a:solidFill>
                  <a:ln w="2339" cap="flat">
                    <a:noFill/>
                    <a:prstDash val="solid"/>
                    <a:miter/>
                  </a:ln>
                </p:spPr>
                <p:txBody>
                  <a:bodyPr rtlCol="0" anchor="ctr"/>
                  <a:lstStyle/>
                  <a:p>
                    <a:endParaRPr lang="en-US" sz="2400"/>
                  </a:p>
                </p:txBody>
              </p:sp>
              <p:sp>
                <p:nvSpPr>
                  <p:cNvPr id="154" name="Freeform: Shape 153">
                    <a:extLst>
                      <a:ext uri="{FF2B5EF4-FFF2-40B4-BE49-F238E27FC236}">
                        <a16:creationId xmlns:a16="http://schemas.microsoft.com/office/drawing/2014/main" id="{3CB1170E-E1B6-3760-2873-648163861A50}"/>
                      </a:ext>
                    </a:extLst>
                  </p:cNvPr>
                  <p:cNvSpPr/>
                  <p:nvPr userDrawn="1"/>
                </p:nvSpPr>
                <p:spPr>
                  <a:xfrm>
                    <a:off x="8233585" y="437864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8DBE5"/>
                  </a:solidFill>
                  <a:ln w="2339" cap="flat">
                    <a:noFill/>
                    <a:prstDash val="solid"/>
                    <a:miter/>
                  </a:ln>
                </p:spPr>
                <p:txBody>
                  <a:bodyPr rtlCol="0" anchor="ctr"/>
                  <a:lstStyle/>
                  <a:p>
                    <a:endParaRPr lang="en-US" sz="2400"/>
                  </a:p>
                </p:txBody>
              </p:sp>
              <p:sp>
                <p:nvSpPr>
                  <p:cNvPr id="155" name="Freeform: Shape 154">
                    <a:extLst>
                      <a:ext uri="{FF2B5EF4-FFF2-40B4-BE49-F238E27FC236}">
                        <a16:creationId xmlns:a16="http://schemas.microsoft.com/office/drawing/2014/main" id="{8480305D-FE5F-12F0-A5BC-1F44071DB6E3}"/>
                      </a:ext>
                    </a:extLst>
                  </p:cNvPr>
                  <p:cNvSpPr/>
                  <p:nvPr userDrawn="1"/>
                </p:nvSpPr>
                <p:spPr>
                  <a:xfrm>
                    <a:off x="8233164" y="437843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D8DCE6"/>
                  </a:solidFill>
                  <a:ln w="2339" cap="flat">
                    <a:noFill/>
                    <a:prstDash val="solid"/>
                    <a:miter/>
                  </a:ln>
                </p:spPr>
                <p:txBody>
                  <a:bodyPr rtlCol="0" anchor="ctr"/>
                  <a:lstStyle/>
                  <a:p>
                    <a:endParaRPr lang="en-US" sz="2400"/>
                  </a:p>
                </p:txBody>
              </p:sp>
              <p:sp>
                <p:nvSpPr>
                  <p:cNvPr id="156" name="Freeform: Shape 155">
                    <a:extLst>
                      <a:ext uri="{FF2B5EF4-FFF2-40B4-BE49-F238E27FC236}">
                        <a16:creationId xmlns:a16="http://schemas.microsoft.com/office/drawing/2014/main" id="{BDEF1486-2565-0B8F-E281-784B980A14F0}"/>
                      </a:ext>
                    </a:extLst>
                  </p:cNvPr>
                  <p:cNvSpPr/>
                  <p:nvPr userDrawn="1"/>
                </p:nvSpPr>
                <p:spPr>
                  <a:xfrm>
                    <a:off x="8232766" y="437819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8DCE6"/>
                  </a:solidFill>
                  <a:ln w="2339" cap="flat">
                    <a:noFill/>
                    <a:prstDash val="solid"/>
                    <a:miter/>
                  </a:ln>
                </p:spPr>
                <p:txBody>
                  <a:bodyPr rtlCol="0" anchor="ctr"/>
                  <a:lstStyle/>
                  <a:p>
                    <a:endParaRPr lang="en-US" sz="2400"/>
                  </a:p>
                </p:txBody>
              </p:sp>
              <p:sp>
                <p:nvSpPr>
                  <p:cNvPr id="157" name="Freeform: Shape 156">
                    <a:extLst>
                      <a:ext uri="{FF2B5EF4-FFF2-40B4-BE49-F238E27FC236}">
                        <a16:creationId xmlns:a16="http://schemas.microsoft.com/office/drawing/2014/main" id="{CE207E22-82EA-ED77-04B8-C4885FC677A1}"/>
                      </a:ext>
                    </a:extLst>
                  </p:cNvPr>
                  <p:cNvSpPr/>
                  <p:nvPr userDrawn="1"/>
                </p:nvSpPr>
                <p:spPr>
                  <a:xfrm>
                    <a:off x="8232345" y="437798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D9DCE6"/>
                  </a:solidFill>
                  <a:ln w="2339" cap="flat">
                    <a:noFill/>
                    <a:prstDash val="solid"/>
                    <a:miter/>
                  </a:ln>
                </p:spPr>
                <p:txBody>
                  <a:bodyPr rtlCol="0" anchor="ctr"/>
                  <a:lstStyle/>
                  <a:p>
                    <a:endParaRPr lang="en-US" sz="2400"/>
                  </a:p>
                </p:txBody>
              </p:sp>
              <p:sp>
                <p:nvSpPr>
                  <p:cNvPr id="158" name="Freeform: Shape 157">
                    <a:extLst>
                      <a:ext uri="{FF2B5EF4-FFF2-40B4-BE49-F238E27FC236}">
                        <a16:creationId xmlns:a16="http://schemas.microsoft.com/office/drawing/2014/main" id="{C41EA700-35E1-0D7D-86DD-A48E27EBDDE4}"/>
                      </a:ext>
                    </a:extLst>
                  </p:cNvPr>
                  <p:cNvSpPr/>
                  <p:nvPr userDrawn="1"/>
                </p:nvSpPr>
                <p:spPr>
                  <a:xfrm>
                    <a:off x="8231947" y="437775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9DCE6"/>
                  </a:solidFill>
                  <a:ln w="2339" cap="flat">
                    <a:noFill/>
                    <a:prstDash val="solid"/>
                    <a:miter/>
                  </a:ln>
                </p:spPr>
                <p:txBody>
                  <a:bodyPr rtlCol="0" anchor="ctr"/>
                  <a:lstStyle/>
                  <a:p>
                    <a:endParaRPr lang="en-US" sz="2400"/>
                  </a:p>
                </p:txBody>
              </p:sp>
              <p:sp>
                <p:nvSpPr>
                  <p:cNvPr id="159" name="Freeform: Shape 158">
                    <a:extLst>
                      <a:ext uri="{FF2B5EF4-FFF2-40B4-BE49-F238E27FC236}">
                        <a16:creationId xmlns:a16="http://schemas.microsoft.com/office/drawing/2014/main" id="{FEA4C86F-776E-F10B-830A-84F68885E1A0}"/>
                      </a:ext>
                    </a:extLst>
                  </p:cNvPr>
                  <p:cNvSpPr/>
                  <p:nvPr userDrawn="1"/>
                </p:nvSpPr>
                <p:spPr>
                  <a:xfrm>
                    <a:off x="8231550" y="437751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9DDE6"/>
                  </a:solidFill>
                  <a:ln w="2339" cap="flat">
                    <a:noFill/>
                    <a:prstDash val="solid"/>
                    <a:miter/>
                  </a:ln>
                </p:spPr>
                <p:txBody>
                  <a:bodyPr rtlCol="0" anchor="ctr"/>
                  <a:lstStyle/>
                  <a:p>
                    <a:endParaRPr lang="en-US" sz="2400"/>
                  </a:p>
                </p:txBody>
              </p:sp>
              <p:sp>
                <p:nvSpPr>
                  <p:cNvPr id="160" name="Freeform: Shape 159">
                    <a:extLst>
                      <a:ext uri="{FF2B5EF4-FFF2-40B4-BE49-F238E27FC236}">
                        <a16:creationId xmlns:a16="http://schemas.microsoft.com/office/drawing/2014/main" id="{98151E9C-021E-FA4E-0EC1-B9233B7763B2}"/>
                      </a:ext>
                    </a:extLst>
                  </p:cNvPr>
                  <p:cNvSpPr/>
                  <p:nvPr userDrawn="1"/>
                </p:nvSpPr>
                <p:spPr>
                  <a:xfrm>
                    <a:off x="8231152" y="437730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ADDE7"/>
                  </a:solidFill>
                  <a:ln w="2339" cap="flat">
                    <a:noFill/>
                    <a:prstDash val="solid"/>
                    <a:miter/>
                  </a:ln>
                </p:spPr>
                <p:txBody>
                  <a:bodyPr rtlCol="0" anchor="ctr"/>
                  <a:lstStyle/>
                  <a:p>
                    <a:endParaRPr lang="en-US" sz="2400"/>
                  </a:p>
                </p:txBody>
              </p:sp>
              <p:sp>
                <p:nvSpPr>
                  <p:cNvPr id="161" name="Freeform: Shape 160">
                    <a:extLst>
                      <a:ext uri="{FF2B5EF4-FFF2-40B4-BE49-F238E27FC236}">
                        <a16:creationId xmlns:a16="http://schemas.microsoft.com/office/drawing/2014/main" id="{6CA67D08-5F86-D5A9-6B78-BC2A5D3B8036}"/>
                      </a:ext>
                    </a:extLst>
                  </p:cNvPr>
                  <p:cNvSpPr/>
                  <p:nvPr userDrawn="1"/>
                </p:nvSpPr>
                <p:spPr>
                  <a:xfrm>
                    <a:off x="8230731" y="437707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ADDE7"/>
                  </a:solidFill>
                  <a:ln w="2339" cap="flat">
                    <a:noFill/>
                    <a:prstDash val="solid"/>
                    <a:miter/>
                  </a:ln>
                </p:spPr>
                <p:txBody>
                  <a:bodyPr rtlCol="0" anchor="ctr"/>
                  <a:lstStyle/>
                  <a:p>
                    <a:endParaRPr lang="en-US" sz="2400"/>
                  </a:p>
                </p:txBody>
              </p:sp>
              <p:sp>
                <p:nvSpPr>
                  <p:cNvPr id="162" name="Freeform: Shape 161">
                    <a:extLst>
                      <a:ext uri="{FF2B5EF4-FFF2-40B4-BE49-F238E27FC236}">
                        <a16:creationId xmlns:a16="http://schemas.microsoft.com/office/drawing/2014/main" id="{81063E14-E4F3-D809-0231-DE75BCE6D21A}"/>
                      </a:ext>
                    </a:extLst>
                  </p:cNvPr>
                  <p:cNvSpPr/>
                  <p:nvPr userDrawn="1"/>
                </p:nvSpPr>
                <p:spPr>
                  <a:xfrm>
                    <a:off x="8230333" y="437684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ADEE7"/>
                  </a:solidFill>
                  <a:ln w="2339" cap="flat">
                    <a:noFill/>
                    <a:prstDash val="solid"/>
                    <a:miter/>
                  </a:ln>
                </p:spPr>
                <p:txBody>
                  <a:bodyPr rtlCol="0" anchor="ctr"/>
                  <a:lstStyle/>
                  <a:p>
                    <a:endParaRPr lang="en-US" sz="2400"/>
                  </a:p>
                </p:txBody>
              </p:sp>
              <p:sp>
                <p:nvSpPr>
                  <p:cNvPr id="163" name="Freeform: Shape 162">
                    <a:extLst>
                      <a:ext uri="{FF2B5EF4-FFF2-40B4-BE49-F238E27FC236}">
                        <a16:creationId xmlns:a16="http://schemas.microsoft.com/office/drawing/2014/main" id="{0F507248-E028-64F6-13A3-BA06DD8D3E4F}"/>
                      </a:ext>
                    </a:extLst>
                  </p:cNvPr>
                  <p:cNvSpPr/>
                  <p:nvPr userDrawn="1"/>
                </p:nvSpPr>
                <p:spPr>
                  <a:xfrm>
                    <a:off x="8229958" y="437663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DBDEE7"/>
                  </a:solidFill>
                  <a:ln w="2339" cap="flat">
                    <a:noFill/>
                    <a:prstDash val="solid"/>
                    <a:miter/>
                  </a:ln>
                </p:spPr>
                <p:txBody>
                  <a:bodyPr rtlCol="0" anchor="ctr"/>
                  <a:lstStyle/>
                  <a:p>
                    <a:endParaRPr lang="en-US" sz="2400"/>
                  </a:p>
                </p:txBody>
              </p:sp>
              <p:sp>
                <p:nvSpPr>
                  <p:cNvPr id="164" name="Freeform: Shape 163">
                    <a:extLst>
                      <a:ext uri="{FF2B5EF4-FFF2-40B4-BE49-F238E27FC236}">
                        <a16:creationId xmlns:a16="http://schemas.microsoft.com/office/drawing/2014/main" id="{D19C53DF-0AC2-C406-B017-C0FF7352C6A4}"/>
                      </a:ext>
                    </a:extLst>
                  </p:cNvPr>
                  <p:cNvSpPr/>
                  <p:nvPr userDrawn="1"/>
                </p:nvSpPr>
                <p:spPr>
                  <a:xfrm>
                    <a:off x="8229561" y="437639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BDEE7"/>
                  </a:solidFill>
                  <a:ln w="2339" cap="flat">
                    <a:noFill/>
                    <a:prstDash val="solid"/>
                    <a:miter/>
                  </a:ln>
                </p:spPr>
                <p:txBody>
                  <a:bodyPr rtlCol="0" anchor="ctr"/>
                  <a:lstStyle/>
                  <a:p>
                    <a:endParaRPr lang="en-US" sz="2400"/>
                  </a:p>
                </p:txBody>
              </p:sp>
              <p:sp>
                <p:nvSpPr>
                  <p:cNvPr id="165" name="Freeform: Shape 164">
                    <a:extLst>
                      <a:ext uri="{FF2B5EF4-FFF2-40B4-BE49-F238E27FC236}">
                        <a16:creationId xmlns:a16="http://schemas.microsoft.com/office/drawing/2014/main" id="{3BA99382-6C7E-0B4E-EDA8-F0DBEF3232E8}"/>
                      </a:ext>
                    </a:extLst>
                  </p:cNvPr>
                  <p:cNvSpPr/>
                  <p:nvPr userDrawn="1"/>
                </p:nvSpPr>
                <p:spPr>
                  <a:xfrm>
                    <a:off x="8229163" y="437616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BDEE8"/>
                  </a:solidFill>
                  <a:ln w="2339" cap="flat">
                    <a:noFill/>
                    <a:prstDash val="solid"/>
                    <a:miter/>
                  </a:ln>
                </p:spPr>
                <p:txBody>
                  <a:bodyPr rtlCol="0" anchor="ctr"/>
                  <a:lstStyle/>
                  <a:p>
                    <a:endParaRPr lang="en-US" sz="2400"/>
                  </a:p>
                </p:txBody>
              </p:sp>
              <p:sp>
                <p:nvSpPr>
                  <p:cNvPr id="166" name="Freeform: Shape 165">
                    <a:extLst>
                      <a:ext uri="{FF2B5EF4-FFF2-40B4-BE49-F238E27FC236}">
                        <a16:creationId xmlns:a16="http://schemas.microsoft.com/office/drawing/2014/main" id="{7A5EEC98-A485-9DB4-0CCE-E7B4A1247DFA}"/>
                      </a:ext>
                    </a:extLst>
                  </p:cNvPr>
                  <p:cNvSpPr/>
                  <p:nvPr userDrawn="1"/>
                </p:nvSpPr>
                <p:spPr>
                  <a:xfrm>
                    <a:off x="8228765" y="437592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CDFE8"/>
                  </a:solidFill>
                  <a:ln w="2339" cap="flat">
                    <a:noFill/>
                    <a:prstDash val="solid"/>
                    <a:miter/>
                  </a:ln>
                </p:spPr>
                <p:txBody>
                  <a:bodyPr rtlCol="0" anchor="ctr"/>
                  <a:lstStyle/>
                  <a:p>
                    <a:endParaRPr lang="en-US" sz="2400"/>
                  </a:p>
                </p:txBody>
              </p:sp>
              <p:sp>
                <p:nvSpPr>
                  <p:cNvPr id="167" name="Freeform: Shape 166">
                    <a:extLst>
                      <a:ext uri="{FF2B5EF4-FFF2-40B4-BE49-F238E27FC236}">
                        <a16:creationId xmlns:a16="http://schemas.microsoft.com/office/drawing/2014/main" id="{40F31ED3-CFBE-2814-633B-1C9C21D7F067}"/>
                      </a:ext>
                    </a:extLst>
                  </p:cNvPr>
                  <p:cNvSpPr/>
                  <p:nvPr userDrawn="1"/>
                </p:nvSpPr>
                <p:spPr>
                  <a:xfrm>
                    <a:off x="8228391" y="437569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CDFE8"/>
                  </a:solidFill>
                  <a:ln w="2339" cap="flat">
                    <a:noFill/>
                    <a:prstDash val="solid"/>
                    <a:miter/>
                  </a:ln>
                </p:spPr>
                <p:txBody>
                  <a:bodyPr rtlCol="0" anchor="ctr"/>
                  <a:lstStyle/>
                  <a:p>
                    <a:endParaRPr lang="en-US" sz="2400"/>
                  </a:p>
                </p:txBody>
              </p:sp>
              <p:sp>
                <p:nvSpPr>
                  <p:cNvPr id="168" name="Freeform: Shape 167">
                    <a:extLst>
                      <a:ext uri="{FF2B5EF4-FFF2-40B4-BE49-F238E27FC236}">
                        <a16:creationId xmlns:a16="http://schemas.microsoft.com/office/drawing/2014/main" id="{844BC83D-5F4B-CF30-DDB3-2D83B30C4423}"/>
                      </a:ext>
                    </a:extLst>
                  </p:cNvPr>
                  <p:cNvSpPr/>
                  <p:nvPr userDrawn="1"/>
                </p:nvSpPr>
                <p:spPr>
                  <a:xfrm>
                    <a:off x="8227993" y="437546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CDFE8"/>
                  </a:solidFill>
                  <a:ln w="2339" cap="flat">
                    <a:noFill/>
                    <a:prstDash val="solid"/>
                    <a:miter/>
                  </a:ln>
                </p:spPr>
                <p:txBody>
                  <a:bodyPr rtlCol="0" anchor="ctr"/>
                  <a:lstStyle/>
                  <a:p>
                    <a:endParaRPr lang="en-US" sz="2400"/>
                  </a:p>
                </p:txBody>
              </p:sp>
              <p:sp>
                <p:nvSpPr>
                  <p:cNvPr id="169" name="Freeform: Shape 168">
                    <a:extLst>
                      <a:ext uri="{FF2B5EF4-FFF2-40B4-BE49-F238E27FC236}">
                        <a16:creationId xmlns:a16="http://schemas.microsoft.com/office/drawing/2014/main" id="{C4003866-A337-63A8-65EB-FBD807EC2472}"/>
                      </a:ext>
                    </a:extLst>
                  </p:cNvPr>
                  <p:cNvSpPr/>
                  <p:nvPr userDrawn="1"/>
                </p:nvSpPr>
                <p:spPr>
                  <a:xfrm>
                    <a:off x="8227618" y="437522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CE0E8"/>
                  </a:solidFill>
                  <a:ln w="2339" cap="flat">
                    <a:noFill/>
                    <a:prstDash val="solid"/>
                    <a:miter/>
                  </a:ln>
                </p:spPr>
                <p:txBody>
                  <a:bodyPr rtlCol="0" anchor="ctr"/>
                  <a:lstStyle/>
                  <a:p>
                    <a:endParaRPr lang="en-US" sz="2400"/>
                  </a:p>
                </p:txBody>
              </p:sp>
              <p:sp>
                <p:nvSpPr>
                  <p:cNvPr id="170" name="Freeform: Shape 169">
                    <a:extLst>
                      <a:ext uri="{FF2B5EF4-FFF2-40B4-BE49-F238E27FC236}">
                        <a16:creationId xmlns:a16="http://schemas.microsoft.com/office/drawing/2014/main" id="{1F41DB75-7D85-2863-8B24-0D00C15DAA68}"/>
                      </a:ext>
                    </a:extLst>
                  </p:cNvPr>
                  <p:cNvSpPr/>
                  <p:nvPr userDrawn="1"/>
                </p:nvSpPr>
                <p:spPr>
                  <a:xfrm>
                    <a:off x="8227244" y="437499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DE0E9"/>
                  </a:solidFill>
                  <a:ln w="2339" cap="flat">
                    <a:noFill/>
                    <a:prstDash val="solid"/>
                    <a:miter/>
                  </a:ln>
                </p:spPr>
                <p:txBody>
                  <a:bodyPr rtlCol="0" anchor="ctr"/>
                  <a:lstStyle/>
                  <a:p>
                    <a:endParaRPr lang="en-US" sz="2400"/>
                  </a:p>
                </p:txBody>
              </p:sp>
              <p:sp>
                <p:nvSpPr>
                  <p:cNvPr id="171" name="Freeform: Shape 170">
                    <a:extLst>
                      <a:ext uri="{FF2B5EF4-FFF2-40B4-BE49-F238E27FC236}">
                        <a16:creationId xmlns:a16="http://schemas.microsoft.com/office/drawing/2014/main" id="{A20D138F-CB75-673E-C0C1-AC4D78C17C14}"/>
                      </a:ext>
                    </a:extLst>
                  </p:cNvPr>
                  <p:cNvSpPr/>
                  <p:nvPr userDrawn="1"/>
                </p:nvSpPr>
                <p:spPr>
                  <a:xfrm>
                    <a:off x="8226870" y="437475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DE0E9"/>
                  </a:solidFill>
                  <a:ln w="2339" cap="flat">
                    <a:noFill/>
                    <a:prstDash val="solid"/>
                    <a:miter/>
                  </a:ln>
                </p:spPr>
                <p:txBody>
                  <a:bodyPr rtlCol="0" anchor="ctr"/>
                  <a:lstStyle/>
                  <a:p>
                    <a:endParaRPr lang="en-US" sz="2400"/>
                  </a:p>
                </p:txBody>
              </p:sp>
              <p:sp>
                <p:nvSpPr>
                  <p:cNvPr id="172" name="Freeform: Shape 171">
                    <a:extLst>
                      <a:ext uri="{FF2B5EF4-FFF2-40B4-BE49-F238E27FC236}">
                        <a16:creationId xmlns:a16="http://schemas.microsoft.com/office/drawing/2014/main" id="{9670DE8B-A8F9-ED5F-2B7B-BC430AD1DA9C}"/>
                      </a:ext>
                    </a:extLst>
                  </p:cNvPr>
                  <p:cNvSpPr/>
                  <p:nvPr userDrawn="1"/>
                </p:nvSpPr>
                <p:spPr>
                  <a:xfrm>
                    <a:off x="8226495" y="437452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DE0E9"/>
                  </a:solidFill>
                  <a:ln w="2339" cap="flat">
                    <a:noFill/>
                    <a:prstDash val="solid"/>
                    <a:miter/>
                  </a:ln>
                </p:spPr>
                <p:txBody>
                  <a:bodyPr rtlCol="0" anchor="ctr"/>
                  <a:lstStyle/>
                  <a:p>
                    <a:endParaRPr lang="en-US" sz="2400"/>
                  </a:p>
                </p:txBody>
              </p:sp>
              <p:sp>
                <p:nvSpPr>
                  <p:cNvPr id="173" name="Freeform: Shape 172">
                    <a:extLst>
                      <a:ext uri="{FF2B5EF4-FFF2-40B4-BE49-F238E27FC236}">
                        <a16:creationId xmlns:a16="http://schemas.microsoft.com/office/drawing/2014/main" id="{3ABF72E1-B8BC-572A-E5CE-CBDC6B3D1A0C}"/>
                      </a:ext>
                    </a:extLst>
                  </p:cNvPr>
                  <p:cNvSpPr/>
                  <p:nvPr userDrawn="1"/>
                </p:nvSpPr>
                <p:spPr>
                  <a:xfrm>
                    <a:off x="8226121" y="437429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EE1E9"/>
                  </a:solidFill>
                  <a:ln w="2339" cap="flat">
                    <a:noFill/>
                    <a:prstDash val="solid"/>
                    <a:miter/>
                  </a:ln>
                </p:spPr>
                <p:txBody>
                  <a:bodyPr rtlCol="0" anchor="ctr"/>
                  <a:lstStyle/>
                  <a:p>
                    <a:endParaRPr lang="en-US" sz="2400"/>
                  </a:p>
                </p:txBody>
              </p:sp>
              <p:sp>
                <p:nvSpPr>
                  <p:cNvPr id="174" name="Freeform: Shape 173">
                    <a:extLst>
                      <a:ext uri="{FF2B5EF4-FFF2-40B4-BE49-F238E27FC236}">
                        <a16:creationId xmlns:a16="http://schemas.microsoft.com/office/drawing/2014/main" id="{987319E8-0B85-479A-AFA0-4DC818AEE7EF}"/>
                      </a:ext>
                    </a:extLst>
                  </p:cNvPr>
                  <p:cNvSpPr/>
                  <p:nvPr userDrawn="1"/>
                </p:nvSpPr>
                <p:spPr>
                  <a:xfrm>
                    <a:off x="8225746" y="437405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EE1E9"/>
                  </a:solidFill>
                  <a:ln w="2339" cap="flat">
                    <a:noFill/>
                    <a:prstDash val="solid"/>
                    <a:miter/>
                  </a:ln>
                </p:spPr>
                <p:txBody>
                  <a:bodyPr rtlCol="0" anchor="ctr"/>
                  <a:lstStyle/>
                  <a:p>
                    <a:endParaRPr lang="en-US" sz="2400"/>
                  </a:p>
                </p:txBody>
              </p:sp>
              <p:sp>
                <p:nvSpPr>
                  <p:cNvPr id="175" name="Freeform: Shape 174">
                    <a:extLst>
                      <a:ext uri="{FF2B5EF4-FFF2-40B4-BE49-F238E27FC236}">
                        <a16:creationId xmlns:a16="http://schemas.microsoft.com/office/drawing/2014/main" id="{83AB330C-F48F-82A7-473B-A84887B6C780}"/>
                      </a:ext>
                    </a:extLst>
                  </p:cNvPr>
                  <p:cNvSpPr/>
                  <p:nvPr userDrawn="1"/>
                </p:nvSpPr>
                <p:spPr>
                  <a:xfrm>
                    <a:off x="8225372" y="437382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DEE1EA"/>
                  </a:solidFill>
                  <a:ln w="2339" cap="flat">
                    <a:noFill/>
                    <a:prstDash val="solid"/>
                    <a:miter/>
                  </a:ln>
                </p:spPr>
                <p:txBody>
                  <a:bodyPr rtlCol="0" anchor="ctr"/>
                  <a:lstStyle/>
                  <a:p>
                    <a:endParaRPr lang="en-US" sz="2400"/>
                  </a:p>
                </p:txBody>
              </p:sp>
              <p:sp>
                <p:nvSpPr>
                  <p:cNvPr id="176" name="Freeform: Shape 175">
                    <a:extLst>
                      <a:ext uri="{FF2B5EF4-FFF2-40B4-BE49-F238E27FC236}">
                        <a16:creationId xmlns:a16="http://schemas.microsoft.com/office/drawing/2014/main" id="{84D913E4-D106-D7B9-FD5A-446AA3E9582C}"/>
                      </a:ext>
                    </a:extLst>
                  </p:cNvPr>
                  <p:cNvSpPr/>
                  <p:nvPr userDrawn="1"/>
                </p:nvSpPr>
                <p:spPr>
                  <a:xfrm>
                    <a:off x="8224998" y="437356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FE1EA"/>
                  </a:solidFill>
                  <a:ln w="2339" cap="flat">
                    <a:noFill/>
                    <a:prstDash val="solid"/>
                    <a:miter/>
                  </a:ln>
                </p:spPr>
                <p:txBody>
                  <a:bodyPr rtlCol="0" anchor="ctr"/>
                  <a:lstStyle/>
                  <a:p>
                    <a:endParaRPr lang="en-US" sz="2400"/>
                  </a:p>
                </p:txBody>
              </p:sp>
              <p:sp>
                <p:nvSpPr>
                  <p:cNvPr id="177" name="Freeform: Shape 176">
                    <a:extLst>
                      <a:ext uri="{FF2B5EF4-FFF2-40B4-BE49-F238E27FC236}">
                        <a16:creationId xmlns:a16="http://schemas.microsoft.com/office/drawing/2014/main" id="{1C3436EB-F631-080D-AE60-97C34CF1D292}"/>
                      </a:ext>
                    </a:extLst>
                  </p:cNvPr>
                  <p:cNvSpPr/>
                  <p:nvPr userDrawn="1"/>
                </p:nvSpPr>
                <p:spPr>
                  <a:xfrm>
                    <a:off x="8224647" y="437333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FE2EA"/>
                  </a:solidFill>
                  <a:ln w="2339" cap="flat">
                    <a:noFill/>
                    <a:prstDash val="solid"/>
                    <a:miter/>
                  </a:ln>
                </p:spPr>
                <p:txBody>
                  <a:bodyPr rtlCol="0" anchor="ctr"/>
                  <a:lstStyle/>
                  <a:p>
                    <a:endParaRPr lang="en-US" sz="2400"/>
                  </a:p>
                </p:txBody>
              </p:sp>
              <p:sp>
                <p:nvSpPr>
                  <p:cNvPr id="178" name="Freeform: Shape 177">
                    <a:extLst>
                      <a:ext uri="{FF2B5EF4-FFF2-40B4-BE49-F238E27FC236}">
                        <a16:creationId xmlns:a16="http://schemas.microsoft.com/office/drawing/2014/main" id="{9035355C-2440-3976-9064-54B88D4AFA4A}"/>
                      </a:ext>
                    </a:extLst>
                  </p:cNvPr>
                  <p:cNvSpPr/>
                  <p:nvPr userDrawn="1"/>
                </p:nvSpPr>
                <p:spPr>
                  <a:xfrm>
                    <a:off x="8224272" y="437309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DFE2EA"/>
                  </a:solidFill>
                  <a:ln w="2339" cap="flat">
                    <a:noFill/>
                    <a:prstDash val="solid"/>
                    <a:miter/>
                  </a:ln>
                </p:spPr>
                <p:txBody>
                  <a:bodyPr rtlCol="0" anchor="ctr"/>
                  <a:lstStyle/>
                  <a:p>
                    <a:endParaRPr lang="en-US" sz="2400"/>
                  </a:p>
                </p:txBody>
              </p:sp>
              <p:sp>
                <p:nvSpPr>
                  <p:cNvPr id="179" name="Freeform: Shape 178">
                    <a:extLst>
                      <a:ext uri="{FF2B5EF4-FFF2-40B4-BE49-F238E27FC236}">
                        <a16:creationId xmlns:a16="http://schemas.microsoft.com/office/drawing/2014/main" id="{5C1BFD18-292B-9ADA-8F5E-CAA8EF07B031}"/>
                      </a:ext>
                    </a:extLst>
                  </p:cNvPr>
                  <p:cNvSpPr/>
                  <p:nvPr userDrawn="1"/>
                </p:nvSpPr>
                <p:spPr>
                  <a:xfrm>
                    <a:off x="8223921" y="437283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FE2EA"/>
                  </a:solidFill>
                  <a:ln w="2339" cap="flat">
                    <a:noFill/>
                    <a:prstDash val="solid"/>
                    <a:miter/>
                  </a:ln>
                </p:spPr>
                <p:txBody>
                  <a:bodyPr rtlCol="0" anchor="ctr"/>
                  <a:lstStyle/>
                  <a:p>
                    <a:endParaRPr lang="en-US" sz="2400"/>
                  </a:p>
                </p:txBody>
              </p:sp>
              <p:sp>
                <p:nvSpPr>
                  <p:cNvPr id="180" name="Freeform: Shape 179">
                    <a:extLst>
                      <a:ext uri="{FF2B5EF4-FFF2-40B4-BE49-F238E27FC236}">
                        <a16:creationId xmlns:a16="http://schemas.microsoft.com/office/drawing/2014/main" id="{FE87D75E-9617-9D98-91C0-D86317E5A35A}"/>
                      </a:ext>
                    </a:extLst>
                  </p:cNvPr>
                  <p:cNvSpPr/>
                  <p:nvPr userDrawn="1"/>
                </p:nvSpPr>
                <p:spPr>
                  <a:xfrm>
                    <a:off x="8223570" y="437260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0E3EB"/>
                  </a:solidFill>
                  <a:ln w="2339" cap="flat">
                    <a:noFill/>
                    <a:prstDash val="solid"/>
                    <a:miter/>
                  </a:ln>
                </p:spPr>
                <p:txBody>
                  <a:bodyPr rtlCol="0" anchor="ctr"/>
                  <a:lstStyle/>
                  <a:p>
                    <a:endParaRPr lang="en-US" sz="2400"/>
                  </a:p>
                </p:txBody>
              </p:sp>
              <p:sp>
                <p:nvSpPr>
                  <p:cNvPr id="181" name="Freeform: Shape 180">
                    <a:extLst>
                      <a:ext uri="{FF2B5EF4-FFF2-40B4-BE49-F238E27FC236}">
                        <a16:creationId xmlns:a16="http://schemas.microsoft.com/office/drawing/2014/main" id="{3F7ABC2D-5EF3-443A-0BD1-70659F64919A}"/>
                      </a:ext>
                    </a:extLst>
                  </p:cNvPr>
                  <p:cNvSpPr/>
                  <p:nvPr userDrawn="1"/>
                </p:nvSpPr>
                <p:spPr>
                  <a:xfrm>
                    <a:off x="8223196" y="437237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0E3EB"/>
                  </a:solidFill>
                  <a:ln w="2339" cap="flat">
                    <a:noFill/>
                    <a:prstDash val="solid"/>
                    <a:miter/>
                  </a:ln>
                </p:spPr>
                <p:txBody>
                  <a:bodyPr rtlCol="0" anchor="ctr"/>
                  <a:lstStyle/>
                  <a:p>
                    <a:endParaRPr lang="en-US" sz="2400"/>
                  </a:p>
                </p:txBody>
              </p:sp>
              <p:sp>
                <p:nvSpPr>
                  <p:cNvPr id="182" name="Freeform: Shape 181">
                    <a:extLst>
                      <a:ext uri="{FF2B5EF4-FFF2-40B4-BE49-F238E27FC236}">
                        <a16:creationId xmlns:a16="http://schemas.microsoft.com/office/drawing/2014/main" id="{96E23D1C-29E4-CE9E-DE65-3DAB5D9616EC}"/>
                      </a:ext>
                    </a:extLst>
                  </p:cNvPr>
                  <p:cNvSpPr/>
                  <p:nvPr userDrawn="1"/>
                </p:nvSpPr>
                <p:spPr>
                  <a:xfrm>
                    <a:off x="8222845" y="437211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0E3EB"/>
                  </a:solidFill>
                  <a:ln w="2339" cap="flat">
                    <a:noFill/>
                    <a:prstDash val="solid"/>
                    <a:miter/>
                  </a:ln>
                </p:spPr>
                <p:txBody>
                  <a:bodyPr rtlCol="0" anchor="ctr"/>
                  <a:lstStyle/>
                  <a:p>
                    <a:endParaRPr lang="en-US" sz="2400"/>
                  </a:p>
                </p:txBody>
              </p:sp>
              <p:sp>
                <p:nvSpPr>
                  <p:cNvPr id="183" name="Freeform: Shape 182">
                    <a:extLst>
                      <a:ext uri="{FF2B5EF4-FFF2-40B4-BE49-F238E27FC236}">
                        <a16:creationId xmlns:a16="http://schemas.microsoft.com/office/drawing/2014/main" id="{F0AA9324-1A9E-1338-739C-BE4D78515728}"/>
                      </a:ext>
                    </a:extLst>
                  </p:cNvPr>
                  <p:cNvSpPr/>
                  <p:nvPr userDrawn="1"/>
                </p:nvSpPr>
                <p:spPr>
                  <a:xfrm>
                    <a:off x="8222494" y="437188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1E3EB"/>
                  </a:solidFill>
                  <a:ln w="2339" cap="flat">
                    <a:noFill/>
                    <a:prstDash val="solid"/>
                    <a:miter/>
                  </a:ln>
                </p:spPr>
                <p:txBody>
                  <a:bodyPr rtlCol="0" anchor="ctr"/>
                  <a:lstStyle/>
                  <a:p>
                    <a:endParaRPr lang="en-US" sz="2400"/>
                  </a:p>
                </p:txBody>
              </p:sp>
              <p:sp>
                <p:nvSpPr>
                  <p:cNvPr id="184" name="Freeform: Shape 183">
                    <a:extLst>
                      <a:ext uri="{FF2B5EF4-FFF2-40B4-BE49-F238E27FC236}">
                        <a16:creationId xmlns:a16="http://schemas.microsoft.com/office/drawing/2014/main" id="{B863D5E8-335B-BD6E-8204-311169B21058}"/>
                      </a:ext>
                    </a:extLst>
                  </p:cNvPr>
                  <p:cNvSpPr/>
                  <p:nvPr userDrawn="1"/>
                </p:nvSpPr>
                <p:spPr>
                  <a:xfrm>
                    <a:off x="8222166" y="437162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1E4EB"/>
                  </a:solidFill>
                  <a:ln w="2339" cap="flat">
                    <a:noFill/>
                    <a:prstDash val="solid"/>
                    <a:miter/>
                  </a:ln>
                </p:spPr>
                <p:txBody>
                  <a:bodyPr rtlCol="0" anchor="ctr"/>
                  <a:lstStyle/>
                  <a:p>
                    <a:endParaRPr lang="en-US" sz="2400"/>
                  </a:p>
                </p:txBody>
              </p:sp>
              <p:sp>
                <p:nvSpPr>
                  <p:cNvPr id="185" name="Freeform: Shape 184">
                    <a:extLst>
                      <a:ext uri="{FF2B5EF4-FFF2-40B4-BE49-F238E27FC236}">
                        <a16:creationId xmlns:a16="http://schemas.microsoft.com/office/drawing/2014/main" id="{71D338DC-9071-0D71-3F25-A5B7AB1DDB30}"/>
                      </a:ext>
                    </a:extLst>
                  </p:cNvPr>
                  <p:cNvSpPr/>
                  <p:nvPr userDrawn="1"/>
                </p:nvSpPr>
                <p:spPr>
                  <a:xfrm>
                    <a:off x="8221815" y="437138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E1E4EC"/>
                  </a:solidFill>
                  <a:ln w="2339" cap="flat">
                    <a:noFill/>
                    <a:prstDash val="solid"/>
                    <a:miter/>
                  </a:ln>
                </p:spPr>
                <p:txBody>
                  <a:bodyPr rtlCol="0" anchor="ctr"/>
                  <a:lstStyle/>
                  <a:p>
                    <a:endParaRPr lang="en-US" sz="2400"/>
                  </a:p>
                </p:txBody>
              </p:sp>
              <p:sp>
                <p:nvSpPr>
                  <p:cNvPr id="186" name="Freeform: Shape 185">
                    <a:extLst>
                      <a:ext uri="{FF2B5EF4-FFF2-40B4-BE49-F238E27FC236}">
                        <a16:creationId xmlns:a16="http://schemas.microsoft.com/office/drawing/2014/main" id="{92707191-62AE-AD21-971C-DC8CA385992D}"/>
                      </a:ext>
                    </a:extLst>
                  </p:cNvPr>
                  <p:cNvSpPr/>
                  <p:nvPr userDrawn="1"/>
                </p:nvSpPr>
                <p:spPr>
                  <a:xfrm>
                    <a:off x="8221464" y="437113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2E4EC"/>
                  </a:solidFill>
                  <a:ln w="2339" cap="flat">
                    <a:noFill/>
                    <a:prstDash val="solid"/>
                    <a:miter/>
                  </a:ln>
                </p:spPr>
                <p:txBody>
                  <a:bodyPr rtlCol="0" anchor="ctr"/>
                  <a:lstStyle/>
                  <a:p>
                    <a:endParaRPr lang="en-US" sz="2400"/>
                  </a:p>
                </p:txBody>
              </p:sp>
              <p:sp>
                <p:nvSpPr>
                  <p:cNvPr id="187" name="Freeform: Shape 186">
                    <a:extLst>
                      <a:ext uri="{FF2B5EF4-FFF2-40B4-BE49-F238E27FC236}">
                        <a16:creationId xmlns:a16="http://schemas.microsoft.com/office/drawing/2014/main" id="{1B617B35-FF8C-E300-0116-356310A7E4EA}"/>
                      </a:ext>
                    </a:extLst>
                  </p:cNvPr>
                  <p:cNvSpPr/>
                  <p:nvPr userDrawn="1"/>
                </p:nvSpPr>
                <p:spPr>
                  <a:xfrm>
                    <a:off x="8221113" y="437087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2E5EC"/>
                  </a:solidFill>
                  <a:ln w="2339" cap="flat">
                    <a:noFill/>
                    <a:prstDash val="solid"/>
                    <a:miter/>
                  </a:ln>
                </p:spPr>
                <p:txBody>
                  <a:bodyPr rtlCol="0" anchor="ctr"/>
                  <a:lstStyle/>
                  <a:p>
                    <a:endParaRPr lang="en-US" sz="2400"/>
                  </a:p>
                </p:txBody>
              </p:sp>
              <p:sp>
                <p:nvSpPr>
                  <p:cNvPr id="188" name="Freeform: Shape 187">
                    <a:extLst>
                      <a:ext uri="{FF2B5EF4-FFF2-40B4-BE49-F238E27FC236}">
                        <a16:creationId xmlns:a16="http://schemas.microsoft.com/office/drawing/2014/main" id="{9BFE5C7C-AC67-92BB-EEAD-640798643463}"/>
                      </a:ext>
                    </a:extLst>
                  </p:cNvPr>
                  <p:cNvSpPr/>
                  <p:nvPr userDrawn="1"/>
                </p:nvSpPr>
                <p:spPr>
                  <a:xfrm>
                    <a:off x="8220786" y="437063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E2E5EC"/>
                  </a:solidFill>
                  <a:ln w="2339" cap="flat">
                    <a:noFill/>
                    <a:prstDash val="solid"/>
                    <a:miter/>
                  </a:ln>
                </p:spPr>
                <p:txBody>
                  <a:bodyPr rtlCol="0" anchor="ctr"/>
                  <a:lstStyle/>
                  <a:p>
                    <a:endParaRPr lang="en-US" sz="2400"/>
                  </a:p>
                </p:txBody>
              </p:sp>
              <p:sp>
                <p:nvSpPr>
                  <p:cNvPr id="189" name="Freeform: Shape 188">
                    <a:extLst>
                      <a:ext uri="{FF2B5EF4-FFF2-40B4-BE49-F238E27FC236}">
                        <a16:creationId xmlns:a16="http://schemas.microsoft.com/office/drawing/2014/main" id="{9783952E-BEEF-34D0-924D-A711F48C425B}"/>
                      </a:ext>
                    </a:extLst>
                  </p:cNvPr>
                  <p:cNvSpPr/>
                  <p:nvPr userDrawn="1"/>
                </p:nvSpPr>
                <p:spPr>
                  <a:xfrm>
                    <a:off x="8220458" y="437038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3E5EC"/>
                  </a:solidFill>
                  <a:ln w="2339" cap="flat">
                    <a:noFill/>
                    <a:prstDash val="solid"/>
                    <a:miter/>
                  </a:ln>
                </p:spPr>
                <p:txBody>
                  <a:bodyPr rtlCol="0" anchor="ctr"/>
                  <a:lstStyle/>
                  <a:p>
                    <a:endParaRPr lang="en-US" sz="2400"/>
                  </a:p>
                </p:txBody>
              </p:sp>
              <p:sp>
                <p:nvSpPr>
                  <p:cNvPr id="190" name="Freeform: Shape 189">
                    <a:extLst>
                      <a:ext uri="{FF2B5EF4-FFF2-40B4-BE49-F238E27FC236}">
                        <a16:creationId xmlns:a16="http://schemas.microsoft.com/office/drawing/2014/main" id="{B5145C2A-3054-EB61-55D6-DD6C794CDB5E}"/>
                      </a:ext>
                    </a:extLst>
                  </p:cNvPr>
                  <p:cNvSpPr/>
                  <p:nvPr userDrawn="1"/>
                </p:nvSpPr>
                <p:spPr>
                  <a:xfrm>
                    <a:off x="8220107" y="437012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3E5ED"/>
                  </a:solidFill>
                  <a:ln w="2339" cap="flat">
                    <a:noFill/>
                    <a:prstDash val="solid"/>
                    <a:miter/>
                  </a:ln>
                </p:spPr>
                <p:txBody>
                  <a:bodyPr rtlCol="0" anchor="ctr"/>
                  <a:lstStyle/>
                  <a:p>
                    <a:endParaRPr lang="en-US" sz="2400"/>
                  </a:p>
                </p:txBody>
              </p:sp>
              <p:sp>
                <p:nvSpPr>
                  <p:cNvPr id="191" name="Freeform: Shape 190">
                    <a:extLst>
                      <a:ext uri="{FF2B5EF4-FFF2-40B4-BE49-F238E27FC236}">
                        <a16:creationId xmlns:a16="http://schemas.microsoft.com/office/drawing/2014/main" id="{311582B4-5621-E96E-E2DE-B0F8F6B75660}"/>
                      </a:ext>
                    </a:extLst>
                  </p:cNvPr>
                  <p:cNvSpPr/>
                  <p:nvPr userDrawn="1"/>
                </p:nvSpPr>
                <p:spPr>
                  <a:xfrm>
                    <a:off x="8219779" y="436989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3E6ED"/>
                  </a:solidFill>
                  <a:ln w="2339" cap="flat">
                    <a:noFill/>
                    <a:prstDash val="solid"/>
                    <a:miter/>
                  </a:ln>
                </p:spPr>
                <p:txBody>
                  <a:bodyPr rtlCol="0" anchor="ctr"/>
                  <a:lstStyle/>
                  <a:p>
                    <a:endParaRPr lang="en-US" sz="2400"/>
                  </a:p>
                </p:txBody>
              </p:sp>
              <p:sp>
                <p:nvSpPr>
                  <p:cNvPr id="192" name="Freeform: Shape 191">
                    <a:extLst>
                      <a:ext uri="{FF2B5EF4-FFF2-40B4-BE49-F238E27FC236}">
                        <a16:creationId xmlns:a16="http://schemas.microsoft.com/office/drawing/2014/main" id="{907EEBB1-0D59-5398-9AB0-BD7DFE3D83B8}"/>
                      </a:ext>
                    </a:extLst>
                  </p:cNvPr>
                  <p:cNvSpPr/>
                  <p:nvPr userDrawn="1"/>
                </p:nvSpPr>
                <p:spPr>
                  <a:xfrm>
                    <a:off x="8219452" y="436963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3E6ED"/>
                  </a:solidFill>
                  <a:ln w="2339" cap="flat">
                    <a:noFill/>
                    <a:prstDash val="solid"/>
                    <a:miter/>
                  </a:ln>
                </p:spPr>
                <p:txBody>
                  <a:bodyPr rtlCol="0" anchor="ctr"/>
                  <a:lstStyle/>
                  <a:p>
                    <a:endParaRPr lang="en-US" sz="2400"/>
                  </a:p>
                </p:txBody>
              </p:sp>
              <p:sp>
                <p:nvSpPr>
                  <p:cNvPr id="193" name="Freeform: Shape 192">
                    <a:extLst>
                      <a:ext uri="{FF2B5EF4-FFF2-40B4-BE49-F238E27FC236}">
                        <a16:creationId xmlns:a16="http://schemas.microsoft.com/office/drawing/2014/main" id="{2D7898C0-09D8-CB01-B5EE-85CA003A096C}"/>
                      </a:ext>
                    </a:extLst>
                  </p:cNvPr>
                  <p:cNvSpPr/>
                  <p:nvPr userDrawn="1"/>
                </p:nvSpPr>
                <p:spPr>
                  <a:xfrm>
                    <a:off x="8219124" y="436937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4E6ED"/>
                  </a:solidFill>
                  <a:ln w="2339" cap="flat">
                    <a:noFill/>
                    <a:prstDash val="solid"/>
                    <a:miter/>
                  </a:ln>
                </p:spPr>
                <p:txBody>
                  <a:bodyPr rtlCol="0" anchor="ctr"/>
                  <a:lstStyle/>
                  <a:p>
                    <a:endParaRPr lang="en-US" sz="2400"/>
                  </a:p>
                </p:txBody>
              </p:sp>
              <p:sp>
                <p:nvSpPr>
                  <p:cNvPr id="194" name="Freeform: Shape 193">
                    <a:extLst>
                      <a:ext uri="{FF2B5EF4-FFF2-40B4-BE49-F238E27FC236}">
                        <a16:creationId xmlns:a16="http://schemas.microsoft.com/office/drawing/2014/main" id="{97C8B81D-CD63-28E2-F270-1500C80B9E12}"/>
                      </a:ext>
                    </a:extLst>
                  </p:cNvPr>
                  <p:cNvSpPr/>
                  <p:nvPr userDrawn="1"/>
                </p:nvSpPr>
                <p:spPr>
                  <a:xfrm>
                    <a:off x="8218797" y="436911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4E6ED"/>
                  </a:solidFill>
                  <a:ln w="2339" cap="flat">
                    <a:noFill/>
                    <a:prstDash val="solid"/>
                    <a:miter/>
                  </a:ln>
                </p:spPr>
                <p:txBody>
                  <a:bodyPr rtlCol="0" anchor="ctr"/>
                  <a:lstStyle/>
                  <a:p>
                    <a:endParaRPr lang="en-US" sz="2400"/>
                  </a:p>
                </p:txBody>
              </p:sp>
              <p:sp>
                <p:nvSpPr>
                  <p:cNvPr id="195" name="Freeform: Shape 194">
                    <a:extLst>
                      <a:ext uri="{FF2B5EF4-FFF2-40B4-BE49-F238E27FC236}">
                        <a16:creationId xmlns:a16="http://schemas.microsoft.com/office/drawing/2014/main" id="{30F52B53-F890-D934-237C-6D95E719F5BB}"/>
                      </a:ext>
                    </a:extLst>
                  </p:cNvPr>
                  <p:cNvSpPr/>
                  <p:nvPr userDrawn="1"/>
                </p:nvSpPr>
                <p:spPr>
                  <a:xfrm>
                    <a:off x="8218492" y="436886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4E7EE"/>
                  </a:solidFill>
                  <a:ln w="2339" cap="flat">
                    <a:noFill/>
                    <a:prstDash val="solid"/>
                    <a:miter/>
                  </a:ln>
                </p:spPr>
                <p:txBody>
                  <a:bodyPr rtlCol="0" anchor="ctr"/>
                  <a:lstStyle/>
                  <a:p>
                    <a:endParaRPr lang="en-US" sz="2400"/>
                  </a:p>
                </p:txBody>
              </p:sp>
              <p:sp>
                <p:nvSpPr>
                  <p:cNvPr id="196" name="Freeform: Shape 195">
                    <a:extLst>
                      <a:ext uri="{FF2B5EF4-FFF2-40B4-BE49-F238E27FC236}">
                        <a16:creationId xmlns:a16="http://schemas.microsoft.com/office/drawing/2014/main" id="{CC37D068-731E-9857-D164-3799FD2B3DCD}"/>
                      </a:ext>
                    </a:extLst>
                  </p:cNvPr>
                  <p:cNvSpPr/>
                  <p:nvPr userDrawn="1"/>
                </p:nvSpPr>
                <p:spPr>
                  <a:xfrm>
                    <a:off x="8218165" y="436860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5E7EE"/>
                  </a:solidFill>
                  <a:ln w="2339" cap="flat">
                    <a:noFill/>
                    <a:prstDash val="solid"/>
                    <a:miter/>
                  </a:ln>
                </p:spPr>
                <p:txBody>
                  <a:bodyPr rtlCol="0" anchor="ctr"/>
                  <a:lstStyle/>
                  <a:p>
                    <a:endParaRPr lang="en-US" sz="2400"/>
                  </a:p>
                </p:txBody>
              </p:sp>
              <p:sp>
                <p:nvSpPr>
                  <p:cNvPr id="197" name="Freeform: Shape 196">
                    <a:extLst>
                      <a:ext uri="{FF2B5EF4-FFF2-40B4-BE49-F238E27FC236}">
                        <a16:creationId xmlns:a16="http://schemas.microsoft.com/office/drawing/2014/main" id="{0E76261B-9291-19B5-7514-B566106761EE}"/>
                      </a:ext>
                    </a:extLst>
                  </p:cNvPr>
                  <p:cNvSpPr/>
                  <p:nvPr userDrawn="1"/>
                </p:nvSpPr>
                <p:spPr>
                  <a:xfrm>
                    <a:off x="8217837" y="436837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E5E7EE"/>
                  </a:solidFill>
                  <a:ln w="2339" cap="flat">
                    <a:noFill/>
                    <a:prstDash val="solid"/>
                    <a:miter/>
                  </a:ln>
                </p:spPr>
                <p:txBody>
                  <a:bodyPr rtlCol="0" anchor="ctr"/>
                  <a:lstStyle/>
                  <a:p>
                    <a:endParaRPr lang="en-US" sz="2400"/>
                  </a:p>
                </p:txBody>
              </p:sp>
              <p:sp>
                <p:nvSpPr>
                  <p:cNvPr id="198" name="Freeform: Shape 197">
                    <a:extLst>
                      <a:ext uri="{FF2B5EF4-FFF2-40B4-BE49-F238E27FC236}">
                        <a16:creationId xmlns:a16="http://schemas.microsoft.com/office/drawing/2014/main" id="{8A2E7B2E-F920-ED98-481A-5783630473E3}"/>
                      </a:ext>
                    </a:extLst>
                  </p:cNvPr>
                  <p:cNvSpPr/>
                  <p:nvPr userDrawn="1"/>
                </p:nvSpPr>
                <p:spPr>
                  <a:xfrm>
                    <a:off x="8217533" y="436811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E5E8EE"/>
                  </a:solidFill>
                  <a:ln w="2339" cap="flat">
                    <a:noFill/>
                    <a:prstDash val="solid"/>
                    <a:miter/>
                  </a:ln>
                </p:spPr>
                <p:txBody>
                  <a:bodyPr rtlCol="0" anchor="ctr"/>
                  <a:lstStyle/>
                  <a:p>
                    <a:endParaRPr lang="en-US" sz="2400"/>
                  </a:p>
                </p:txBody>
              </p:sp>
              <p:sp>
                <p:nvSpPr>
                  <p:cNvPr id="199" name="Freeform: Shape 198">
                    <a:extLst>
                      <a:ext uri="{FF2B5EF4-FFF2-40B4-BE49-F238E27FC236}">
                        <a16:creationId xmlns:a16="http://schemas.microsoft.com/office/drawing/2014/main" id="{A8FC33E9-2605-F156-4141-EFF7F3FF7095}"/>
                      </a:ext>
                    </a:extLst>
                  </p:cNvPr>
                  <p:cNvSpPr/>
                  <p:nvPr userDrawn="1"/>
                </p:nvSpPr>
                <p:spPr>
                  <a:xfrm>
                    <a:off x="8217112" y="436776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6E8EE"/>
                  </a:solidFill>
                  <a:ln w="2339" cap="flat">
                    <a:noFill/>
                    <a:prstDash val="solid"/>
                    <a:miter/>
                  </a:ln>
                </p:spPr>
                <p:txBody>
                  <a:bodyPr rtlCol="0" anchor="ctr"/>
                  <a:lstStyle/>
                  <a:p>
                    <a:endParaRPr lang="en-US" sz="2400"/>
                  </a:p>
                </p:txBody>
              </p:sp>
              <p:sp>
                <p:nvSpPr>
                  <p:cNvPr id="200" name="Freeform: Shape 199">
                    <a:extLst>
                      <a:ext uri="{FF2B5EF4-FFF2-40B4-BE49-F238E27FC236}">
                        <a16:creationId xmlns:a16="http://schemas.microsoft.com/office/drawing/2014/main" id="{C90425BA-76EE-7357-6C76-8175D43282A2}"/>
                      </a:ext>
                    </a:extLst>
                  </p:cNvPr>
                  <p:cNvSpPr/>
                  <p:nvPr userDrawn="1"/>
                </p:nvSpPr>
                <p:spPr>
                  <a:xfrm>
                    <a:off x="8216620" y="436736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6E8EF"/>
                  </a:solidFill>
                  <a:ln w="2339" cap="flat">
                    <a:noFill/>
                    <a:prstDash val="solid"/>
                    <a:miter/>
                  </a:ln>
                </p:spPr>
                <p:txBody>
                  <a:bodyPr rtlCol="0" anchor="ctr"/>
                  <a:lstStyle/>
                  <a:p>
                    <a:endParaRPr lang="en-US" sz="2400"/>
                  </a:p>
                </p:txBody>
              </p:sp>
              <p:sp>
                <p:nvSpPr>
                  <p:cNvPr id="201" name="Freeform: Shape 200">
                    <a:extLst>
                      <a:ext uri="{FF2B5EF4-FFF2-40B4-BE49-F238E27FC236}">
                        <a16:creationId xmlns:a16="http://schemas.microsoft.com/office/drawing/2014/main" id="{297D6FC5-F4A7-539B-3EDB-48260EE2C718}"/>
                      </a:ext>
                    </a:extLst>
                  </p:cNvPr>
                  <p:cNvSpPr/>
                  <p:nvPr userDrawn="1"/>
                </p:nvSpPr>
                <p:spPr>
                  <a:xfrm>
                    <a:off x="8216152" y="436694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6E8EF"/>
                  </a:solidFill>
                  <a:ln w="2339" cap="flat">
                    <a:noFill/>
                    <a:prstDash val="solid"/>
                    <a:miter/>
                  </a:ln>
                </p:spPr>
                <p:txBody>
                  <a:bodyPr rtlCol="0" anchor="ctr"/>
                  <a:lstStyle/>
                  <a:p>
                    <a:endParaRPr lang="en-US" sz="2400"/>
                  </a:p>
                </p:txBody>
              </p:sp>
              <p:sp>
                <p:nvSpPr>
                  <p:cNvPr id="202" name="Freeform: Shape 201">
                    <a:extLst>
                      <a:ext uri="{FF2B5EF4-FFF2-40B4-BE49-F238E27FC236}">
                        <a16:creationId xmlns:a16="http://schemas.microsoft.com/office/drawing/2014/main" id="{584BECDA-2CC1-91F0-9B86-2C201C247E0E}"/>
                      </a:ext>
                    </a:extLst>
                  </p:cNvPr>
                  <p:cNvSpPr/>
                  <p:nvPr userDrawn="1"/>
                </p:nvSpPr>
                <p:spPr>
                  <a:xfrm>
                    <a:off x="8215684" y="436654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E7E9EF"/>
                  </a:solidFill>
                  <a:ln w="2339" cap="flat">
                    <a:noFill/>
                    <a:prstDash val="solid"/>
                    <a:miter/>
                  </a:ln>
                </p:spPr>
                <p:txBody>
                  <a:bodyPr rtlCol="0" anchor="ctr"/>
                  <a:lstStyle/>
                  <a:p>
                    <a:endParaRPr lang="en-US" sz="2400"/>
                  </a:p>
                </p:txBody>
              </p:sp>
              <p:sp>
                <p:nvSpPr>
                  <p:cNvPr id="203" name="Freeform: Shape 202">
                    <a:extLst>
                      <a:ext uri="{FF2B5EF4-FFF2-40B4-BE49-F238E27FC236}">
                        <a16:creationId xmlns:a16="http://schemas.microsoft.com/office/drawing/2014/main" id="{A03BC760-34FF-049E-E103-EA744CCC3F0D}"/>
                      </a:ext>
                    </a:extLst>
                  </p:cNvPr>
                  <p:cNvSpPr/>
                  <p:nvPr userDrawn="1"/>
                </p:nvSpPr>
                <p:spPr>
                  <a:xfrm>
                    <a:off x="8215193" y="436612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7E9EF"/>
                  </a:solidFill>
                  <a:ln w="2339" cap="flat">
                    <a:noFill/>
                    <a:prstDash val="solid"/>
                    <a:miter/>
                  </a:ln>
                </p:spPr>
                <p:txBody>
                  <a:bodyPr rtlCol="0" anchor="ctr"/>
                  <a:lstStyle/>
                  <a:p>
                    <a:endParaRPr lang="en-US" sz="2400"/>
                  </a:p>
                </p:txBody>
              </p:sp>
              <p:sp>
                <p:nvSpPr>
                  <p:cNvPr id="204" name="Freeform: Shape 203">
                    <a:extLst>
                      <a:ext uri="{FF2B5EF4-FFF2-40B4-BE49-F238E27FC236}">
                        <a16:creationId xmlns:a16="http://schemas.microsoft.com/office/drawing/2014/main" id="{9A773DAB-E4C4-25F6-7C2A-DE7F8D72F018}"/>
                      </a:ext>
                    </a:extLst>
                  </p:cNvPr>
                  <p:cNvSpPr/>
                  <p:nvPr userDrawn="1"/>
                </p:nvSpPr>
                <p:spPr>
                  <a:xfrm>
                    <a:off x="8214725" y="436572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7E9EF"/>
                  </a:solidFill>
                  <a:ln w="2339" cap="flat">
                    <a:noFill/>
                    <a:prstDash val="solid"/>
                    <a:miter/>
                  </a:ln>
                </p:spPr>
                <p:txBody>
                  <a:bodyPr rtlCol="0" anchor="ctr"/>
                  <a:lstStyle/>
                  <a:p>
                    <a:endParaRPr lang="en-US" sz="2400"/>
                  </a:p>
                </p:txBody>
              </p:sp>
              <p:sp>
                <p:nvSpPr>
                  <p:cNvPr id="205" name="Freeform: Shape 204">
                    <a:extLst>
                      <a:ext uri="{FF2B5EF4-FFF2-40B4-BE49-F238E27FC236}">
                        <a16:creationId xmlns:a16="http://schemas.microsoft.com/office/drawing/2014/main" id="{0F8EEB04-AAC2-8EC8-940F-B9975ED1E89A}"/>
                      </a:ext>
                    </a:extLst>
                  </p:cNvPr>
                  <p:cNvSpPr/>
                  <p:nvPr userDrawn="1"/>
                </p:nvSpPr>
                <p:spPr>
                  <a:xfrm>
                    <a:off x="8214280" y="436530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7EAF0"/>
                  </a:solidFill>
                  <a:ln w="2339" cap="flat">
                    <a:noFill/>
                    <a:prstDash val="solid"/>
                    <a:miter/>
                  </a:ln>
                </p:spPr>
                <p:txBody>
                  <a:bodyPr rtlCol="0" anchor="ctr"/>
                  <a:lstStyle/>
                  <a:p>
                    <a:endParaRPr lang="en-US" sz="2400"/>
                  </a:p>
                </p:txBody>
              </p:sp>
              <p:sp>
                <p:nvSpPr>
                  <p:cNvPr id="206" name="Freeform: Shape 205">
                    <a:extLst>
                      <a:ext uri="{FF2B5EF4-FFF2-40B4-BE49-F238E27FC236}">
                        <a16:creationId xmlns:a16="http://schemas.microsoft.com/office/drawing/2014/main" id="{5DB8C716-8C4B-1781-E6EB-47D3BAE63BF2}"/>
                      </a:ext>
                    </a:extLst>
                  </p:cNvPr>
                  <p:cNvSpPr/>
                  <p:nvPr userDrawn="1"/>
                </p:nvSpPr>
                <p:spPr>
                  <a:xfrm>
                    <a:off x="8213812" y="436490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8EAF0"/>
                  </a:solidFill>
                  <a:ln w="2339" cap="flat">
                    <a:noFill/>
                    <a:prstDash val="solid"/>
                    <a:miter/>
                  </a:ln>
                </p:spPr>
                <p:txBody>
                  <a:bodyPr rtlCol="0" anchor="ctr"/>
                  <a:lstStyle/>
                  <a:p>
                    <a:endParaRPr lang="en-US" sz="2400"/>
                  </a:p>
                </p:txBody>
              </p:sp>
              <p:sp>
                <p:nvSpPr>
                  <p:cNvPr id="207" name="Freeform: Shape 206">
                    <a:extLst>
                      <a:ext uri="{FF2B5EF4-FFF2-40B4-BE49-F238E27FC236}">
                        <a16:creationId xmlns:a16="http://schemas.microsoft.com/office/drawing/2014/main" id="{FA496C79-8547-3397-0EF3-4A4C2DB044B9}"/>
                      </a:ext>
                    </a:extLst>
                  </p:cNvPr>
                  <p:cNvSpPr/>
                  <p:nvPr userDrawn="1"/>
                </p:nvSpPr>
                <p:spPr>
                  <a:xfrm>
                    <a:off x="8213368" y="436448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8EAF0"/>
                  </a:solidFill>
                  <a:ln w="2339" cap="flat">
                    <a:noFill/>
                    <a:prstDash val="solid"/>
                    <a:miter/>
                  </a:ln>
                </p:spPr>
                <p:txBody>
                  <a:bodyPr rtlCol="0" anchor="ctr"/>
                  <a:lstStyle/>
                  <a:p>
                    <a:endParaRPr lang="en-US" sz="2400"/>
                  </a:p>
                </p:txBody>
              </p:sp>
              <p:sp>
                <p:nvSpPr>
                  <p:cNvPr id="208" name="Freeform: Shape 207">
                    <a:extLst>
                      <a:ext uri="{FF2B5EF4-FFF2-40B4-BE49-F238E27FC236}">
                        <a16:creationId xmlns:a16="http://schemas.microsoft.com/office/drawing/2014/main" id="{4027AAA9-BDBA-27C1-6096-785756C7C144}"/>
                      </a:ext>
                    </a:extLst>
                  </p:cNvPr>
                  <p:cNvSpPr/>
                  <p:nvPr userDrawn="1"/>
                </p:nvSpPr>
                <p:spPr>
                  <a:xfrm>
                    <a:off x="8212923" y="436406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8EAF0"/>
                  </a:solidFill>
                  <a:ln w="2339" cap="flat">
                    <a:noFill/>
                    <a:prstDash val="solid"/>
                    <a:miter/>
                  </a:ln>
                </p:spPr>
                <p:txBody>
                  <a:bodyPr rtlCol="0" anchor="ctr"/>
                  <a:lstStyle/>
                  <a:p>
                    <a:endParaRPr lang="en-US" sz="2400"/>
                  </a:p>
                </p:txBody>
              </p:sp>
              <p:sp>
                <p:nvSpPr>
                  <p:cNvPr id="209" name="Freeform: Shape 208">
                    <a:extLst>
                      <a:ext uri="{FF2B5EF4-FFF2-40B4-BE49-F238E27FC236}">
                        <a16:creationId xmlns:a16="http://schemas.microsoft.com/office/drawing/2014/main" id="{512E5A57-4A86-D215-76BE-10D131F50540}"/>
                      </a:ext>
                    </a:extLst>
                  </p:cNvPr>
                  <p:cNvSpPr/>
                  <p:nvPr userDrawn="1"/>
                </p:nvSpPr>
                <p:spPr>
                  <a:xfrm>
                    <a:off x="8212478" y="436366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9EBF0"/>
                  </a:solidFill>
                  <a:ln w="2339" cap="flat">
                    <a:noFill/>
                    <a:prstDash val="solid"/>
                    <a:miter/>
                  </a:ln>
                </p:spPr>
                <p:txBody>
                  <a:bodyPr rtlCol="0" anchor="ctr"/>
                  <a:lstStyle/>
                  <a:p>
                    <a:endParaRPr lang="en-US" sz="2400"/>
                  </a:p>
                </p:txBody>
              </p:sp>
              <p:sp>
                <p:nvSpPr>
                  <p:cNvPr id="210" name="Freeform: Shape 209">
                    <a:extLst>
                      <a:ext uri="{FF2B5EF4-FFF2-40B4-BE49-F238E27FC236}">
                        <a16:creationId xmlns:a16="http://schemas.microsoft.com/office/drawing/2014/main" id="{2F392DD5-17CA-4438-8C44-30B9B6E0FDE2}"/>
                      </a:ext>
                    </a:extLst>
                  </p:cNvPr>
                  <p:cNvSpPr/>
                  <p:nvPr userDrawn="1"/>
                </p:nvSpPr>
                <p:spPr>
                  <a:xfrm>
                    <a:off x="8212057" y="436324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9EBF1"/>
                  </a:solidFill>
                  <a:ln w="2339" cap="flat">
                    <a:noFill/>
                    <a:prstDash val="solid"/>
                    <a:miter/>
                  </a:ln>
                </p:spPr>
                <p:txBody>
                  <a:bodyPr rtlCol="0" anchor="ctr"/>
                  <a:lstStyle/>
                  <a:p>
                    <a:endParaRPr lang="en-US" sz="2400"/>
                  </a:p>
                </p:txBody>
              </p:sp>
              <p:sp>
                <p:nvSpPr>
                  <p:cNvPr id="211" name="Freeform: Shape 210">
                    <a:extLst>
                      <a:ext uri="{FF2B5EF4-FFF2-40B4-BE49-F238E27FC236}">
                        <a16:creationId xmlns:a16="http://schemas.microsoft.com/office/drawing/2014/main" id="{40B3C471-F804-75D2-5298-0D54AA29D113}"/>
                      </a:ext>
                    </a:extLst>
                  </p:cNvPr>
                  <p:cNvSpPr/>
                  <p:nvPr userDrawn="1"/>
                </p:nvSpPr>
                <p:spPr>
                  <a:xfrm>
                    <a:off x="8211613" y="436282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9EBF1"/>
                  </a:solidFill>
                  <a:ln w="2339" cap="flat">
                    <a:noFill/>
                    <a:prstDash val="solid"/>
                    <a:miter/>
                  </a:ln>
                </p:spPr>
                <p:txBody>
                  <a:bodyPr rtlCol="0" anchor="ctr"/>
                  <a:lstStyle/>
                  <a:p>
                    <a:endParaRPr lang="en-US" sz="2400"/>
                  </a:p>
                </p:txBody>
              </p:sp>
              <p:sp>
                <p:nvSpPr>
                  <p:cNvPr id="212" name="Freeform: Shape 211">
                    <a:extLst>
                      <a:ext uri="{FF2B5EF4-FFF2-40B4-BE49-F238E27FC236}">
                        <a16:creationId xmlns:a16="http://schemas.microsoft.com/office/drawing/2014/main" id="{C47EC5E4-7842-ED96-627B-6206BB0E0631}"/>
                      </a:ext>
                    </a:extLst>
                  </p:cNvPr>
                  <p:cNvSpPr/>
                  <p:nvPr userDrawn="1"/>
                </p:nvSpPr>
                <p:spPr>
                  <a:xfrm>
                    <a:off x="8211191" y="436242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AECF1"/>
                  </a:solidFill>
                  <a:ln w="2339" cap="flat">
                    <a:noFill/>
                    <a:prstDash val="solid"/>
                    <a:miter/>
                  </a:ln>
                </p:spPr>
                <p:txBody>
                  <a:bodyPr rtlCol="0" anchor="ctr"/>
                  <a:lstStyle/>
                  <a:p>
                    <a:endParaRPr lang="en-US" sz="2400"/>
                  </a:p>
                </p:txBody>
              </p:sp>
              <p:sp>
                <p:nvSpPr>
                  <p:cNvPr id="213" name="Freeform: Shape 212">
                    <a:extLst>
                      <a:ext uri="{FF2B5EF4-FFF2-40B4-BE49-F238E27FC236}">
                        <a16:creationId xmlns:a16="http://schemas.microsoft.com/office/drawing/2014/main" id="{79000186-2802-51FF-516F-3B5BFC3A9396}"/>
                      </a:ext>
                    </a:extLst>
                  </p:cNvPr>
                  <p:cNvSpPr/>
                  <p:nvPr userDrawn="1"/>
                </p:nvSpPr>
                <p:spPr>
                  <a:xfrm>
                    <a:off x="8210770" y="436200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AECF1"/>
                  </a:solidFill>
                  <a:ln w="2339" cap="flat">
                    <a:noFill/>
                    <a:prstDash val="solid"/>
                    <a:miter/>
                  </a:ln>
                </p:spPr>
                <p:txBody>
                  <a:bodyPr rtlCol="0" anchor="ctr"/>
                  <a:lstStyle/>
                  <a:p>
                    <a:endParaRPr lang="en-US" sz="2400"/>
                  </a:p>
                </p:txBody>
              </p:sp>
              <p:sp>
                <p:nvSpPr>
                  <p:cNvPr id="214" name="Freeform: Shape 213">
                    <a:extLst>
                      <a:ext uri="{FF2B5EF4-FFF2-40B4-BE49-F238E27FC236}">
                        <a16:creationId xmlns:a16="http://schemas.microsoft.com/office/drawing/2014/main" id="{89630B95-28DF-129F-07A2-E2CACDA26C9F}"/>
                      </a:ext>
                    </a:extLst>
                  </p:cNvPr>
                  <p:cNvSpPr/>
                  <p:nvPr userDrawn="1"/>
                </p:nvSpPr>
                <p:spPr>
                  <a:xfrm>
                    <a:off x="8210372" y="436158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AECF1"/>
                  </a:solidFill>
                  <a:ln w="2339" cap="flat">
                    <a:noFill/>
                    <a:prstDash val="solid"/>
                    <a:miter/>
                  </a:ln>
                </p:spPr>
                <p:txBody>
                  <a:bodyPr rtlCol="0" anchor="ctr"/>
                  <a:lstStyle/>
                  <a:p>
                    <a:endParaRPr lang="en-US" sz="2400"/>
                  </a:p>
                </p:txBody>
              </p:sp>
              <p:sp>
                <p:nvSpPr>
                  <p:cNvPr id="215" name="Freeform: Shape 214">
                    <a:extLst>
                      <a:ext uri="{FF2B5EF4-FFF2-40B4-BE49-F238E27FC236}">
                        <a16:creationId xmlns:a16="http://schemas.microsoft.com/office/drawing/2014/main" id="{53D4FBAE-846A-C453-41B0-A5E21033C9AC}"/>
                      </a:ext>
                    </a:extLst>
                  </p:cNvPr>
                  <p:cNvSpPr/>
                  <p:nvPr userDrawn="1"/>
                </p:nvSpPr>
                <p:spPr>
                  <a:xfrm>
                    <a:off x="8209951" y="436118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BECF2"/>
                  </a:solidFill>
                  <a:ln w="2339" cap="flat">
                    <a:noFill/>
                    <a:prstDash val="solid"/>
                    <a:miter/>
                  </a:ln>
                </p:spPr>
                <p:txBody>
                  <a:bodyPr rtlCol="0" anchor="ctr"/>
                  <a:lstStyle/>
                  <a:p>
                    <a:endParaRPr lang="en-US" sz="2400"/>
                  </a:p>
                </p:txBody>
              </p:sp>
              <p:sp>
                <p:nvSpPr>
                  <p:cNvPr id="216" name="Freeform: Shape 215">
                    <a:extLst>
                      <a:ext uri="{FF2B5EF4-FFF2-40B4-BE49-F238E27FC236}">
                        <a16:creationId xmlns:a16="http://schemas.microsoft.com/office/drawing/2014/main" id="{632DE907-3EC4-6A47-E6E6-370AF0FFDF30}"/>
                      </a:ext>
                    </a:extLst>
                  </p:cNvPr>
                  <p:cNvSpPr/>
                  <p:nvPr userDrawn="1"/>
                </p:nvSpPr>
                <p:spPr>
                  <a:xfrm>
                    <a:off x="8209553" y="436076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BEDF2"/>
                  </a:solidFill>
                  <a:ln w="2339" cap="flat">
                    <a:noFill/>
                    <a:prstDash val="solid"/>
                    <a:miter/>
                  </a:ln>
                </p:spPr>
                <p:txBody>
                  <a:bodyPr rtlCol="0" anchor="ctr"/>
                  <a:lstStyle/>
                  <a:p>
                    <a:endParaRPr lang="en-US" sz="2400"/>
                  </a:p>
                </p:txBody>
              </p:sp>
              <p:sp>
                <p:nvSpPr>
                  <p:cNvPr id="217" name="Freeform: Shape 216">
                    <a:extLst>
                      <a:ext uri="{FF2B5EF4-FFF2-40B4-BE49-F238E27FC236}">
                        <a16:creationId xmlns:a16="http://schemas.microsoft.com/office/drawing/2014/main" id="{6F757FDE-78D8-8973-99A9-85801E8DB22B}"/>
                      </a:ext>
                    </a:extLst>
                  </p:cNvPr>
                  <p:cNvSpPr/>
                  <p:nvPr userDrawn="1"/>
                </p:nvSpPr>
                <p:spPr>
                  <a:xfrm>
                    <a:off x="8209156" y="436034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BEDF2"/>
                  </a:solidFill>
                  <a:ln w="2339" cap="flat">
                    <a:noFill/>
                    <a:prstDash val="solid"/>
                    <a:miter/>
                  </a:ln>
                </p:spPr>
                <p:txBody>
                  <a:bodyPr rtlCol="0" anchor="ctr"/>
                  <a:lstStyle/>
                  <a:p>
                    <a:endParaRPr lang="en-US" sz="2400"/>
                  </a:p>
                </p:txBody>
              </p:sp>
              <p:sp>
                <p:nvSpPr>
                  <p:cNvPr id="218" name="Freeform: Shape 217">
                    <a:extLst>
                      <a:ext uri="{FF2B5EF4-FFF2-40B4-BE49-F238E27FC236}">
                        <a16:creationId xmlns:a16="http://schemas.microsoft.com/office/drawing/2014/main" id="{FA7941B0-917A-02E3-243B-F2049D2920EF}"/>
                      </a:ext>
                    </a:extLst>
                  </p:cNvPr>
                  <p:cNvSpPr/>
                  <p:nvPr userDrawn="1"/>
                </p:nvSpPr>
                <p:spPr>
                  <a:xfrm>
                    <a:off x="8208758" y="435992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BEDF2"/>
                  </a:solidFill>
                  <a:ln w="2339" cap="flat">
                    <a:noFill/>
                    <a:prstDash val="solid"/>
                    <a:miter/>
                  </a:ln>
                </p:spPr>
                <p:txBody>
                  <a:bodyPr rtlCol="0" anchor="ctr"/>
                  <a:lstStyle/>
                  <a:p>
                    <a:endParaRPr lang="en-US" sz="2400"/>
                  </a:p>
                </p:txBody>
              </p:sp>
              <p:sp>
                <p:nvSpPr>
                  <p:cNvPr id="219" name="Freeform: Shape 218">
                    <a:extLst>
                      <a:ext uri="{FF2B5EF4-FFF2-40B4-BE49-F238E27FC236}">
                        <a16:creationId xmlns:a16="http://schemas.microsoft.com/office/drawing/2014/main" id="{39E03FA3-FFF5-F8F0-8084-AD4A7DAB8661}"/>
                      </a:ext>
                    </a:extLst>
                  </p:cNvPr>
                  <p:cNvSpPr/>
                  <p:nvPr userDrawn="1"/>
                </p:nvSpPr>
                <p:spPr>
                  <a:xfrm>
                    <a:off x="8208383" y="435950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CEDF2"/>
                  </a:solidFill>
                  <a:ln w="2339" cap="flat">
                    <a:noFill/>
                    <a:prstDash val="solid"/>
                    <a:miter/>
                  </a:ln>
                </p:spPr>
                <p:txBody>
                  <a:bodyPr rtlCol="0" anchor="ctr"/>
                  <a:lstStyle/>
                  <a:p>
                    <a:endParaRPr lang="en-US" sz="2400"/>
                  </a:p>
                </p:txBody>
              </p:sp>
              <p:sp>
                <p:nvSpPr>
                  <p:cNvPr id="220" name="Freeform: Shape 219">
                    <a:extLst>
                      <a:ext uri="{FF2B5EF4-FFF2-40B4-BE49-F238E27FC236}">
                        <a16:creationId xmlns:a16="http://schemas.microsoft.com/office/drawing/2014/main" id="{3D6FD4D8-9016-2E9C-EB72-B0C35B9B074C}"/>
                      </a:ext>
                    </a:extLst>
                  </p:cNvPr>
                  <p:cNvSpPr/>
                  <p:nvPr userDrawn="1"/>
                </p:nvSpPr>
                <p:spPr>
                  <a:xfrm>
                    <a:off x="8207986" y="435910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CEEF3"/>
                  </a:solidFill>
                  <a:ln w="2339" cap="flat">
                    <a:noFill/>
                    <a:prstDash val="solid"/>
                    <a:miter/>
                  </a:ln>
                </p:spPr>
                <p:txBody>
                  <a:bodyPr rtlCol="0" anchor="ctr"/>
                  <a:lstStyle/>
                  <a:p>
                    <a:endParaRPr lang="en-US" sz="2400"/>
                  </a:p>
                </p:txBody>
              </p:sp>
              <p:sp>
                <p:nvSpPr>
                  <p:cNvPr id="221" name="Freeform: Shape 220">
                    <a:extLst>
                      <a:ext uri="{FF2B5EF4-FFF2-40B4-BE49-F238E27FC236}">
                        <a16:creationId xmlns:a16="http://schemas.microsoft.com/office/drawing/2014/main" id="{C4B3CB2E-6447-ACA4-2E16-246A0D7DF0CF}"/>
                      </a:ext>
                    </a:extLst>
                  </p:cNvPr>
                  <p:cNvSpPr/>
                  <p:nvPr userDrawn="1"/>
                </p:nvSpPr>
                <p:spPr>
                  <a:xfrm>
                    <a:off x="8207611" y="435868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CEEF3"/>
                  </a:solidFill>
                  <a:ln w="2339" cap="flat">
                    <a:noFill/>
                    <a:prstDash val="solid"/>
                    <a:miter/>
                  </a:ln>
                </p:spPr>
                <p:txBody>
                  <a:bodyPr rtlCol="0" anchor="ctr"/>
                  <a:lstStyle/>
                  <a:p>
                    <a:endParaRPr lang="en-US" sz="2400"/>
                  </a:p>
                </p:txBody>
              </p:sp>
              <p:sp>
                <p:nvSpPr>
                  <p:cNvPr id="222" name="Freeform: Shape 221">
                    <a:extLst>
                      <a:ext uri="{FF2B5EF4-FFF2-40B4-BE49-F238E27FC236}">
                        <a16:creationId xmlns:a16="http://schemas.microsoft.com/office/drawing/2014/main" id="{C6632025-BD52-FD35-8077-C3EE8951FC60}"/>
                      </a:ext>
                    </a:extLst>
                  </p:cNvPr>
                  <p:cNvSpPr/>
                  <p:nvPr userDrawn="1"/>
                </p:nvSpPr>
                <p:spPr>
                  <a:xfrm>
                    <a:off x="8207237" y="435826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DEEF3"/>
                  </a:solidFill>
                  <a:ln w="2339" cap="flat">
                    <a:noFill/>
                    <a:prstDash val="solid"/>
                    <a:miter/>
                  </a:ln>
                </p:spPr>
                <p:txBody>
                  <a:bodyPr rtlCol="0" anchor="ctr"/>
                  <a:lstStyle/>
                  <a:p>
                    <a:endParaRPr lang="en-US" sz="2400"/>
                  </a:p>
                </p:txBody>
              </p:sp>
              <p:sp>
                <p:nvSpPr>
                  <p:cNvPr id="223" name="Freeform: Shape 222">
                    <a:extLst>
                      <a:ext uri="{FF2B5EF4-FFF2-40B4-BE49-F238E27FC236}">
                        <a16:creationId xmlns:a16="http://schemas.microsoft.com/office/drawing/2014/main" id="{41EDDA1B-D83D-C5BD-12C9-CE720754D3CA}"/>
                      </a:ext>
                    </a:extLst>
                  </p:cNvPr>
                  <p:cNvSpPr/>
                  <p:nvPr userDrawn="1"/>
                </p:nvSpPr>
                <p:spPr>
                  <a:xfrm>
                    <a:off x="8206886" y="435784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DEFF3"/>
                  </a:solidFill>
                  <a:ln w="2339" cap="flat">
                    <a:noFill/>
                    <a:prstDash val="solid"/>
                    <a:miter/>
                  </a:ln>
                </p:spPr>
                <p:txBody>
                  <a:bodyPr rtlCol="0" anchor="ctr"/>
                  <a:lstStyle/>
                  <a:p>
                    <a:endParaRPr lang="en-US" sz="2400"/>
                  </a:p>
                </p:txBody>
              </p:sp>
              <p:sp>
                <p:nvSpPr>
                  <p:cNvPr id="224" name="Freeform: Shape 223">
                    <a:extLst>
                      <a:ext uri="{FF2B5EF4-FFF2-40B4-BE49-F238E27FC236}">
                        <a16:creationId xmlns:a16="http://schemas.microsoft.com/office/drawing/2014/main" id="{28AA38E2-87DD-66CB-ED8F-2E462E1050C6}"/>
                      </a:ext>
                    </a:extLst>
                  </p:cNvPr>
                  <p:cNvSpPr/>
                  <p:nvPr userDrawn="1"/>
                </p:nvSpPr>
                <p:spPr>
                  <a:xfrm>
                    <a:off x="8206511" y="435741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DEFF3"/>
                  </a:solidFill>
                  <a:ln w="2339" cap="flat">
                    <a:noFill/>
                    <a:prstDash val="solid"/>
                    <a:miter/>
                  </a:ln>
                </p:spPr>
                <p:txBody>
                  <a:bodyPr rtlCol="0" anchor="ctr"/>
                  <a:lstStyle/>
                  <a:p>
                    <a:endParaRPr lang="en-US" sz="2400"/>
                  </a:p>
                </p:txBody>
              </p:sp>
              <p:sp>
                <p:nvSpPr>
                  <p:cNvPr id="225" name="Freeform: Shape 224">
                    <a:extLst>
                      <a:ext uri="{FF2B5EF4-FFF2-40B4-BE49-F238E27FC236}">
                        <a16:creationId xmlns:a16="http://schemas.microsoft.com/office/drawing/2014/main" id="{9A83A45A-2B1C-9250-7E46-47F5233691EB}"/>
                      </a:ext>
                    </a:extLst>
                  </p:cNvPr>
                  <p:cNvSpPr/>
                  <p:nvPr userDrawn="1"/>
                </p:nvSpPr>
                <p:spPr>
                  <a:xfrm>
                    <a:off x="8206160" y="435699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EEFF4"/>
                  </a:solidFill>
                  <a:ln w="2339" cap="flat">
                    <a:noFill/>
                    <a:prstDash val="solid"/>
                    <a:miter/>
                  </a:ln>
                </p:spPr>
                <p:txBody>
                  <a:bodyPr rtlCol="0" anchor="ctr"/>
                  <a:lstStyle/>
                  <a:p>
                    <a:endParaRPr lang="en-US" sz="2400"/>
                  </a:p>
                </p:txBody>
              </p:sp>
              <p:sp>
                <p:nvSpPr>
                  <p:cNvPr id="226" name="Freeform: Shape 225">
                    <a:extLst>
                      <a:ext uri="{FF2B5EF4-FFF2-40B4-BE49-F238E27FC236}">
                        <a16:creationId xmlns:a16="http://schemas.microsoft.com/office/drawing/2014/main" id="{14FB0618-7593-9A71-0A49-4F211D42A201}"/>
                      </a:ext>
                    </a:extLst>
                  </p:cNvPr>
                  <p:cNvSpPr/>
                  <p:nvPr userDrawn="1"/>
                </p:nvSpPr>
                <p:spPr>
                  <a:xfrm>
                    <a:off x="8205809" y="435657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EEFF4"/>
                  </a:solidFill>
                  <a:ln w="2339" cap="flat">
                    <a:noFill/>
                    <a:prstDash val="solid"/>
                    <a:miter/>
                  </a:ln>
                </p:spPr>
                <p:txBody>
                  <a:bodyPr rtlCol="0" anchor="ctr"/>
                  <a:lstStyle/>
                  <a:p>
                    <a:endParaRPr lang="en-US" sz="2400"/>
                  </a:p>
                </p:txBody>
              </p:sp>
              <p:sp>
                <p:nvSpPr>
                  <p:cNvPr id="227" name="Freeform: Shape 226">
                    <a:extLst>
                      <a:ext uri="{FF2B5EF4-FFF2-40B4-BE49-F238E27FC236}">
                        <a16:creationId xmlns:a16="http://schemas.microsoft.com/office/drawing/2014/main" id="{807BDEA3-19FD-2D27-F0E0-3C4586788802}"/>
                      </a:ext>
                    </a:extLst>
                  </p:cNvPr>
                  <p:cNvSpPr/>
                  <p:nvPr userDrawn="1"/>
                </p:nvSpPr>
                <p:spPr>
                  <a:xfrm>
                    <a:off x="8205458" y="435617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EF0F4"/>
                  </a:solidFill>
                  <a:ln w="2339" cap="flat">
                    <a:noFill/>
                    <a:prstDash val="solid"/>
                    <a:miter/>
                  </a:ln>
                </p:spPr>
                <p:txBody>
                  <a:bodyPr rtlCol="0" anchor="ctr"/>
                  <a:lstStyle/>
                  <a:p>
                    <a:endParaRPr lang="en-US" sz="2400"/>
                  </a:p>
                </p:txBody>
              </p:sp>
              <p:sp>
                <p:nvSpPr>
                  <p:cNvPr id="228" name="Freeform: Shape 227">
                    <a:extLst>
                      <a:ext uri="{FF2B5EF4-FFF2-40B4-BE49-F238E27FC236}">
                        <a16:creationId xmlns:a16="http://schemas.microsoft.com/office/drawing/2014/main" id="{C85191A9-829C-4957-0426-7615ADD28D1E}"/>
                      </a:ext>
                    </a:extLst>
                  </p:cNvPr>
                  <p:cNvSpPr/>
                  <p:nvPr userDrawn="1"/>
                </p:nvSpPr>
                <p:spPr>
                  <a:xfrm>
                    <a:off x="8205131" y="435575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EEF0F4"/>
                  </a:solidFill>
                  <a:ln w="2339" cap="flat">
                    <a:noFill/>
                    <a:prstDash val="solid"/>
                    <a:miter/>
                  </a:ln>
                </p:spPr>
                <p:txBody>
                  <a:bodyPr rtlCol="0" anchor="ctr"/>
                  <a:lstStyle/>
                  <a:p>
                    <a:endParaRPr lang="en-US" sz="2400"/>
                  </a:p>
                </p:txBody>
              </p:sp>
              <p:sp>
                <p:nvSpPr>
                  <p:cNvPr id="229" name="Freeform: Shape 228">
                    <a:extLst>
                      <a:ext uri="{FF2B5EF4-FFF2-40B4-BE49-F238E27FC236}">
                        <a16:creationId xmlns:a16="http://schemas.microsoft.com/office/drawing/2014/main" id="{11D8A396-7953-702A-C43F-3A90C8185F61}"/>
                      </a:ext>
                    </a:extLst>
                  </p:cNvPr>
                  <p:cNvSpPr/>
                  <p:nvPr userDrawn="1"/>
                </p:nvSpPr>
                <p:spPr>
                  <a:xfrm>
                    <a:off x="8204803" y="435533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EFF0F4"/>
                  </a:solidFill>
                  <a:ln w="2339" cap="flat">
                    <a:noFill/>
                    <a:prstDash val="solid"/>
                    <a:miter/>
                  </a:ln>
                </p:spPr>
                <p:txBody>
                  <a:bodyPr rtlCol="0" anchor="ctr"/>
                  <a:lstStyle/>
                  <a:p>
                    <a:endParaRPr lang="en-US" sz="2400"/>
                  </a:p>
                </p:txBody>
              </p:sp>
              <p:sp>
                <p:nvSpPr>
                  <p:cNvPr id="230" name="Freeform: Shape 229">
                    <a:extLst>
                      <a:ext uri="{FF2B5EF4-FFF2-40B4-BE49-F238E27FC236}">
                        <a16:creationId xmlns:a16="http://schemas.microsoft.com/office/drawing/2014/main" id="{B4740FEA-873F-1EB3-BA15-5A09995D7192}"/>
                      </a:ext>
                    </a:extLst>
                  </p:cNvPr>
                  <p:cNvSpPr/>
                  <p:nvPr userDrawn="1"/>
                </p:nvSpPr>
                <p:spPr>
                  <a:xfrm>
                    <a:off x="8204476" y="435491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EFF1F5"/>
                  </a:solidFill>
                  <a:ln w="2339" cap="flat">
                    <a:noFill/>
                    <a:prstDash val="solid"/>
                    <a:miter/>
                  </a:ln>
                </p:spPr>
                <p:txBody>
                  <a:bodyPr rtlCol="0" anchor="ctr"/>
                  <a:lstStyle/>
                  <a:p>
                    <a:endParaRPr lang="en-US" sz="2400"/>
                  </a:p>
                </p:txBody>
              </p:sp>
              <p:sp>
                <p:nvSpPr>
                  <p:cNvPr id="231" name="Freeform: Shape 230">
                    <a:extLst>
                      <a:ext uri="{FF2B5EF4-FFF2-40B4-BE49-F238E27FC236}">
                        <a16:creationId xmlns:a16="http://schemas.microsoft.com/office/drawing/2014/main" id="{E952A3B0-207D-DDA7-CC7F-44387D54912D}"/>
                      </a:ext>
                    </a:extLst>
                  </p:cNvPr>
                  <p:cNvSpPr/>
                  <p:nvPr userDrawn="1"/>
                </p:nvSpPr>
                <p:spPr>
                  <a:xfrm>
                    <a:off x="8204148" y="435449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FF1F5"/>
                  </a:solidFill>
                  <a:ln w="2339" cap="flat">
                    <a:noFill/>
                    <a:prstDash val="solid"/>
                    <a:miter/>
                  </a:ln>
                </p:spPr>
                <p:txBody>
                  <a:bodyPr rtlCol="0" anchor="ctr"/>
                  <a:lstStyle/>
                  <a:p>
                    <a:endParaRPr lang="en-US" sz="2400"/>
                  </a:p>
                </p:txBody>
              </p:sp>
              <p:sp>
                <p:nvSpPr>
                  <p:cNvPr id="232" name="Freeform: Shape 231">
                    <a:extLst>
                      <a:ext uri="{FF2B5EF4-FFF2-40B4-BE49-F238E27FC236}">
                        <a16:creationId xmlns:a16="http://schemas.microsoft.com/office/drawing/2014/main" id="{9642865E-2FB1-DBF8-1A13-A8D344B94458}"/>
                      </a:ext>
                    </a:extLst>
                  </p:cNvPr>
                  <p:cNvSpPr/>
                  <p:nvPr userDrawn="1"/>
                </p:nvSpPr>
                <p:spPr>
                  <a:xfrm>
                    <a:off x="8203820" y="435407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F0F1F5"/>
                  </a:solidFill>
                  <a:ln w="2339" cap="flat">
                    <a:noFill/>
                    <a:prstDash val="solid"/>
                    <a:miter/>
                  </a:ln>
                </p:spPr>
                <p:txBody>
                  <a:bodyPr rtlCol="0" anchor="ctr"/>
                  <a:lstStyle/>
                  <a:p>
                    <a:endParaRPr lang="en-US" sz="2400"/>
                  </a:p>
                </p:txBody>
              </p:sp>
              <p:sp>
                <p:nvSpPr>
                  <p:cNvPr id="233" name="Freeform: Shape 232">
                    <a:extLst>
                      <a:ext uri="{FF2B5EF4-FFF2-40B4-BE49-F238E27FC236}">
                        <a16:creationId xmlns:a16="http://schemas.microsoft.com/office/drawing/2014/main" id="{54F61961-47E0-908B-A234-E4872D5E3DA7}"/>
                      </a:ext>
                    </a:extLst>
                  </p:cNvPr>
                  <p:cNvSpPr/>
                  <p:nvPr userDrawn="1"/>
                </p:nvSpPr>
                <p:spPr>
                  <a:xfrm>
                    <a:off x="8203516" y="435365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F0F1F5"/>
                  </a:solidFill>
                  <a:ln w="2339" cap="flat">
                    <a:noFill/>
                    <a:prstDash val="solid"/>
                    <a:miter/>
                  </a:ln>
                </p:spPr>
                <p:txBody>
                  <a:bodyPr rtlCol="0" anchor="ctr"/>
                  <a:lstStyle/>
                  <a:p>
                    <a:endParaRPr lang="en-US" sz="2400"/>
                  </a:p>
                </p:txBody>
              </p:sp>
              <p:sp>
                <p:nvSpPr>
                  <p:cNvPr id="234" name="Freeform: Shape 233">
                    <a:extLst>
                      <a:ext uri="{FF2B5EF4-FFF2-40B4-BE49-F238E27FC236}">
                        <a16:creationId xmlns:a16="http://schemas.microsoft.com/office/drawing/2014/main" id="{AAA1C27A-859E-792F-D2FD-29D3DA0BCFDE}"/>
                      </a:ext>
                    </a:extLst>
                  </p:cNvPr>
                  <p:cNvSpPr/>
                  <p:nvPr userDrawn="1"/>
                </p:nvSpPr>
                <p:spPr>
                  <a:xfrm>
                    <a:off x="8203212" y="435323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F0F2F5"/>
                  </a:solidFill>
                  <a:ln w="2339" cap="flat">
                    <a:noFill/>
                    <a:prstDash val="solid"/>
                    <a:miter/>
                  </a:ln>
                </p:spPr>
                <p:txBody>
                  <a:bodyPr rtlCol="0" anchor="ctr"/>
                  <a:lstStyle/>
                  <a:p>
                    <a:endParaRPr lang="en-US" sz="2400"/>
                  </a:p>
                </p:txBody>
              </p:sp>
              <p:sp>
                <p:nvSpPr>
                  <p:cNvPr id="235" name="Freeform: Shape 234">
                    <a:extLst>
                      <a:ext uri="{FF2B5EF4-FFF2-40B4-BE49-F238E27FC236}">
                        <a16:creationId xmlns:a16="http://schemas.microsoft.com/office/drawing/2014/main" id="{3A86E0FA-7EF6-1454-9478-7622E69F6B45}"/>
                      </a:ext>
                    </a:extLst>
                  </p:cNvPr>
                  <p:cNvSpPr/>
                  <p:nvPr userDrawn="1"/>
                </p:nvSpPr>
                <p:spPr>
                  <a:xfrm>
                    <a:off x="8202908" y="435280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F1F2F6"/>
                  </a:solidFill>
                  <a:ln w="2339" cap="flat">
                    <a:noFill/>
                    <a:prstDash val="solid"/>
                    <a:miter/>
                  </a:ln>
                </p:spPr>
                <p:txBody>
                  <a:bodyPr rtlCol="0" anchor="ctr"/>
                  <a:lstStyle/>
                  <a:p>
                    <a:endParaRPr lang="en-US" sz="2400"/>
                  </a:p>
                </p:txBody>
              </p:sp>
              <p:sp>
                <p:nvSpPr>
                  <p:cNvPr id="236" name="Freeform: Shape 235">
                    <a:extLst>
                      <a:ext uri="{FF2B5EF4-FFF2-40B4-BE49-F238E27FC236}">
                        <a16:creationId xmlns:a16="http://schemas.microsoft.com/office/drawing/2014/main" id="{6DB267B9-79BA-4E72-205A-EA0D4414F342}"/>
                      </a:ext>
                    </a:extLst>
                  </p:cNvPr>
                  <p:cNvSpPr/>
                  <p:nvPr userDrawn="1"/>
                </p:nvSpPr>
                <p:spPr>
                  <a:xfrm>
                    <a:off x="8202604" y="435238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F1F2F6"/>
                  </a:solidFill>
                  <a:ln w="2339" cap="flat">
                    <a:noFill/>
                    <a:prstDash val="solid"/>
                    <a:miter/>
                  </a:ln>
                </p:spPr>
                <p:txBody>
                  <a:bodyPr rtlCol="0" anchor="ctr"/>
                  <a:lstStyle/>
                  <a:p>
                    <a:endParaRPr lang="en-US" sz="2400"/>
                  </a:p>
                </p:txBody>
              </p:sp>
              <p:sp>
                <p:nvSpPr>
                  <p:cNvPr id="237" name="Freeform: Shape 236">
                    <a:extLst>
                      <a:ext uri="{FF2B5EF4-FFF2-40B4-BE49-F238E27FC236}">
                        <a16:creationId xmlns:a16="http://schemas.microsoft.com/office/drawing/2014/main" id="{4B1826F7-5DD8-5DDD-2BC1-2DCD690567C3}"/>
                      </a:ext>
                    </a:extLst>
                  </p:cNvPr>
                  <p:cNvSpPr/>
                  <p:nvPr userDrawn="1"/>
                </p:nvSpPr>
                <p:spPr>
                  <a:xfrm>
                    <a:off x="8202323" y="435196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F1F2F6"/>
                  </a:solidFill>
                  <a:ln w="2339" cap="flat">
                    <a:noFill/>
                    <a:prstDash val="solid"/>
                    <a:miter/>
                  </a:ln>
                </p:spPr>
                <p:txBody>
                  <a:bodyPr rtlCol="0" anchor="ctr"/>
                  <a:lstStyle/>
                  <a:p>
                    <a:endParaRPr lang="en-US" sz="2400"/>
                  </a:p>
                </p:txBody>
              </p:sp>
              <p:sp>
                <p:nvSpPr>
                  <p:cNvPr id="238" name="Freeform: Shape 237">
                    <a:extLst>
                      <a:ext uri="{FF2B5EF4-FFF2-40B4-BE49-F238E27FC236}">
                        <a16:creationId xmlns:a16="http://schemas.microsoft.com/office/drawing/2014/main" id="{010EE647-FE59-3BAF-C5B4-15DA25357DE5}"/>
                      </a:ext>
                    </a:extLst>
                  </p:cNvPr>
                  <p:cNvSpPr/>
                  <p:nvPr userDrawn="1"/>
                </p:nvSpPr>
                <p:spPr>
                  <a:xfrm>
                    <a:off x="8202042" y="435154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F2F3F6"/>
                  </a:solidFill>
                  <a:ln w="2339" cap="flat">
                    <a:noFill/>
                    <a:prstDash val="solid"/>
                    <a:miter/>
                  </a:ln>
                </p:spPr>
                <p:txBody>
                  <a:bodyPr rtlCol="0" anchor="ctr"/>
                  <a:lstStyle/>
                  <a:p>
                    <a:endParaRPr lang="en-US" sz="2400"/>
                  </a:p>
                </p:txBody>
              </p:sp>
              <p:sp>
                <p:nvSpPr>
                  <p:cNvPr id="239" name="Freeform: Shape 238">
                    <a:extLst>
                      <a:ext uri="{FF2B5EF4-FFF2-40B4-BE49-F238E27FC236}">
                        <a16:creationId xmlns:a16="http://schemas.microsoft.com/office/drawing/2014/main" id="{2631769D-5AE2-54DC-E855-94107678B1C2}"/>
                      </a:ext>
                    </a:extLst>
                  </p:cNvPr>
                  <p:cNvSpPr/>
                  <p:nvPr userDrawn="1"/>
                </p:nvSpPr>
                <p:spPr>
                  <a:xfrm>
                    <a:off x="8201761" y="435112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F2F3F6"/>
                  </a:solidFill>
                  <a:ln w="2339" cap="flat">
                    <a:noFill/>
                    <a:prstDash val="solid"/>
                    <a:miter/>
                  </a:ln>
                </p:spPr>
                <p:txBody>
                  <a:bodyPr rtlCol="0" anchor="ctr"/>
                  <a:lstStyle/>
                  <a:p>
                    <a:endParaRPr lang="en-US" sz="2400"/>
                  </a:p>
                </p:txBody>
              </p:sp>
              <p:sp>
                <p:nvSpPr>
                  <p:cNvPr id="240" name="Freeform: Shape 239">
                    <a:extLst>
                      <a:ext uri="{FF2B5EF4-FFF2-40B4-BE49-F238E27FC236}">
                        <a16:creationId xmlns:a16="http://schemas.microsoft.com/office/drawing/2014/main" id="{77788780-55EE-3E26-821B-05DBFC7B4A72}"/>
                      </a:ext>
                    </a:extLst>
                  </p:cNvPr>
                  <p:cNvSpPr/>
                  <p:nvPr userDrawn="1"/>
                </p:nvSpPr>
                <p:spPr>
                  <a:xfrm>
                    <a:off x="8201480" y="435070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F2F3F7"/>
                  </a:solidFill>
                  <a:ln w="2339" cap="flat">
                    <a:noFill/>
                    <a:prstDash val="solid"/>
                    <a:miter/>
                  </a:ln>
                </p:spPr>
                <p:txBody>
                  <a:bodyPr rtlCol="0" anchor="ctr"/>
                  <a:lstStyle/>
                  <a:p>
                    <a:endParaRPr lang="en-US" sz="2400"/>
                  </a:p>
                </p:txBody>
              </p:sp>
              <p:sp>
                <p:nvSpPr>
                  <p:cNvPr id="241" name="Freeform: Shape 240">
                    <a:extLst>
                      <a:ext uri="{FF2B5EF4-FFF2-40B4-BE49-F238E27FC236}">
                        <a16:creationId xmlns:a16="http://schemas.microsoft.com/office/drawing/2014/main" id="{0AED1328-53C2-67D3-D288-45C63E07903A}"/>
                      </a:ext>
                    </a:extLst>
                  </p:cNvPr>
                  <p:cNvSpPr/>
                  <p:nvPr userDrawn="1"/>
                </p:nvSpPr>
                <p:spPr>
                  <a:xfrm>
                    <a:off x="8201223" y="435028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F2F4F7"/>
                  </a:solidFill>
                  <a:ln w="2339" cap="flat">
                    <a:noFill/>
                    <a:prstDash val="solid"/>
                    <a:miter/>
                  </a:ln>
                </p:spPr>
                <p:txBody>
                  <a:bodyPr rtlCol="0" anchor="ctr"/>
                  <a:lstStyle/>
                  <a:p>
                    <a:endParaRPr lang="en-US" sz="2400"/>
                  </a:p>
                </p:txBody>
              </p:sp>
              <p:sp>
                <p:nvSpPr>
                  <p:cNvPr id="242" name="Freeform: Shape 241">
                    <a:extLst>
                      <a:ext uri="{FF2B5EF4-FFF2-40B4-BE49-F238E27FC236}">
                        <a16:creationId xmlns:a16="http://schemas.microsoft.com/office/drawing/2014/main" id="{1DAEF082-46B4-AE1B-199E-1D600E4EF175}"/>
                      </a:ext>
                    </a:extLst>
                  </p:cNvPr>
                  <p:cNvSpPr/>
                  <p:nvPr userDrawn="1"/>
                </p:nvSpPr>
                <p:spPr>
                  <a:xfrm>
                    <a:off x="8200966" y="4349860"/>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3F4F7"/>
                  </a:solidFill>
                  <a:ln w="2339" cap="flat">
                    <a:noFill/>
                    <a:prstDash val="solid"/>
                    <a:miter/>
                  </a:ln>
                </p:spPr>
                <p:txBody>
                  <a:bodyPr rtlCol="0" anchor="ctr"/>
                  <a:lstStyle/>
                  <a:p>
                    <a:endParaRPr lang="en-US" sz="2400"/>
                  </a:p>
                </p:txBody>
              </p:sp>
              <p:sp>
                <p:nvSpPr>
                  <p:cNvPr id="243" name="Freeform: Shape 242">
                    <a:extLst>
                      <a:ext uri="{FF2B5EF4-FFF2-40B4-BE49-F238E27FC236}">
                        <a16:creationId xmlns:a16="http://schemas.microsoft.com/office/drawing/2014/main" id="{1EC83FBE-9C47-DB1F-23F5-5EABC4399715}"/>
                      </a:ext>
                    </a:extLst>
                  </p:cNvPr>
                  <p:cNvSpPr/>
                  <p:nvPr userDrawn="1"/>
                </p:nvSpPr>
                <p:spPr>
                  <a:xfrm>
                    <a:off x="8200708" y="4349439"/>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3F4F7"/>
                  </a:solidFill>
                  <a:ln w="2339" cap="flat">
                    <a:noFill/>
                    <a:prstDash val="solid"/>
                    <a:miter/>
                  </a:ln>
                </p:spPr>
                <p:txBody>
                  <a:bodyPr rtlCol="0" anchor="ctr"/>
                  <a:lstStyle/>
                  <a:p>
                    <a:endParaRPr lang="en-US" sz="2400"/>
                  </a:p>
                </p:txBody>
              </p:sp>
              <p:sp>
                <p:nvSpPr>
                  <p:cNvPr id="244" name="Freeform: Shape 243">
                    <a:extLst>
                      <a:ext uri="{FF2B5EF4-FFF2-40B4-BE49-F238E27FC236}">
                        <a16:creationId xmlns:a16="http://schemas.microsoft.com/office/drawing/2014/main" id="{CB0E754A-4C7A-FDFC-B37D-0D6B59C3A6E3}"/>
                      </a:ext>
                    </a:extLst>
                  </p:cNvPr>
                  <p:cNvSpPr/>
                  <p:nvPr userDrawn="1"/>
                </p:nvSpPr>
                <p:spPr>
                  <a:xfrm>
                    <a:off x="8200474" y="4349018"/>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3F4F7"/>
                  </a:solidFill>
                  <a:ln w="2339" cap="flat">
                    <a:noFill/>
                    <a:prstDash val="solid"/>
                    <a:miter/>
                  </a:ln>
                </p:spPr>
                <p:txBody>
                  <a:bodyPr rtlCol="0" anchor="ctr"/>
                  <a:lstStyle/>
                  <a:p>
                    <a:endParaRPr lang="en-US" sz="2400"/>
                  </a:p>
                </p:txBody>
              </p:sp>
              <p:sp>
                <p:nvSpPr>
                  <p:cNvPr id="245" name="Freeform: Shape 244">
                    <a:extLst>
                      <a:ext uri="{FF2B5EF4-FFF2-40B4-BE49-F238E27FC236}">
                        <a16:creationId xmlns:a16="http://schemas.microsoft.com/office/drawing/2014/main" id="{BD81FC2F-043D-DC83-1360-9687EE87C326}"/>
                      </a:ext>
                    </a:extLst>
                  </p:cNvPr>
                  <p:cNvSpPr/>
                  <p:nvPr userDrawn="1"/>
                </p:nvSpPr>
                <p:spPr>
                  <a:xfrm>
                    <a:off x="8200217" y="4348597"/>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4F5F8"/>
                  </a:solidFill>
                  <a:ln w="2339" cap="flat">
                    <a:noFill/>
                    <a:prstDash val="solid"/>
                    <a:miter/>
                  </a:ln>
                </p:spPr>
                <p:txBody>
                  <a:bodyPr rtlCol="0" anchor="ctr"/>
                  <a:lstStyle/>
                  <a:p>
                    <a:endParaRPr lang="en-US" sz="2400"/>
                  </a:p>
                </p:txBody>
              </p:sp>
              <p:sp>
                <p:nvSpPr>
                  <p:cNvPr id="246" name="Freeform: Shape 245">
                    <a:extLst>
                      <a:ext uri="{FF2B5EF4-FFF2-40B4-BE49-F238E27FC236}">
                        <a16:creationId xmlns:a16="http://schemas.microsoft.com/office/drawing/2014/main" id="{CCD4F35B-2C25-024F-6B9B-E8E315A45AD7}"/>
                      </a:ext>
                    </a:extLst>
                  </p:cNvPr>
                  <p:cNvSpPr/>
                  <p:nvPr userDrawn="1"/>
                </p:nvSpPr>
                <p:spPr>
                  <a:xfrm>
                    <a:off x="8199983" y="4348175"/>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4F5F8"/>
                  </a:solidFill>
                  <a:ln w="2339" cap="flat">
                    <a:noFill/>
                    <a:prstDash val="solid"/>
                    <a:miter/>
                  </a:ln>
                </p:spPr>
                <p:txBody>
                  <a:bodyPr rtlCol="0" anchor="ctr"/>
                  <a:lstStyle/>
                  <a:p>
                    <a:endParaRPr lang="en-US" sz="2400"/>
                  </a:p>
                </p:txBody>
              </p:sp>
              <p:sp>
                <p:nvSpPr>
                  <p:cNvPr id="247" name="Freeform: Shape 246">
                    <a:extLst>
                      <a:ext uri="{FF2B5EF4-FFF2-40B4-BE49-F238E27FC236}">
                        <a16:creationId xmlns:a16="http://schemas.microsoft.com/office/drawing/2014/main" id="{B968BCFA-437E-D4CD-CF5C-FDD73F023781}"/>
                      </a:ext>
                    </a:extLst>
                  </p:cNvPr>
                  <p:cNvSpPr/>
                  <p:nvPr userDrawn="1"/>
                </p:nvSpPr>
                <p:spPr>
                  <a:xfrm>
                    <a:off x="8199749" y="4347754"/>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4F5F8"/>
                  </a:solidFill>
                  <a:ln w="2339" cap="flat">
                    <a:noFill/>
                    <a:prstDash val="solid"/>
                    <a:miter/>
                  </a:ln>
                </p:spPr>
                <p:txBody>
                  <a:bodyPr rtlCol="0" anchor="ctr"/>
                  <a:lstStyle/>
                  <a:p>
                    <a:endParaRPr lang="en-US" sz="2400"/>
                  </a:p>
                </p:txBody>
              </p:sp>
              <p:sp>
                <p:nvSpPr>
                  <p:cNvPr id="248" name="Freeform: Shape 247">
                    <a:extLst>
                      <a:ext uri="{FF2B5EF4-FFF2-40B4-BE49-F238E27FC236}">
                        <a16:creationId xmlns:a16="http://schemas.microsoft.com/office/drawing/2014/main" id="{805978F9-417A-E28D-DAD3-C5EADA76697A}"/>
                      </a:ext>
                    </a:extLst>
                  </p:cNvPr>
                  <p:cNvSpPr/>
                  <p:nvPr userDrawn="1"/>
                </p:nvSpPr>
                <p:spPr>
                  <a:xfrm>
                    <a:off x="8199515" y="4347356"/>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5F6F8"/>
                  </a:solidFill>
                  <a:ln w="2339" cap="flat">
                    <a:noFill/>
                    <a:prstDash val="solid"/>
                    <a:miter/>
                  </a:ln>
                </p:spPr>
                <p:txBody>
                  <a:bodyPr rtlCol="0" anchor="ctr"/>
                  <a:lstStyle/>
                  <a:p>
                    <a:endParaRPr lang="en-US" sz="2400"/>
                  </a:p>
                </p:txBody>
              </p:sp>
              <p:sp>
                <p:nvSpPr>
                  <p:cNvPr id="249" name="Freeform: Shape 248">
                    <a:extLst>
                      <a:ext uri="{FF2B5EF4-FFF2-40B4-BE49-F238E27FC236}">
                        <a16:creationId xmlns:a16="http://schemas.microsoft.com/office/drawing/2014/main" id="{DF054F90-9004-F945-286A-FD126AE367AA}"/>
                      </a:ext>
                    </a:extLst>
                  </p:cNvPr>
                  <p:cNvSpPr/>
                  <p:nvPr userDrawn="1"/>
                </p:nvSpPr>
                <p:spPr>
                  <a:xfrm>
                    <a:off x="8199281" y="4346935"/>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74"/>
                          <a:pt x="42074" y="32667"/>
                          <a:pt x="42074" y="21037"/>
                        </a:cubicBezTo>
                        <a:close/>
                      </a:path>
                    </a:pathLst>
                  </a:custGeom>
                  <a:solidFill>
                    <a:srgbClr val="F5F6F8"/>
                  </a:solidFill>
                  <a:ln w="2339" cap="flat">
                    <a:noFill/>
                    <a:prstDash val="solid"/>
                    <a:miter/>
                  </a:ln>
                </p:spPr>
                <p:txBody>
                  <a:bodyPr rtlCol="0" anchor="ctr"/>
                  <a:lstStyle/>
                  <a:p>
                    <a:endParaRPr lang="en-US" sz="2400"/>
                  </a:p>
                </p:txBody>
              </p:sp>
              <p:sp>
                <p:nvSpPr>
                  <p:cNvPr id="250" name="Freeform: Shape 249">
                    <a:extLst>
                      <a:ext uri="{FF2B5EF4-FFF2-40B4-BE49-F238E27FC236}">
                        <a16:creationId xmlns:a16="http://schemas.microsoft.com/office/drawing/2014/main" id="{1143852B-E3EB-E1D4-4C15-D4195AB6B301}"/>
                      </a:ext>
                    </a:extLst>
                  </p:cNvPr>
                  <p:cNvSpPr/>
                  <p:nvPr userDrawn="1"/>
                </p:nvSpPr>
                <p:spPr>
                  <a:xfrm>
                    <a:off x="8199070" y="4346514"/>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5F6F9"/>
                  </a:solidFill>
                  <a:ln w="2339" cap="flat">
                    <a:noFill/>
                    <a:prstDash val="solid"/>
                    <a:miter/>
                  </a:ln>
                </p:spPr>
                <p:txBody>
                  <a:bodyPr rtlCol="0" anchor="ctr"/>
                  <a:lstStyle/>
                  <a:p>
                    <a:endParaRPr lang="en-US" sz="2400"/>
                  </a:p>
                </p:txBody>
              </p:sp>
              <p:sp>
                <p:nvSpPr>
                  <p:cNvPr id="251" name="Freeform: Shape 250">
                    <a:extLst>
                      <a:ext uri="{FF2B5EF4-FFF2-40B4-BE49-F238E27FC236}">
                        <a16:creationId xmlns:a16="http://schemas.microsoft.com/office/drawing/2014/main" id="{33B04E21-B2D9-7DCF-B37D-2C5AD78F1C24}"/>
                      </a:ext>
                    </a:extLst>
                  </p:cNvPr>
                  <p:cNvSpPr/>
                  <p:nvPr userDrawn="1"/>
                </p:nvSpPr>
                <p:spPr>
                  <a:xfrm>
                    <a:off x="8198860" y="4346093"/>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6F6F9"/>
                  </a:solidFill>
                  <a:ln w="2339" cap="flat">
                    <a:noFill/>
                    <a:prstDash val="solid"/>
                    <a:miter/>
                  </a:ln>
                </p:spPr>
                <p:txBody>
                  <a:bodyPr rtlCol="0" anchor="ctr"/>
                  <a:lstStyle/>
                  <a:p>
                    <a:endParaRPr lang="en-US" sz="2400"/>
                  </a:p>
                </p:txBody>
              </p:sp>
              <p:sp>
                <p:nvSpPr>
                  <p:cNvPr id="252" name="Freeform: Shape 251">
                    <a:extLst>
                      <a:ext uri="{FF2B5EF4-FFF2-40B4-BE49-F238E27FC236}">
                        <a16:creationId xmlns:a16="http://schemas.microsoft.com/office/drawing/2014/main" id="{02EA62B5-52EA-20D1-6DA1-809524EE9A41}"/>
                      </a:ext>
                    </a:extLst>
                  </p:cNvPr>
                  <p:cNvSpPr/>
                  <p:nvPr userDrawn="1"/>
                </p:nvSpPr>
                <p:spPr>
                  <a:xfrm>
                    <a:off x="8198649" y="4345671"/>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6F7F9"/>
                  </a:solidFill>
                  <a:ln w="2339" cap="flat">
                    <a:noFill/>
                    <a:prstDash val="solid"/>
                    <a:miter/>
                  </a:ln>
                </p:spPr>
                <p:txBody>
                  <a:bodyPr rtlCol="0" anchor="ctr"/>
                  <a:lstStyle/>
                  <a:p>
                    <a:endParaRPr lang="en-US" sz="2400"/>
                  </a:p>
                </p:txBody>
              </p:sp>
              <p:sp>
                <p:nvSpPr>
                  <p:cNvPr id="253" name="Freeform: Shape 252">
                    <a:extLst>
                      <a:ext uri="{FF2B5EF4-FFF2-40B4-BE49-F238E27FC236}">
                        <a16:creationId xmlns:a16="http://schemas.microsoft.com/office/drawing/2014/main" id="{C1674430-4CF7-6AA0-AB65-7B3AB942FD23}"/>
                      </a:ext>
                    </a:extLst>
                  </p:cNvPr>
                  <p:cNvSpPr/>
                  <p:nvPr userDrawn="1"/>
                </p:nvSpPr>
                <p:spPr>
                  <a:xfrm>
                    <a:off x="8198438" y="4345250"/>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6F7F9"/>
                  </a:solidFill>
                  <a:ln w="2339" cap="flat">
                    <a:noFill/>
                    <a:prstDash val="solid"/>
                    <a:miter/>
                  </a:ln>
                </p:spPr>
                <p:txBody>
                  <a:bodyPr rtlCol="0" anchor="ctr"/>
                  <a:lstStyle/>
                  <a:p>
                    <a:endParaRPr lang="en-US" sz="2400"/>
                  </a:p>
                </p:txBody>
              </p:sp>
              <p:sp>
                <p:nvSpPr>
                  <p:cNvPr id="254" name="Freeform: Shape 253">
                    <a:extLst>
                      <a:ext uri="{FF2B5EF4-FFF2-40B4-BE49-F238E27FC236}">
                        <a16:creationId xmlns:a16="http://schemas.microsoft.com/office/drawing/2014/main" id="{EFE846FB-C562-0B02-3187-A7EA8B2944C5}"/>
                      </a:ext>
                    </a:extLst>
                  </p:cNvPr>
                  <p:cNvSpPr/>
                  <p:nvPr userDrawn="1"/>
                </p:nvSpPr>
                <p:spPr>
                  <a:xfrm>
                    <a:off x="8198251" y="4344829"/>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6F7F9"/>
                  </a:solidFill>
                  <a:ln w="2339" cap="flat">
                    <a:noFill/>
                    <a:prstDash val="solid"/>
                    <a:miter/>
                  </a:ln>
                </p:spPr>
                <p:txBody>
                  <a:bodyPr rtlCol="0" anchor="ctr"/>
                  <a:lstStyle/>
                  <a:p>
                    <a:endParaRPr lang="en-US" sz="2400"/>
                  </a:p>
                </p:txBody>
              </p:sp>
              <p:sp>
                <p:nvSpPr>
                  <p:cNvPr id="255" name="Freeform: Shape 254">
                    <a:extLst>
                      <a:ext uri="{FF2B5EF4-FFF2-40B4-BE49-F238E27FC236}">
                        <a16:creationId xmlns:a16="http://schemas.microsoft.com/office/drawing/2014/main" id="{05D606C2-8759-B074-F21E-8333172A619A}"/>
                      </a:ext>
                    </a:extLst>
                  </p:cNvPr>
                  <p:cNvSpPr/>
                  <p:nvPr userDrawn="1"/>
                </p:nvSpPr>
                <p:spPr>
                  <a:xfrm>
                    <a:off x="8198064" y="4344408"/>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7F7FA"/>
                  </a:solidFill>
                  <a:ln w="2339" cap="flat">
                    <a:noFill/>
                    <a:prstDash val="solid"/>
                    <a:miter/>
                  </a:ln>
                </p:spPr>
                <p:txBody>
                  <a:bodyPr rtlCol="0" anchor="ctr"/>
                  <a:lstStyle/>
                  <a:p>
                    <a:endParaRPr lang="en-US" sz="2400"/>
                  </a:p>
                </p:txBody>
              </p:sp>
              <p:sp>
                <p:nvSpPr>
                  <p:cNvPr id="256" name="Freeform: Shape 255">
                    <a:extLst>
                      <a:ext uri="{FF2B5EF4-FFF2-40B4-BE49-F238E27FC236}">
                        <a16:creationId xmlns:a16="http://schemas.microsoft.com/office/drawing/2014/main" id="{4227ABE0-21E9-A5CF-F95F-3CF513FC9A3D}"/>
                      </a:ext>
                    </a:extLst>
                  </p:cNvPr>
                  <p:cNvSpPr/>
                  <p:nvPr userDrawn="1"/>
                </p:nvSpPr>
                <p:spPr>
                  <a:xfrm>
                    <a:off x="8197877" y="4343987"/>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7F8FA"/>
                  </a:solidFill>
                  <a:ln w="2339" cap="flat">
                    <a:noFill/>
                    <a:prstDash val="solid"/>
                    <a:miter/>
                  </a:ln>
                </p:spPr>
                <p:txBody>
                  <a:bodyPr rtlCol="0" anchor="ctr"/>
                  <a:lstStyle/>
                  <a:p>
                    <a:endParaRPr lang="en-US" sz="2400"/>
                  </a:p>
                </p:txBody>
              </p:sp>
              <p:sp>
                <p:nvSpPr>
                  <p:cNvPr id="257" name="Freeform: Shape 256">
                    <a:extLst>
                      <a:ext uri="{FF2B5EF4-FFF2-40B4-BE49-F238E27FC236}">
                        <a16:creationId xmlns:a16="http://schemas.microsoft.com/office/drawing/2014/main" id="{93D289CC-C8BC-3EE0-1B24-57BD23F62A12}"/>
                      </a:ext>
                    </a:extLst>
                  </p:cNvPr>
                  <p:cNvSpPr/>
                  <p:nvPr userDrawn="1"/>
                </p:nvSpPr>
                <p:spPr>
                  <a:xfrm>
                    <a:off x="8197690" y="4343565"/>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7F8FA"/>
                  </a:solidFill>
                  <a:ln w="2339" cap="flat">
                    <a:noFill/>
                    <a:prstDash val="solid"/>
                    <a:miter/>
                  </a:ln>
                </p:spPr>
                <p:txBody>
                  <a:bodyPr rtlCol="0" anchor="ctr"/>
                  <a:lstStyle/>
                  <a:p>
                    <a:endParaRPr lang="en-US" sz="2400"/>
                  </a:p>
                </p:txBody>
              </p:sp>
              <p:sp>
                <p:nvSpPr>
                  <p:cNvPr id="258" name="Freeform: Shape 257">
                    <a:extLst>
                      <a:ext uri="{FF2B5EF4-FFF2-40B4-BE49-F238E27FC236}">
                        <a16:creationId xmlns:a16="http://schemas.microsoft.com/office/drawing/2014/main" id="{0DD0CEDF-41A7-4EA0-A311-D47D86F924CE}"/>
                      </a:ext>
                    </a:extLst>
                  </p:cNvPr>
                  <p:cNvSpPr/>
                  <p:nvPr userDrawn="1"/>
                </p:nvSpPr>
                <p:spPr>
                  <a:xfrm>
                    <a:off x="8197526" y="4343144"/>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8F8FA"/>
                  </a:solidFill>
                  <a:ln w="2339" cap="flat">
                    <a:noFill/>
                    <a:prstDash val="solid"/>
                    <a:miter/>
                  </a:ln>
                </p:spPr>
                <p:txBody>
                  <a:bodyPr rtlCol="0" anchor="ctr"/>
                  <a:lstStyle/>
                  <a:p>
                    <a:endParaRPr lang="en-US" sz="2400"/>
                  </a:p>
                </p:txBody>
              </p:sp>
              <p:sp>
                <p:nvSpPr>
                  <p:cNvPr id="259" name="Freeform: Shape 258">
                    <a:extLst>
                      <a:ext uri="{FF2B5EF4-FFF2-40B4-BE49-F238E27FC236}">
                        <a16:creationId xmlns:a16="http://schemas.microsoft.com/office/drawing/2014/main" id="{B834FF05-5F71-1317-5AE4-105D1C39123C}"/>
                      </a:ext>
                    </a:extLst>
                  </p:cNvPr>
                  <p:cNvSpPr/>
                  <p:nvPr userDrawn="1"/>
                </p:nvSpPr>
                <p:spPr>
                  <a:xfrm>
                    <a:off x="8197362" y="4342723"/>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90"/>
                          <a:pt x="42074" y="21037"/>
                        </a:cubicBezTo>
                        <a:close/>
                      </a:path>
                    </a:pathLst>
                  </a:custGeom>
                  <a:solidFill>
                    <a:srgbClr val="F8F9FA"/>
                  </a:solidFill>
                  <a:ln w="2339" cap="flat">
                    <a:noFill/>
                    <a:prstDash val="solid"/>
                    <a:miter/>
                  </a:ln>
                </p:spPr>
                <p:txBody>
                  <a:bodyPr rtlCol="0" anchor="ctr"/>
                  <a:lstStyle/>
                  <a:p>
                    <a:endParaRPr lang="en-US" sz="2400"/>
                  </a:p>
                </p:txBody>
              </p:sp>
              <p:sp>
                <p:nvSpPr>
                  <p:cNvPr id="260" name="Freeform: Shape 259">
                    <a:extLst>
                      <a:ext uri="{FF2B5EF4-FFF2-40B4-BE49-F238E27FC236}">
                        <a16:creationId xmlns:a16="http://schemas.microsoft.com/office/drawing/2014/main" id="{B3CA0CF5-176D-1E7F-4F7C-E0FCA0791F0D}"/>
                      </a:ext>
                    </a:extLst>
                  </p:cNvPr>
                  <p:cNvSpPr/>
                  <p:nvPr userDrawn="1"/>
                </p:nvSpPr>
                <p:spPr>
                  <a:xfrm>
                    <a:off x="8197198" y="4342325"/>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8F9FB"/>
                  </a:solidFill>
                  <a:ln w="2339" cap="flat">
                    <a:noFill/>
                    <a:prstDash val="solid"/>
                    <a:miter/>
                  </a:ln>
                </p:spPr>
                <p:txBody>
                  <a:bodyPr rtlCol="0" anchor="ctr"/>
                  <a:lstStyle/>
                  <a:p>
                    <a:endParaRPr lang="en-US" sz="2400"/>
                  </a:p>
                </p:txBody>
              </p:sp>
              <p:sp>
                <p:nvSpPr>
                  <p:cNvPr id="261" name="Freeform: Shape 260">
                    <a:extLst>
                      <a:ext uri="{FF2B5EF4-FFF2-40B4-BE49-F238E27FC236}">
                        <a16:creationId xmlns:a16="http://schemas.microsoft.com/office/drawing/2014/main" id="{B3A090FC-4D13-4729-C4F4-C8641E7DB2E5}"/>
                      </a:ext>
                    </a:extLst>
                  </p:cNvPr>
                  <p:cNvSpPr/>
                  <p:nvPr userDrawn="1"/>
                </p:nvSpPr>
                <p:spPr>
                  <a:xfrm>
                    <a:off x="8197034" y="4341904"/>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9F9FB"/>
                  </a:solidFill>
                  <a:ln w="2339" cap="flat">
                    <a:noFill/>
                    <a:prstDash val="solid"/>
                    <a:miter/>
                  </a:ln>
                </p:spPr>
                <p:txBody>
                  <a:bodyPr rtlCol="0" anchor="ctr"/>
                  <a:lstStyle/>
                  <a:p>
                    <a:endParaRPr lang="en-US" sz="2400"/>
                  </a:p>
                </p:txBody>
              </p:sp>
              <p:sp>
                <p:nvSpPr>
                  <p:cNvPr id="262" name="Freeform: Shape 261">
                    <a:extLst>
                      <a:ext uri="{FF2B5EF4-FFF2-40B4-BE49-F238E27FC236}">
                        <a16:creationId xmlns:a16="http://schemas.microsoft.com/office/drawing/2014/main" id="{879171E9-17BF-EBD5-067B-E21A9B097118}"/>
                      </a:ext>
                    </a:extLst>
                  </p:cNvPr>
                  <p:cNvSpPr/>
                  <p:nvPr userDrawn="1"/>
                </p:nvSpPr>
                <p:spPr>
                  <a:xfrm>
                    <a:off x="8196871" y="4341483"/>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9F9FB"/>
                  </a:solidFill>
                  <a:ln w="2339" cap="flat">
                    <a:noFill/>
                    <a:prstDash val="solid"/>
                    <a:miter/>
                  </a:ln>
                </p:spPr>
                <p:txBody>
                  <a:bodyPr rtlCol="0" anchor="ctr"/>
                  <a:lstStyle/>
                  <a:p>
                    <a:endParaRPr lang="en-US" sz="2400"/>
                  </a:p>
                </p:txBody>
              </p:sp>
              <p:sp>
                <p:nvSpPr>
                  <p:cNvPr id="263" name="Freeform: Shape 262">
                    <a:extLst>
                      <a:ext uri="{FF2B5EF4-FFF2-40B4-BE49-F238E27FC236}">
                        <a16:creationId xmlns:a16="http://schemas.microsoft.com/office/drawing/2014/main" id="{5F29C9B3-5747-4339-02DA-F0064B83C22B}"/>
                      </a:ext>
                    </a:extLst>
                  </p:cNvPr>
                  <p:cNvSpPr/>
                  <p:nvPr userDrawn="1"/>
                </p:nvSpPr>
                <p:spPr>
                  <a:xfrm>
                    <a:off x="8196730" y="4341062"/>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9FAFB"/>
                  </a:solidFill>
                  <a:ln w="2339" cap="flat">
                    <a:noFill/>
                    <a:prstDash val="solid"/>
                    <a:miter/>
                  </a:ln>
                </p:spPr>
                <p:txBody>
                  <a:bodyPr rtlCol="0" anchor="ctr"/>
                  <a:lstStyle/>
                  <a:p>
                    <a:endParaRPr lang="en-US" sz="2400"/>
                  </a:p>
                </p:txBody>
              </p:sp>
              <p:sp>
                <p:nvSpPr>
                  <p:cNvPr id="264" name="Freeform: Shape 263">
                    <a:extLst>
                      <a:ext uri="{FF2B5EF4-FFF2-40B4-BE49-F238E27FC236}">
                        <a16:creationId xmlns:a16="http://schemas.microsoft.com/office/drawing/2014/main" id="{86652CBE-7ACB-AE46-D71E-46B11AA52BDA}"/>
                      </a:ext>
                    </a:extLst>
                  </p:cNvPr>
                  <p:cNvSpPr/>
                  <p:nvPr userDrawn="1"/>
                </p:nvSpPr>
                <p:spPr>
                  <a:xfrm>
                    <a:off x="8196590" y="4340640"/>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9FAFB"/>
                  </a:solidFill>
                  <a:ln w="2339" cap="flat">
                    <a:noFill/>
                    <a:prstDash val="solid"/>
                    <a:miter/>
                  </a:ln>
                </p:spPr>
                <p:txBody>
                  <a:bodyPr rtlCol="0" anchor="ctr"/>
                  <a:lstStyle/>
                  <a:p>
                    <a:endParaRPr lang="en-US" sz="2400"/>
                  </a:p>
                </p:txBody>
              </p:sp>
              <p:sp>
                <p:nvSpPr>
                  <p:cNvPr id="265" name="Freeform: Shape 264">
                    <a:extLst>
                      <a:ext uri="{FF2B5EF4-FFF2-40B4-BE49-F238E27FC236}">
                        <a16:creationId xmlns:a16="http://schemas.microsoft.com/office/drawing/2014/main" id="{5DCA820A-2C22-DB9A-D97A-D576023D8F1D}"/>
                      </a:ext>
                    </a:extLst>
                  </p:cNvPr>
                  <p:cNvSpPr/>
                  <p:nvPr userDrawn="1"/>
                </p:nvSpPr>
                <p:spPr>
                  <a:xfrm>
                    <a:off x="8196449" y="4340243"/>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74"/>
                          <a:pt x="42074" y="32667"/>
                          <a:pt x="42074" y="21037"/>
                        </a:cubicBezTo>
                        <a:close/>
                      </a:path>
                    </a:pathLst>
                  </a:custGeom>
                  <a:solidFill>
                    <a:srgbClr val="FAFAFC"/>
                  </a:solidFill>
                  <a:ln w="2339" cap="flat">
                    <a:noFill/>
                    <a:prstDash val="solid"/>
                    <a:miter/>
                  </a:ln>
                </p:spPr>
                <p:txBody>
                  <a:bodyPr rtlCol="0" anchor="ctr"/>
                  <a:lstStyle/>
                  <a:p>
                    <a:endParaRPr lang="en-US" sz="2400"/>
                  </a:p>
                </p:txBody>
              </p:sp>
              <p:sp>
                <p:nvSpPr>
                  <p:cNvPr id="266" name="Freeform: Shape 265">
                    <a:extLst>
                      <a:ext uri="{FF2B5EF4-FFF2-40B4-BE49-F238E27FC236}">
                        <a16:creationId xmlns:a16="http://schemas.microsoft.com/office/drawing/2014/main" id="{60A84E2B-9C2A-CB1D-F492-A37930B5978D}"/>
                      </a:ext>
                    </a:extLst>
                  </p:cNvPr>
                  <p:cNvSpPr/>
                  <p:nvPr userDrawn="1"/>
                </p:nvSpPr>
                <p:spPr>
                  <a:xfrm>
                    <a:off x="8196332" y="4339821"/>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AFBFC"/>
                  </a:solidFill>
                  <a:ln w="2339" cap="flat">
                    <a:noFill/>
                    <a:prstDash val="solid"/>
                    <a:miter/>
                  </a:ln>
                </p:spPr>
                <p:txBody>
                  <a:bodyPr rtlCol="0" anchor="ctr"/>
                  <a:lstStyle/>
                  <a:p>
                    <a:endParaRPr lang="en-US" sz="2400"/>
                  </a:p>
                </p:txBody>
              </p:sp>
              <p:sp>
                <p:nvSpPr>
                  <p:cNvPr id="267" name="Freeform: Shape 266">
                    <a:extLst>
                      <a:ext uri="{FF2B5EF4-FFF2-40B4-BE49-F238E27FC236}">
                        <a16:creationId xmlns:a16="http://schemas.microsoft.com/office/drawing/2014/main" id="{F919F7CE-4550-2031-5DE2-21624437F66B}"/>
                      </a:ext>
                    </a:extLst>
                  </p:cNvPr>
                  <p:cNvSpPr/>
                  <p:nvPr userDrawn="1"/>
                </p:nvSpPr>
                <p:spPr>
                  <a:xfrm>
                    <a:off x="8196215" y="4339400"/>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AFBFC"/>
                  </a:solidFill>
                  <a:ln w="2339" cap="flat">
                    <a:noFill/>
                    <a:prstDash val="solid"/>
                    <a:miter/>
                  </a:ln>
                </p:spPr>
                <p:txBody>
                  <a:bodyPr rtlCol="0" anchor="ctr"/>
                  <a:lstStyle/>
                  <a:p>
                    <a:endParaRPr lang="en-US" sz="2400"/>
                  </a:p>
                </p:txBody>
              </p:sp>
              <p:sp>
                <p:nvSpPr>
                  <p:cNvPr id="268" name="Freeform: Shape 267">
                    <a:extLst>
                      <a:ext uri="{FF2B5EF4-FFF2-40B4-BE49-F238E27FC236}">
                        <a16:creationId xmlns:a16="http://schemas.microsoft.com/office/drawing/2014/main" id="{72212B73-74F2-59A9-EBA9-B07FC11FA9E3}"/>
                      </a:ext>
                    </a:extLst>
                  </p:cNvPr>
                  <p:cNvSpPr/>
                  <p:nvPr userDrawn="1"/>
                </p:nvSpPr>
                <p:spPr>
                  <a:xfrm>
                    <a:off x="8196098" y="4338979"/>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BFBFC"/>
                  </a:solidFill>
                  <a:ln w="2339" cap="flat">
                    <a:noFill/>
                    <a:prstDash val="solid"/>
                    <a:miter/>
                  </a:ln>
                </p:spPr>
                <p:txBody>
                  <a:bodyPr rtlCol="0" anchor="ctr"/>
                  <a:lstStyle/>
                  <a:p>
                    <a:endParaRPr lang="en-US" sz="2400"/>
                  </a:p>
                </p:txBody>
              </p:sp>
              <p:sp>
                <p:nvSpPr>
                  <p:cNvPr id="269" name="Freeform: Shape 268">
                    <a:extLst>
                      <a:ext uri="{FF2B5EF4-FFF2-40B4-BE49-F238E27FC236}">
                        <a16:creationId xmlns:a16="http://schemas.microsoft.com/office/drawing/2014/main" id="{6A3672C8-9F7E-20E7-45A3-A1F2BEFCEA71}"/>
                      </a:ext>
                    </a:extLst>
                  </p:cNvPr>
                  <p:cNvSpPr/>
                  <p:nvPr userDrawn="1"/>
                </p:nvSpPr>
                <p:spPr>
                  <a:xfrm>
                    <a:off x="8195981" y="4338581"/>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BFBFC"/>
                  </a:solidFill>
                  <a:ln w="2339" cap="flat">
                    <a:noFill/>
                    <a:prstDash val="solid"/>
                    <a:miter/>
                  </a:ln>
                </p:spPr>
                <p:txBody>
                  <a:bodyPr rtlCol="0" anchor="ctr"/>
                  <a:lstStyle/>
                  <a:p>
                    <a:endParaRPr lang="en-US" sz="2400"/>
                  </a:p>
                </p:txBody>
              </p:sp>
              <p:sp>
                <p:nvSpPr>
                  <p:cNvPr id="270" name="Freeform: Shape 269">
                    <a:extLst>
                      <a:ext uri="{FF2B5EF4-FFF2-40B4-BE49-F238E27FC236}">
                        <a16:creationId xmlns:a16="http://schemas.microsoft.com/office/drawing/2014/main" id="{71489268-5EF8-692C-4518-4E7DECCD5419}"/>
                      </a:ext>
                    </a:extLst>
                  </p:cNvPr>
                  <p:cNvSpPr/>
                  <p:nvPr userDrawn="1"/>
                </p:nvSpPr>
                <p:spPr>
                  <a:xfrm>
                    <a:off x="8195864" y="4338160"/>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BFCFD"/>
                  </a:solidFill>
                  <a:ln w="2339" cap="flat">
                    <a:noFill/>
                    <a:prstDash val="solid"/>
                    <a:miter/>
                  </a:ln>
                </p:spPr>
                <p:txBody>
                  <a:bodyPr rtlCol="0" anchor="ctr"/>
                  <a:lstStyle/>
                  <a:p>
                    <a:endParaRPr lang="en-US" sz="2400"/>
                  </a:p>
                </p:txBody>
              </p:sp>
              <p:sp>
                <p:nvSpPr>
                  <p:cNvPr id="271" name="Freeform: Shape 270">
                    <a:extLst>
                      <a:ext uri="{FF2B5EF4-FFF2-40B4-BE49-F238E27FC236}">
                        <a16:creationId xmlns:a16="http://schemas.microsoft.com/office/drawing/2014/main" id="{E8BBA3EC-571D-D368-325F-B87E56B1504F}"/>
                      </a:ext>
                    </a:extLst>
                  </p:cNvPr>
                  <p:cNvSpPr/>
                  <p:nvPr userDrawn="1"/>
                </p:nvSpPr>
                <p:spPr>
                  <a:xfrm>
                    <a:off x="8195771" y="4337739"/>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CFCFD"/>
                  </a:solidFill>
                  <a:ln w="2339" cap="flat">
                    <a:noFill/>
                    <a:prstDash val="solid"/>
                    <a:miter/>
                  </a:ln>
                </p:spPr>
                <p:txBody>
                  <a:bodyPr rtlCol="0" anchor="ctr"/>
                  <a:lstStyle/>
                  <a:p>
                    <a:endParaRPr lang="en-US" sz="2400"/>
                  </a:p>
                </p:txBody>
              </p:sp>
              <p:sp>
                <p:nvSpPr>
                  <p:cNvPr id="272" name="Freeform: Shape 271">
                    <a:extLst>
                      <a:ext uri="{FF2B5EF4-FFF2-40B4-BE49-F238E27FC236}">
                        <a16:creationId xmlns:a16="http://schemas.microsoft.com/office/drawing/2014/main" id="{F95CA3AC-281D-F499-EDD3-0CED97345081}"/>
                      </a:ext>
                    </a:extLst>
                  </p:cNvPr>
                  <p:cNvSpPr/>
                  <p:nvPr userDrawn="1"/>
                </p:nvSpPr>
                <p:spPr>
                  <a:xfrm>
                    <a:off x="8195677" y="4337341"/>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CFCFD"/>
                  </a:solidFill>
                  <a:ln w="2339" cap="flat">
                    <a:noFill/>
                    <a:prstDash val="solid"/>
                    <a:miter/>
                  </a:ln>
                </p:spPr>
                <p:txBody>
                  <a:bodyPr rtlCol="0" anchor="ctr"/>
                  <a:lstStyle/>
                  <a:p>
                    <a:endParaRPr lang="en-US" sz="2400"/>
                  </a:p>
                </p:txBody>
              </p:sp>
              <p:sp>
                <p:nvSpPr>
                  <p:cNvPr id="273" name="Freeform: Shape 272">
                    <a:extLst>
                      <a:ext uri="{FF2B5EF4-FFF2-40B4-BE49-F238E27FC236}">
                        <a16:creationId xmlns:a16="http://schemas.microsoft.com/office/drawing/2014/main" id="{13315A20-9445-5503-05A1-7E81CE34491A}"/>
                      </a:ext>
                    </a:extLst>
                  </p:cNvPr>
                  <p:cNvSpPr/>
                  <p:nvPr userDrawn="1"/>
                </p:nvSpPr>
                <p:spPr>
                  <a:xfrm>
                    <a:off x="8195584" y="4336920"/>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CFCFD"/>
                  </a:solidFill>
                  <a:ln w="2339" cap="flat">
                    <a:noFill/>
                    <a:prstDash val="solid"/>
                    <a:miter/>
                  </a:ln>
                </p:spPr>
                <p:txBody>
                  <a:bodyPr rtlCol="0" anchor="ctr"/>
                  <a:lstStyle/>
                  <a:p>
                    <a:endParaRPr lang="en-US" sz="2400"/>
                  </a:p>
                </p:txBody>
              </p:sp>
              <p:sp>
                <p:nvSpPr>
                  <p:cNvPr id="274" name="Freeform: Shape 273">
                    <a:extLst>
                      <a:ext uri="{FF2B5EF4-FFF2-40B4-BE49-F238E27FC236}">
                        <a16:creationId xmlns:a16="http://schemas.microsoft.com/office/drawing/2014/main" id="{7AC2FB25-7CBB-1BB8-041B-EC0795882B84}"/>
                      </a:ext>
                    </a:extLst>
                  </p:cNvPr>
                  <p:cNvSpPr/>
                  <p:nvPr userDrawn="1"/>
                </p:nvSpPr>
                <p:spPr>
                  <a:xfrm>
                    <a:off x="8195490" y="4336499"/>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DFDFD"/>
                  </a:solidFill>
                  <a:ln w="2339" cap="flat">
                    <a:noFill/>
                    <a:prstDash val="solid"/>
                    <a:miter/>
                  </a:ln>
                </p:spPr>
                <p:txBody>
                  <a:bodyPr rtlCol="0" anchor="ctr"/>
                  <a:lstStyle/>
                  <a:p>
                    <a:endParaRPr lang="en-US" sz="2400"/>
                  </a:p>
                </p:txBody>
              </p:sp>
              <p:sp>
                <p:nvSpPr>
                  <p:cNvPr id="275" name="Freeform: Shape 274">
                    <a:extLst>
                      <a:ext uri="{FF2B5EF4-FFF2-40B4-BE49-F238E27FC236}">
                        <a16:creationId xmlns:a16="http://schemas.microsoft.com/office/drawing/2014/main" id="{BFB5427D-BEA7-6E90-D85C-7CE4588176A3}"/>
                      </a:ext>
                    </a:extLst>
                  </p:cNvPr>
                  <p:cNvSpPr/>
                  <p:nvPr userDrawn="1"/>
                </p:nvSpPr>
                <p:spPr>
                  <a:xfrm>
                    <a:off x="8195420" y="4336101"/>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74"/>
                          <a:pt x="42074" y="32667"/>
                          <a:pt x="42074" y="21037"/>
                        </a:cubicBezTo>
                        <a:close/>
                      </a:path>
                    </a:pathLst>
                  </a:custGeom>
                  <a:solidFill>
                    <a:srgbClr val="FDFDFE"/>
                  </a:solidFill>
                  <a:ln w="2339" cap="flat">
                    <a:noFill/>
                    <a:prstDash val="solid"/>
                    <a:miter/>
                  </a:ln>
                </p:spPr>
                <p:txBody>
                  <a:bodyPr rtlCol="0" anchor="ctr"/>
                  <a:lstStyle/>
                  <a:p>
                    <a:endParaRPr lang="en-US" sz="2400"/>
                  </a:p>
                </p:txBody>
              </p:sp>
              <p:sp>
                <p:nvSpPr>
                  <p:cNvPr id="276" name="Freeform: Shape 275">
                    <a:extLst>
                      <a:ext uri="{FF2B5EF4-FFF2-40B4-BE49-F238E27FC236}">
                        <a16:creationId xmlns:a16="http://schemas.microsoft.com/office/drawing/2014/main" id="{7AA5D70E-45CA-0ECF-5059-584875FC178B}"/>
                      </a:ext>
                    </a:extLst>
                  </p:cNvPr>
                  <p:cNvSpPr/>
                  <p:nvPr userDrawn="1"/>
                </p:nvSpPr>
                <p:spPr>
                  <a:xfrm>
                    <a:off x="8195350" y="4335680"/>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DFDFE"/>
                  </a:solidFill>
                  <a:ln w="2339" cap="flat">
                    <a:noFill/>
                    <a:prstDash val="solid"/>
                    <a:miter/>
                  </a:ln>
                </p:spPr>
                <p:txBody>
                  <a:bodyPr rtlCol="0" anchor="ctr"/>
                  <a:lstStyle/>
                  <a:p>
                    <a:endParaRPr lang="en-US" sz="2400"/>
                  </a:p>
                </p:txBody>
              </p:sp>
              <p:sp>
                <p:nvSpPr>
                  <p:cNvPr id="277" name="Freeform: Shape 276">
                    <a:extLst>
                      <a:ext uri="{FF2B5EF4-FFF2-40B4-BE49-F238E27FC236}">
                        <a16:creationId xmlns:a16="http://schemas.microsoft.com/office/drawing/2014/main" id="{068E562C-610C-3532-7EA5-9EC4041ACE66}"/>
                      </a:ext>
                    </a:extLst>
                  </p:cNvPr>
                  <p:cNvSpPr/>
                  <p:nvPr userDrawn="1"/>
                </p:nvSpPr>
                <p:spPr>
                  <a:xfrm>
                    <a:off x="8195279" y="4335282"/>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74"/>
                          <a:pt x="42074" y="32667"/>
                          <a:pt x="42074" y="21037"/>
                        </a:cubicBezTo>
                        <a:close/>
                      </a:path>
                    </a:pathLst>
                  </a:custGeom>
                  <a:solidFill>
                    <a:srgbClr val="FDFEFE"/>
                  </a:solidFill>
                  <a:ln w="2339" cap="flat">
                    <a:noFill/>
                    <a:prstDash val="solid"/>
                    <a:miter/>
                  </a:ln>
                </p:spPr>
                <p:txBody>
                  <a:bodyPr rtlCol="0" anchor="ctr"/>
                  <a:lstStyle/>
                  <a:p>
                    <a:endParaRPr lang="en-US" sz="2400"/>
                  </a:p>
                </p:txBody>
              </p:sp>
              <p:sp>
                <p:nvSpPr>
                  <p:cNvPr id="278" name="Freeform: Shape 277">
                    <a:extLst>
                      <a:ext uri="{FF2B5EF4-FFF2-40B4-BE49-F238E27FC236}">
                        <a16:creationId xmlns:a16="http://schemas.microsoft.com/office/drawing/2014/main" id="{1E2BEF22-909C-736B-94B2-1F83D5F6EAB5}"/>
                      </a:ext>
                    </a:extLst>
                  </p:cNvPr>
                  <p:cNvSpPr/>
                  <p:nvPr userDrawn="1"/>
                </p:nvSpPr>
                <p:spPr>
                  <a:xfrm>
                    <a:off x="8195233" y="4334861"/>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EFEFE"/>
                  </a:solidFill>
                  <a:ln w="2339" cap="flat">
                    <a:noFill/>
                    <a:prstDash val="solid"/>
                    <a:miter/>
                  </a:ln>
                </p:spPr>
                <p:txBody>
                  <a:bodyPr rtlCol="0" anchor="ctr"/>
                  <a:lstStyle/>
                  <a:p>
                    <a:endParaRPr lang="en-US" sz="2400"/>
                  </a:p>
                </p:txBody>
              </p:sp>
              <p:sp>
                <p:nvSpPr>
                  <p:cNvPr id="279" name="Freeform: Shape 278">
                    <a:extLst>
                      <a:ext uri="{FF2B5EF4-FFF2-40B4-BE49-F238E27FC236}">
                        <a16:creationId xmlns:a16="http://schemas.microsoft.com/office/drawing/2014/main" id="{FB4A7BB1-8D6A-EE1B-F046-8B7055F4F3A2}"/>
                      </a:ext>
                    </a:extLst>
                  </p:cNvPr>
                  <p:cNvSpPr/>
                  <p:nvPr userDrawn="1"/>
                </p:nvSpPr>
                <p:spPr>
                  <a:xfrm>
                    <a:off x="8195162" y="4334463"/>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74"/>
                          <a:pt x="42074" y="32667"/>
                          <a:pt x="42074" y="21037"/>
                        </a:cubicBezTo>
                        <a:close/>
                      </a:path>
                    </a:pathLst>
                  </a:custGeom>
                  <a:solidFill>
                    <a:srgbClr val="FEFEFE"/>
                  </a:solidFill>
                  <a:ln w="2339" cap="flat">
                    <a:noFill/>
                    <a:prstDash val="solid"/>
                    <a:miter/>
                  </a:ln>
                </p:spPr>
                <p:txBody>
                  <a:bodyPr rtlCol="0" anchor="ctr"/>
                  <a:lstStyle/>
                  <a:p>
                    <a:endParaRPr lang="en-US" sz="2400"/>
                  </a:p>
                </p:txBody>
              </p:sp>
              <p:sp>
                <p:nvSpPr>
                  <p:cNvPr id="280" name="Freeform: Shape 279">
                    <a:extLst>
                      <a:ext uri="{FF2B5EF4-FFF2-40B4-BE49-F238E27FC236}">
                        <a16:creationId xmlns:a16="http://schemas.microsoft.com/office/drawing/2014/main" id="{9CB41E50-B55A-5EEA-51AC-B46AF42B8767}"/>
                      </a:ext>
                    </a:extLst>
                  </p:cNvPr>
                  <p:cNvSpPr/>
                  <p:nvPr userDrawn="1"/>
                </p:nvSpPr>
                <p:spPr>
                  <a:xfrm>
                    <a:off x="8195116" y="4334042"/>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EFEFF"/>
                  </a:solidFill>
                  <a:ln w="2339" cap="flat">
                    <a:noFill/>
                    <a:prstDash val="solid"/>
                    <a:miter/>
                  </a:ln>
                </p:spPr>
                <p:txBody>
                  <a:bodyPr rtlCol="0" anchor="ctr"/>
                  <a:lstStyle/>
                  <a:p>
                    <a:endParaRPr lang="en-US" sz="2400"/>
                  </a:p>
                </p:txBody>
              </p:sp>
              <p:sp>
                <p:nvSpPr>
                  <p:cNvPr id="281" name="Freeform: Shape 280">
                    <a:extLst>
                      <a:ext uri="{FF2B5EF4-FFF2-40B4-BE49-F238E27FC236}">
                        <a16:creationId xmlns:a16="http://schemas.microsoft.com/office/drawing/2014/main" id="{2A7B4462-BC98-934B-8CAE-C5C5655BB824}"/>
                      </a:ext>
                    </a:extLst>
                  </p:cNvPr>
                  <p:cNvSpPr/>
                  <p:nvPr userDrawn="1"/>
                </p:nvSpPr>
                <p:spPr>
                  <a:xfrm>
                    <a:off x="8195069" y="4333644"/>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74"/>
                          <a:pt x="42074" y="32667"/>
                          <a:pt x="42074" y="21037"/>
                        </a:cubicBezTo>
                        <a:close/>
                      </a:path>
                    </a:pathLst>
                  </a:custGeom>
                  <a:solidFill>
                    <a:srgbClr val="FFFFFF"/>
                  </a:solidFill>
                  <a:ln w="2339" cap="flat">
                    <a:noFill/>
                    <a:prstDash val="solid"/>
                    <a:miter/>
                  </a:ln>
                </p:spPr>
                <p:txBody>
                  <a:bodyPr rtlCol="0" anchor="ctr"/>
                  <a:lstStyle/>
                  <a:p>
                    <a:endParaRPr lang="en-US" sz="2400"/>
                  </a:p>
                </p:txBody>
              </p:sp>
              <p:sp>
                <p:nvSpPr>
                  <p:cNvPr id="282" name="Freeform: Shape 281">
                    <a:extLst>
                      <a:ext uri="{FF2B5EF4-FFF2-40B4-BE49-F238E27FC236}">
                        <a16:creationId xmlns:a16="http://schemas.microsoft.com/office/drawing/2014/main" id="{F59EC5E6-E91C-C4B1-88F1-82697EB3233D}"/>
                      </a:ext>
                    </a:extLst>
                  </p:cNvPr>
                  <p:cNvSpPr/>
                  <p:nvPr userDrawn="1"/>
                </p:nvSpPr>
                <p:spPr>
                  <a:xfrm>
                    <a:off x="8195045" y="4333223"/>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FFFFF"/>
                  </a:solidFill>
                  <a:ln w="2339" cap="flat">
                    <a:noFill/>
                    <a:prstDash val="solid"/>
                    <a:miter/>
                  </a:ln>
                </p:spPr>
                <p:txBody>
                  <a:bodyPr rtlCol="0" anchor="ctr"/>
                  <a:lstStyle/>
                  <a:p>
                    <a:endParaRPr lang="en-US" sz="2400"/>
                  </a:p>
                </p:txBody>
              </p:sp>
            </p:grpSp>
            <p:grpSp>
              <p:nvGrpSpPr>
                <p:cNvPr id="283" name="Graphic 4">
                  <a:extLst>
                    <a:ext uri="{FF2B5EF4-FFF2-40B4-BE49-F238E27FC236}">
                      <a16:creationId xmlns:a16="http://schemas.microsoft.com/office/drawing/2014/main" id="{B85C0367-B953-932B-189B-15278C301AD0}"/>
                    </a:ext>
                  </a:extLst>
                </p:cNvPr>
                <p:cNvGrpSpPr/>
                <p:nvPr userDrawn="1"/>
              </p:nvGrpSpPr>
              <p:grpSpPr>
                <a:xfrm>
                  <a:off x="8382317" y="4333223"/>
                  <a:ext cx="144917" cy="107360"/>
                  <a:chOff x="8382317" y="4333223"/>
                  <a:chExt cx="144917" cy="107359"/>
                </a:xfrm>
              </p:grpSpPr>
              <p:sp>
                <p:nvSpPr>
                  <p:cNvPr id="284" name="Freeform: Shape 283">
                    <a:extLst>
                      <a:ext uri="{FF2B5EF4-FFF2-40B4-BE49-F238E27FC236}">
                        <a16:creationId xmlns:a16="http://schemas.microsoft.com/office/drawing/2014/main" id="{59C558CF-6F7C-6A62-B850-55D22DE95BE1}"/>
                      </a:ext>
                    </a:extLst>
                  </p:cNvPr>
                  <p:cNvSpPr/>
                  <p:nvPr userDrawn="1"/>
                </p:nvSpPr>
                <p:spPr>
                  <a:xfrm>
                    <a:off x="8382317" y="439850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1B8CC"/>
                  </a:solidFill>
                  <a:ln w="2339" cap="flat">
                    <a:noFill/>
                    <a:prstDash val="solid"/>
                    <a:miter/>
                  </a:ln>
                </p:spPr>
                <p:txBody>
                  <a:bodyPr rtlCol="0" anchor="ctr"/>
                  <a:lstStyle/>
                  <a:p>
                    <a:endParaRPr lang="en-US" sz="2400"/>
                  </a:p>
                </p:txBody>
              </p:sp>
              <p:sp>
                <p:nvSpPr>
                  <p:cNvPr id="285" name="Freeform: Shape 284">
                    <a:extLst>
                      <a:ext uri="{FF2B5EF4-FFF2-40B4-BE49-F238E27FC236}">
                        <a16:creationId xmlns:a16="http://schemas.microsoft.com/office/drawing/2014/main" id="{E8CE9AF9-43BB-BB8F-59F4-487BA072C3E8}"/>
                      </a:ext>
                    </a:extLst>
                  </p:cNvPr>
                  <p:cNvSpPr/>
                  <p:nvPr userDrawn="1"/>
                </p:nvSpPr>
                <p:spPr>
                  <a:xfrm>
                    <a:off x="8382902" y="439843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74"/>
                          <a:pt x="0" y="32643"/>
                          <a:pt x="0" y="21037"/>
                        </a:cubicBezTo>
                        <a:close/>
                      </a:path>
                    </a:pathLst>
                  </a:custGeom>
                  <a:solidFill>
                    <a:srgbClr val="B1B8CC"/>
                  </a:solidFill>
                  <a:ln w="2339" cap="flat">
                    <a:noFill/>
                    <a:prstDash val="solid"/>
                    <a:miter/>
                  </a:ln>
                </p:spPr>
                <p:txBody>
                  <a:bodyPr rtlCol="0" anchor="ctr"/>
                  <a:lstStyle/>
                  <a:p>
                    <a:endParaRPr lang="en-US" sz="2400"/>
                  </a:p>
                </p:txBody>
              </p:sp>
              <p:sp>
                <p:nvSpPr>
                  <p:cNvPr id="286" name="Freeform: Shape 285">
                    <a:extLst>
                      <a:ext uri="{FF2B5EF4-FFF2-40B4-BE49-F238E27FC236}">
                        <a16:creationId xmlns:a16="http://schemas.microsoft.com/office/drawing/2014/main" id="{D38BD378-E4C9-102F-E881-43DD1B0A50CD}"/>
                      </a:ext>
                    </a:extLst>
                  </p:cNvPr>
                  <p:cNvSpPr/>
                  <p:nvPr userDrawn="1"/>
                </p:nvSpPr>
                <p:spPr>
                  <a:xfrm>
                    <a:off x="8383464" y="4398345"/>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74"/>
                          <a:pt x="0" y="32667"/>
                          <a:pt x="0" y="21037"/>
                        </a:cubicBezTo>
                        <a:close/>
                      </a:path>
                    </a:pathLst>
                  </a:custGeom>
                  <a:solidFill>
                    <a:srgbClr val="B2B9CC"/>
                  </a:solidFill>
                  <a:ln w="2339" cap="flat">
                    <a:noFill/>
                    <a:prstDash val="solid"/>
                    <a:miter/>
                  </a:ln>
                </p:spPr>
                <p:txBody>
                  <a:bodyPr rtlCol="0" anchor="ctr"/>
                  <a:lstStyle/>
                  <a:p>
                    <a:endParaRPr lang="en-US" sz="2400"/>
                  </a:p>
                </p:txBody>
              </p:sp>
              <p:sp>
                <p:nvSpPr>
                  <p:cNvPr id="287" name="Freeform: Shape 286">
                    <a:extLst>
                      <a:ext uri="{FF2B5EF4-FFF2-40B4-BE49-F238E27FC236}">
                        <a16:creationId xmlns:a16="http://schemas.microsoft.com/office/drawing/2014/main" id="{41782DF0-C4B6-5766-B20A-C1BF64125B59}"/>
                      </a:ext>
                    </a:extLst>
                  </p:cNvPr>
                  <p:cNvSpPr/>
                  <p:nvPr userDrawn="1"/>
                </p:nvSpPr>
                <p:spPr>
                  <a:xfrm>
                    <a:off x="8384025" y="4398252"/>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2B9CD"/>
                  </a:solidFill>
                  <a:ln w="2339" cap="flat">
                    <a:noFill/>
                    <a:prstDash val="solid"/>
                    <a:miter/>
                  </a:ln>
                </p:spPr>
                <p:txBody>
                  <a:bodyPr rtlCol="0" anchor="ctr"/>
                  <a:lstStyle/>
                  <a:p>
                    <a:endParaRPr lang="en-US" sz="2400"/>
                  </a:p>
                </p:txBody>
              </p:sp>
              <p:sp>
                <p:nvSpPr>
                  <p:cNvPr id="288" name="Freeform: Shape 287">
                    <a:extLst>
                      <a:ext uri="{FF2B5EF4-FFF2-40B4-BE49-F238E27FC236}">
                        <a16:creationId xmlns:a16="http://schemas.microsoft.com/office/drawing/2014/main" id="{B8B49F8F-7B45-BA22-553B-4ABD5881CE12}"/>
                      </a:ext>
                    </a:extLst>
                  </p:cNvPr>
                  <p:cNvSpPr/>
                  <p:nvPr userDrawn="1"/>
                </p:nvSpPr>
                <p:spPr>
                  <a:xfrm>
                    <a:off x="8384587" y="439818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2B9CD"/>
                  </a:solidFill>
                  <a:ln w="2339" cap="flat">
                    <a:noFill/>
                    <a:prstDash val="solid"/>
                    <a:miter/>
                  </a:ln>
                </p:spPr>
                <p:txBody>
                  <a:bodyPr rtlCol="0" anchor="ctr"/>
                  <a:lstStyle/>
                  <a:p>
                    <a:endParaRPr lang="en-US" sz="2400"/>
                  </a:p>
                </p:txBody>
              </p:sp>
              <p:sp>
                <p:nvSpPr>
                  <p:cNvPr id="289" name="Freeform: Shape 288">
                    <a:extLst>
                      <a:ext uri="{FF2B5EF4-FFF2-40B4-BE49-F238E27FC236}">
                        <a16:creationId xmlns:a16="http://schemas.microsoft.com/office/drawing/2014/main" id="{F3AB1B7D-DE3A-CB5E-7BAD-37F21DEE17F1}"/>
                      </a:ext>
                    </a:extLst>
                  </p:cNvPr>
                  <p:cNvSpPr/>
                  <p:nvPr userDrawn="1"/>
                </p:nvSpPr>
                <p:spPr>
                  <a:xfrm>
                    <a:off x="8385148" y="4398088"/>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3B9CD"/>
                  </a:solidFill>
                  <a:ln w="2339" cap="flat">
                    <a:noFill/>
                    <a:prstDash val="solid"/>
                    <a:miter/>
                  </a:ln>
                </p:spPr>
                <p:txBody>
                  <a:bodyPr rtlCol="0" anchor="ctr"/>
                  <a:lstStyle/>
                  <a:p>
                    <a:endParaRPr lang="en-US" sz="2400"/>
                  </a:p>
                </p:txBody>
              </p:sp>
              <p:sp>
                <p:nvSpPr>
                  <p:cNvPr id="290" name="Freeform: Shape 289">
                    <a:extLst>
                      <a:ext uri="{FF2B5EF4-FFF2-40B4-BE49-F238E27FC236}">
                        <a16:creationId xmlns:a16="http://schemas.microsoft.com/office/drawing/2014/main" id="{9DAF8641-969C-7C39-1C26-BECBFD3DAFDF}"/>
                      </a:ext>
                    </a:extLst>
                  </p:cNvPr>
                  <p:cNvSpPr/>
                  <p:nvPr userDrawn="1"/>
                </p:nvSpPr>
                <p:spPr>
                  <a:xfrm>
                    <a:off x="8385710" y="4397994"/>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3BACD"/>
                  </a:solidFill>
                  <a:ln w="2339" cap="flat">
                    <a:noFill/>
                    <a:prstDash val="solid"/>
                    <a:miter/>
                  </a:ln>
                </p:spPr>
                <p:txBody>
                  <a:bodyPr rtlCol="0" anchor="ctr"/>
                  <a:lstStyle/>
                  <a:p>
                    <a:endParaRPr lang="en-US" sz="2400"/>
                  </a:p>
                </p:txBody>
              </p:sp>
              <p:sp>
                <p:nvSpPr>
                  <p:cNvPr id="291" name="Freeform: Shape 290">
                    <a:extLst>
                      <a:ext uri="{FF2B5EF4-FFF2-40B4-BE49-F238E27FC236}">
                        <a16:creationId xmlns:a16="http://schemas.microsoft.com/office/drawing/2014/main" id="{39D51C1B-DF4F-1C56-BD42-7ACF58D80C2C}"/>
                      </a:ext>
                    </a:extLst>
                  </p:cNvPr>
                  <p:cNvSpPr/>
                  <p:nvPr userDrawn="1"/>
                </p:nvSpPr>
                <p:spPr>
                  <a:xfrm>
                    <a:off x="8386272" y="439790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3BACD"/>
                  </a:solidFill>
                  <a:ln w="2339" cap="flat">
                    <a:noFill/>
                    <a:prstDash val="solid"/>
                    <a:miter/>
                  </a:ln>
                </p:spPr>
                <p:txBody>
                  <a:bodyPr rtlCol="0" anchor="ctr"/>
                  <a:lstStyle/>
                  <a:p>
                    <a:endParaRPr lang="en-US" sz="2400"/>
                  </a:p>
                </p:txBody>
              </p:sp>
              <p:sp>
                <p:nvSpPr>
                  <p:cNvPr id="292" name="Freeform: Shape 291">
                    <a:extLst>
                      <a:ext uri="{FF2B5EF4-FFF2-40B4-BE49-F238E27FC236}">
                        <a16:creationId xmlns:a16="http://schemas.microsoft.com/office/drawing/2014/main" id="{CEB1BD3A-1C40-C857-8663-3EBE05B6870C}"/>
                      </a:ext>
                    </a:extLst>
                  </p:cNvPr>
                  <p:cNvSpPr/>
                  <p:nvPr userDrawn="1"/>
                </p:nvSpPr>
                <p:spPr>
                  <a:xfrm>
                    <a:off x="8386833" y="4397807"/>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3BACE"/>
                  </a:solidFill>
                  <a:ln w="2339" cap="flat">
                    <a:noFill/>
                    <a:prstDash val="solid"/>
                    <a:miter/>
                  </a:ln>
                </p:spPr>
                <p:txBody>
                  <a:bodyPr rtlCol="0" anchor="ctr"/>
                  <a:lstStyle/>
                  <a:p>
                    <a:endParaRPr lang="en-US" sz="2400"/>
                  </a:p>
                </p:txBody>
              </p:sp>
              <p:sp>
                <p:nvSpPr>
                  <p:cNvPr id="293" name="Freeform: Shape 292">
                    <a:extLst>
                      <a:ext uri="{FF2B5EF4-FFF2-40B4-BE49-F238E27FC236}">
                        <a16:creationId xmlns:a16="http://schemas.microsoft.com/office/drawing/2014/main" id="{DFFB522F-0600-AED8-AE62-C16AB58C0B04}"/>
                      </a:ext>
                    </a:extLst>
                  </p:cNvPr>
                  <p:cNvSpPr/>
                  <p:nvPr userDrawn="1"/>
                </p:nvSpPr>
                <p:spPr>
                  <a:xfrm>
                    <a:off x="8387395" y="4397713"/>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4BBCE"/>
                  </a:solidFill>
                  <a:ln w="2339" cap="flat">
                    <a:noFill/>
                    <a:prstDash val="solid"/>
                    <a:miter/>
                  </a:ln>
                </p:spPr>
                <p:txBody>
                  <a:bodyPr rtlCol="0" anchor="ctr"/>
                  <a:lstStyle/>
                  <a:p>
                    <a:endParaRPr lang="en-US" sz="2400"/>
                  </a:p>
                </p:txBody>
              </p:sp>
              <p:sp>
                <p:nvSpPr>
                  <p:cNvPr id="294" name="Freeform: Shape 293">
                    <a:extLst>
                      <a:ext uri="{FF2B5EF4-FFF2-40B4-BE49-F238E27FC236}">
                        <a16:creationId xmlns:a16="http://schemas.microsoft.com/office/drawing/2014/main" id="{28BEC592-FF48-4D60-7DE1-3924FB3E9C96}"/>
                      </a:ext>
                    </a:extLst>
                  </p:cNvPr>
                  <p:cNvSpPr/>
                  <p:nvPr userDrawn="1"/>
                </p:nvSpPr>
                <p:spPr>
                  <a:xfrm>
                    <a:off x="8387956" y="439762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4BBCE"/>
                  </a:solidFill>
                  <a:ln w="2339" cap="flat">
                    <a:noFill/>
                    <a:prstDash val="solid"/>
                    <a:miter/>
                  </a:ln>
                </p:spPr>
                <p:txBody>
                  <a:bodyPr rtlCol="0" anchor="ctr"/>
                  <a:lstStyle/>
                  <a:p>
                    <a:endParaRPr lang="en-US" sz="2400"/>
                  </a:p>
                </p:txBody>
              </p:sp>
              <p:sp>
                <p:nvSpPr>
                  <p:cNvPr id="295" name="Freeform: Shape 294">
                    <a:extLst>
                      <a:ext uri="{FF2B5EF4-FFF2-40B4-BE49-F238E27FC236}">
                        <a16:creationId xmlns:a16="http://schemas.microsoft.com/office/drawing/2014/main" id="{DCC07CA6-02A3-FF6A-D951-534901303A33}"/>
                      </a:ext>
                    </a:extLst>
                  </p:cNvPr>
                  <p:cNvSpPr/>
                  <p:nvPr userDrawn="1"/>
                </p:nvSpPr>
                <p:spPr>
                  <a:xfrm>
                    <a:off x="8388518" y="4397526"/>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4BBCE"/>
                  </a:solidFill>
                  <a:ln w="2339" cap="flat">
                    <a:noFill/>
                    <a:prstDash val="solid"/>
                    <a:miter/>
                  </a:ln>
                </p:spPr>
                <p:txBody>
                  <a:bodyPr rtlCol="0" anchor="ctr"/>
                  <a:lstStyle/>
                  <a:p>
                    <a:endParaRPr lang="en-US" sz="2400"/>
                  </a:p>
                </p:txBody>
              </p:sp>
              <p:sp>
                <p:nvSpPr>
                  <p:cNvPr id="296" name="Freeform: Shape 295">
                    <a:extLst>
                      <a:ext uri="{FF2B5EF4-FFF2-40B4-BE49-F238E27FC236}">
                        <a16:creationId xmlns:a16="http://schemas.microsoft.com/office/drawing/2014/main" id="{35C931B7-8431-35FB-7130-9C496C9B568E}"/>
                      </a:ext>
                    </a:extLst>
                  </p:cNvPr>
                  <p:cNvSpPr/>
                  <p:nvPr userDrawn="1"/>
                </p:nvSpPr>
                <p:spPr>
                  <a:xfrm>
                    <a:off x="8389080" y="4397433"/>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5BBCE"/>
                  </a:solidFill>
                  <a:ln w="2339" cap="flat">
                    <a:noFill/>
                    <a:prstDash val="solid"/>
                    <a:miter/>
                  </a:ln>
                </p:spPr>
                <p:txBody>
                  <a:bodyPr rtlCol="0" anchor="ctr"/>
                  <a:lstStyle/>
                  <a:p>
                    <a:endParaRPr lang="en-US" sz="2400"/>
                  </a:p>
                </p:txBody>
              </p:sp>
              <p:sp>
                <p:nvSpPr>
                  <p:cNvPr id="297" name="Freeform: Shape 296">
                    <a:extLst>
                      <a:ext uri="{FF2B5EF4-FFF2-40B4-BE49-F238E27FC236}">
                        <a16:creationId xmlns:a16="http://schemas.microsoft.com/office/drawing/2014/main" id="{3534FEE9-AD4A-ACFA-3A9B-C893E0443D30}"/>
                      </a:ext>
                    </a:extLst>
                  </p:cNvPr>
                  <p:cNvSpPr/>
                  <p:nvPr userDrawn="1"/>
                </p:nvSpPr>
                <p:spPr>
                  <a:xfrm>
                    <a:off x="8389641" y="4397316"/>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5BCCF"/>
                  </a:solidFill>
                  <a:ln w="2339" cap="flat">
                    <a:noFill/>
                    <a:prstDash val="solid"/>
                    <a:miter/>
                  </a:ln>
                </p:spPr>
                <p:txBody>
                  <a:bodyPr rtlCol="0" anchor="ctr"/>
                  <a:lstStyle/>
                  <a:p>
                    <a:endParaRPr lang="en-US" sz="2400"/>
                  </a:p>
                </p:txBody>
              </p:sp>
              <p:sp>
                <p:nvSpPr>
                  <p:cNvPr id="298" name="Freeform: Shape 297">
                    <a:extLst>
                      <a:ext uri="{FF2B5EF4-FFF2-40B4-BE49-F238E27FC236}">
                        <a16:creationId xmlns:a16="http://schemas.microsoft.com/office/drawing/2014/main" id="{EE1E83C5-DFBF-5630-C341-60781762E260}"/>
                      </a:ext>
                    </a:extLst>
                  </p:cNvPr>
                  <p:cNvSpPr/>
                  <p:nvPr userDrawn="1"/>
                </p:nvSpPr>
                <p:spPr>
                  <a:xfrm>
                    <a:off x="8390203" y="4397222"/>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5BCCF"/>
                  </a:solidFill>
                  <a:ln w="2339" cap="flat">
                    <a:noFill/>
                    <a:prstDash val="solid"/>
                    <a:miter/>
                  </a:ln>
                </p:spPr>
                <p:txBody>
                  <a:bodyPr rtlCol="0" anchor="ctr"/>
                  <a:lstStyle/>
                  <a:p>
                    <a:endParaRPr lang="en-US" sz="2400"/>
                  </a:p>
                </p:txBody>
              </p:sp>
              <p:sp>
                <p:nvSpPr>
                  <p:cNvPr id="299" name="Freeform: Shape 298">
                    <a:extLst>
                      <a:ext uri="{FF2B5EF4-FFF2-40B4-BE49-F238E27FC236}">
                        <a16:creationId xmlns:a16="http://schemas.microsoft.com/office/drawing/2014/main" id="{6742C993-3B0B-DF7C-AF40-B1542C341CA0}"/>
                      </a:ext>
                    </a:extLst>
                  </p:cNvPr>
                  <p:cNvSpPr/>
                  <p:nvPr userDrawn="1"/>
                </p:nvSpPr>
                <p:spPr>
                  <a:xfrm>
                    <a:off x="8390764" y="4397128"/>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6BCCF"/>
                  </a:solidFill>
                  <a:ln w="2339" cap="flat">
                    <a:noFill/>
                    <a:prstDash val="solid"/>
                    <a:miter/>
                  </a:ln>
                </p:spPr>
                <p:txBody>
                  <a:bodyPr rtlCol="0" anchor="ctr"/>
                  <a:lstStyle/>
                  <a:p>
                    <a:endParaRPr lang="en-US" sz="2400"/>
                  </a:p>
                </p:txBody>
              </p:sp>
              <p:sp>
                <p:nvSpPr>
                  <p:cNvPr id="300" name="Freeform: Shape 299">
                    <a:extLst>
                      <a:ext uri="{FF2B5EF4-FFF2-40B4-BE49-F238E27FC236}">
                        <a16:creationId xmlns:a16="http://schemas.microsoft.com/office/drawing/2014/main" id="{9FCE8BEC-C445-2865-28EC-D7C14A0849EC}"/>
                      </a:ext>
                    </a:extLst>
                  </p:cNvPr>
                  <p:cNvSpPr/>
                  <p:nvPr userDrawn="1"/>
                </p:nvSpPr>
                <p:spPr>
                  <a:xfrm>
                    <a:off x="8391326" y="439701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6BCCF"/>
                  </a:solidFill>
                  <a:ln w="2339" cap="flat">
                    <a:noFill/>
                    <a:prstDash val="solid"/>
                    <a:miter/>
                  </a:ln>
                </p:spPr>
                <p:txBody>
                  <a:bodyPr rtlCol="0" anchor="ctr"/>
                  <a:lstStyle/>
                  <a:p>
                    <a:endParaRPr lang="en-US" sz="2400"/>
                  </a:p>
                </p:txBody>
              </p:sp>
              <p:sp>
                <p:nvSpPr>
                  <p:cNvPr id="301" name="Freeform: Shape 300">
                    <a:extLst>
                      <a:ext uri="{FF2B5EF4-FFF2-40B4-BE49-F238E27FC236}">
                        <a16:creationId xmlns:a16="http://schemas.microsoft.com/office/drawing/2014/main" id="{556146A0-BE39-8D4D-82B7-DB45080F30D4}"/>
                      </a:ext>
                    </a:extLst>
                  </p:cNvPr>
                  <p:cNvSpPr/>
                  <p:nvPr userDrawn="1"/>
                </p:nvSpPr>
                <p:spPr>
                  <a:xfrm>
                    <a:off x="8391888" y="4396918"/>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74"/>
                          <a:pt x="0" y="32667"/>
                          <a:pt x="0" y="21037"/>
                        </a:cubicBezTo>
                        <a:close/>
                      </a:path>
                    </a:pathLst>
                  </a:custGeom>
                  <a:solidFill>
                    <a:srgbClr val="B6BDCF"/>
                  </a:solidFill>
                  <a:ln w="2339" cap="flat">
                    <a:noFill/>
                    <a:prstDash val="solid"/>
                    <a:miter/>
                  </a:ln>
                </p:spPr>
                <p:txBody>
                  <a:bodyPr rtlCol="0" anchor="ctr"/>
                  <a:lstStyle/>
                  <a:p>
                    <a:endParaRPr lang="en-US" sz="2400"/>
                  </a:p>
                </p:txBody>
              </p:sp>
              <p:sp>
                <p:nvSpPr>
                  <p:cNvPr id="302" name="Freeform: Shape 301">
                    <a:extLst>
                      <a:ext uri="{FF2B5EF4-FFF2-40B4-BE49-F238E27FC236}">
                        <a16:creationId xmlns:a16="http://schemas.microsoft.com/office/drawing/2014/main" id="{1C851EE6-3565-BC07-C89F-20C434EE83DF}"/>
                      </a:ext>
                    </a:extLst>
                  </p:cNvPr>
                  <p:cNvSpPr/>
                  <p:nvPr userDrawn="1"/>
                </p:nvSpPr>
                <p:spPr>
                  <a:xfrm>
                    <a:off x="8392449" y="439680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97"/>
                          <a:pt x="0" y="32667"/>
                          <a:pt x="0" y="21037"/>
                        </a:cubicBezTo>
                        <a:close/>
                      </a:path>
                    </a:pathLst>
                  </a:custGeom>
                  <a:solidFill>
                    <a:srgbClr val="B7BDD0"/>
                  </a:solidFill>
                  <a:ln w="2339" cap="flat">
                    <a:noFill/>
                    <a:prstDash val="solid"/>
                    <a:miter/>
                  </a:ln>
                </p:spPr>
                <p:txBody>
                  <a:bodyPr rtlCol="0" anchor="ctr"/>
                  <a:lstStyle/>
                  <a:p>
                    <a:endParaRPr lang="en-US" sz="2400"/>
                  </a:p>
                </p:txBody>
              </p:sp>
              <p:sp>
                <p:nvSpPr>
                  <p:cNvPr id="303" name="Freeform: Shape 302">
                    <a:extLst>
                      <a:ext uri="{FF2B5EF4-FFF2-40B4-BE49-F238E27FC236}">
                        <a16:creationId xmlns:a16="http://schemas.microsoft.com/office/drawing/2014/main" id="{DDCFC538-364C-C92B-FC87-663143564EDB}"/>
                      </a:ext>
                    </a:extLst>
                  </p:cNvPr>
                  <p:cNvSpPr/>
                  <p:nvPr userDrawn="1"/>
                </p:nvSpPr>
                <p:spPr>
                  <a:xfrm>
                    <a:off x="8392987" y="4396707"/>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7BDD0"/>
                  </a:solidFill>
                  <a:ln w="2339" cap="flat">
                    <a:noFill/>
                    <a:prstDash val="solid"/>
                    <a:miter/>
                  </a:ln>
                </p:spPr>
                <p:txBody>
                  <a:bodyPr rtlCol="0" anchor="ctr"/>
                  <a:lstStyle/>
                  <a:p>
                    <a:endParaRPr lang="en-US" sz="2400"/>
                  </a:p>
                </p:txBody>
              </p:sp>
              <p:sp>
                <p:nvSpPr>
                  <p:cNvPr id="304" name="Freeform: Shape 303">
                    <a:extLst>
                      <a:ext uri="{FF2B5EF4-FFF2-40B4-BE49-F238E27FC236}">
                        <a16:creationId xmlns:a16="http://schemas.microsoft.com/office/drawing/2014/main" id="{69E9B8ED-22A4-27FE-7373-713620B6E445}"/>
                      </a:ext>
                    </a:extLst>
                  </p:cNvPr>
                  <p:cNvSpPr/>
                  <p:nvPr userDrawn="1"/>
                </p:nvSpPr>
                <p:spPr>
                  <a:xfrm>
                    <a:off x="8393549" y="439659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7BED0"/>
                  </a:solidFill>
                  <a:ln w="2339" cap="flat">
                    <a:noFill/>
                    <a:prstDash val="solid"/>
                    <a:miter/>
                  </a:ln>
                </p:spPr>
                <p:txBody>
                  <a:bodyPr rtlCol="0" anchor="ctr"/>
                  <a:lstStyle/>
                  <a:p>
                    <a:endParaRPr lang="en-US" sz="2400"/>
                  </a:p>
                </p:txBody>
              </p:sp>
              <p:sp>
                <p:nvSpPr>
                  <p:cNvPr id="305" name="Freeform: Shape 304">
                    <a:extLst>
                      <a:ext uri="{FF2B5EF4-FFF2-40B4-BE49-F238E27FC236}">
                        <a16:creationId xmlns:a16="http://schemas.microsoft.com/office/drawing/2014/main" id="{3BDAEBD6-5FE5-A928-8F40-37BB73A5E0B9}"/>
                      </a:ext>
                    </a:extLst>
                  </p:cNvPr>
                  <p:cNvSpPr/>
                  <p:nvPr userDrawn="1"/>
                </p:nvSpPr>
                <p:spPr>
                  <a:xfrm>
                    <a:off x="8394111" y="4396473"/>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7BED0"/>
                  </a:solidFill>
                  <a:ln w="2339" cap="flat">
                    <a:noFill/>
                    <a:prstDash val="solid"/>
                    <a:miter/>
                  </a:ln>
                </p:spPr>
                <p:txBody>
                  <a:bodyPr rtlCol="0" anchor="ctr"/>
                  <a:lstStyle/>
                  <a:p>
                    <a:endParaRPr lang="en-US" sz="2400"/>
                  </a:p>
                </p:txBody>
              </p:sp>
              <p:sp>
                <p:nvSpPr>
                  <p:cNvPr id="306" name="Freeform: Shape 305">
                    <a:extLst>
                      <a:ext uri="{FF2B5EF4-FFF2-40B4-BE49-F238E27FC236}">
                        <a16:creationId xmlns:a16="http://schemas.microsoft.com/office/drawing/2014/main" id="{67AC3052-5D7C-A9A8-C035-A31C7CCD3F40}"/>
                      </a:ext>
                    </a:extLst>
                  </p:cNvPr>
                  <p:cNvSpPr/>
                  <p:nvPr userDrawn="1"/>
                </p:nvSpPr>
                <p:spPr>
                  <a:xfrm>
                    <a:off x="8394672" y="439638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74"/>
                          <a:pt x="0" y="32643"/>
                          <a:pt x="0" y="21037"/>
                        </a:cubicBezTo>
                        <a:close/>
                      </a:path>
                    </a:pathLst>
                  </a:custGeom>
                  <a:solidFill>
                    <a:srgbClr val="B8BED0"/>
                  </a:solidFill>
                  <a:ln w="2339" cap="flat">
                    <a:noFill/>
                    <a:prstDash val="solid"/>
                    <a:miter/>
                  </a:ln>
                </p:spPr>
                <p:txBody>
                  <a:bodyPr rtlCol="0" anchor="ctr"/>
                  <a:lstStyle/>
                  <a:p>
                    <a:endParaRPr lang="en-US" sz="2400"/>
                  </a:p>
                </p:txBody>
              </p:sp>
              <p:sp>
                <p:nvSpPr>
                  <p:cNvPr id="307" name="Freeform: Shape 306">
                    <a:extLst>
                      <a:ext uri="{FF2B5EF4-FFF2-40B4-BE49-F238E27FC236}">
                        <a16:creationId xmlns:a16="http://schemas.microsoft.com/office/drawing/2014/main" id="{96F05156-CC63-E7AE-5D1F-A8166A088464}"/>
                      </a:ext>
                    </a:extLst>
                  </p:cNvPr>
                  <p:cNvSpPr/>
                  <p:nvPr userDrawn="1"/>
                </p:nvSpPr>
                <p:spPr>
                  <a:xfrm>
                    <a:off x="8395210" y="4396263"/>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8BED1"/>
                  </a:solidFill>
                  <a:ln w="2339" cap="flat">
                    <a:noFill/>
                    <a:prstDash val="solid"/>
                    <a:miter/>
                  </a:ln>
                </p:spPr>
                <p:txBody>
                  <a:bodyPr rtlCol="0" anchor="ctr"/>
                  <a:lstStyle/>
                  <a:p>
                    <a:endParaRPr lang="en-US" sz="2400"/>
                  </a:p>
                </p:txBody>
              </p:sp>
              <p:sp>
                <p:nvSpPr>
                  <p:cNvPr id="308" name="Freeform: Shape 307">
                    <a:extLst>
                      <a:ext uri="{FF2B5EF4-FFF2-40B4-BE49-F238E27FC236}">
                        <a16:creationId xmlns:a16="http://schemas.microsoft.com/office/drawing/2014/main" id="{DE248BF9-A088-0C45-229A-C9BE2D394BF4}"/>
                      </a:ext>
                    </a:extLst>
                  </p:cNvPr>
                  <p:cNvSpPr/>
                  <p:nvPr userDrawn="1"/>
                </p:nvSpPr>
                <p:spPr>
                  <a:xfrm>
                    <a:off x="8395772" y="4396146"/>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8BFD1"/>
                  </a:solidFill>
                  <a:ln w="2339" cap="flat">
                    <a:noFill/>
                    <a:prstDash val="solid"/>
                    <a:miter/>
                  </a:ln>
                </p:spPr>
                <p:txBody>
                  <a:bodyPr rtlCol="0" anchor="ctr"/>
                  <a:lstStyle/>
                  <a:p>
                    <a:endParaRPr lang="en-US" sz="2400"/>
                  </a:p>
                </p:txBody>
              </p:sp>
              <p:sp>
                <p:nvSpPr>
                  <p:cNvPr id="309" name="Freeform: Shape 308">
                    <a:extLst>
                      <a:ext uri="{FF2B5EF4-FFF2-40B4-BE49-F238E27FC236}">
                        <a16:creationId xmlns:a16="http://schemas.microsoft.com/office/drawing/2014/main" id="{A260C83D-4F3C-F1FC-CCE2-5AA5F27F131E}"/>
                      </a:ext>
                    </a:extLst>
                  </p:cNvPr>
                  <p:cNvSpPr/>
                  <p:nvPr userDrawn="1"/>
                </p:nvSpPr>
                <p:spPr>
                  <a:xfrm>
                    <a:off x="8396310" y="439602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9BFD1"/>
                  </a:solidFill>
                  <a:ln w="2339" cap="flat">
                    <a:noFill/>
                    <a:prstDash val="solid"/>
                    <a:miter/>
                  </a:ln>
                </p:spPr>
                <p:txBody>
                  <a:bodyPr rtlCol="0" anchor="ctr"/>
                  <a:lstStyle/>
                  <a:p>
                    <a:endParaRPr lang="en-US" sz="2400"/>
                  </a:p>
                </p:txBody>
              </p:sp>
              <p:sp>
                <p:nvSpPr>
                  <p:cNvPr id="310" name="Freeform: Shape 309">
                    <a:extLst>
                      <a:ext uri="{FF2B5EF4-FFF2-40B4-BE49-F238E27FC236}">
                        <a16:creationId xmlns:a16="http://schemas.microsoft.com/office/drawing/2014/main" id="{9939232B-C94F-58F4-12F0-88CA333A4466}"/>
                      </a:ext>
                    </a:extLst>
                  </p:cNvPr>
                  <p:cNvSpPr/>
                  <p:nvPr userDrawn="1"/>
                </p:nvSpPr>
                <p:spPr>
                  <a:xfrm>
                    <a:off x="8396872" y="4395912"/>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9BFD1"/>
                  </a:solidFill>
                  <a:ln w="2339" cap="flat">
                    <a:noFill/>
                    <a:prstDash val="solid"/>
                    <a:miter/>
                  </a:ln>
                </p:spPr>
                <p:txBody>
                  <a:bodyPr rtlCol="0" anchor="ctr"/>
                  <a:lstStyle/>
                  <a:p>
                    <a:endParaRPr lang="en-US" sz="2400"/>
                  </a:p>
                </p:txBody>
              </p:sp>
              <p:sp>
                <p:nvSpPr>
                  <p:cNvPr id="311" name="Freeform: Shape 310">
                    <a:extLst>
                      <a:ext uri="{FF2B5EF4-FFF2-40B4-BE49-F238E27FC236}">
                        <a16:creationId xmlns:a16="http://schemas.microsoft.com/office/drawing/2014/main" id="{AFCA68CF-A6A6-674E-C1B8-F1F0E34972B5}"/>
                      </a:ext>
                    </a:extLst>
                  </p:cNvPr>
                  <p:cNvSpPr/>
                  <p:nvPr userDrawn="1"/>
                </p:nvSpPr>
                <p:spPr>
                  <a:xfrm>
                    <a:off x="8397433" y="4395795"/>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97"/>
                          <a:pt x="0" y="32667"/>
                          <a:pt x="0" y="21037"/>
                        </a:cubicBezTo>
                        <a:close/>
                      </a:path>
                    </a:pathLst>
                  </a:custGeom>
                  <a:solidFill>
                    <a:srgbClr val="B9C0D1"/>
                  </a:solidFill>
                  <a:ln w="2339" cap="flat">
                    <a:noFill/>
                    <a:prstDash val="solid"/>
                    <a:miter/>
                  </a:ln>
                </p:spPr>
                <p:txBody>
                  <a:bodyPr rtlCol="0" anchor="ctr"/>
                  <a:lstStyle/>
                  <a:p>
                    <a:endParaRPr lang="en-US" sz="2400"/>
                  </a:p>
                </p:txBody>
              </p:sp>
              <p:sp>
                <p:nvSpPr>
                  <p:cNvPr id="312" name="Freeform: Shape 311">
                    <a:extLst>
                      <a:ext uri="{FF2B5EF4-FFF2-40B4-BE49-F238E27FC236}">
                        <a16:creationId xmlns:a16="http://schemas.microsoft.com/office/drawing/2014/main" id="{B3AE7595-A535-6BFB-7361-8EFADFD17B4A}"/>
                      </a:ext>
                    </a:extLst>
                  </p:cNvPr>
                  <p:cNvSpPr/>
                  <p:nvPr userDrawn="1"/>
                </p:nvSpPr>
                <p:spPr>
                  <a:xfrm>
                    <a:off x="8397972" y="4395678"/>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AC0D2"/>
                  </a:solidFill>
                  <a:ln w="2339" cap="flat">
                    <a:noFill/>
                    <a:prstDash val="solid"/>
                    <a:miter/>
                  </a:ln>
                </p:spPr>
                <p:txBody>
                  <a:bodyPr rtlCol="0" anchor="ctr"/>
                  <a:lstStyle/>
                  <a:p>
                    <a:endParaRPr lang="en-US" sz="2400"/>
                  </a:p>
                </p:txBody>
              </p:sp>
              <p:sp>
                <p:nvSpPr>
                  <p:cNvPr id="313" name="Freeform: Shape 312">
                    <a:extLst>
                      <a:ext uri="{FF2B5EF4-FFF2-40B4-BE49-F238E27FC236}">
                        <a16:creationId xmlns:a16="http://schemas.microsoft.com/office/drawing/2014/main" id="{2C94D8FC-CFF4-A285-7BEF-9D7328D0F9D0}"/>
                      </a:ext>
                    </a:extLst>
                  </p:cNvPr>
                  <p:cNvSpPr/>
                  <p:nvPr userDrawn="1"/>
                </p:nvSpPr>
                <p:spPr>
                  <a:xfrm>
                    <a:off x="8398510" y="439556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AC0D2"/>
                  </a:solidFill>
                  <a:ln w="2339" cap="flat">
                    <a:noFill/>
                    <a:prstDash val="solid"/>
                    <a:miter/>
                  </a:ln>
                </p:spPr>
                <p:txBody>
                  <a:bodyPr rtlCol="0" anchor="ctr"/>
                  <a:lstStyle/>
                  <a:p>
                    <a:endParaRPr lang="en-US" sz="2400"/>
                  </a:p>
                </p:txBody>
              </p:sp>
              <p:sp>
                <p:nvSpPr>
                  <p:cNvPr id="314" name="Freeform: Shape 313">
                    <a:extLst>
                      <a:ext uri="{FF2B5EF4-FFF2-40B4-BE49-F238E27FC236}">
                        <a16:creationId xmlns:a16="http://schemas.microsoft.com/office/drawing/2014/main" id="{97AFC678-9209-B912-72A5-9B58D7A2E216}"/>
                      </a:ext>
                    </a:extLst>
                  </p:cNvPr>
                  <p:cNvSpPr/>
                  <p:nvPr userDrawn="1"/>
                </p:nvSpPr>
                <p:spPr>
                  <a:xfrm>
                    <a:off x="8399071" y="4395444"/>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AC0D2"/>
                  </a:solidFill>
                  <a:ln w="2339" cap="flat">
                    <a:noFill/>
                    <a:prstDash val="solid"/>
                    <a:miter/>
                  </a:ln>
                </p:spPr>
                <p:txBody>
                  <a:bodyPr rtlCol="0" anchor="ctr"/>
                  <a:lstStyle/>
                  <a:p>
                    <a:endParaRPr lang="en-US" sz="2400"/>
                  </a:p>
                </p:txBody>
              </p:sp>
              <p:sp>
                <p:nvSpPr>
                  <p:cNvPr id="315" name="Freeform: Shape 314">
                    <a:extLst>
                      <a:ext uri="{FF2B5EF4-FFF2-40B4-BE49-F238E27FC236}">
                        <a16:creationId xmlns:a16="http://schemas.microsoft.com/office/drawing/2014/main" id="{69E1E69B-1612-36DC-3431-70D8D2D872B7}"/>
                      </a:ext>
                    </a:extLst>
                  </p:cNvPr>
                  <p:cNvSpPr/>
                  <p:nvPr userDrawn="1"/>
                </p:nvSpPr>
                <p:spPr>
                  <a:xfrm>
                    <a:off x="8399610" y="4395327"/>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AC1D2"/>
                  </a:solidFill>
                  <a:ln w="2339" cap="flat">
                    <a:noFill/>
                    <a:prstDash val="solid"/>
                    <a:miter/>
                  </a:ln>
                </p:spPr>
                <p:txBody>
                  <a:bodyPr rtlCol="0" anchor="ctr"/>
                  <a:lstStyle/>
                  <a:p>
                    <a:endParaRPr lang="en-US" sz="2400"/>
                  </a:p>
                </p:txBody>
              </p:sp>
              <p:sp>
                <p:nvSpPr>
                  <p:cNvPr id="316" name="Freeform: Shape 315">
                    <a:extLst>
                      <a:ext uri="{FF2B5EF4-FFF2-40B4-BE49-F238E27FC236}">
                        <a16:creationId xmlns:a16="http://schemas.microsoft.com/office/drawing/2014/main" id="{4A724DC5-1D71-6CF3-984A-74AD93E5AA47}"/>
                      </a:ext>
                    </a:extLst>
                  </p:cNvPr>
                  <p:cNvSpPr/>
                  <p:nvPr userDrawn="1"/>
                </p:nvSpPr>
                <p:spPr>
                  <a:xfrm>
                    <a:off x="8400171" y="439521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74"/>
                          <a:pt x="0" y="32643"/>
                          <a:pt x="0" y="21037"/>
                        </a:cubicBezTo>
                        <a:close/>
                      </a:path>
                    </a:pathLst>
                  </a:custGeom>
                  <a:solidFill>
                    <a:srgbClr val="BBC1D2"/>
                  </a:solidFill>
                  <a:ln w="2339" cap="flat">
                    <a:noFill/>
                    <a:prstDash val="solid"/>
                    <a:miter/>
                  </a:ln>
                </p:spPr>
                <p:txBody>
                  <a:bodyPr rtlCol="0" anchor="ctr"/>
                  <a:lstStyle/>
                  <a:p>
                    <a:endParaRPr lang="en-US" sz="2400"/>
                  </a:p>
                </p:txBody>
              </p:sp>
              <p:sp>
                <p:nvSpPr>
                  <p:cNvPr id="317" name="Freeform: Shape 316">
                    <a:extLst>
                      <a:ext uri="{FF2B5EF4-FFF2-40B4-BE49-F238E27FC236}">
                        <a16:creationId xmlns:a16="http://schemas.microsoft.com/office/drawing/2014/main" id="{B1CE94A7-5DC0-4C75-25F2-AB496C20F173}"/>
                      </a:ext>
                    </a:extLst>
                  </p:cNvPr>
                  <p:cNvSpPr/>
                  <p:nvPr userDrawn="1"/>
                </p:nvSpPr>
                <p:spPr>
                  <a:xfrm>
                    <a:off x="8400710" y="439506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BC1D3"/>
                  </a:solidFill>
                  <a:ln w="2339" cap="flat">
                    <a:noFill/>
                    <a:prstDash val="solid"/>
                    <a:miter/>
                  </a:ln>
                </p:spPr>
                <p:txBody>
                  <a:bodyPr rtlCol="0" anchor="ctr"/>
                  <a:lstStyle/>
                  <a:p>
                    <a:endParaRPr lang="en-US" sz="2400"/>
                  </a:p>
                </p:txBody>
              </p:sp>
              <p:sp>
                <p:nvSpPr>
                  <p:cNvPr id="318" name="Freeform: Shape 317">
                    <a:extLst>
                      <a:ext uri="{FF2B5EF4-FFF2-40B4-BE49-F238E27FC236}">
                        <a16:creationId xmlns:a16="http://schemas.microsoft.com/office/drawing/2014/main" id="{2D9E30FC-AB4A-4DA7-371B-714B3F57A275}"/>
                      </a:ext>
                    </a:extLst>
                  </p:cNvPr>
                  <p:cNvSpPr/>
                  <p:nvPr userDrawn="1"/>
                </p:nvSpPr>
                <p:spPr>
                  <a:xfrm>
                    <a:off x="8401248" y="4394952"/>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BC1D3"/>
                  </a:solidFill>
                  <a:ln w="2339" cap="flat">
                    <a:noFill/>
                    <a:prstDash val="solid"/>
                    <a:miter/>
                  </a:ln>
                </p:spPr>
                <p:txBody>
                  <a:bodyPr rtlCol="0" anchor="ctr"/>
                  <a:lstStyle/>
                  <a:p>
                    <a:endParaRPr lang="en-US" sz="2400"/>
                  </a:p>
                </p:txBody>
              </p:sp>
              <p:sp>
                <p:nvSpPr>
                  <p:cNvPr id="319" name="Freeform: Shape 318">
                    <a:extLst>
                      <a:ext uri="{FF2B5EF4-FFF2-40B4-BE49-F238E27FC236}">
                        <a16:creationId xmlns:a16="http://schemas.microsoft.com/office/drawing/2014/main" id="{32A4B276-6F73-2757-ABF7-09B28C2CBD74}"/>
                      </a:ext>
                    </a:extLst>
                  </p:cNvPr>
                  <p:cNvSpPr/>
                  <p:nvPr userDrawn="1"/>
                </p:nvSpPr>
                <p:spPr>
                  <a:xfrm>
                    <a:off x="8401809" y="4394835"/>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74"/>
                          <a:pt x="0" y="32667"/>
                          <a:pt x="0" y="21037"/>
                        </a:cubicBezTo>
                        <a:close/>
                      </a:path>
                    </a:pathLst>
                  </a:custGeom>
                  <a:solidFill>
                    <a:srgbClr val="BCC2D3"/>
                  </a:solidFill>
                  <a:ln w="2339" cap="flat">
                    <a:noFill/>
                    <a:prstDash val="solid"/>
                    <a:miter/>
                  </a:ln>
                </p:spPr>
                <p:txBody>
                  <a:bodyPr rtlCol="0" anchor="ctr"/>
                  <a:lstStyle/>
                  <a:p>
                    <a:endParaRPr lang="en-US" sz="2400"/>
                  </a:p>
                </p:txBody>
              </p:sp>
              <p:sp>
                <p:nvSpPr>
                  <p:cNvPr id="320" name="Freeform: Shape 319">
                    <a:extLst>
                      <a:ext uri="{FF2B5EF4-FFF2-40B4-BE49-F238E27FC236}">
                        <a16:creationId xmlns:a16="http://schemas.microsoft.com/office/drawing/2014/main" id="{2DBE3DA1-B226-0A24-40A7-44AE30D309F6}"/>
                      </a:ext>
                    </a:extLst>
                  </p:cNvPr>
                  <p:cNvSpPr/>
                  <p:nvPr userDrawn="1"/>
                </p:nvSpPr>
                <p:spPr>
                  <a:xfrm>
                    <a:off x="8402348" y="4394695"/>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97"/>
                          <a:pt x="0" y="32667"/>
                          <a:pt x="0" y="21037"/>
                        </a:cubicBezTo>
                        <a:close/>
                      </a:path>
                    </a:pathLst>
                  </a:custGeom>
                  <a:solidFill>
                    <a:srgbClr val="BCC2D3"/>
                  </a:solidFill>
                  <a:ln w="2339" cap="flat">
                    <a:noFill/>
                    <a:prstDash val="solid"/>
                    <a:miter/>
                  </a:ln>
                </p:spPr>
                <p:txBody>
                  <a:bodyPr rtlCol="0" anchor="ctr"/>
                  <a:lstStyle/>
                  <a:p>
                    <a:endParaRPr lang="en-US" sz="2400"/>
                  </a:p>
                </p:txBody>
              </p:sp>
              <p:sp>
                <p:nvSpPr>
                  <p:cNvPr id="321" name="Freeform: Shape 320">
                    <a:extLst>
                      <a:ext uri="{FF2B5EF4-FFF2-40B4-BE49-F238E27FC236}">
                        <a16:creationId xmlns:a16="http://schemas.microsoft.com/office/drawing/2014/main" id="{00E34CEF-AFE8-3C2E-760E-2A7DF036E25B}"/>
                      </a:ext>
                    </a:extLst>
                  </p:cNvPr>
                  <p:cNvSpPr/>
                  <p:nvPr userDrawn="1"/>
                </p:nvSpPr>
                <p:spPr>
                  <a:xfrm>
                    <a:off x="8402886" y="4394578"/>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CC2D3"/>
                  </a:solidFill>
                  <a:ln w="2339" cap="flat">
                    <a:noFill/>
                    <a:prstDash val="solid"/>
                    <a:miter/>
                  </a:ln>
                </p:spPr>
                <p:txBody>
                  <a:bodyPr rtlCol="0" anchor="ctr"/>
                  <a:lstStyle/>
                  <a:p>
                    <a:endParaRPr lang="en-US" sz="2400"/>
                  </a:p>
                </p:txBody>
              </p:sp>
              <p:sp>
                <p:nvSpPr>
                  <p:cNvPr id="322" name="Freeform: Shape 321">
                    <a:extLst>
                      <a:ext uri="{FF2B5EF4-FFF2-40B4-BE49-F238E27FC236}">
                        <a16:creationId xmlns:a16="http://schemas.microsoft.com/office/drawing/2014/main" id="{92E0AED2-BF75-2E78-FC40-80BB5C1C4611}"/>
                      </a:ext>
                    </a:extLst>
                  </p:cNvPr>
                  <p:cNvSpPr/>
                  <p:nvPr userDrawn="1"/>
                </p:nvSpPr>
                <p:spPr>
                  <a:xfrm>
                    <a:off x="8403424" y="4394437"/>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DC3D4"/>
                  </a:solidFill>
                  <a:ln w="2339" cap="flat">
                    <a:noFill/>
                    <a:prstDash val="solid"/>
                    <a:miter/>
                  </a:ln>
                </p:spPr>
                <p:txBody>
                  <a:bodyPr rtlCol="0" anchor="ctr"/>
                  <a:lstStyle/>
                  <a:p>
                    <a:endParaRPr lang="en-US" sz="2400"/>
                  </a:p>
                </p:txBody>
              </p:sp>
              <p:sp>
                <p:nvSpPr>
                  <p:cNvPr id="323" name="Freeform: Shape 322">
                    <a:extLst>
                      <a:ext uri="{FF2B5EF4-FFF2-40B4-BE49-F238E27FC236}">
                        <a16:creationId xmlns:a16="http://schemas.microsoft.com/office/drawing/2014/main" id="{1F2EA07B-67A0-5655-B838-F7C3413B02F3}"/>
                      </a:ext>
                    </a:extLst>
                  </p:cNvPr>
                  <p:cNvSpPr/>
                  <p:nvPr userDrawn="1"/>
                </p:nvSpPr>
                <p:spPr>
                  <a:xfrm>
                    <a:off x="8403962" y="439432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DC3D4"/>
                  </a:solidFill>
                  <a:ln w="2339" cap="flat">
                    <a:noFill/>
                    <a:prstDash val="solid"/>
                    <a:miter/>
                  </a:ln>
                </p:spPr>
                <p:txBody>
                  <a:bodyPr rtlCol="0" anchor="ctr"/>
                  <a:lstStyle/>
                  <a:p>
                    <a:endParaRPr lang="en-US" sz="2400"/>
                  </a:p>
                </p:txBody>
              </p:sp>
              <p:sp>
                <p:nvSpPr>
                  <p:cNvPr id="324" name="Freeform: Shape 323">
                    <a:extLst>
                      <a:ext uri="{FF2B5EF4-FFF2-40B4-BE49-F238E27FC236}">
                        <a16:creationId xmlns:a16="http://schemas.microsoft.com/office/drawing/2014/main" id="{A1C4DC74-5F1E-F7B4-C409-8EBB76CA8CDB}"/>
                      </a:ext>
                    </a:extLst>
                  </p:cNvPr>
                  <p:cNvSpPr/>
                  <p:nvPr userDrawn="1"/>
                </p:nvSpPr>
                <p:spPr>
                  <a:xfrm>
                    <a:off x="8404500" y="439418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DC3D4"/>
                  </a:solidFill>
                  <a:ln w="2339" cap="flat">
                    <a:noFill/>
                    <a:prstDash val="solid"/>
                    <a:miter/>
                  </a:ln>
                </p:spPr>
                <p:txBody>
                  <a:bodyPr rtlCol="0" anchor="ctr"/>
                  <a:lstStyle/>
                  <a:p>
                    <a:endParaRPr lang="en-US" sz="2400"/>
                  </a:p>
                </p:txBody>
              </p:sp>
              <p:sp>
                <p:nvSpPr>
                  <p:cNvPr id="325" name="Freeform: Shape 324">
                    <a:extLst>
                      <a:ext uri="{FF2B5EF4-FFF2-40B4-BE49-F238E27FC236}">
                        <a16:creationId xmlns:a16="http://schemas.microsoft.com/office/drawing/2014/main" id="{8A38DCE1-0D0B-25E9-F4B0-6C051325B7FB}"/>
                      </a:ext>
                    </a:extLst>
                  </p:cNvPr>
                  <p:cNvSpPr/>
                  <p:nvPr userDrawn="1"/>
                </p:nvSpPr>
                <p:spPr>
                  <a:xfrm>
                    <a:off x="8405039" y="439404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EC3D4"/>
                  </a:solidFill>
                  <a:ln w="2339" cap="flat">
                    <a:noFill/>
                    <a:prstDash val="solid"/>
                    <a:miter/>
                  </a:ln>
                </p:spPr>
                <p:txBody>
                  <a:bodyPr rtlCol="0" anchor="ctr"/>
                  <a:lstStyle/>
                  <a:p>
                    <a:endParaRPr lang="en-US" sz="2400"/>
                  </a:p>
                </p:txBody>
              </p:sp>
              <p:sp>
                <p:nvSpPr>
                  <p:cNvPr id="326" name="Freeform: Shape 325">
                    <a:extLst>
                      <a:ext uri="{FF2B5EF4-FFF2-40B4-BE49-F238E27FC236}">
                        <a16:creationId xmlns:a16="http://schemas.microsoft.com/office/drawing/2014/main" id="{37C976AD-A969-4873-5AF7-48C8B032513B}"/>
                      </a:ext>
                    </a:extLst>
                  </p:cNvPr>
                  <p:cNvSpPr/>
                  <p:nvPr userDrawn="1"/>
                </p:nvSpPr>
                <p:spPr>
                  <a:xfrm>
                    <a:off x="8405577" y="4393923"/>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EC4D4"/>
                  </a:solidFill>
                  <a:ln w="2339" cap="flat">
                    <a:noFill/>
                    <a:prstDash val="solid"/>
                    <a:miter/>
                  </a:ln>
                </p:spPr>
                <p:txBody>
                  <a:bodyPr rtlCol="0" anchor="ctr"/>
                  <a:lstStyle/>
                  <a:p>
                    <a:endParaRPr lang="en-US" sz="2400"/>
                  </a:p>
                </p:txBody>
              </p:sp>
              <p:sp>
                <p:nvSpPr>
                  <p:cNvPr id="327" name="Freeform: Shape 326">
                    <a:extLst>
                      <a:ext uri="{FF2B5EF4-FFF2-40B4-BE49-F238E27FC236}">
                        <a16:creationId xmlns:a16="http://schemas.microsoft.com/office/drawing/2014/main" id="{5929F8C2-BE75-7540-872B-3D58356C9DE4}"/>
                      </a:ext>
                    </a:extLst>
                  </p:cNvPr>
                  <p:cNvSpPr/>
                  <p:nvPr userDrawn="1"/>
                </p:nvSpPr>
                <p:spPr>
                  <a:xfrm>
                    <a:off x="8406115" y="4393782"/>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EC4D5"/>
                  </a:solidFill>
                  <a:ln w="2339" cap="flat">
                    <a:noFill/>
                    <a:prstDash val="solid"/>
                    <a:miter/>
                  </a:ln>
                </p:spPr>
                <p:txBody>
                  <a:bodyPr rtlCol="0" anchor="ctr"/>
                  <a:lstStyle/>
                  <a:p>
                    <a:endParaRPr lang="en-US" sz="2400"/>
                  </a:p>
                </p:txBody>
              </p:sp>
              <p:sp>
                <p:nvSpPr>
                  <p:cNvPr id="328" name="Freeform: Shape 327">
                    <a:extLst>
                      <a:ext uri="{FF2B5EF4-FFF2-40B4-BE49-F238E27FC236}">
                        <a16:creationId xmlns:a16="http://schemas.microsoft.com/office/drawing/2014/main" id="{B18F891F-7209-1C92-2B0B-0FB4DE5804BD}"/>
                      </a:ext>
                    </a:extLst>
                  </p:cNvPr>
                  <p:cNvSpPr/>
                  <p:nvPr userDrawn="1"/>
                </p:nvSpPr>
                <p:spPr>
                  <a:xfrm>
                    <a:off x="8406653" y="4393642"/>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EC4D5"/>
                  </a:solidFill>
                  <a:ln w="2339" cap="flat">
                    <a:noFill/>
                    <a:prstDash val="solid"/>
                    <a:miter/>
                  </a:ln>
                </p:spPr>
                <p:txBody>
                  <a:bodyPr rtlCol="0" anchor="ctr"/>
                  <a:lstStyle/>
                  <a:p>
                    <a:endParaRPr lang="en-US" sz="2400"/>
                  </a:p>
                </p:txBody>
              </p:sp>
              <p:sp>
                <p:nvSpPr>
                  <p:cNvPr id="329" name="Freeform: Shape 328">
                    <a:extLst>
                      <a:ext uri="{FF2B5EF4-FFF2-40B4-BE49-F238E27FC236}">
                        <a16:creationId xmlns:a16="http://schemas.microsoft.com/office/drawing/2014/main" id="{EE1C0AA4-8515-4FEF-0275-79C3A7F8DE31}"/>
                      </a:ext>
                    </a:extLst>
                  </p:cNvPr>
                  <p:cNvSpPr/>
                  <p:nvPr userDrawn="1"/>
                </p:nvSpPr>
                <p:spPr>
                  <a:xfrm>
                    <a:off x="8407191" y="439350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FC5D5"/>
                  </a:solidFill>
                  <a:ln w="2339" cap="flat">
                    <a:noFill/>
                    <a:prstDash val="solid"/>
                    <a:miter/>
                  </a:ln>
                </p:spPr>
                <p:txBody>
                  <a:bodyPr rtlCol="0" anchor="ctr"/>
                  <a:lstStyle/>
                  <a:p>
                    <a:endParaRPr lang="en-US" sz="2400"/>
                  </a:p>
                </p:txBody>
              </p:sp>
              <p:sp>
                <p:nvSpPr>
                  <p:cNvPr id="330" name="Freeform: Shape 329">
                    <a:extLst>
                      <a:ext uri="{FF2B5EF4-FFF2-40B4-BE49-F238E27FC236}">
                        <a16:creationId xmlns:a16="http://schemas.microsoft.com/office/drawing/2014/main" id="{DA1D6DAB-6F5D-911F-69CA-4CEF2A591126}"/>
                      </a:ext>
                    </a:extLst>
                  </p:cNvPr>
                  <p:cNvSpPr/>
                  <p:nvPr userDrawn="1"/>
                </p:nvSpPr>
                <p:spPr>
                  <a:xfrm>
                    <a:off x="8407730" y="439336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FC5D5"/>
                  </a:solidFill>
                  <a:ln w="2339" cap="flat">
                    <a:noFill/>
                    <a:prstDash val="solid"/>
                    <a:miter/>
                  </a:ln>
                </p:spPr>
                <p:txBody>
                  <a:bodyPr rtlCol="0" anchor="ctr"/>
                  <a:lstStyle/>
                  <a:p>
                    <a:endParaRPr lang="en-US" sz="2400"/>
                  </a:p>
                </p:txBody>
              </p:sp>
              <p:sp>
                <p:nvSpPr>
                  <p:cNvPr id="331" name="Freeform: Shape 330">
                    <a:extLst>
                      <a:ext uri="{FF2B5EF4-FFF2-40B4-BE49-F238E27FC236}">
                        <a16:creationId xmlns:a16="http://schemas.microsoft.com/office/drawing/2014/main" id="{0AB76237-89DE-9135-8690-985B4DEB70F3}"/>
                      </a:ext>
                    </a:extLst>
                  </p:cNvPr>
                  <p:cNvSpPr/>
                  <p:nvPr userDrawn="1"/>
                </p:nvSpPr>
                <p:spPr>
                  <a:xfrm>
                    <a:off x="8408268" y="439322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97"/>
                          <a:pt x="0" y="32667"/>
                          <a:pt x="0" y="21037"/>
                        </a:cubicBezTo>
                        <a:close/>
                      </a:path>
                    </a:pathLst>
                  </a:custGeom>
                  <a:solidFill>
                    <a:srgbClr val="BFC5D5"/>
                  </a:solidFill>
                  <a:ln w="2339" cap="flat">
                    <a:noFill/>
                    <a:prstDash val="solid"/>
                    <a:miter/>
                  </a:ln>
                </p:spPr>
                <p:txBody>
                  <a:bodyPr rtlCol="0" anchor="ctr"/>
                  <a:lstStyle/>
                  <a:p>
                    <a:endParaRPr lang="en-US" sz="2400"/>
                  </a:p>
                </p:txBody>
              </p:sp>
              <p:sp>
                <p:nvSpPr>
                  <p:cNvPr id="332" name="Freeform: Shape 331">
                    <a:extLst>
                      <a:ext uri="{FF2B5EF4-FFF2-40B4-BE49-F238E27FC236}">
                        <a16:creationId xmlns:a16="http://schemas.microsoft.com/office/drawing/2014/main" id="{9B383ED3-164A-89C9-36CC-2AF377911D2B}"/>
                      </a:ext>
                    </a:extLst>
                  </p:cNvPr>
                  <p:cNvSpPr/>
                  <p:nvPr userDrawn="1"/>
                </p:nvSpPr>
                <p:spPr>
                  <a:xfrm>
                    <a:off x="8408783" y="439308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C0C5D6"/>
                  </a:solidFill>
                  <a:ln w="2339" cap="flat">
                    <a:noFill/>
                    <a:prstDash val="solid"/>
                    <a:miter/>
                  </a:ln>
                </p:spPr>
                <p:txBody>
                  <a:bodyPr rtlCol="0" anchor="ctr"/>
                  <a:lstStyle/>
                  <a:p>
                    <a:endParaRPr lang="en-US" sz="2400"/>
                  </a:p>
                </p:txBody>
              </p:sp>
              <p:sp>
                <p:nvSpPr>
                  <p:cNvPr id="333" name="Freeform: Shape 332">
                    <a:extLst>
                      <a:ext uri="{FF2B5EF4-FFF2-40B4-BE49-F238E27FC236}">
                        <a16:creationId xmlns:a16="http://schemas.microsoft.com/office/drawing/2014/main" id="{236A5C22-144D-BE95-F8D9-064C508E5691}"/>
                      </a:ext>
                    </a:extLst>
                  </p:cNvPr>
                  <p:cNvSpPr/>
                  <p:nvPr userDrawn="1"/>
                </p:nvSpPr>
                <p:spPr>
                  <a:xfrm>
                    <a:off x="8409321" y="439294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C0C6D6"/>
                  </a:solidFill>
                  <a:ln w="2339" cap="flat">
                    <a:noFill/>
                    <a:prstDash val="solid"/>
                    <a:miter/>
                  </a:ln>
                </p:spPr>
                <p:txBody>
                  <a:bodyPr rtlCol="0" anchor="ctr"/>
                  <a:lstStyle/>
                  <a:p>
                    <a:endParaRPr lang="en-US" sz="2400"/>
                  </a:p>
                </p:txBody>
              </p:sp>
              <p:sp>
                <p:nvSpPr>
                  <p:cNvPr id="334" name="Freeform: Shape 333">
                    <a:extLst>
                      <a:ext uri="{FF2B5EF4-FFF2-40B4-BE49-F238E27FC236}">
                        <a16:creationId xmlns:a16="http://schemas.microsoft.com/office/drawing/2014/main" id="{BF4A8413-475A-5488-23A6-82368920D274}"/>
                      </a:ext>
                    </a:extLst>
                  </p:cNvPr>
                  <p:cNvSpPr/>
                  <p:nvPr userDrawn="1"/>
                </p:nvSpPr>
                <p:spPr>
                  <a:xfrm>
                    <a:off x="8409859" y="439279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97"/>
                          <a:pt x="0" y="32667"/>
                          <a:pt x="0" y="21037"/>
                        </a:cubicBezTo>
                        <a:close/>
                      </a:path>
                    </a:pathLst>
                  </a:custGeom>
                  <a:solidFill>
                    <a:srgbClr val="C0C6D6"/>
                  </a:solidFill>
                  <a:ln w="2339" cap="flat">
                    <a:noFill/>
                    <a:prstDash val="solid"/>
                    <a:miter/>
                  </a:ln>
                </p:spPr>
                <p:txBody>
                  <a:bodyPr rtlCol="0" anchor="ctr"/>
                  <a:lstStyle/>
                  <a:p>
                    <a:endParaRPr lang="en-US" sz="2400"/>
                  </a:p>
                </p:txBody>
              </p:sp>
              <p:sp>
                <p:nvSpPr>
                  <p:cNvPr id="335" name="Freeform: Shape 334">
                    <a:extLst>
                      <a:ext uri="{FF2B5EF4-FFF2-40B4-BE49-F238E27FC236}">
                        <a16:creationId xmlns:a16="http://schemas.microsoft.com/office/drawing/2014/main" id="{01465BCA-6E2D-6B13-4745-841B8BC3EBFE}"/>
                      </a:ext>
                    </a:extLst>
                  </p:cNvPr>
                  <p:cNvSpPr/>
                  <p:nvPr userDrawn="1"/>
                </p:nvSpPr>
                <p:spPr>
                  <a:xfrm>
                    <a:off x="8410374" y="439265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C1C6D6"/>
                  </a:solidFill>
                  <a:ln w="2339" cap="flat">
                    <a:noFill/>
                    <a:prstDash val="solid"/>
                    <a:miter/>
                  </a:ln>
                </p:spPr>
                <p:txBody>
                  <a:bodyPr rtlCol="0" anchor="ctr"/>
                  <a:lstStyle/>
                  <a:p>
                    <a:endParaRPr lang="en-US" sz="2400"/>
                  </a:p>
                </p:txBody>
              </p:sp>
              <p:sp>
                <p:nvSpPr>
                  <p:cNvPr id="336" name="Freeform: Shape 335">
                    <a:extLst>
                      <a:ext uri="{FF2B5EF4-FFF2-40B4-BE49-F238E27FC236}">
                        <a16:creationId xmlns:a16="http://schemas.microsoft.com/office/drawing/2014/main" id="{FB1D64CE-B457-2EDE-719A-74D144A7151E}"/>
                      </a:ext>
                    </a:extLst>
                  </p:cNvPr>
                  <p:cNvSpPr/>
                  <p:nvPr userDrawn="1"/>
                </p:nvSpPr>
                <p:spPr>
                  <a:xfrm>
                    <a:off x="8410912" y="439251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C1C6D6"/>
                  </a:solidFill>
                  <a:ln w="2339" cap="flat">
                    <a:noFill/>
                    <a:prstDash val="solid"/>
                    <a:miter/>
                  </a:ln>
                </p:spPr>
                <p:txBody>
                  <a:bodyPr rtlCol="0" anchor="ctr"/>
                  <a:lstStyle/>
                  <a:p>
                    <a:endParaRPr lang="en-US" sz="2400"/>
                  </a:p>
                </p:txBody>
              </p:sp>
              <p:sp>
                <p:nvSpPr>
                  <p:cNvPr id="337" name="Freeform: Shape 336">
                    <a:extLst>
                      <a:ext uri="{FF2B5EF4-FFF2-40B4-BE49-F238E27FC236}">
                        <a16:creationId xmlns:a16="http://schemas.microsoft.com/office/drawing/2014/main" id="{5368474E-C7DD-B5BF-142A-BA49D226E862}"/>
                      </a:ext>
                    </a:extLst>
                  </p:cNvPr>
                  <p:cNvSpPr/>
                  <p:nvPr userDrawn="1"/>
                </p:nvSpPr>
                <p:spPr>
                  <a:xfrm>
                    <a:off x="8411427" y="4392378"/>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C1C7D7"/>
                  </a:solidFill>
                  <a:ln w="2339" cap="flat">
                    <a:noFill/>
                    <a:prstDash val="solid"/>
                    <a:miter/>
                  </a:ln>
                </p:spPr>
                <p:txBody>
                  <a:bodyPr rtlCol="0" anchor="ctr"/>
                  <a:lstStyle/>
                  <a:p>
                    <a:endParaRPr lang="en-US" sz="2400"/>
                  </a:p>
                </p:txBody>
              </p:sp>
              <p:sp>
                <p:nvSpPr>
                  <p:cNvPr id="338" name="Freeform: Shape 337">
                    <a:extLst>
                      <a:ext uri="{FF2B5EF4-FFF2-40B4-BE49-F238E27FC236}">
                        <a16:creationId xmlns:a16="http://schemas.microsoft.com/office/drawing/2014/main" id="{F295AFD4-253A-68BE-53A8-D78DC089CA28}"/>
                      </a:ext>
                    </a:extLst>
                  </p:cNvPr>
                  <p:cNvSpPr/>
                  <p:nvPr userDrawn="1"/>
                </p:nvSpPr>
                <p:spPr>
                  <a:xfrm>
                    <a:off x="8411965" y="4392214"/>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C2C7D7"/>
                  </a:solidFill>
                  <a:ln w="2339" cap="flat">
                    <a:noFill/>
                    <a:prstDash val="solid"/>
                    <a:miter/>
                  </a:ln>
                </p:spPr>
                <p:txBody>
                  <a:bodyPr rtlCol="0" anchor="ctr"/>
                  <a:lstStyle/>
                  <a:p>
                    <a:endParaRPr lang="en-US" sz="2400"/>
                  </a:p>
                </p:txBody>
              </p:sp>
              <p:sp>
                <p:nvSpPr>
                  <p:cNvPr id="339" name="Freeform: Shape 338">
                    <a:extLst>
                      <a:ext uri="{FF2B5EF4-FFF2-40B4-BE49-F238E27FC236}">
                        <a16:creationId xmlns:a16="http://schemas.microsoft.com/office/drawing/2014/main" id="{868423E6-7B0A-4474-2BD2-63DDEDBAE1AA}"/>
                      </a:ext>
                    </a:extLst>
                  </p:cNvPr>
                  <p:cNvSpPr/>
                  <p:nvPr userDrawn="1"/>
                </p:nvSpPr>
                <p:spPr>
                  <a:xfrm>
                    <a:off x="8412480" y="4392074"/>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C2C7D7"/>
                  </a:solidFill>
                  <a:ln w="2339" cap="flat">
                    <a:noFill/>
                    <a:prstDash val="solid"/>
                    <a:miter/>
                  </a:ln>
                </p:spPr>
                <p:txBody>
                  <a:bodyPr rtlCol="0" anchor="ctr"/>
                  <a:lstStyle/>
                  <a:p>
                    <a:endParaRPr lang="en-US" sz="2400"/>
                  </a:p>
                </p:txBody>
              </p:sp>
              <p:sp>
                <p:nvSpPr>
                  <p:cNvPr id="340" name="Freeform: Shape 339">
                    <a:extLst>
                      <a:ext uri="{FF2B5EF4-FFF2-40B4-BE49-F238E27FC236}">
                        <a16:creationId xmlns:a16="http://schemas.microsoft.com/office/drawing/2014/main" id="{303C6F54-701B-C41D-E199-E1FE6D355FC9}"/>
                      </a:ext>
                    </a:extLst>
                  </p:cNvPr>
                  <p:cNvSpPr/>
                  <p:nvPr userDrawn="1"/>
                </p:nvSpPr>
                <p:spPr>
                  <a:xfrm>
                    <a:off x="8413018" y="439191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97"/>
                          <a:pt x="0" y="32667"/>
                          <a:pt x="0" y="21037"/>
                        </a:cubicBezTo>
                        <a:close/>
                      </a:path>
                    </a:pathLst>
                  </a:custGeom>
                  <a:solidFill>
                    <a:srgbClr val="C2C8D7"/>
                  </a:solidFill>
                  <a:ln w="2339" cap="flat">
                    <a:noFill/>
                    <a:prstDash val="solid"/>
                    <a:miter/>
                  </a:ln>
                </p:spPr>
                <p:txBody>
                  <a:bodyPr rtlCol="0" anchor="ctr"/>
                  <a:lstStyle/>
                  <a:p>
                    <a:endParaRPr lang="en-US" sz="2400"/>
                  </a:p>
                </p:txBody>
              </p:sp>
              <p:sp>
                <p:nvSpPr>
                  <p:cNvPr id="341" name="Freeform: Shape 340">
                    <a:extLst>
                      <a:ext uri="{FF2B5EF4-FFF2-40B4-BE49-F238E27FC236}">
                        <a16:creationId xmlns:a16="http://schemas.microsoft.com/office/drawing/2014/main" id="{57F04E31-F3B7-3A1D-4F15-191739FB351B}"/>
                      </a:ext>
                    </a:extLst>
                  </p:cNvPr>
                  <p:cNvSpPr/>
                  <p:nvPr userDrawn="1"/>
                </p:nvSpPr>
                <p:spPr>
                  <a:xfrm>
                    <a:off x="8413533" y="439177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C2C8D7"/>
                  </a:solidFill>
                  <a:ln w="2339" cap="flat">
                    <a:noFill/>
                    <a:prstDash val="solid"/>
                    <a:miter/>
                  </a:ln>
                </p:spPr>
                <p:txBody>
                  <a:bodyPr rtlCol="0" anchor="ctr"/>
                  <a:lstStyle/>
                  <a:p>
                    <a:endParaRPr lang="en-US" sz="2400"/>
                  </a:p>
                </p:txBody>
              </p:sp>
              <p:sp>
                <p:nvSpPr>
                  <p:cNvPr id="342" name="Freeform: Shape 341">
                    <a:extLst>
                      <a:ext uri="{FF2B5EF4-FFF2-40B4-BE49-F238E27FC236}">
                        <a16:creationId xmlns:a16="http://schemas.microsoft.com/office/drawing/2014/main" id="{4E993F20-7E7F-881A-8550-7D0B7A7F40D4}"/>
                      </a:ext>
                    </a:extLst>
                  </p:cNvPr>
                  <p:cNvSpPr/>
                  <p:nvPr userDrawn="1"/>
                </p:nvSpPr>
                <p:spPr>
                  <a:xfrm>
                    <a:off x="8414048" y="439162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C3C8D8"/>
                  </a:solidFill>
                  <a:ln w="2339" cap="flat">
                    <a:noFill/>
                    <a:prstDash val="solid"/>
                    <a:miter/>
                  </a:ln>
                </p:spPr>
                <p:txBody>
                  <a:bodyPr rtlCol="0" anchor="ctr"/>
                  <a:lstStyle/>
                  <a:p>
                    <a:endParaRPr lang="en-US" sz="2400"/>
                  </a:p>
                </p:txBody>
              </p:sp>
              <p:sp>
                <p:nvSpPr>
                  <p:cNvPr id="343" name="Freeform: Shape 342">
                    <a:extLst>
                      <a:ext uri="{FF2B5EF4-FFF2-40B4-BE49-F238E27FC236}">
                        <a16:creationId xmlns:a16="http://schemas.microsoft.com/office/drawing/2014/main" id="{72A8E494-3657-543E-7136-5020B67FBEC7}"/>
                      </a:ext>
                    </a:extLst>
                  </p:cNvPr>
                  <p:cNvSpPr/>
                  <p:nvPr userDrawn="1"/>
                </p:nvSpPr>
                <p:spPr>
                  <a:xfrm>
                    <a:off x="8414586" y="4391466"/>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74"/>
                          <a:pt x="0" y="32667"/>
                          <a:pt x="0" y="21037"/>
                        </a:cubicBezTo>
                        <a:close/>
                      </a:path>
                    </a:pathLst>
                  </a:custGeom>
                  <a:solidFill>
                    <a:srgbClr val="C3C8D8"/>
                  </a:solidFill>
                  <a:ln w="2339" cap="flat">
                    <a:noFill/>
                    <a:prstDash val="solid"/>
                    <a:miter/>
                  </a:ln>
                </p:spPr>
                <p:txBody>
                  <a:bodyPr rtlCol="0" anchor="ctr"/>
                  <a:lstStyle/>
                  <a:p>
                    <a:endParaRPr lang="en-US" sz="2400"/>
                  </a:p>
                </p:txBody>
              </p:sp>
              <p:sp>
                <p:nvSpPr>
                  <p:cNvPr id="344" name="Freeform: Shape 343">
                    <a:extLst>
                      <a:ext uri="{FF2B5EF4-FFF2-40B4-BE49-F238E27FC236}">
                        <a16:creationId xmlns:a16="http://schemas.microsoft.com/office/drawing/2014/main" id="{E502BC6F-1B1F-CF2D-5851-404A60A16E46}"/>
                      </a:ext>
                    </a:extLst>
                  </p:cNvPr>
                  <p:cNvSpPr/>
                  <p:nvPr userDrawn="1"/>
                </p:nvSpPr>
                <p:spPr>
                  <a:xfrm>
                    <a:off x="8415101" y="4391302"/>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97"/>
                          <a:pt x="0" y="32667"/>
                          <a:pt x="0" y="21037"/>
                        </a:cubicBezTo>
                        <a:close/>
                      </a:path>
                    </a:pathLst>
                  </a:custGeom>
                  <a:solidFill>
                    <a:srgbClr val="C3C9D8"/>
                  </a:solidFill>
                  <a:ln w="2339" cap="flat">
                    <a:noFill/>
                    <a:prstDash val="solid"/>
                    <a:miter/>
                  </a:ln>
                </p:spPr>
                <p:txBody>
                  <a:bodyPr rtlCol="0" anchor="ctr"/>
                  <a:lstStyle/>
                  <a:p>
                    <a:endParaRPr lang="en-US" sz="2400"/>
                  </a:p>
                </p:txBody>
              </p:sp>
              <p:sp>
                <p:nvSpPr>
                  <p:cNvPr id="345" name="Freeform: Shape 344">
                    <a:extLst>
                      <a:ext uri="{FF2B5EF4-FFF2-40B4-BE49-F238E27FC236}">
                        <a16:creationId xmlns:a16="http://schemas.microsoft.com/office/drawing/2014/main" id="{59988F96-3431-0F62-843A-D2C3C21D26FB}"/>
                      </a:ext>
                    </a:extLst>
                  </p:cNvPr>
                  <p:cNvSpPr/>
                  <p:nvPr userDrawn="1"/>
                </p:nvSpPr>
                <p:spPr>
                  <a:xfrm>
                    <a:off x="8415615" y="439116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C4C9D8"/>
                  </a:solidFill>
                  <a:ln w="2339" cap="flat">
                    <a:noFill/>
                    <a:prstDash val="solid"/>
                    <a:miter/>
                  </a:ln>
                </p:spPr>
                <p:txBody>
                  <a:bodyPr rtlCol="0" anchor="ctr"/>
                  <a:lstStyle/>
                  <a:p>
                    <a:endParaRPr lang="en-US" sz="2400"/>
                  </a:p>
                </p:txBody>
              </p:sp>
              <p:sp>
                <p:nvSpPr>
                  <p:cNvPr id="346" name="Freeform: Shape 345">
                    <a:extLst>
                      <a:ext uri="{FF2B5EF4-FFF2-40B4-BE49-F238E27FC236}">
                        <a16:creationId xmlns:a16="http://schemas.microsoft.com/office/drawing/2014/main" id="{D75DBA2F-C36E-D7D4-315A-7080A91B9912}"/>
                      </a:ext>
                    </a:extLst>
                  </p:cNvPr>
                  <p:cNvSpPr/>
                  <p:nvPr userDrawn="1"/>
                </p:nvSpPr>
                <p:spPr>
                  <a:xfrm>
                    <a:off x="8416130" y="4390998"/>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C4C9D8"/>
                  </a:solidFill>
                  <a:ln w="2339" cap="flat">
                    <a:noFill/>
                    <a:prstDash val="solid"/>
                    <a:miter/>
                  </a:ln>
                </p:spPr>
                <p:txBody>
                  <a:bodyPr rtlCol="0" anchor="ctr"/>
                  <a:lstStyle/>
                  <a:p>
                    <a:endParaRPr lang="en-US" sz="2400"/>
                  </a:p>
                </p:txBody>
              </p:sp>
              <p:sp>
                <p:nvSpPr>
                  <p:cNvPr id="347" name="Freeform: Shape 346">
                    <a:extLst>
                      <a:ext uri="{FF2B5EF4-FFF2-40B4-BE49-F238E27FC236}">
                        <a16:creationId xmlns:a16="http://schemas.microsoft.com/office/drawing/2014/main" id="{2D5A2DE2-5C1A-9EA2-5170-94A6CFB56291}"/>
                      </a:ext>
                    </a:extLst>
                  </p:cNvPr>
                  <p:cNvSpPr/>
                  <p:nvPr userDrawn="1"/>
                </p:nvSpPr>
                <p:spPr>
                  <a:xfrm>
                    <a:off x="8416645" y="4390834"/>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C4CAD9"/>
                  </a:solidFill>
                  <a:ln w="2339" cap="flat">
                    <a:noFill/>
                    <a:prstDash val="solid"/>
                    <a:miter/>
                  </a:ln>
                </p:spPr>
                <p:txBody>
                  <a:bodyPr rtlCol="0" anchor="ctr"/>
                  <a:lstStyle/>
                  <a:p>
                    <a:endParaRPr lang="en-US" sz="2400"/>
                  </a:p>
                </p:txBody>
              </p:sp>
              <p:sp>
                <p:nvSpPr>
                  <p:cNvPr id="348" name="Freeform: Shape 347">
                    <a:extLst>
                      <a:ext uri="{FF2B5EF4-FFF2-40B4-BE49-F238E27FC236}">
                        <a16:creationId xmlns:a16="http://schemas.microsoft.com/office/drawing/2014/main" id="{16AA86D9-A0E8-0299-A7FC-1A55DD7C6BDA}"/>
                      </a:ext>
                    </a:extLst>
                  </p:cNvPr>
                  <p:cNvSpPr/>
                  <p:nvPr userDrawn="1"/>
                </p:nvSpPr>
                <p:spPr>
                  <a:xfrm>
                    <a:off x="8417160" y="4390693"/>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C5CAD9"/>
                  </a:solidFill>
                  <a:ln w="2339" cap="flat">
                    <a:noFill/>
                    <a:prstDash val="solid"/>
                    <a:miter/>
                  </a:ln>
                </p:spPr>
                <p:txBody>
                  <a:bodyPr rtlCol="0" anchor="ctr"/>
                  <a:lstStyle/>
                  <a:p>
                    <a:endParaRPr lang="en-US" sz="2400"/>
                  </a:p>
                </p:txBody>
              </p:sp>
              <p:sp>
                <p:nvSpPr>
                  <p:cNvPr id="349" name="Freeform: Shape 348">
                    <a:extLst>
                      <a:ext uri="{FF2B5EF4-FFF2-40B4-BE49-F238E27FC236}">
                        <a16:creationId xmlns:a16="http://schemas.microsoft.com/office/drawing/2014/main" id="{24DAF25C-020D-F648-7297-2E5B1125160A}"/>
                      </a:ext>
                    </a:extLst>
                  </p:cNvPr>
                  <p:cNvSpPr/>
                  <p:nvPr userDrawn="1"/>
                </p:nvSpPr>
                <p:spPr>
                  <a:xfrm>
                    <a:off x="8417675" y="439053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C5CAD9"/>
                  </a:solidFill>
                  <a:ln w="2339" cap="flat">
                    <a:noFill/>
                    <a:prstDash val="solid"/>
                    <a:miter/>
                  </a:ln>
                </p:spPr>
                <p:txBody>
                  <a:bodyPr rtlCol="0" anchor="ctr"/>
                  <a:lstStyle/>
                  <a:p>
                    <a:endParaRPr lang="en-US" sz="2400"/>
                  </a:p>
                </p:txBody>
              </p:sp>
              <p:sp>
                <p:nvSpPr>
                  <p:cNvPr id="350" name="Freeform: Shape 349">
                    <a:extLst>
                      <a:ext uri="{FF2B5EF4-FFF2-40B4-BE49-F238E27FC236}">
                        <a16:creationId xmlns:a16="http://schemas.microsoft.com/office/drawing/2014/main" id="{60220BBB-DE5E-B6B0-60F0-6BFE4E2E4AFC}"/>
                      </a:ext>
                    </a:extLst>
                  </p:cNvPr>
                  <p:cNvSpPr/>
                  <p:nvPr userDrawn="1"/>
                </p:nvSpPr>
                <p:spPr>
                  <a:xfrm>
                    <a:off x="8418189" y="439036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C5CAD9"/>
                  </a:solidFill>
                  <a:ln w="2339" cap="flat">
                    <a:noFill/>
                    <a:prstDash val="solid"/>
                    <a:miter/>
                  </a:ln>
                </p:spPr>
                <p:txBody>
                  <a:bodyPr rtlCol="0" anchor="ctr"/>
                  <a:lstStyle/>
                  <a:p>
                    <a:endParaRPr lang="en-US" sz="2400"/>
                  </a:p>
                </p:txBody>
              </p:sp>
              <p:sp>
                <p:nvSpPr>
                  <p:cNvPr id="351" name="Freeform: Shape 350">
                    <a:extLst>
                      <a:ext uri="{FF2B5EF4-FFF2-40B4-BE49-F238E27FC236}">
                        <a16:creationId xmlns:a16="http://schemas.microsoft.com/office/drawing/2014/main" id="{7B8C5855-97FA-4B89-FAC7-50891AD35A50}"/>
                      </a:ext>
                    </a:extLst>
                  </p:cNvPr>
                  <p:cNvSpPr/>
                  <p:nvPr userDrawn="1"/>
                </p:nvSpPr>
                <p:spPr>
                  <a:xfrm>
                    <a:off x="8418704" y="439020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C5CBD9"/>
                  </a:solidFill>
                  <a:ln w="2339" cap="flat">
                    <a:noFill/>
                    <a:prstDash val="solid"/>
                    <a:miter/>
                  </a:ln>
                </p:spPr>
                <p:txBody>
                  <a:bodyPr rtlCol="0" anchor="ctr"/>
                  <a:lstStyle/>
                  <a:p>
                    <a:endParaRPr lang="en-US" sz="2400"/>
                  </a:p>
                </p:txBody>
              </p:sp>
              <p:sp>
                <p:nvSpPr>
                  <p:cNvPr id="352" name="Freeform: Shape 351">
                    <a:extLst>
                      <a:ext uri="{FF2B5EF4-FFF2-40B4-BE49-F238E27FC236}">
                        <a16:creationId xmlns:a16="http://schemas.microsoft.com/office/drawing/2014/main" id="{E346958C-F38F-0A2E-8079-E689CB3473CF}"/>
                      </a:ext>
                    </a:extLst>
                  </p:cNvPr>
                  <p:cNvSpPr/>
                  <p:nvPr userDrawn="1"/>
                </p:nvSpPr>
                <p:spPr>
                  <a:xfrm>
                    <a:off x="8419196" y="439003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6CBDA"/>
                  </a:solidFill>
                  <a:ln w="2339" cap="flat">
                    <a:noFill/>
                    <a:prstDash val="solid"/>
                    <a:miter/>
                  </a:ln>
                </p:spPr>
                <p:txBody>
                  <a:bodyPr rtlCol="0" anchor="ctr"/>
                  <a:lstStyle/>
                  <a:p>
                    <a:endParaRPr lang="en-US" sz="2400"/>
                  </a:p>
                </p:txBody>
              </p:sp>
              <p:sp>
                <p:nvSpPr>
                  <p:cNvPr id="353" name="Freeform: Shape 352">
                    <a:extLst>
                      <a:ext uri="{FF2B5EF4-FFF2-40B4-BE49-F238E27FC236}">
                        <a16:creationId xmlns:a16="http://schemas.microsoft.com/office/drawing/2014/main" id="{F939E530-1521-4637-30DA-CFF7C1C93BBE}"/>
                      </a:ext>
                    </a:extLst>
                  </p:cNvPr>
                  <p:cNvSpPr/>
                  <p:nvPr userDrawn="1"/>
                </p:nvSpPr>
                <p:spPr>
                  <a:xfrm>
                    <a:off x="8419710" y="438987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6CBDA"/>
                  </a:solidFill>
                  <a:ln w="2339" cap="flat">
                    <a:noFill/>
                    <a:prstDash val="solid"/>
                    <a:miter/>
                  </a:ln>
                </p:spPr>
                <p:txBody>
                  <a:bodyPr rtlCol="0" anchor="ctr"/>
                  <a:lstStyle/>
                  <a:p>
                    <a:endParaRPr lang="en-US" sz="2400"/>
                  </a:p>
                </p:txBody>
              </p:sp>
              <p:sp>
                <p:nvSpPr>
                  <p:cNvPr id="354" name="Freeform: Shape 353">
                    <a:extLst>
                      <a:ext uri="{FF2B5EF4-FFF2-40B4-BE49-F238E27FC236}">
                        <a16:creationId xmlns:a16="http://schemas.microsoft.com/office/drawing/2014/main" id="{734D8566-83C5-1912-B6DE-77625C6A2F45}"/>
                      </a:ext>
                    </a:extLst>
                  </p:cNvPr>
                  <p:cNvSpPr/>
                  <p:nvPr userDrawn="1"/>
                </p:nvSpPr>
                <p:spPr>
                  <a:xfrm>
                    <a:off x="8420225" y="438971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C6CBDA"/>
                  </a:solidFill>
                  <a:ln w="2339" cap="flat">
                    <a:noFill/>
                    <a:prstDash val="solid"/>
                    <a:miter/>
                  </a:ln>
                </p:spPr>
                <p:txBody>
                  <a:bodyPr rtlCol="0" anchor="ctr"/>
                  <a:lstStyle/>
                  <a:p>
                    <a:endParaRPr lang="en-US" sz="2400"/>
                  </a:p>
                </p:txBody>
              </p:sp>
              <p:sp>
                <p:nvSpPr>
                  <p:cNvPr id="355" name="Freeform: Shape 354">
                    <a:extLst>
                      <a:ext uri="{FF2B5EF4-FFF2-40B4-BE49-F238E27FC236}">
                        <a16:creationId xmlns:a16="http://schemas.microsoft.com/office/drawing/2014/main" id="{E7C56A60-7707-B636-E82A-6E9B0DB4589B}"/>
                      </a:ext>
                    </a:extLst>
                  </p:cNvPr>
                  <p:cNvSpPr/>
                  <p:nvPr userDrawn="1"/>
                </p:nvSpPr>
                <p:spPr>
                  <a:xfrm>
                    <a:off x="8420717" y="438954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C7CCDA"/>
                  </a:solidFill>
                  <a:ln w="2339" cap="flat">
                    <a:noFill/>
                    <a:prstDash val="solid"/>
                    <a:miter/>
                  </a:ln>
                </p:spPr>
                <p:txBody>
                  <a:bodyPr rtlCol="0" anchor="ctr"/>
                  <a:lstStyle/>
                  <a:p>
                    <a:endParaRPr lang="en-US" sz="2400"/>
                  </a:p>
                </p:txBody>
              </p:sp>
              <p:sp>
                <p:nvSpPr>
                  <p:cNvPr id="356" name="Freeform: Shape 355">
                    <a:extLst>
                      <a:ext uri="{FF2B5EF4-FFF2-40B4-BE49-F238E27FC236}">
                        <a16:creationId xmlns:a16="http://schemas.microsoft.com/office/drawing/2014/main" id="{AFEC5015-926D-6338-BBED-3A1D38BE7E8E}"/>
                      </a:ext>
                    </a:extLst>
                  </p:cNvPr>
                  <p:cNvSpPr/>
                  <p:nvPr userDrawn="1"/>
                </p:nvSpPr>
                <p:spPr>
                  <a:xfrm>
                    <a:off x="8421231" y="438938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C7CCDA"/>
                  </a:solidFill>
                  <a:ln w="2339" cap="flat">
                    <a:noFill/>
                    <a:prstDash val="solid"/>
                    <a:miter/>
                  </a:ln>
                </p:spPr>
                <p:txBody>
                  <a:bodyPr rtlCol="0" anchor="ctr"/>
                  <a:lstStyle/>
                  <a:p>
                    <a:endParaRPr lang="en-US" sz="2400"/>
                  </a:p>
                </p:txBody>
              </p:sp>
              <p:sp>
                <p:nvSpPr>
                  <p:cNvPr id="357" name="Freeform: Shape 356">
                    <a:extLst>
                      <a:ext uri="{FF2B5EF4-FFF2-40B4-BE49-F238E27FC236}">
                        <a16:creationId xmlns:a16="http://schemas.microsoft.com/office/drawing/2014/main" id="{2DE302CC-0918-C919-53C4-6DFB39063D24}"/>
                      </a:ext>
                    </a:extLst>
                  </p:cNvPr>
                  <p:cNvSpPr/>
                  <p:nvPr userDrawn="1"/>
                </p:nvSpPr>
                <p:spPr>
                  <a:xfrm>
                    <a:off x="8421723" y="438921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C7CCDB"/>
                  </a:solidFill>
                  <a:ln w="2339" cap="flat">
                    <a:noFill/>
                    <a:prstDash val="solid"/>
                    <a:miter/>
                  </a:ln>
                </p:spPr>
                <p:txBody>
                  <a:bodyPr rtlCol="0" anchor="ctr"/>
                  <a:lstStyle/>
                  <a:p>
                    <a:endParaRPr lang="en-US" sz="2400"/>
                  </a:p>
                </p:txBody>
              </p:sp>
              <p:sp>
                <p:nvSpPr>
                  <p:cNvPr id="358" name="Freeform: Shape 357">
                    <a:extLst>
                      <a:ext uri="{FF2B5EF4-FFF2-40B4-BE49-F238E27FC236}">
                        <a16:creationId xmlns:a16="http://schemas.microsoft.com/office/drawing/2014/main" id="{CC9093CB-6DED-902A-CECC-4890B431ABC2}"/>
                      </a:ext>
                    </a:extLst>
                  </p:cNvPr>
                  <p:cNvSpPr/>
                  <p:nvPr userDrawn="1"/>
                </p:nvSpPr>
                <p:spPr>
                  <a:xfrm>
                    <a:off x="8422238" y="438903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8CDDB"/>
                  </a:solidFill>
                  <a:ln w="2339" cap="flat">
                    <a:noFill/>
                    <a:prstDash val="solid"/>
                    <a:miter/>
                  </a:ln>
                </p:spPr>
                <p:txBody>
                  <a:bodyPr rtlCol="0" anchor="ctr"/>
                  <a:lstStyle/>
                  <a:p>
                    <a:endParaRPr lang="en-US" sz="2400"/>
                  </a:p>
                </p:txBody>
              </p:sp>
              <p:sp>
                <p:nvSpPr>
                  <p:cNvPr id="359" name="Freeform: Shape 358">
                    <a:extLst>
                      <a:ext uri="{FF2B5EF4-FFF2-40B4-BE49-F238E27FC236}">
                        <a16:creationId xmlns:a16="http://schemas.microsoft.com/office/drawing/2014/main" id="{9E52D8C0-CFD9-8AE1-F1C3-A77ABB77F6CE}"/>
                      </a:ext>
                    </a:extLst>
                  </p:cNvPr>
                  <p:cNvSpPr/>
                  <p:nvPr userDrawn="1"/>
                </p:nvSpPr>
                <p:spPr>
                  <a:xfrm>
                    <a:off x="8422729" y="438886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8CDDB"/>
                  </a:solidFill>
                  <a:ln w="2339" cap="flat">
                    <a:noFill/>
                    <a:prstDash val="solid"/>
                    <a:miter/>
                  </a:ln>
                </p:spPr>
                <p:txBody>
                  <a:bodyPr rtlCol="0" anchor="ctr"/>
                  <a:lstStyle/>
                  <a:p>
                    <a:endParaRPr lang="en-US" sz="2400"/>
                  </a:p>
                </p:txBody>
              </p:sp>
              <p:sp>
                <p:nvSpPr>
                  <p:cNvPr id="360" name="Freeform: Shape 359">
                    <a:extLst>
                      <a:ext uri="{FF2B5EF4-FFF2-40B4-BE49-F238E27FC236}">
                        <a16:creationId xmlns:a16="http://schemas.microsoft.com/office/drawing/2014/main" id="{1F0A4EA7-2F6F-9923-D07D-4607C518B918}"/>
                      </a:ext>
                    </a:extLst>
                  </p:cNvPr>
                  <p:cNvSpPr/>
                  <p:nvPr userDrawn="1"/>
                </p:nvSpPr>
                <p:spPr>
                  <a:xfrm>
                    <a:off x="8423244" y="438870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C8CDDB"/>
                  </a:solidFill>
                  <a:ln w="2339" cap="flat">
                    <a:noFill/>
                    <a:prstDash val="solid"/>
                    <a:miter/>
                  </a:ln>
                </p:spPr>
                <p:txBody>
                  <a:bodyPr rtlCol="0" anchor="ctr"/>
                  <a:lstStyle/>
                  <a:p>
                    <a:endParaRPr lang="en-US" sz="2400"/>
                  </a:p>
                </p:txBody>
              </p:sp>
              <p:sp>
                <p:nvSpPr>
                  <p:cNvPr id="361" name="Freeform: Shape 360">
                    <a:extLst>
                      <a:ext uri="{FF2B5EF4-FFF2-40B4-BE49-F238E27FC236}">
                        <a16:creationId xmlns:a16="http://schemas.microsoft.com/office/drawing/2014/main" id="{572E3919-D174-F391-1464-898B77C4E410}"/>
                      </a:ext>
                    </a:extLst>
                  </p:cNvPr>
                  <p:cNvSpPr/>
                  <p:nvPr userDrawn="1"/>
                </p:nvSpPr>
                <p:spPr>
                  <a:xfrm>
                    <a:off x="8423735" y="438851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C9CDDB"/>
                  </a:solidFill>
                  <a:ln w="2339" cap="flat">
                    <a:noFill/>
                    <a:prstDash val="solid"/>
                    <a:miter/>
                  </a:ln>
                </p:spPr>
                <p:txBody>
                  <a:bodyPr rtlCol="0" anchor="ctr"/>
                  <a:lstStyle/>
                  <a:p>
                    <a:endParaRPr lang="en-US" sz="2400"/>
                  </a:p>
                </p:txBody>
              </p:sp>
              <p:sp>
                <p:nvSpPr>
                  <p:cNvPr id="362" name="Freeform: Shape 361">
                    <a:extLst>
                      <a:ext uri="{FF2B5EF4-FFF2-40B4-BE49-F238E27FC236}">
                        <a16:creationId xmlns:a16="http://schemas.microsoft.com/office/drawing/2014/main" id="{176FD044-A17F-A0EE-9DBF-6DE7934874CB}"/>
                      </a:ext>
                    </a:extLst>
                  </p:cNvPr>
                  <p:cNvSpPr/>
                  <p:nvPr userDrawn="1"/>
                </p:nvSpPr>
                <p:spPr>
                  <a:xfrm>
                    <a:off x="8424227" y="438835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C9CEDC"/>
                  </a:solidFill>
                  <a:ln w="2339" cap="flat">
                    <a:noFill/>
                    <a:prstDash val="solid"/>
                    <a:miter/>
                  </a:ln>
                </p:spPr>
                <p:txBody>
                  <a:bodyPr rtlCol="0" anchor="ctr"/>
                  <a:lstStyle/>
                  <a:p>
                    <a:endParaRPr lang="en-US" sz="2400"/>
                  </a:p>
                </p:txBody>
              </p:sp>
              <p:sp>
                <p:nvSpPr>
                  <p:cNvPr id="363" name="Freeform: Shape 362">
                    <a:extLst>
                      <a:ext uri="{FF2B5EF4-FFF2-40B4-BE49-F238E27FC236}">
                        <a16:creationId xmlns:a16="http://schemas.microsoft.com/office/drawing/2014/main" id="{60804BC0-B81C-74DE-A434-33BF7B20EEEE}"/>
                      </a:ext>
                    </a:extLst>
                  </p:cNvPr>
                  <p:cNvSpPr/>
                  <p:nvPr userDrawn="1"/>
                </p:nvSpPr>
                <p:spPr>
                  <a:xfrm>
                    <a:off x="8424718" y="438816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9CEDC"/>
                  </a:solidFill>
                  <a:ln w="2339" cap="flat">
                    <a:noFill/>
                    <a:prstDash val="solid"/>
                    <a:miter/>
                  </a:ln>
                </p:spPr>
                <p:txBody>
                  <a:bodyPr rtlCol="0" anchor="ctr"/>
                  <a:lstStyle/>
                  <a:p>
                    <a:endParaRPr lang="en-US" sz="2400"/>
                  </a:p>
                </p:txBody>
              </p:sp>
              <p:sp>
                <p:nvSpPr>
                  <p:cNvPr id="364" name="Freeform: Shape 363">
                    <a:extLst>
                      <a:ext uri="{FF2B5EF4-FFF2-40B4-BE49-F238E27FC236}">
                        <a16:creationId xmlns:a16="http://schemas.microsoft.com/office/drawing/2014/main" id="{137C3F88-E2F6-39D6-C290-AC54C3486115}"/>
                      </a:ext>
                    </a:extLst>
                  </p:cNvPr>
                  <p:cNvSpPr/>
                  <p:nvPr userDrawn="1"/>
                </p:nvSpPr>
                <p:spPr>
                  <a:xfrm>
                    <a:off x="8425209" y="438800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C9CEDC"/>
                  </a:solidFill>
                  <a:ln w="2339" cap="flat">
                    <a:noFill/>
                    <a:prstDash val="solid"/>
                    <a:miter/>
                  </a:ln>
                </p:spPr>
                <p:txBody>
                  <a:bodyPr rtlCol="0" anchor="ctr"/>
                  <a:lstStyle/>
                  <a:p>
                    <a:endParaRPr lang="en-US" sz="2400"/>
                  </a:p>
                </p:txBody>
              </p:sp>
              <p:sp>
                <p:nvSpPr>
                  <p:cNvPr id="365" name="Freeform: Shape 364">
                    <a:extLst>
                      <a:ext uri="{FF2B5EF4-FFF2-40B4-BE49-F238E27FC236}">
                        <a16:creationId xmlns:a16="http://schemas.microsoft.com/office/drawing/2014/main" id="{0D1208E3-5E81-DC53-45DA-B40DF0FB91F6}"/>
                      </a:ext>
                    </a:extLst>
                  </p:cNvPr>
                  <p:cNvSpPr/>
                  <p:nvPr userDrawn="1"/>
                </p:nvSpPr>
                <p:spPr>
                  <a:xfrm>
                    <a:off x="8425701" y="438781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ACFDC"/>
                  </a:solidFill>
                  <a:ln w="2339" cap="flat">
                    <a:noFill/>
                    <a:prstDash val="solid"/>
                    <a:miter/>
                  </a:ln>
                </p:spPr>
                <p:txBody>
                  <a:bodyPr rtlCol="0" anchor="ctr"/>
                  <a:lstStyle/>
                  <a:p>
                    <a:endParaRPr lang="en-US" sz="2400"/>
                  </a:p>
                </p:txBody>
              </p:sp>
              <p:sp>
                <p:nvSpPr>
                  <p:cNvPr id="366" name="Freeform: Shape 365">
                    <a:extLst>
                      <a:ext uri="{FF2B5EF4-FFF2-40B4-BE49-F238E27FC236}">
                        <a16:creationId xmlns:a16="http://schemas.microsoft.com/office/drawing/2014/main" id="{6B7516E3-B712-F9D5-4DB6-7E6512A885C6}"/>
                      </a:ext>
                    </a:extLst>
                  </p:cNvPr>
                  <p:cNvSpPr/>
                  <p:nvPr userDrawn="1"/>
                </p:nvSpPr>
                <p:spPr>
                  <a:xfrm>
                    <a:off x="8426192" y="438765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CACFDC"/>
                  </a:solidFill>
                  <a:ln w="2339" cap="flat">
                    <a:noFill/>
                    <a:prstDash val="solid"/>
                    <a:miter/>
                  </a:ln>
                </p:spPr>
                <p:txBody>
                  <a:bodyPr rtlCol="0" anchor="ctr"/>
                  <a:lstStyle/>
                  <a:p>
                    <a:endParaRPr lang="en-US" sz="2400"/>
                  </a:p>
                </p:txBody>
              </p:sp>
              <p:sp>
                <p:nvSpPr>
                  <p:cNvPr id="367" name="Freeform: Shape 366">
                    <a:extLst>
                      <a:ext uri="{FF2B5EF4-FFF2-40B4-BE49-F238E27FC236}">
                        <a16:creationId xmlns:a16="http://schemas.microsoft.com/office/drawing/2014/main" id="{F8C25286-6BC7-3268-17FD-EA9798001F01}"/>
                      </a:ext>
                    </a:extLst>
                  </p:cNvPr>
                  <p:cNvSpPr/>
                  <p:nvPr userDrawn="1"/>
                </p:nvSpPr>
                <p:spPr>
                  <a:xfrm>
                    <a:off x="8426684" y="438746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ACFDD"/>
                  </a:solidFill>
                  <a:ln w="2339" cap="flat">
                    <a:noFill/>
                    <a:prstDash val="solid"/>
                    <a:miter/>
                  </a:ln>
                </p:spPr>
                <p:txBody>
                  <a:bodyPr rtlCol="0" anchor="ctr"/>
                  <a:lstStyle/>
                  <a:p>
                    <a:endParaRPr lang="en-US" sz="2400"/>
                  </a:p>
                </p:txBody>
              </p:sp>
              <p:sp>
                <p:nvSpPr>
                  <p:cNvPr id="368" name="Freeform: Shape 367">
                    <a:extLst>
                      <a:ext uri="{FF2B5EF4-FFF2-40B4-BE49-F238E27FC236}">
                        <a16:creationId xmlns:a16="http://schemas.microsoft.com/office/drawing/2014/main" id="{64372DE9-C994-25C0-A7E6-EEDAEC78F82C}"/>
                      </a:ext>
                    </a:extLst>
                  </p:cNvPr>
                  <p:cNvSpPr/>
                  <p:nvPr userDrawn="1"/>
                </p:nvSpPr>
                <p:spPr>
                  <a:xfrm>
                    <a:off x="8427175" y="438730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CBCFDD"/>
                  </a:solidFill>
                  <a:ln w="2339" cap="flat">
                    <a:noFill/>
                    <a:prstDash val="solid"/>
                    <a:miter/>
                  </a:ln>
                </p:spPr>
                <p:txBody>
                  <a:bodyPr rtlCol="0" anchor="ctr"/>
                  <a:lstStyle/>
                  <a:p>
                    <a:endParaRPr lang="en-US" sz="2400"/>
                  </a:p>
                </p:txBody>
              </p:sp>
              <p:sp>
                <p:nvSpPr>
                  <p:cNvPr id="369" name="Freeform: Shape 368">
                    <a:extLst>
                      <a:ext uri="{FF2B5EF4-FFF2-40B4-BE49-F238E27FC236}">
                        <a16:creationId xmlns:a16="http://schemas.microsoft.com/office/drawing/2014/main" id="{45A59E0A-F915-DEE7-0EB4-524D00393CEC}"/>
                      </a:ext>
                    </a:extLst>
                  </p:cNvPr>
                  <p:cNvSpPr/>
                  <p:nvPr userDrawn="1"/>
                </p:nvSpPr>
                <p:spPr>
                  <a:xfrm>
                    <a:off x="8427666" y="438711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CBD0DD"/>
                  </a:solidFill>
                  <a:ln w="2339" cap="flat">
                    <a:noFill/>
                    <a:prstDash val="solid"/>
                    <a:miter/>
                  </a:ln>
                </p:spPr>
                <p:txBody>
                  <a:bodyPr rtlCol="0" anchor="ctr"/>
                  <a:lstStyle/>
                  <a:p>
                    <a:endParaRPr lang="en-US" sz="2400"/>
                  </a:p>
                </p:txBody>
              </p:sp>
              <p:sp>
                <p:nvSpPr>
                  <p:cNvPr id="370" name="Freeform: Shape 369">
                    <a:extLst>
                      <a:ext uri="{FF2B5EF4-FFF2-40B4-BE49-F238E27FC236}">
                        <a16:creationId xmlns:a16="http://schemas.microsoft.com/office/drawing/2014/main" id="{2FCAD4A7-0ABF-3B45-4430-8406BB8829DA}"/>
                      </a:ext>
                    </a:extLst>
                  </p:cNvPr>
                  <p:cNvSpPr/>
                  <p:nvPr userDrawn="1"/>
                </p:nvSpPr>
                <p:spPr>
                  <a:xfrm>
                    <a:off x="8428135" y="438692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BD0DD"/>
                  </a:solidFill>
                  <a:ln w="2339" cap="flat">
                    <a:noFill/>
                    <a:prstDash val="solid"/>
                    <a:miter/>
                  </a:ln>
                </p:spPr>
                <p:txBody>
                  <a:bodyPr rtlCol="0" anchor="ctr"/>
                  <a:lstStyle/>
                  <a:p>
                    <a:endParaRPr lang="en-US" sz="2400"/>
                  </a:p>
                </p:txBody>
              </p:sp>
              <p:sp>
                <p:nvSpPr>
                  <p:cNvPr id="371" name="Freeform: Shape 370">
                    <a:extLst>
                      <a:ext uri="{FF2B5EF4-FFF2-40B4-BE49-F238E27FC236}">
                        <a16:creationId xmlns:a16="http://schemas.microsoft.com/office/drawing/2014/main" id="{48BDD046-CC80-CF9A-E4E9-8853D32AEC2A}"/>
                      </a:ext>
                    </a:extLst>
                  </p:cNvPr>
                  <p:cNvSpPr/>
                  <p:nvPr userDrawn="1"/>
                </p:nvSpPr>
                <p:spPr>
                  <a:xfrm>
                    <a:off x="8428626" y="438673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CD0DD"/>
                  </a:solidFill>
                  <a:ln w="2339" cap="flat">
                    <a:noFill/>
                    <a:prstDash val="solid"/>
                    <a:miter/>
                  </a:ln>
                </p:spPr>
                <p:txBody>
                  <a:bodyPr rtlCol="0" anchor="ctr"/>
                  <a:lstStyle/>
                  <a:p>
                    <a:endParaRPr lang="en-US" sz="2400"/>
                  </a:p>
                </p:txBody>
              </p:sp>
              <p:sp>
                <p:nvSpPr>
                  <p:cNvPr id="372" name="Freeform: Shape 371">
                    <a:extLst>
                      <a:ext uri="{FF2B5EF4-FFF2-40B4-BE49-F238E27FC236}">
                        <a16:creationId xmlns:a16="http://schemas.microsoft.com/office/drawing/2014/main" id="{6BDECC4C-19DE-16DD-8421-AC80765077AF}"/>
                      </a:ext>
                    </a:extLst>
                  </p:cNvPr>
                  <p:cNvSpPr/>
                  <p:nvPr userDrawn="1"/>
                </p:nvSpPr>
                <p:spPr>
                  <a:xfrm>
                    <a:off x="8429117" y="438655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CCD0DE"/>
                  </a:solidFill>
                  <a:ln w="2339" cap="flat">
                    <a:noFill/>
                    <a:prstDash val="solid"/>
                    <a:miter/>
                  </a:ln>
                </p:spPr>
                <p:txBody>
                  <a:bodyPr rtlCol="0" anchor="ctr"/>
                  <a:lstStyle/>
                  <a:p>
                    <a:endParaRPr lang="en-US" sz="2400"/>
                  </a:p>
                </p:txBody>
              </p:sp>
              <p:sp>
                <p:nvSpPr>
                  <p:cNvPr id="373" name="Freeform: Shape 372">
                    <a:extLst>
                      <a:ext uri="{FF2B5EF4-FFF2-40B4-BE49-F238E27FC236}">
                        <a16:creationId xmlns:a16="http://schemas.microsoft.com/office/drawing/2014/main" id="{DD08563D-0AEB-64CD-82AF-507B2470C41C}"/>
                      </a:ext>
                    </a:extLst>
                  </p:cNvPr>
                  <p:cNvSpPr/>
                  <p:nvPr userDrawn="1"/>
                </p:nvSpPr>
                <p:spPr>
                  <a:xfrm>
                    <a:off x="8429585" y="438638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CCD1DE"/>
                  </a:solidFill>
                  <a:ln w="2339" cap="flat">
                    <a:noFill/>
                    <a:prstDash val="solid"/>
                    <a:miter/>
                  </a:ln>
                </p:spPr>
                <p:txBody>
                  <a:bodyPr rtlCol="0" anchor="ctr"/>
                  <a:lstStyle/>
                  <a:p>
                    <a:endParaRPr lang="en-US" sz="2400"/>
                  </a:p>
                </p:txBody>
              </p:sp>
              <p:sp>
                <p:nvSpPr>
                  <p:cNvPr id="374" name="Freeform: Shape 373">
                    <a:extLst>
                      <a:ext uri="{FF2B5EF4-FFF2-40B4-BE49-F238E27FC236}">
                        <a16:creationId xmlns:a16="http://schemas.microsoft.com/office/drawing/2014/main" id="{1795E0F4-2AE3-F852-2E57-37A5E2601765}"/>
                      </a:ext>
                    </a:extLst>
                  </p:cNvPr>
                  <p:cNvSpPr/>
                  <p:nvPr userDrawn="1"/>
                </p:nvSpPr>
                <p:spPr>
                  <a:xfrm>
                    <a:off x="8430077" y="438620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43"/>
                          <a:pt x="0" y="21037"/>
                        </a:cubicBezTo>
                        <a:close/>
                      </a:path>
                    </a:pathLst>
                  </a:custGeom>
                  <a:solidFill>
                    <a:srgbClr val="CDD1DE"/>
                  </a:solidFill>
                  <a:ln w="2339" cap="flat">
                    <a:noFill/>
                    <a:prstDash val="solid"/>
                    <a:miter/>
                  </a:ln>
                </p:spPr>
                <p:txBody>
                  <a:bodyPr rtlCol="0" anchor="ctr"/>
                  <a:lstStyle/>
                  <a:p>
                    <a:endParaRPr lang="en-US" sz="2400"/>
                  </a:p>
                </p:txBody>
              </p:sp>
              <p:sp>
                <p:nvSpPr>
                  <p:cNvPr id="375" name="Freeform: Shape 374">
                    <a:extLst>
                      <a:ext uri="{FF2B5EF4-FFF2-40B4-BE49-F238E27FC236}">
                        <a16:creationId xmlns:a16="http://schemas.microsoft.com/office/drawing/2014/main" id="{324A5045-0EA9-A447-46CB-DEDC3E9FE1BE}"/>
                      </a:ext>
                    </a:extLst>
                  </p:cNvPr>
                  <p:cNvSpPr/>
                  <p:nvPr userDrawn="1"/>
                </p:nvSpPr>
                <p:spPr>
                  <a:xfrm>
                    <a:off x="8430545" y="438601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CDD1DE"/>
                  </a:solidFill>
                  <a:ln w="2339" cap="flat">
                    <a:noFill/>
                    <a:prstDash val="solid"/>
                    <a:miter/>
                  </a:ln>
                </p:spPr>
                <p:txBody>
                  <a:bodyPr rtlCol="0" anchor="ctr"/>
                  <a:lstStyle/>
                  <a:p>
                    <a:endParaRPr lang="en-US" sz="2400"/>
                  </a:p>
                </p:txBody>
              </p:sp>
              <p:sp>
                <p:nvSpPr>
                  <p:cNvPr id="376" name="Freeform: Shape 375">
                    <a:extLst>
                      <a:ext uri="{FF2B5EF4-FFF2-40B4-BE49-F238E27FC236}">
                        <a16:creationId xmlns:a16="http://schemas.microsoft.com/office/drawing/2014/main" id="{6CB39175-7478-BA68-6C26-5444F358FC79}"/>
                      </a:ext>
                    </a:extLst>
                  </p:cNvPr>
                  <p:cNvSpPr/>
                  <p:nvPr userDrawn="1"/>
                </p:nvSpPr>
                <p:spPr>
                  <a:xfrm>
                    <a:off x="8431013" y="438582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CDD2DE"/>
                  </a:solidFill>
                  <a:ln w="2339" cap="flat">
                    <a:noFill/>
                    <a:prstDash val="solid"/>
                    <a:miter/>
                  </a:ln>
                </p:spPr>
                <p:txBody>
                  <a:bodyPr rtlCol="0" anchor="ctr"/>
                  <a:lstStyle/>
                  <a:p>
                    <a:endParaRPr lang="en-US" sz="2400"/>
                  </a:p>
                </p:txBody>
              </p:sp>
              <p:sp>
                <p:nvSpPr>
                  <p:cNvPr id="377" name="Freeform: Shape 376">
                    <a:extLst>
                      <a:ext uri="{FF2B5EF4-FFF2-40B4-BE49-F238E27FC236}">
                        <a16:creationId xmlns:a16="http://schemas.microsoft.com/office/drawing/2014/main" id="{3C43FD3E-580D-4D97-929E-EB3E61E8FA7F}"/>
                      </a:ext>
                    </a:extLst>
                  </p:cNvPr>
                  <p:cNvSpPr/>
                  <p:nvPr userDrawn="1"/>
                </p:nvSpPr>
                <p:spPr>
                  <a:xfrm>
                    <a:off x="8431504" y="438563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43"/>
                          <a:pt x="0" y="21037"/>
                        </a:cubicBezTo>
                        <a:close/>
                      </a:path>
                    </a:pathLst>
                  </a:custGeom>
                  <a:solidFill>
                    <a:srgbClr val="CDD2DF"/>
                  </a:solidFill>
                  <a:ln w="2339" cap="flat">
                    <a:noFill/>
                    <a:prstDash val="solid"/>
                    <a:miter/>
                  </a:ln>
                </p:spPr>
                <p:txBody>
                  <a:bodyPr rtlCol="0" anchor="ctr"/>
                  <a:lstStyle/>
                  <a:p>
                    <a:endParaRPr lang="en-US" sz="2400"/>
                  </a:p>
                </p:txBody>
              </p:sp>
              <p:sp>
                <p:nvSpPr>
                  <p:cNvPr id="378" name="Freeform: Shape 377">
                    <a:extLst>
                      <a:ext uri="{FF2B5EF4-FFF2-40B4-BE49-F238E27FC236}">
                        <a16:creationId xmlns:a16="http://schemas.microsoft.com/office/drawing/2014/main" id="{B28A74D4-7510-7E0E-1C3A-85F74C84443E}"/>
                      </a:ext>
                    </a:extLst>
                  </p:cNvPr>
                  <p:cNvSpPr/>
                  <p:nvPr userDrawn="1"/>
                </p:nvSpPr>
                <p:spPr>
                  <a:xfrm>
                    <a:off x="8431972" y="438542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ED2DF"/>
                  </a:solidFill>
                  <a:ln w="2339" cap="flat">
                    <a:noFill/>
                    <a:prstDash val="solid"/>
                    <a:miter/>
                  </a:ln>
                </p:spPr>
                <p:txBody>
                  <a:bodyPr rtlCol="0" anchor="ctr"/>
                  <a:lstStyle/>
                  <a:p>
                    <a:endParaRPr lang="en-US" sz="2400"/>
                  </a:p>
                </p:txBody>
              </p:sp>
              <p:sp>
                <p:nvSpPr>
                  <p:cNvPr id="379" name="Freeform: Shape 378">
                    <a:extLst>
                      <a:ext uri="{FF2B5EF4-FFF2-40B4-BE49-F238E27FC236}">
                        <a16:creationId xmlns:a16="http://schemas.microsoft.com/office/drawing/2014/main" id="{1A38C5B8-407C-8E56-D703-88721853398D}"/>
                      </a:ext>
                    </a:extLst>
                  </p:cNvPr>
                  <p:cNvSpPr/>
                  <p:nvPr userDrawn="1"/>
                </p:nvSpPr>
                <p:spPr>
                  <a:xfrm>
                    <a:off x="8432440" y="438524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ED2DF"/>
                  </a:solidFill>
                  <a:ln w="2339" cap="flat">
                    <a:noFill/>
                    <a:prstDash val="solid"/>
                    <a:miter/>
                  </a:ln>
                </p:spPr>
                <p:txBody>
                  <a:bodyPr rtlCol="0" anchor="ctr"/>
                  <a:lstStyle/>
                  <a:p>
                    <a:endParaRPr lang="en-US" sz="2400"/>
                  </a:p>
                </p:txBody>
              </p:sp>
              <p:sp>
                <p:nvSpPr>
                  <p:cNvPr id="380" name="Freeform: Shape 379">
                    <a:extLst>
                      <a:ext uri="{FF2B5EF4-FFF2-40B4-BE49-F238E27FC236}">
                        <a16:creationId xmlns:a16="http://schemas.microsoft.com/office/drawing/2014/main" id="{7FBC0DAD-BCCC-24B0-68D4-CB99205C7856}"/>
                      </a:ext>
                    </a:extLst>
                  </p:cNvPr>
                  <p:cNvSpPr/>
                  <p:nvPr userDrawn="1"/>
                </p:nvSpPr>
                <p:spPr>
                  <a:xfrm>
                    <a:off x="8432908" y="438505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ED3DF"/>
                  </a:solidFill>
                  <a:ln w="2339" cap="flat">
                    <a:noFill/>
                    <a:prstDash val="solid"/>
                    <a:miter/>
                  </a:ln>
                </p:spPr>
                <p:txBody>
                  <a:bodyPr rtlCol="0" anchor="ctr"/>
                  <a:lstStyle/>
                  <a:p>
                    <a:endParaRPr lang="en-US" sz="2400"/>
                  </a:p>
                </p:txBody>
              </p:sp>
              <p:sp>
                <p:nvSpPr>
                  <p:cNvPr id="381" name="Freeform: Shape 380">
                    <a:extLst>
                      <a:ext uri="{FF2B5EF4-FFF2-40B4-BE49-F238E27FC236}">
                        <a16:creationId xmlns:a16="http://schemas.microsoft.com/office/drawing/2014/main" id="{594AAFCC-CFD4-4707-2276-2549C38554FF}"/>
                      </a:ext>
                    </a:extLst>
                  </p:cNvPr>
                  <p:cNvSpPr/>
                  <p:nvPr userDrawn="1"/>
                </p:nvSpPr>
                <p:spPr>
                  <a:xfrm>
                    <a:off x="8433376" y="438486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CFD3DF"/>
                  </a:solidFill>
                  <a:ln w="2339" cap="flat">
                    <a:noFill/>
                    <a:prstDash val="solid"/>
                    <a:miter/>
                  </a:ln>
                </p:spPr>
                <p:txBody>
                  <a:bodyPr rtlCol="0" anchor="ctr"/>
                  <a:lstStyle/>
                  <a:p>
                    <a:endParaRPr lang="en-US" sz="2400"/>
                  </a:p>
                </p:txBody>
              </p:sp>
              <p:sp>
                <p:nvSpPr>
                  <p:cNvPr id="382" name="Freeform: Shape 381">
                    <a:extLst>
                      <a:ext uri="{FF2B5EF4-FFF2-40B4-BE49-F238E27FC236}">
                        <a16:creationId xmlns:a16="http://schemas.microsoft.com/office/drawing/2014/main" id="{ED6069CC-95C0-3A5D-1345-36BBA48E650E}"/>
                      </a:ext>
                    </a:extLst>
                  </p:cNvPr>
                  <p:cNvSpPr/>
                  <p:nvPr userDrawn="1"/>
                </p:nvSpPr>
                <p:spPr>
                  <a:xfrm>
                    <a:off x="8433844" y="438468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CFD3E0"/>
                  </a:solidFill>
                  <a:ln w="2339" cap="flat">
                    <a:noFill/>
                    <a:prstDash val="solid"/>
                    <a:miter/>
                  </a:ln>
                </p:spPr>
                <p:txBody>
                  <a:bodyPr rtlCol="0" anchor="ctr"/>
                  <a:lstStyle/>
                  <a:p>
                    <a:endParaRPr lang="en-US" sz="2400"/>
                  </a:p>
                </p:txBody>
              </p:sp>
              <p:sp>
                <p:nvSpPr>
                  <p:cNvPr id="383" name="Freeform: Shape 382">
                    <a:extLst>
                      <a:ext uri="{FF2B5EF4-FFF2-40B4-BE49-F238E27FC236}">
                        <a16:creationId xmlns:a16="http://schemas.microsoft.com/office/drawing/2014/main" id="{A825F7D3-3965-5989-947B-C4ACB18D7D13}"/>
                      </a:ext>
                    </a:extLst>
                  </p:cNvPr>
                  <p:cNvSpPr/>
                  <p:nvPr userDrawn="1"/>
                </p:nvSpPr>
                <p:spPr>
                  <a:xfrm>
                    <a:off x="8434312" y="438446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CFD4E0"/>
                  </a:solidFill>
                  <a:ln w="2339" cap="flat">
                    <a:noFill/>
                    <a:prstDash val="solid"/>
                    <a:miter/>
                  </a:ln>
                </p:spPr>
                <p:txBody>
                  <a:bodyPr rtlCol="0" anchor="ctr"/>
                  <a:lstStyle/>
                  <a:p>
                    <a:endParaRPr lang="en-US" sz="2400"/>
                  </a:p>
                </p:txBody>
              </p:sp>
              <p:sp>
                <p:nvSpPr>
                  <p:cNvPr id="384" name="Freeform: Shape 383">
                    <a:extLst>
                      <a:ext uri="{FF2B5EF4-FFF2-40B4-BE49-F238E27FC236}">
                        <a16:creationId xmlns:a16="http://schemas.microsoft.com/office/drawing/2014/main" id="{1B8986A1-1476-A89B-0F2E-876451C01E64}"/>
                      </a:ext>
                    </a:extLst>
                  </p:cNvPr>
                  <p:cNvSpPr/>
                  <p:nvPr userDrawn="1"/>
                </p:nvSpPr>
                <p:spPr>
                  <a:xfrm>
                    <a:off x="8434780" y="438428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D0D4E0"/>
                  </a:solidFill>
                  <a:ln w="2339" cap="flat">
                    <a:noFill/>
                    <a:prstDash val="solid"/>
                    <a:miter/>
                  </a:ln>
                </p:spPr>
                <p:txBody>
                  <a:bodyPr rtlCol="0" anchor="ctr"/>
                  <a:lstStyle/>
                  <a:p>
                    <a:endParaRPr lang="en-US" sz="2400"/>
                  </a:p>
                </p:txBody>
              </p:sp>
              <p:sp>
                <p:nvSpPr>
                  <p:cNvPr id="385" name="Freeform: Shape 384">
                    <a:extLst>
                      <a:ext uri="{FF2B5EF4-FFF2-40B4-BE49-F238E27FC236}">
                        <a16:creationId xmlns:a16="http://schemas.microsoft.com/office/drawing/2014/main" id="{C73B4115-5F4A-B557-F4BA-A57BB1418590}"/>
                      </a:ext>
                    </a:extLst>
                  </p:cNvPr>
                  <p:cNvSpPr/>
                  <p:nvPr userDrawn="1"/>
                </p:nvSpPr>
                <p:spPr>
                  <a:xfrm>
                    <a:off x="8435225" y="438409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0D4E0"/>
                  </a:solidFill>
                  <a:ln w="2339" cap="flat">
                    <a:noFill/>
                    <a:prstDash val="solid"/>
                    <a:miter/>
                  </a:ln>
                </p:spPr>
                <p:txBody>
                  <a:bodyPr rtlCol="0" anchor="ctr"/>
                  <a:lstStyle/>
                  <a:p>
                    <a:endParaRPr lang="en-US" sz="2400"/>
                  </a:p>
                </p:txBody>
              </p:sp>
              <p:sp>
                <p:nvSpPr>
                  <p:cNvPr id="386" name="Freeform: Shape 385">
                    <a:extLst>
                      <a:ext uri="{FF2B5EF4-FFF2-40B4-BE49-F238E27FC236}">
                        <a16:creationId xmlns:a16="http://schemas.microsoft.com/office/drawing/2014/main" id="{B6B91C9E-8D52-F3E0-71EB-9D419FB46B14}"/>
                      </a:ext>
                    </a:extLst>
                  </p:cNvPr>
                  <p:cNvSpPr/>
                  <p:nvPr userDrawn="1"/>
                </p:nvSpPr>
                <p:spPr>
                  <a:xfrm>
                    <a:off x="8435693" y="438388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0D4E0"/>
                  </a:solidFill>
                  <a:ln w="2339" cap="flat">
                    <a:noFill/>
                    <a:prstDash val="solid"/>
                    <a:miter/>
                  </a:ln>
                </p:spPr>
                <p:txBody>
                  <a:bodyPr rtlCol="0" anchor="ctr"/>
                  <a:lstStyle/>
                  <a:p>
                    <a:endParaRPr lang="en-US" sz="2400"/>
                  </a:p>
                </p:txBody>
              </p:sp>
              <p:sp>
                <p:nvSpPr>
                  <p:cNvPr id="387" name="Freeform: Shape 386">
                    <a:extLst>
                      <a:ext uri="{FF2B5EF4-FFF2-40B4-BE49-F238E27FC236}">
                        <a16:creationId xmlns:a16="http://schemas.microsoft.com/office/drawing/2014/main" id="{60D9B1D8-BD52-8288-CF1B-5DDA726C3322}"/>
                      </a:ext>
                    </a:extLst>
                  </p:cNvPr>
                  <p:cNvSpPr/>
                  <p:nvPr userDrawn="1"/>
                </p:nvSpPr>
                <p:spPr>
                  <a:xfrm>
                    <a:off x="8436137" y="438369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1D5E1"/>
                  </a:solidFill>
                  <a:ln w="2339" cap="flat">
                    <a:noFill/>
                    <a:prstDash val="solid"/>
                    <a:miter/>
                  </a:ln>
                </p:spPr>
                <p:txBody>
                  <a:bodyPr rtlCol="0" anchor="ctr"/>
                  <a:lstStyle/>
                  <a:p>
                    <a:endParaRPr lang="en-US" sz="2400"/>
                  </a:p>
                </p:txBody>
              </p:sp>
              <p:sp>
                <p:nvSpPr>
                  <p:cNvPr id="388" name="Freeform: Shape 387">
                    <a:extLst>
                      <a:ext uri="{FF2B5EF4-FFF2-40B4-BE49-F238E27FC236}">
                        <a16:creationId xmlns:a16="http://schemas.microsoft.com/office/drawing/2014/main" id="{DB2BA04F-24FE-2F94-A737-F712D93E274D}"/>
                      </a:ext>
                    </a:extLst>
                  </p:cNvPr>
                  <p:cNvSpPr/>
                  <p:nvPr userDrawn="1"/>
                </p:nvSpPr>
                <p:spPr>
                  <a:xfrm>
                    <a:off x="8436605" y="438348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1D5E1"/>
                  </a:solidFill>
                  <a:ln w="2339" cap="flat">
                    <a:noFill/>
                    <a:prstDash val="solid"/>
                    <a:miter/>
                  </a:ln>
                </p:spPr>
                <p:txBody>
                  <a:bodyPr rtlCol="0" anchor="ctr"/>
                  <a:lstStyle/>
                  <a:p>
                    <a:endParaRPr lang="en-US" sz="2400"/>
                  </a:p>
                </p:txBody>
              </p:sp>
              <p:sp>
                <p:nvSpPr>
                  <p:cNvPr id="389" name="Freeform: Shape 388">
                    <a:extLst>
                      <a:ext uri="{FF2B5EF4-FFF2-40B4-BE49-F238E27FC236}">
                        <a16:creationId xmlns:a16="http://schemas.microsoft.com/office/drawing/2014/main" id="{F79752B7-C4DC-4AAC-EDA5-DAA94DB832DF}"/>
                      </a:ext>
                    </a:extLst>
                  </p:cNvPr>
                  <p:cNvSpPr/>
                  <p:nvPr userDrawn="1"/>
                </p:nvSpPr>
                <p:spPr>
                  <a:xfrm>
                    <a:off x="8437050" y="438329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1D5E1"/>
                  </a:solidFill>
                  <a:ln w="2339" cap="flat">
                    <a:noFill/>
                    <a:prstDash val="solid"/>
                    <a:miter/>
                  </a:ln>
                </p:spPr>
                <p:txBody>
                  <a:bodyPr rtlCol="0" anchor="ctr"/>
                  <a:lstStyle/>
                  <a:p>
                    <a:endParaRPr lang="en-US" sz="2400"/>
                  </a:p>
                </p:txBody>
              </p:sp>
              <p:sp>
                <p:nvSpPr>
                  <p:cNvPr id="390" name="Freeform: Shape 389">
                    <a:extLst>
                      <a:ext uri="{FF2B5EF4-FFF2-40B4-BE49-F238E27FC236}">
                        <a16:creationId xmlns:a16="http://schemas.microsoft.com/office/drawing/2014/main" id="{7CDAF092-8EA5-BA98-B01B-219CE81AFFD1}"/>
                      </a:ext>
                    </a:extLst>
                  </p:cNvPr>
                  <p:cNvSpPr/>
                  <p:nvPr userDrawn="1"/>
                </p:nvSpPr>
                <p:spPr>
                  <a:xfrm>
                    <a:off x="8437518" y="438308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D1D6E1"/>
                  </a:solidFill>
                  <a:ln w="2339" cap="flat">
                    <a:noFill/>
                    <a:prstDash val="solid"/>
                    <a:miter/>
                  </a:ln>
                </p:spPr>
                <p:txBody>
                  <a:bodyPr rtlCol="0" anchor="ctr"/>
                  <a:lstStyle/>
                  <a:p>
                    <a:endParaRPr lang="en-US" sz="2400"/>
                  </a:p>
                </p:txBody>
              </p:sp>
              <p:sp>
                <p:nvSpPr>
                  <p:cNvPr id="391" name="Freeform: Shape 390">
                    <a:extLst>
                      <a:ext uri="{FF2B5EF4-FFF2-40B4-BE49-F238E27FC236}">
                        <a16:creationId xmlns:a16="http://schemas.microsoft.com/office/drawing/2014/main" id="{710B3214-7A4A-D0AC-6940-3EE433CA5E25}"/>
                      </a:ext>
                    </a:extLst>
                  </p:cNvPr>
                  <p:cNvSpPr/>
                  <p:nvPr userDrawn="1"/>
                </p:nvSpPr>
                <p:spPr>
                  <a:xfrm>
                    <a:off x="8437963" y="438287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2D6E1"/>
                  </a:solidFill>
                  <a:ln w="2339" cap="flat">
                    <a:noFill/>
                    <a:prstDash val="solid"/>
                    <a:miter/>
                  </a:ln>
                </p:spPr>
                <p:txBody>
                  <a:bodyPr rtlCol="0" anchor="ctr"/>
                  <a:lstStyle/>
                  <a:p>
                    <a:endParaRPr lang="en-US" sz="2400"/>
                  </a:p>
                </p:txBody>
              </p:sp>
              <p:sp>
                <p:nvSpPr>
                  <p:cNvPr id="392" name="Freeform: Shape 391">
                    <a:extLst>
                      <a:ext uri="{FF2B5EF4-FFF2-40B4-BE49-F238E27FC236}">
                        <a16:creationId xmlns:a16="http://schemas.microsoft.com/office/drawing/2014/main" id="{3003BED7-3B7B-72DA-9511-7D640052D103}"/>
                      </a:ext>
                    </a:extLst>
                  </p:cNvPr>
                  <p:cNvSpPr/>
                  <p:nvPr userDrawn="1"/>
                </p:nvSpPr>
                <p:spPr>
                  <a:xfrm>
                    <a:off x="8438407" y="438269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2D6E2"/>
                  </a:solidFill>
                  <a:ln w="2339" cap="flat">
                    <a:noFill/>
                    <a:prstDash val="solid"/>
                    <a:miter/>
                  </a:ln>
                </p:spPr>
                <p:txBody>
                  <a:bodyPr rtlCol="0" anchor="ctr"/>
                  <a:lstStyle/>
                  <a:p>
                    <a:endParaRPr lang="en-US" sz="2400"/>
                  </a:p>
                </p:txBody>
              </p:sp>
              <p:sp>
                <p:nvSpPr>
                  <p:cNvPr id="393" name="Freeform: Shape 392">
                    <a:extLst>
                      <a:ext uri="{FF2B5EF4-FFF2-40B4-BE49-F238E27FC236}">
                        <a16:creationId xmlns:a16="http://schemas.microsoft.com/office/drawing/2014/main" id="{1A8C4ACB-9A1B-EFFA-4158-6FC8A1E7BE10}"/>
                      </a:ext>
                    </a:extLst>
                  </p:cNvPr>
                  <p:cNvSpPr/>
                  <p:nvPr userDrawn="1"/>
                </p:nvSpPr>
                <p:spPr>
                  <a:xfrm>
                    <a:off x="8438852" y="438248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D2D6E2"/>
                  </a:solidFill>
                  <a:ln w="2339" cap="flat">
                    <a:noFill/>
                    <a:prstDash val="solid"/>
                    <a:miter/>
                  </a:ln>
                </p:spPr>
                <p:txBody>
                  <a:bodyPr rtlCol="0" anchor="ctr"/>
                  <a:lstStyle/>
                  <a:p>
                    <a:endParaRPr lang="en-US" sz="2400"/>
                  </a:p>
                </p:txBody>
              </p:sp>
              <p:sp>
                <p:nvSpPr>
                  <p:cNvPr id="394" name="Freeform: Shape 393">
                    <a:extLst>
                      <a:ext uri="{FF2B5EF4-FFF2-40B4-BE49-F238E27FC236}">
                        <a16:creationId xmlns:a16="http://schemas.microsoft.com/office/drawing/2014/main" id="{12F860E9-81E1-C994-10AA-B87870E85DA5}"/>
                      </a:ext>
                    </a:extLst>
                  </p:cNvPr>
                  <p:cNvSpPr/>
                  <p:nvPr userDrawn="1"/>
                </p:nvSpPr>
                <p:spPr>
                  <a:xfrm>
                    <a:off x="8439296" y="438226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3D7E2"/>
                  </a:solidFill>
                  <a:ln w="2339" cap="flat">
                    <a:noFill/>
                    <a:prstDash val="solid"/>
                    <a:miter/>
                  </a:ln>
                </p:spPr>
                <p:txBody>
                  <a:bodyPr rtlCol="0" anchor="ctr"/>
                  <a:lstStyle/>
                  <a:p>
                    <a:endParaRPr lang="en-US" sz="2400"/>
                  </a:p>
                </p:txBody>
              </p:sp>
              <p:sp>
                <p:nvSpPr>
                  <p:cNvPr id="395" name="Freeform: Shape 394">
                    <a:extLst>
                      <a:ext uri="{FF2B5EF4-FFF2-40B4-BE49-F238E27FC236}">
                        <a16:creationId xmlns:a16="http://schemas.microsoft.com/office/drawing/2014/main" id="{C86B665D-8AFC-0405-4446-6956961C76CD}"/>
                      </a:ext>
                    </a:extLst>
                  </p:cNvPr>
                  <p:cNvSpPr/>
                  <p:nvPr userDrawn="1"/>
                </p:nvSpPr>
                <p:spPr>
                  <a:xfrm>
                    <a:off x="8439741" y="438205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3D7E2"/>
                  </a:solidFill>
                  <a:ln w="2339" cap="flat">
                    <a:noFill/>
                    <a:prstDash val="solid"/>
                    <a:miter/>
                  </a:ln>
                </p:spPr>
                <p:txBody>
                  <a:bodyPr rtlCol="0" anchor="ctr"/>
                  <a:lstStyle/>
                  <a:p>
                    <a:endParaRPr lang="en-US" sz="2400"/>
                  </a:p>
                </p:txBody>
              </p:sp>
              <p:sp>
                <p:nvSpPr>
                  <p:cNvPr id="396" name="Freeform: Shape 395">
                    <a:extLst>
                      <a:ext uri="{FF2B5EF4-FFF2-40B4-BE49-F238E27FC236}">
                        <a16:creationId xmlns:a16="http://schemas.microsoft.com/office/drawing/2014/main" id="{97E3603F-B402-923D-B4FF-81A25C5027E6}"/>
                      </a:ext>
                    </a:extLst>
                  </p:cNvPr>
                  <p:cNvSpPr/>
                  <p:nvPr userDrawn="1"/>
                </p:nvSpPr>
                <p:spPr>
                  <a:xfrm>
                    <a:off x="8440186" y="438184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3D7E2"/>
                  </a:solidFill>
                  <a:ln w="2339" cap="flat">
                    <a:noFill/>
                    <a:prstDash val="solid"/>
                    <a:miter/>
                  </a:ln>
                </p:spPr>
                <p:txBody>
                  <a:bodyPr rtlCol="0" anchor="ctr"/>
                  <a:lstStyle/>
                  <a:p>
                    <a:endParaRPr lang="en-US" sz="2400"/>
                  </a:p>
                </p:txBody>
              </p:sp>
              <p:sp>
                <p:nvSpPr>
                  <p:cNvPr id="397" name="Freeform: Shape 396">
                    <a:extLst>
                      <a:ext uri="{FF2B5EF4-FFF2-40B4-BE49-F238E27FC236}">
                        <a16:creationId xmlns:a16="http://schemas.microsoft.com/office/drawing/2014/main" id="{A5C663A0-C499-8827-60D8-19FD35DAAAF2}"/>
                      </a:ext>
                    </a:extLst>
                  </p:cNvPr>
                  <p:cNvSpPr/>
                  <p:nvPr userDrawn="1"/>
                </p:nvSpPr>
                <p:spPr>
                  <a:xfrm>
                    <a:off x="8440630" y="438166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4D7E3"/>
                  </a:solidFill>
                  <a:ln w="2339" cap="flat">
                    <a:noFill/>
                    <a:prstDash val="solid"/>
                    <a:miter/>
                  </a:ln>
                </p:spPr>
                <p:txBody>
                  <a:bodyPr rtlCol="0" anchor="ctr"/>
                  <a:lstStyle/>
                  <a:p>
                    <a:endParaRPr lang="en-US" sz="2400"/>
                  </a:p>
                </p:txBody>
              </p:sp>
              <p:sp>
                <p:nvSpPr>
                  <p:cNvPr id="398" name="Freeform: Shape 397">
                    <a:extLst>
                      <a:ext uri="{FF2B5EF4-FFF2-40B4-BE49-F238E27FC236}">
                        <a16:creationId xmlns:a16="http://schemas.microsoft.com/office/drawing/2014/main" id="{CAC7F53E-153C-EB60-5F4C-70CC9CDB86FF}"/>
                      </a:ext>
                    </a:extLst>
                  </p:cNvPr>
                  <p:cNvSpPr/>
                  <p:nvPr userDrawn="1"/>
                </p:nvSpPr>
                <p:spPr>
                  <a:xfrm>
                    <a:off x="8441075" y="438145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D4D8E3"/>
                  </a:solidFill>
                  <a:ln w="2339" cap="flat">
                    <a:noFill/>
                    <a:prstDash val="solid"/>
                    <a:miter/>
                  </a:ln>
                </p:spPr>
                <p:txBody>
                  <a:bodyPr rtlCol="0" anchor="ctr"/>
                  <a:lstStyle/>
                  <a:p>
                    <a:endParaRPr lang="en-US" sz="2400"/>
                  </a:p>
                </p:txBody>
              </p:sp>
              <p:sp>
                <p:nvSpPr>
                  <p:cNvPr id="399" name="Freeform: Shape 398">
                    <a:extLst>
                      <a:ext uri="{FF2B5EF4-FFF2-40B4-BE49-F238E27FC236}">
                        <a16:creationId xmlns:a16="http://schemas.microsoft.com/office/drawing/2014/main" id="{E238312C-2E33-122D-D2BA-86FB5514ED5B}"/>
                      </a:ext>
                    </a:extLst>
                  </p:cNvPr>
                  <p:cNvSpPr/>
                  <p:nvPr userDrawn="1"/>
                </p:nvSpPr>
                <p:spPr>
                  <a:xfrm>
                    <a:off x="8441496" y="438124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D4D8E3"/>
                  </a:solidFill>
                  <a:ln w="2339" cap="flat">
                    <a:noFill/>
                    <a:prstDash val="solid"/>
                    <a:miter/>
                  </a:ln>
                </p:spPr>
                <p:txBody>
                  <a:bodyPr rtlCol="0" anchor="ctr"/>
                  <a:lstStyle/>
                  <a:p>
                    <a:endParaRPr lang="en-US" sz="2400"/>
                  </a:p>
                </p:txBody>
              </p:sp>
              <p:sp>
                <p:nvSpPr>
                  <p:cNvPr id="400" name="Freeform: Shape 399">
                    <a:extLst>
                      <a:ext uri="{FF2B5EF4-FFF2-40B4-BE49-F238E27FC236}">
                        <a16:creationId xmlns:a16="http://schemas.microsoft.com/office/drawing/2014/main" id="{F7C63CCE-3D04-B1B7-6B99-C1B54E3A3C17}"/>
                      </a:ext>
                    </a:extLst>
                  </p:cNvPr>
                  <p:cNvSpPr/>
                  <p:nvPr userDrawn="1"/>
                </p:nvSpPr>
                <p:spPr>
                  <a:xfrm>
                    <a:off x="8441941" y="438102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D4D8E3"/>
                  </a:solidFill>
                  <a:ln w="2339" cap="flat">
                    <a:noFill/>
                    <a:prstDash val="solid"/>
                    <a:miter/>
                  </a:ln>
                </p:spPr>
                <p:txBody>
                  <a:bodyPr rtlCol="0" anchor="ctr"/>
                  <a:lstStyle/>
                  <a:p>
                    <a:endParaRPr lang="en-US" sz="2400"/>
                  </a:p>
                </p:txBody>
              </p:sp>
              <p:sp>
                <p:nvSpPr>
                  <p:cNvPr id="401" name="Freeform: Shape 400">
                    <a:extLst>
                      <a:ext uri="{FF2B5EF4-FFF2-40B4-BE49-F238E27FC236}">
                        <a16:creationId xmlns:a16="http://schemas.microsoft.com/office/drawing/2014/main" id="{C05D2F79-48C2-8A83-0204-9F52DD199D45}"/>
                      </a:ext>
                    </a:extLst>
                  </p:cNvPr>
                  <p:cNvSpPr/>
                  <p:nvPr userDrawn="1"/>
                </p:nvSpPr>
                <p:spPr>
                  <a:xfrm>
                    <a:off x="8442362" y="438081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D5D9E3"/>
                  </a:solidFill>
                  <a:ln w="2339" cap="flat">
                    <a:noFill/>
                    <a:prstDash val="solid"/>
                    <a:miter/>
                  </a:ln>
                </p:spPr>
                <p:txBody>
                  <a:bodyPr rtlCol="0" anchor="ctr"/>
                  <a:lstStyle/>
                  <a:p>
                    <a:endParaRPr lang="en-US" sz="2400"/>
                  </a:p>
                </p:txBody>
              </p:sp>
              <p:sp>
                <p:nvSpPr>
                  <p:cNvPr id="402" name="Freeform: Shape 401">
                    <a:extLst>
                      <a:ext uri="{FF2B5EF4-FFF2-40B4-BE49-F238E27FC236}">
                        <a16:creationId xmlns:a16="http://schemas.microsoft.com/office/drawing/2014/main" id="{9197AA2D-5807-B5BE-4247-1FB104A6E083}"/>
                      </a:ext>
                    </a:extLst>
                  </p:cNvPr>
                  <p:cNvSpPr/>
                  <p:nvPr userDrawn="1"/>
                </p:nvSpPr>
                <p:spPr>
                  <a:xfrm>
                    <a:off x="8442806" y="438060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5D9E4"/>
                  </a:solidFill>
                  <a:ln w="2339" cap="flat">
                    <a:noFill/>
                    <a:prstDash val="solid"/>
                    <a:miter/>
                  </a:ln>
                </p:spPr>
                <p:txBody>
                  <a:bodyPr rtlCol="0" anchor="ctr"/>
                  <a:lstStyle/>
                  <a:p>
                    <a:endParaRPr lang="en-US" sz="2400"/>
                  </a:p>
                </p:txBody>
              </p:sp>
              <p:sp>
                <p:nvSpPr>
                  <p:cNvPr id="403" name="Freeform: Shape 402">
                    <a:extLst>
                      <a:ext uri="{FF2B5EF4-FFF2-40B4-BE49-F238E27FC236}">
                        <a16:creationId xmlns:a16="http://schemas.microsoft.com/office/drawing/2014/main" id="{9CFD8C9E-2181-9658-84C9-A3018DFBBA4A}"/>
                      </a:ext>
                    </a:extLst>
                  </p:cNvPr>
                  <p:cNvSpPr/>
                  <p:nvPr userDrawn="1"/>
                </p:nvSpPr>
                <p:spPr>
                  <a:xfrm>
                    <a:off x="8443228" y="438037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5D9E4"/>
                  </a:solidFill>
                  <a:ln w="2339" cap="flat">
                    <a:noFill/>
                    <a:prstDash val="solid"/>
                    <a:miter/>
                  </a:ln>
                </p:spPr>
                <p:txBody>
                  <a:bodyPr rtlCol="0" anchor="ctr"/>
                  <a:lstStyle/>
                  <a:p>
                    <a:endParaRPr lang="en-US" sz="2400"/>
                  </a:p>
                </p:txBody>
              </p:sp>
              <p:sp>
                <p:nvSpPr>
                  <p:cNvPr id="404" name="Freeform: Shape 403">
                    <a:extLst>
                      <a:ext uri="{FF2B5EF4-FFF2-40B4-BE49-F238E27FC236}">
                        <a16:creationId xmlns:a16="http://schemas.microsoft.com/office/drawing/2014/main" id="{E3374B48-FE84-DEAC-A4DF-1317A263AFE3}"/>
                      </a:ext>
                    </a:extLst>
                  </p:cNvPr>
                  <p:cNvSpPr/>
                  <p:nvPr userDrawn="1"/>
                </p:nvSpPr>
                <p:spPr>
                  <a:xfrm>
                    <a:off x="8443649" y="438016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6D9E4"/>
                  </a:solidFill>
                  <a:ln w="2339" cap="flat">
                    <a:noFill/>
                    <a:prstDash val="solid"/>
                    <a:miter/>
                  </a:ln>
                </p:spPr>
                <p:txBody>
                  <a:bodyPr rtlCol="0" anchor="ctr"/>
                  <a:lstStyle/>
                  <a:p>
                    <a:endParaRPr lang="en-US" sz="2400"/>
                  </a:p>
                </p:txBody>
              </p:sp>
              <p:sp>
                <p:nvSpPr>
                  <p:cNvPr id="405" name="Freeform: Shape 404">
                    <a:extLst>
                      <a:ext uri="{FF2B5EF4-FFF2-40B4-BE49-F238E27FC236}">
                        <a16:creationId xmlns:a16="http://schemas.microsoft.com/office/drawing/2014/main" id="{3A0AD63E-FB47-C5E3-770B-5D1F3ABDD389}"/>
                      </a:ext>
                    </a:extLst>
                  </p:cNvPr>
                  <p:cNvSpPr/>
                  <p:nvPr userDrawn="1"/>
                </p:nvSpPr>
                <p:spPr>
                  <a:xfrm>
                    <a:off x="8444093" y="437995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6DAE4"/>
                  </a:solidFill>
                  <a:ln w="2339" cap="flat">
                    <a:noFill/>
                    <a:prstDash val="solid"/>
                    <a:miter/>
                  </a:ln>
                </p:spPr>
                <p:txBody>
                  <a:bodyPr rtlCol="0" anchor="ctr"/>
                  <a:lstStyle/>
                  <a:p>
                    <a:endParaRPr lang="en-US" sz="2400"/>
                  </a:p>
                </p:txBody>
              </p:sp>
              <p:sp>
                <p:nvSpPr>
                  <p:cNvPr id="406" name="Freeform: Shape 405">
                    <a:extLst>
                      <a:ext uri="{FF2B5EF4-FFF2-40B4-BE49-F238E27FC236}">
                        <a16:creationId xmlns:a16="http://schemas.microsoft.com/office/drawing/2014/main" id="{C09CBE37-2297-76C7-71AA-9D69F15C95A4}"/>
                      </a:ext>
                    </a:extLst>
                  </p:cNvPr>
                  <p:cNvSpPr/>
                  <p:nvPr userDrawn="1"/>
                </p:nvSpPr>
                <p:spPr>
                  <a:xfrm>
                    <a:off x="8444515" y="437974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D6DAE4"/>
                  </a:solidFill>
                  <a:ln w="2339" cap="flat">
                    <a:noFill/>
                    <a:prstDash val="solid"/>
                    <a:miter/>
                  </a:ln>
                </p:spPr>
                <p:txBody>
                  <a:bodyPr rtlCol="0" anchor="ctr"/>
                  <a:lstStyle/>
                  <a:p>
                    <a:endParaRPr lang="en-US" sz="2400"/>
                  </a:p>
                </p:txBody>
              </p:sp>
              <p:sp>
                <p:nvSpPr>
                  <p:cNvPr id="407" name="Freeform: Shape 406">
                    <a:extLst>
                      <a:ext uri="{FF2B5EF4-FFF2-40B4-BE49-F238E27FC236}">
                        <a16:creationId xmlns:a16="http://schemas.microsoft.com/office/drawing/2014/main" id="{8D90156C-52DD-C1A2-9E21-4C21FB341933}"/>
                      </a:ext>
                    </a:extLst>
                  </p:cNvPr>
                  <p:cNvSpPr/>
                  <p:nvPr userDrawn="1"/>
                </p:nvSpPr>
                <p:spPr>
                  <a:xfrm>
                    <a:off x="8444936" y="437953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43"/>
                          <a:pt x="0" y="21037"/>
                        </a:cubicBezTo>
                        <a:close/>
                      </a:path>
                    </a:pathLst>
                  </a:custGeom>
                  <a:solidFill>
                    <a:srgbClr val="D7DAE5"/>
                  </a:solidFill>
                  <a:ln w="2339" cap="flat">
                    <a:noFill/>
                    <a:prstDash val="solid"/>
                    <a:miter/>
                  </a:ln>
                </p:spPr>
                <p:txBody>
                  <a:bodyPr rtlCol="0" anchor="ctr"/>
                  <a:lstStyle/>
                  <a:p>
                    <a:endParaRPr lang="en-US" sz="2400"/>
                  </a:p>
                </p:txBody>
              </p:sp>
              <p:sp>
                <p:nvSpPr>
                  <p:cNvPr id="408" name="Freeform: Shape 407">
                    <a:extLst>
                      <a:ext uri="{FF2B5EF4-FFF2-40B4-BE49-F238E27FC236}">
                        <a16:creationId xmlns:a16="http://schemas.microsoft.com/office/drawing/2014/main" id="{62333208-0D17-E50A-573E-AD4BD02AAE0C}"/>
                      </a:ext>
                    </a:extLst>
                  </p:cNvPr>
                  <p:cNvSpPr/>
                  <p:nvPr userDrawn="1"/>
                </p:nvSpPr>
                <p:spPr>
                  <a:xfrm>
                    <a:off x="8445357" y="437929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7DBE5"/>
                  </a:solidFill>
                  <a:ln w="2339" cap="flat">
                    <a:noFill/>
                    <a:prstDash val="solid"/>
                    <a:miter/>
                  </a:ln>
                </p:spPr>
                <p:txBody>
                  <a:bodyPr rtlCol="0" anchor="ctr"/>
                  <a:lstStyle/>
                  <a:p>
                    <a:endParaRPr lang="en-US" sz="2400"/>
                  </a:p>
                </p:txBody>
              </p:sp>
              <p:sp>
                <p:nvSpPr>
                  <p:cNvPr id="409" name="Freeform: Shape 408">
                    <a:extLst>
                      <a:ext uri="{FF2B5EF4-FFF2-40B4-BE49-F238E27FC236}">
                        <a16:creationId xmlns:a16="http://schemas.microsoft.com/office/drawing/2014/main" id="{D8E2826F-1419-81EF-4988-7FD590160E92}"/>
                      </a:ext>
                    </a:extLst>
                  </p:cNvPr>
                  <p:cNvSpPr/>
                  <p:nvPr userDrawn="1"/>
                </p:nvSpPr>
                <p:spPr>
                  <a:xfrm>
                    <a:off x="8445778" y="437908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7DBE5"/>
                  </a:solidFill>
                  <a:ln w="2339" cap="flat">
                    <a:noFill/>
                    <a:prstDash val="solid"/>
                    <a:miter/>
                  </a:ln>
                </p:spPr>
                <p:txBody>
                  <a:bodyPr rtlCol="0" anchor="ctr"/>
                  <a:lstStyle/>
                  <a:p>
                    <a:endParaRPr lang="en-US" sz="2400"/>
                  </a:p>
                </p:txBody>
              </p:sp>
              <p:sp>
                <p:nvSpPr>
                  <p:cNvPr id="410" name="Freeform: Shape 409">
                    <a:extLst>
                      <a:ext uri="{FF2B5EF4-FFF2-40B4-BE49-F238E27FC236}">
                        <a16:creationId xmlns:a16="http://schemas.microsoft.com/office/drawing/2014/main" id="{BA4D808E-F7E6-B366-C5F5-318E1CB6B629}"/>
                      </a:ext>
                    </a:extLst>
                  </p:cNvPr>
                  <p:cNvSpPr/>
                  <p:nvPr userDrawn="1"/>
                </p:nvSpPr>
                <p:spPr>
                  <a:xfrm>
                    <a:off x="8446176" y="437887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8DBE5"/>
                  </a:solidFill>
                  <a:ln w="2339" cap="flat">
                    <a:noFill/>
                    <a:prstDash val="solid"/>
                    <a:miter/>
                  </a:ln>
                </p:spPr>
                <p:txBody>
                  <a:bodyPr rtlCol="0" anchor="ctr"/>
                  <a:lstStyle/>
                  <a:p>
                    <a:endParaRPr lang="en-US" sz="2400"/>
                  </a:p>
                </p:txBody>
              </p:sp>
              <p:sp>
                <p:nvSpPr>
                  <p:cNvPr id="411" name="Freeform: Shape 410">
                    <a:extLst>
                      <a:ext uri="{FF2B5EF4-FFF2-40B4-BE49-F238E27FC236}">
                        <a16:creationId xmlns:a16="http://schemas.microsoft.com/office/drawing/2014/main" id="{3805DE3E-43E4-6301-9826-2BCFA53FD0A9}"/>
                      </a:ext>
                    </a:extLst>
                  </p:cNvPr>
                  <p:cNvSpPr/>
                  <p:nvPr userDrawn="1"/>
                </p:nvSpPr>
                <p:spPr>
                  <a:xfrm>
                    <a:off x="8446597" y="437864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8DBE5"/>
                  </a:solidFill>
                  <a:ln w="2339" cap="flat">
                    <a:noFill/>
                    <a:prstDash val="solid"/>
                    <a:miter/>
                  </a:ln>
                </p:spPr>
                <p:txBody>
                  <a:bodyPr rtlCol="0" anchor="ctr"/>
                  <a:lstStyle/>
                  <a:p>
                    <a:endParaRPr lang="en-US" sz="2400"/>
                  </a:p>
                </p:txBody>
              </p:sp>
              <p:sp>
                <p:nvSpPr>
                  <p:cNvPr id="412" name="Freeform: Shape 411">
                    <a:extLst>
                      <a:ext uri="{FF2B5EF4-FFF2-40B4-BE49-F238E27FC236}">
                        <a16:creationId xmlns:a16="http://schemas.microsoft.com/office/drawing/2014/main" id="{6A06AA9E-2ADC-3A8B-3AE2-378CB96769C7}"/>
                      </a:ext>
                    </a:extLst>
                  </p:cNvPr>
                  <p:cNvSpPr/>
                  <p:nvPr userDrawn="1"/>
                </p:nvSpPr>
                <p:spPr>
                  <a:xfrm>
                    <a:off x="8447018" y="437843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D8DCE6"/>
                  </a:solidFill>
                  <a:ln w="2339" cap="flat">
                    <a:noFill/>
                    <a:prstDash val="solid"/>
                    <a:miter/>
                  </a:ln>
                </p:spPr>
                <p:txBody>
                  <a:bodyPr rtlCol="0" anchor="ctr"/>
                  <a:lstStyle/>
                  <a:p>
                    <a:endParaRPr lang="en-US" sz="2400"/>
                  </a:p>
                </p:txBody>
              </p:sp>
              <p:sp>
                <p:nvSpPr>
                  <p:cNvPr id="413" name="Freeform: Shape 412">
                    <a:extLst>
                      <a:ext uri="{FF2B5EF4-FFF2-40B4-BE49-F238E27FC236}">
                        <a16:creationId xmlns:a16="http://schemas.microsoft.com/office/drawing/2014/main" id="{5AFB8B8F-E3C0-79C6-456D-D1CCFC9A153B}"/>
                      </a:ext>
                    </a:extLst>
                  </p:cNvPr>
                  <p:cNvSpPr/>
                  <p:nvPr userDrawn="1"/>
                </p:nvSpPr>
                <p:spPr>
                  <a:xfrm>
                    <a:off x="8447416" y="437819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8DCE6"/>
                  </a:solidFill>
                  <a:ln w="2339" cap="flat">
                    <a:noFill/>
                    <a:prstDash val="solid"/>
                    <a:miter/>
                  </a:ln>
                </p:spPr>
                <p:txBody>
                  <a:bodyPr rtlCol="0" anchor="ctr"/>
                  <a:lstStyle/>
                  <a:p>
                    <a:endParaRPr lang="en-US" sz="2400"/>
                  </a:p>
                </p:txBody>
              </p:sp>
              <p:sp>
                <p:nvSpPr>
                  <p:cNvPr id="414" name="Freeform: Shape 413">
                    <a:extLst>
                      <a:ext uri="{FF2B5EF4-FFF2-40B4-BE49-F238E27FC236}">
                        <a16:creationId xmlns:a16="http://schemas.microsoft.com/office/drawing/2014/main" id="{1831B771-94DB-7407-44CC-ECC59FF3484F}"/>
                      </a:ext>
                    </a:extLst>
                  </p:cNvPr>
                  <p:cNvSpPr/>
                  <p:nvPr userDrawn="1"/>
                </p:nvSpPr>
                <p:spPr>
                  <a:xfrm>
                    <a:off x="8447814" y="437798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9DCE6"/>
                  </a:solidFill>
                  <a:ln w="2339" cap="flat">
                    <a:noFill/>
                    <a:prstDash val="solid"/>
                    <a:miter/>
                  </a:ln>
                </p:spPr>
                <p:txBody>
                  <a:bodyPr rtlCol="0" anchor="ctr"/>
                  <a:lstStyle/>
                  <a:p>
                    <a:endParaRPr lang="en-US" sz="2400"/>
                  </a:p>
                </p:txBody>
              </p:sp>
              <p:sp>
                <p:nvSpPr>
                  <p:cNvPr id="415" name="Freeform: Shape 414">
                    <a:extLst>
                      <a:ext uri="{FF2B5EF4-FFF2-40B4-BE49-F238E27FC236}">
                        <a16:creationId xmlns:a16="http://schemas.microsoft.com/office/drawing/2014/main" id="{D5AE51A5-B741-CC5B-EF75-8B1C6F3910CA}"/>
                      </a:ext>
                    </a:extLst>
                  </p:cNvPr>
                  <p:cNvSpPr/>
                  <p:nvPr userDrawn="1"/>
                </p:nvSpPr>
                <p:spPr>
                  <a:xfrm>
                    <a:off x="8448235" y="437775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9DCE6"/>
                  </a:solidFill>
                  <a:ln w="2339" cap="flat">
                    <a:noFill/>
                    <a:prstDash val="solid"/>
                    <a:miter/>
                  </a:ln>
                </p:spPr>
                <p:txBody>
                  <a:bodyPr rtlCol="0" anchor="ctr"/>
                  <a:lstStyle/>
                  <a:p>
                    <a:endParaRPr lang="en-US" sz="2400"/>
                  </a:p>
                </p:txBody>
              </p:sp>
              <p:sp>
                <p:nvSpPr>
                  <p:cNvPr id="416" name="Freeform: Shape 415">
                    <a:extLst>
                      <a:ext uri="{FF2B5EF4-FFF2-40B4-BE49-F238E27FC236}">
                        <a16:creationId xmlns:a16="http://schemas.microsoft.com/office/drawing/2014/main" id="{53AF27A3-FE2E-6066-A009-841B3CD848A0}"/>
                      </a:ext>
                    </a:extLst>
                  </p:cNvPr>
                  <p:cNvSpPr/>
                  <p:nvPr userDrawn="1"/>
                </p:nvSpPr>
                <p:spPr>
                  <a:xfrm>
                    <a:off x="8448633" y="437751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9DDE6"/>
                  </a:solidFill>
                  <a:ln w="2339" cap="flat">
                    <a:noFill/>
                    <a:prstDash val="solid"/>
                    <a:miter/>
                  </a:ln>
                </p:spPr>
                <p:txBody>
                  <a:bodyPr rtlCol="0" anchor="ctr"/>
                  <a:lstStyle/>
                  <a:p>
                    <a:endParaRPr lang="en-US" sz="2400"/>
                  </a:p>
                </p:txBody>
              </p:sp>
              <p:sp>
                <p:nvSpPr>
                  <p:cNvPr id="417" name="Freeform: Shape 416">
                    <a:extLst>
                      <a:ext uri="{FF2B5EF4-FFF2-40B4-BE49-F238E27FC236}">
                        <a16:creationId xmlns:a16="http://schemas.microsoft.com/office/drawing/2014/main" id="{EA52C698-021B-FC68-82B8-D471F9E39E46}"/>
                      </a:ext>
                    </a:extLst>
                  </p:cNvPr>
                  <p:cNvSpPr/>
                  <p:nvPr userDrawn="1"/>
                </p:nvSpPr>
                <p:spPr>
                  <a:xfrm>
                    <a:off x="8449031" y="437730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DADDE7"/>
                  </a:solidFill>
                  <a:ln w="2339" cap="flat">
                    <a:noFill/>
                    <a:prstDash val="solid"/>
                    <a:miter/>
                  </a:ln>
                </p:spPr>
                <p:txBody>
                  <a:bodyPr rtlCol="0" anchor="ctr"/>
                  <a:lstStyle/>
                  <a:p>
                    <a:endParaRPr lang="en-US" sz="2400"/>
                  </a:p>
                </p:txBody>
              </p:sp>
              <p:sp>
                <p:nvSpPr>
                  <p:cNvPr id="418" name="Freeform: Shape 417">
                    <a:extLst>
                      <a:ext uri="{FF2B5EF4-FFF2-40B4-BE49-F238E27FC236}">
                        <a16:creationId xmlns:a16="http://schemas.microsoft.com/office/drawing/2014/main" id="{EAE2B3AE-D5EB-B78E-96B6-D9E135B31601}"/>
                      </a:ext>
                    </a:extLst>
                  </p:cNvPr>
                  <p:cNvSpPr/>
                  <p:nvPr userDrawn="1"/>
                </p:nvSpPr>
                <p:spPr>
                  <a:xfrm>
                    <a:off x="8449429" y="437707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ADDE7"/>
                  </a:solidFill>
                  <a:ln w="2339" cap="flat">
                    <a:noFill/>
                    <a:prstDash val="solid"/>
                    <a:miter/>
                  </a:ln>
                </p:spPr>
                <p:txBody>
                  <a:bodyPr rtlCol="0" anchor="ctr"/>
                  <a:lstStyle/>
                  <a:p>
                    <a:endParaRPr lang="en-US" sz="2400"/>
                  </a:p>
                </p:txBody>
              </p:sp>
              <p:sp>
                <p:nvSpPr>
                  <p:cNvPr id="419" name="Freeform: Shape 418">
                    <a:extLst>
                      <a:ext uri="{FF2B5EF4-FFF2-40B4-BE49-F238E27FC236}">
                        <a16:creationId xmlns:a16="http://schemas.microsoft.com/office/drawing/2014/main" id="{6C548EF1-F4EC-AFB1-C456-F2B3FB6F0845}"/>
                      </a:ext>
                    </a:extLst>
                  </p:cNvPr>
                  <p:cNvSpPr/>
                  <p:nvPr userDrawn="1"/>
                </p:nvSpPr>
                <p:spPr>
                  <a:xfrm>
                    <a:off x="8449826" y="437684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ADEE7"/>
                  </a:solidFill>
                  <a:ln w="2339" cap="flat">
                    <a:noFill/>
                    <a:prstDash val="solid"/>
                    <a:miter/>
                  </a:ln>
                </p:spPr>
                <p:txBody>
                  <a:bodyPr rtlCol="0" anchor="ctr"/>
                  <a:lstStyle/>
                  <a:p>
                    <a:endParaRPr lang="en-US" sz="2400"/>
                  </a:p>
                </p:txBody>
              </p:sp>
              <p:sp>
                <p:nvSpPr>
                  <p:cNvPr id="420" name="Freeform: Shape 419">
                    <a:extLst>
                      <a:ext uri="{FF2B5EF4-FFF2-40B4-BE49-F238E27FC236}">
                        <a16:creationId xmlns:a16="http://schemas.microsoft.com/office/drawing/2014/main" id="{B985A7AE-4B40-F9FF-5E56-C227D6A8D191}"/>
                      </a:ext>
                    </a:extLst>
                  </p:cNvPr>
                  <p:cNvSpPr/>
                  <p:nvPr userDrawn="1"/>
                </p:nvSpPr>
                <p:spPr>
                  <a:xfrm>
                    <a:off x="8450224" y="437663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BDEE7"/>
                  </a:solidFill>
                  <a:ln w="2339" cap="flat">
                    <a:noFill/>
                    <a:prstDash val="solid"/>
                    <a:miter/>
                  </a:ln>
                </p:spPr>
                <p:txBody>
                  <a:bodyPr rtlCol="0" anchor="ctr"/>
                  <a:lstStyle/>
                  <a:p>
                    <a:endParaRPr lang="en-US" sz="2400"/>
                  </a:p>
                </p:txBody>
              </p:sp>
              <p:sp>
                <p:nvSpPr>
                  <p:cNvPr id="421" name="Freeform: Shape 420">
                    <a:extLst>
                      <a:ext uri="{FF2B5EF4-FFF2-40B4-BE49-F238E27FC236}">
                        <a16:creationId xmlns:a16="http://schemas.microsoft.com/office/drawing/2014/main" id="{91A4414E-69D5-2C9D-3AED-6794E5E064CE}"/>
                      </a:ext>
                    </a:extLst>
                  </p:cNvPr>
                  <p:cNvSpPr/>
                  <p:nvPr userDrawn="1"/>
                </p:nvSpPr>
                <p:spPr>
                  <a:xfrm>
                    <a:off x="8450622" y="437639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DBDEE7"/>
                  </a:solidFill>
                  <a:ln w="2339" cap="flat">
                    <a:noFill/>
                    <a:prstDash val="solid"/>
                    <a:miter/>
                  </a:ln>
                </p:spPr>
                <p:txBody>
                  <a:bodyPr rtlCol="0" anchor="ctr"/>
                  <a:lstStyle/>
                  <a:p>
                    <a:endParaRPr lang="en-US" sz="2400"/>
                  </a:p>
                </p:txBody>
              </p:sp>
              <p:sp>
                <p:nvSpPr>
                  <p:cNvPr id="422" name="Freeform: Shape 421">
                    <a:extLst>
                      <a:ext uri="{FF2B5EF4-FFF2-40B4-BE49-F238E27FC236}">
                        <a16:creationId xmlns:a16="http://schemas.microsoft.com/office/drawing/2014/main" id="{443D24D2-6D8C-7F52-9ED6-9125D9B14E31}"/>
                      </a:ext>
                    </a:extLst>
                  </p:cNvPr>
                  <p:cNvSpPr/>
                  <p:nvPr userDrawn="1"/>
                </p:nvSpPr>
                <p:spPr>
                  <a:xfrm>
                    <a:off x="8451020" y="437616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BDEE8"/>
                  </a:solidFill>
                  <a:ln w="2339" cap="flat">
                    <a:noFill/>
                    <a:prstDash val="solid"/>
                    <a:miter/>
                  </a:ln>
                </p:spPr>
                <p:txBody>
                  <a:bodyPr rtlCol="0" anchor="ctr"/>
                  <a:lstStyle/>
                  <a:p>
                    <a:endParaRPr lang="en-US" sz="2400"/>
                  </a:p>
                </p:txBody>
              </p:sp>
              <p:sp>
                <p:nvSpPr>
                  <p:cNvPr id="423" name="Freeform: Shape 422">
                    <a:extLst>
                      <a:ext uri="{FF2B5EF4-FFF2-40B4-BE49-F238E27FC236}">
                        <a16:creationId xmlns:a16="http://schemas.microsoft.com/office/drawing/2014/main" id="{7096ADD3-B728-1020-1603-43FD95A89C36}"/>
                      </a:ext>
                    </a:extLst>
                  </p:cNvPr>
                  <p:cNvSpPr/>
                  <p:nvPr userDrawn="1"/>
                </p:nvSpPr>
                <p:spPr>
                  <a:xfrm>
                    <a:off x="8451394" y="437592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CDFE8"/>
                  </a:solidFill>
                  <a:ln w="2339" cap="flat">
                    <a:noFill/>
                    <a:prstDash val="solid"/>
                    <a:miter/>
                  </a:ln>
                </p:spPr>
                <p:txBody>
                  <a:bodyPr rtlCol="0" anchor="ctr"/>
                  <a:lstStyle/>
                  <a:p>
                    <a:endParaRPr lang="en-US" sz="2400"/>
                  </a:p>
                </p:txBody>
              </p:sp>
              <p:sp>
                <p:nvSpPr>
                  <p:cNvPr id="424" name="Freeform: Shape 423">
                    <a:extLst>
                      <a:ext uri="{FF2B5EF4-FFF2-40B4-BE49-F238E27FC236}">
                        <a16:creationId xmlns:a16="http://schemas.microsoft.com/office/drawing/2014/main" id="{61E4B92F-3812-AA11-42E4-F8D9DFC0F97A}"/>
                      </a:ext>
                    </a:extLst>
                  </p:cNvPr>
                  <p:cNvSpPr/>
                  <p:nvPr userDrawn="1"/>
                </p:nvSpPr>
                <p:spPr>
                  <a:xfrm>
                    <a:off x="8451792" y="437569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CDFE8"/>
                  </a:solidFill>
                  <a:ln w="2339" cap="flat">
                    <a:noFill/>
                    <a:prstDash val="solid"/>
                    <a:miter/>
                  </a:ln>
                </p:spPr>
                <p:txBody>
                  <a:bodyPr rtlCol="0" anchor="ctr"/>
                  <a:lstStyle/>
                  <a:p>
                    <a:endParaRPr lang="en-US" sz="2400"/>
                  </a:p>
                </p:txBody>
              </p:sp>
              <p:sp>
                <p:nvSpPr>
                  <p:cNvPr id="425" name="Freeform: Shape 424">
                    <a:extLst>
                      <a:ext uri="{FF2B5EF4-FFF2-40B4-BE49-F238E27FC236}">
                        <a16:creationId xmlns:a16="http://schemas.microsoft.com/office/drawing/2014/main" id="{3AAF5499-D8B0-B713-6161-051600628070}"/>
                      </a:ext>
                    </a:extLst>
                  </p:cNvPr>
                  <p:cNvSpPr/>
                  <p:nvPr userDrawn="1"/>
                </p:nvSpPr>
                <p:spPr>
                  <a:xfrm>
                    <a:off x="8452166" y="437546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CDFE8"/>
                  </a:solidFill>
                  <a:ln w="2339" cap="flat">
                    <a:noFill/>
                    <a:prstDash val="solid"/>
                    <a:miter/>
                  </a:ln>
                </p:spPr>
                <p:txBody>
                  <a:bodyPr rtlCol="0" anchor="ctr"/>
                  <a:lstStyle/>
                  <a:p>
                    <a:endParaRPr lang="en-US" sz="2400"/>
                  </a:p>
                </p:txBody>
              </p:sp>
              <p:sp>
                <p:nvSpPr>
                  <p:cNvPr id="426" name="Freeform: Shape 425">
                    <a:extLst>
                      <a:ext uri="{FF2B5EF4-FFF2-40B4-BE49-F238E27FC236}">
                        <a16:creationId xmlns:a16="http://schemas.microsoft.com/office/drawing/2014/main" id="{97738CDB-6206-BCFE-22C6-45D59D19FC9A}"/>
                      </a:ext>
                    </a:extLst>
                  </p:cNvPr>
                  <p:cNvSpPr/>
                  <p:nvPr userDrawn="1"/>
                </p:nvSpPr>
                <p:spPr>
                  <a:xfrm>
                    <a:off x="8452564" y="437522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CE0E8"/>
                  </a:solidFill>
                  <a:ln w="2339" cap="flat">
                    <a:noFill/>
                    <a:prstDash val="solid"/>
                    <a:miter/>
                  </a:ln>
                </p:spPr>
                <p:txBody>
                  <a:bodyPr rtlCol="0" anchor="ctr"/>
                  <a:lstStyle/>
                  <a:p>
                    <a:endParaRPr lang="en-US" sz="2400"/>
                  </a:p>
                </p:txBody>
              </p:sp>
              <p:sp>
                <p:nvSpPr>
                  <p:cNvPr id="427" name="Freeform: Shape 426">
                    <a:extLst>
                      <a:ext uri="{FF2B5EF4-FFF2-40B4-BE49-F238E27FC236}">
                        <a16:creationId xmlns:a16="http://schemas.microsoft.com/office/drawing/2014/main" id="{815F15DD-70E6-BE5C-8C64-860EA20FCEB7}"/>
                      </a:ext>
                    </a:extLst>
                  </p:cNvPr>
                  <p:cNvSpPr/>
                  <p:nvPr userDrawn="1"/>
                </p:nvSpPr>
                <p:spPr>
                  <a:xfrm>
                    <a:off x="8452939" y="437499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DE0E9"/>
                  </a:solidFill>
                  <a:ln w="2339" cap="flat">
                    <a:noFill/>
                    <a:prstDash val="solid"/>
                    <a:miter/>
                  </a:ln>
                </p:spPr>
                <p:txBody>
                  <a:bodyPr rtlCol="0" anchor="ctr"/>
                  <a:lstStyle/>
                  <a:p>
                    <a:endParaRPr lang="en-US" sz="2400"/>
                  </a:p>
                </p:txBody>
              </p:sp>
              <p:sp>
                <p:nvSpPr>
                  <p:cNvPr id="428" name="Freeform: Shape 427">
                    <a:extLst>
                      <a:ext uri="{FF2B5EF4-FFF2-40B4-BE49-F238E27FC236}">
                        <a16:creationId xmlns:a16="http://schemas.microsoft.com/office/drawing/2014/main" id="{F5169089-D066-7519-E149-66D3B8DFE78B}"/>
                      </a:ext>
                    </a:extLst>
                  </p:cNvPr>
                  <p:cNvSpPr/>
                  <p:nvPr userDrawn="1"/>
                </p:nvSpPr>
                <p:spPr>
                  <a:xfrm>
                    <a:off x="8453313" y="437475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DE0E9"/>
                  </a:solidFill>
                  <a:ln w="2339" cap="flat">
                    <a:noFill/>
                    <a:prstDash val="solid"/>
                    <a:miter/>
                  </a:ln>
                </p:spPr>
                <p:txBody>
                  <a:bodyPr rtlCol="0" anchor="ctr"/>
                  <a:lstStyle/>
                  <a:p>
                    <a:endParaRPr lang="en-US" sz="2400"/>
                  </a:p>
                </p:txBody>
              </p:sp>
              <p:sp>
                <p:nvSpPr>
                  <p:cNvPr id="429" name="Freeform: Shape 428">
                    <a:extLst>
                      <a:ext uri="{FF2B5EF4-FFF2-40B4-BE49-F238E27FC236}">
                        <a16:creationId xmlns:a16="http://schemas.microsoft.com/office/drawing/2014/main" id="{799D473F-5110-FA61-69BC-9E00B460B1BD}"/>
                      </a:ext>
                    </a:extLst>
                  </p:cNvPr>
                  <p:cNvSpPr/>
                  <p:nvPr userDrawn="1"/>
                </p:nvSpPr>
                <p:spPr>
                  <a:xfrm>
                    <a:off x="8453688" y="437452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DE0E9"/>
                  </a:solidFill>
                  <a:ln w="2339" cap="flat">
                    <a:noFill/>
                    <a:prstDash val="solid"/>
                    <a:miter/>
                  </a:ln>
                </p:spPr>
                <p:txBody>
                  <a:bodyPr rtlCol="0" anchor="ctr"/>
                  <a:lstStyle/>
                  <a:p>
                    <a:endParaRPr lang="en-US" sz="2400"/>
                  </a:p>
                </p:txBody>
              </p:sp>
              <p:sp>
                <p:nvSpPr>
                  <p:cNvPr id="430" name="Freeform: Shape 429">
                    <a:extLst>
                      <a:ext uri="{FF2B5EF4-FFF2-40B4-BE49-F238E27FC236}">
                        <a16:creationId xmlns:a16="http://schemas.microsoft.com/office/drawing/2014/main" id="{489C8F4F-0E33-E02C-E076-BF13C149201E}"/>
                      </a:ext>
                    </a:extLst>
                  </p:cNvPr>
                  <p:cNvSpPr/>
                  <p:nvPr userDrawn="1"/>
                </p:nvSpPr>
                <p:spPr>
                  <a:xfrm>
                    <a:off x="8454062" y="437429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EE1E9"/>
                  </a:solidFill>
                  <a:ln w="2339" cap="flat">
                    <a:noFill/>
                    <a:prstDash val="solid"/>
                    <a:miter/>
                  </a:ln>
                </p:spPr>
                <p:txBody>
                  <a:bodyPr rtlCol="0" anchor="ctr"/>
                  <a:lstStyle/>
                  <a:p>
                    <a:endParaRPr lang="en-US" sz="2400"/>
                  </a:p>
                </p:txBody>
              </p:sp>
              <p:sp>
                <p:nvSpPr>
                  <p:cNvPr id="431" name="Freeform: Shape 430">
                    <a:extLst>
                      <a:ext uri="{FF2B5EF4-FFF2-40B4-BE49-F238E27FC236}">
                        <a16:creationId xmlns:a16="http://schemas.microsoft.com/office/drawing/2014/main" id="{DB2BDFA5-124E-D9D4-6A8E-5FED53715F28}"/>
                      </a:ext>
                    </a:extLst>
                  </p:cNvPr>
                  <p:cNvSpPr/>
                  <p:nvPr userDrawn="1"/>
                </p:nvSpPr>
                <p:spPr>
                  <a:xfrm>
                    <a:off x="8454436" y="437405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DEE1E9"/>
                  </a:solidFill>
                  <a:ln w="2339" cap="flat">
                    <a:noFill/>
                    <a:prstDash val="solid"/>
                    <a:miter/>
                  </a:ln>
                </p:spPr>
                <p:txBody>
                  <a:bodyPr rtlCol="0" anchor="ctr"/>
                  <a:lstStyle/>
                  <a:p>
                    <a:endParaRPr lang="en-US" sz="2400"/>
                  </a:p>
                </p:txBody>
              </p:sp>
              <p:sp>
                <p:nvSpPr>
                  <p:cNvPr id="432" name="Freeform: Shape 431">
                    <a:extLst>
                      <a:ext uri="{FF2B5EF4-FFF2-40B4-BE49-F238E27FC236}">
                        <a16:creationId xmlns:a16="http://schemas.microsoft.com/office/drawing/2014/main" id="{05779979-19EC-BC54-3314-9D8DADA04609}"/>
                      </a:ext>
                    </a:extLst>
                  </p:cNvPr>
                  <p:cNvSpPr/>
                  <p:nvPr userDrawn="1"/>
                </p:nvSpPr>
                <p:spPr>
                  <a:xfrm>
                    <a:off x="8454811" y="437382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43"/>
                          <a:pt x="0" y="21037"/>
                        </a:cubicBezTo>
                        <a:close/>
                      </a:path>
                    </a:pathLst>
                  </a:custGeom>
                  <a:solidFill>
                    <a:srgbClr val="DEE1EA"/>
                  </a:solidFill>
                  <a:ln w="2339" cap="flat">
                    <a:noFill/>
                    <a:prstDash val="solid"/>
                    <a:miter/>
                  </a:ln>
                </p:spPr>
                <p:txBody>
                  <a:bodyPr rtlCol="0" anchor="ctr"/>
                  <a:lstStyle/>
                  <a:p>
                    <a:endParaRPr lang="en-US" sz="2400"/>
                  </a:p>
                </p:txBody>
              </p:sp>
              <p:sp>
                <p:nvSpPr>
                  <p:cNvPr id="433" name="Freeform: Shape 432">
                    <a:extLst>
                      <a:ext uri="{FF2B5EF4-FFF2-40B4-BE49-F238E27FC236}">
                        <a16:creationId xmlns:a16="http://schemas.microsoft.com/office/drawing/2014/main" id="{C315D509-7B4D-4C3D-B75F-06372E91E82E}"/>
                      </a:ext>
                    </a:extLst>
                  </p:cNvPr>
                  <p:cNvSpPr/>
                  <p:nvPr userDrawn="1"/>
                </p:nvSpPr>
                <p:spPr>
                  <a:xfrm>
                    <a:off x="8455162" y="437356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FE1EA"/>
                  </a:solidFill>
                  <a:ln w="2339" cap="flat">
                    <a:noFill/>
                    <a:prstDash val="solid"/>
                    <a:miter/>
                  </a:ln>
                </p:spPr>
                <p:txBody>
                  <a:bodyPr rtlCol="0" anchor="ctr"/>
                  <a:lstStyle/>
                  <a:p>
                    <a:endParaRPr lang="en-US" sz="2400"/>
                  </a:p>
                </p:txBody>
              </p:sp>
              <p:sp>
                <p:nvSpPr>
                  <p:cNvPr id="434" name="Freeform: Shape 433">
                    <a:extLst>
                      <a:ext uri="{FF2B5EF4-FFF2-40B4-BE49-F238E27FC236}">
                        <a16:creationId xmlns:a16="http://schemas.microsoft.com/office/drawing/2014/main" id="{69075510-B360-2D2E-1FA4-6023F71398BA}"/>
                      </a:ext>
                    </a:extLst>
                  </p:cNvPr>
                  <p:cNvSpPr/>
                  <p:nvPr userDrawn="1"/>
                </p:nvSpPr>
                <p:spPr>
                  <a:xfrm>
                    <a:off x="8455536" y="437333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FE2EA"/>
                  </a:solidFill>
                  <a:ln w="2339" cap="flat">
                    <a:noFill/>
                    <a:prstDash val="solid"/>
                    <a:miter/>
                  </a:ln>
                </p:spPr>
                <p:txBody>
                  <a:bodyPr rtlCol="0" anchor="ctr"/>
                  <a:lstStyle/>
                  <a:p>
                    <a:endParaRPr lang="en-US" sz="2400"/>
                  </a:p>
                </p:txBody>
              </p:sp>
              <p:sp>
                <p:nvSpPr>
                  <p:cNvPr id="435" name="Freeform: Shape 434">
                    <a:extLst>
                      <a:ext uri="{FF2B5EF4-FFF2-40B4-BE49-F238E27FC236}">
                        <a16:creationId xmlns:a16="http://schemas.microsoft.com/office/drawing/2014/main" id="{96E378DC-F8C7-0469-1926-7788D55B7524}"/>
                      </a:ext>
                    </a:extLst>
                  </p:cNvPr>
                  <p:cNvSpPr/>
                  <p:nvPr userDrawn="1"/>
                </p:nvSpPr>
                <p:spPr>
                  <a:xfrm>
                    <a:off x="8455887" y="437309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DFE2EA"/>
                  </a:solidFill>
                  <a:ln w="2339" cap="flat">
                    <a:noFill/>
                    <a:prstDash val="solid"/>
                    <a:miter/>
                  </a:ln>
                </p:spPr>
                <p:txBody>
                  <a:bodyPr rtlCol="0" anchor="ctr"/>
                  <a:lstStyle/>
                  <a:p>
                    <a:endParaRPr lang="en-US" sz="2400"/>
                  </a:p>
                </p:txBody>
              </p:sp>
              <p:sp>
                <p:nvSpPr>
                  <p:cNvPr id="436" name="Freeform: Shape 435">
                    <a:extLst>
                      <a:ext uri="{FF2B5EF4-FFF2-40B4-BE49-F238E27FC236}">
                        <a16:creationId xmlns:a16="http://schemas.microsoft.com/office/drawing/2014/main" id="{2CF97E13-FFE4-272A-011B-4319892E8DE0}"/>
                      </a:ext>
                    </a:extLst>
                  </p:cNvPr>
                  <p:cNvSpPr/>
                  <p:nvPr userDrawn="1"/>
                </p:nvSpPr>
                <p:spPr>
                  <a:xfrm>
                    <a:off x="8456262" y="437283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FE2EA"/>
                  </a:solidFill>
                  <a:ln w="2339" cap="flat">
                    <a:noFill/>
                    <a:prstDash val="solid"/>
                    <a:miter/>
                  </a:ln>
                </p:spPr>
                <p:txBody>
                  <a:bodyPr rtlCol="0" anchor="ctr"/>
                  <a:lstStyle/>
                  <a:p>
                    <a:endParaRPr lang="en-US" sz="2400"/>
                  </a:p>
                </p:txBody>
              </p:sp>
              <p:sp>
                <p:nvSpPr>
                  <p:cNvPr id="437" name="Freeform: Shape 436">
                    <a:extLst>
                      <a:ext uri="{FF2B5EF4-FFF2-40B4-BE49-F238E27FC236}">
                        <a16:creationId xmlns:a16="http://schemas.microsoft.com/office/drawing/2014/main" id="{8E389127-7521-FD94-5EFA-4039F80929F1}"/>
                      </a:ext>
                    </a:extLst>
                  </p:cNvPr>
                  <p:cNvSpPr/>
                  <p:nvPr userDrawn="1"/>
                </p:nvSpPr>
                <p:spPr>
                  <a:xfrm>
                    <a:off x="8456613" y="437260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0E3EB"/>
                  </a:solidFill>
                  <a:ln w="2339" cap="flat">
                    <a:noFill/>
                    <a:prstDash val="solid"/>
                    <a:miter/>
                  </a:ln>
                </p:spPr>
                <p:txBody>
                  <a:bodyPr rtlCol="0" anchor="ctr"/>
                  <a:lstStyle/>
                  <a:p>
                    <a:endParaRPr lang="en-US" sz="2400"/>
                  </a:p>
                </p:txBody>
              </p:sp>
              <p:sp>
                <p:nvSpPr>
                  <p:cNvPr id="438" name="Freeform: Shape 437">
                    <a:extLst>
                      <a:ext uri="{FF2B5EF4-FFF2-40B4-BE49-F238E27FC236}">
                        <a16:creationId xmlns:a16="http://schemas.microsoft.com/office/drawing/2014/main" id="{8320630F-8EFD-777B-F064-0EFCA7902DC6}"/>
                      </a:ext>
                    </a:extLst>
                  </p:cNvPr>
                  <p:cNvSpPr/>
                  <p:nvPr userDrawn="1"/>
                </p:nvSpPr>
                <p:spPr>
                  <a:xfrm>
                    <a:off x="8456964" y="437237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0E3EB"/>
                  </a:solidFill>
                  <a:ln w="2339" cap="flat">
                    <a:noFill/>
                    <a:prstDash val="solid"/>
                    <a:miter/>
                  </a:ln>
                </p:spPr>
                <p:txBody>
                  <a:bodyPr rtlCol="0" anchor="ctr"/>
                  <a:lstStyle/>
                  <a:p>
                    <a:endParaRPr lang="en-US" sz="2400"/>
                  </a:p>
                </p:txBody>
              </p:sp>
              <p:sp>
                <p:nvSpPr>
                  <p:cNvPr id="439" name="Freeform: Shape 438">
                    <a:extLst>
                      <a:ext uri="{FF2B5EF4-FFF2-40B4-BE49-F238E27FC236}">
                        <a16:creationId xmlns:a16="http://schemas.microsoft.com/office/drawing/2014/main" id="{21787EDC-BD08-3873-4228-70986C3A0BB5}"/>
                      </a:ext>
                    </a:extLst>
                  </p:cNvPr>
                  <p:cNvSpPr/>
                  <p:nvPr userDrawn="1"/>
                </p:nvSpPr>
                <p:spPr>
                  <a:xfrm>
                    <a:off x="8457315" y="437211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0E3EB"/>
                  </a:solidFill>
                  <a:ln w="2339" cap="flat">
                    <a:noFill/>
                    <a:prstDash val="solid"/>
                    <a:miter/>
                  </a:ln>
                </p:spPr>
                <p:txBody>
                  <a:bodyPr rtlCol="0" anchor="ctr"/>
                  <a:lstStyle/>
                  <a:p>
                    <a:endParaRPr lang="en-US" sz="2400"/>
                  </a:p>
                </p:txBody>
              </p:sp>
              <p:sp>
                <p:nvSpPr>
                  <p:cNvPr id="440" name="Freeform: Shape 439">
                    <a:extLst>
                      <a:ext uri="{FF2B5EF4-FFF2-40B4-BE49-F238E27FC236}">
                        <a16:creationId xmlns:a16="http://schemas.microsoft.com/office/drawing/2014/main" id="{983F7EDB-E105-D5ED-C189-3F672E326838}"/>
                      </a:ext>
                    </a:extLst>
                  </p:cNvPr>
                  <p:cNvSpPr/>
                  <p:nvPr userDrawn="1"/>
                </p:nvSpPr>
                <p:spPr>
                  <a:xfrm>
                    <a:off x="8457666" y="437188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1E3EB"/>
                  </a:solidFill>
                  <a:ln w="2339" cap="flat">
                    <a:noFill/>
                    <a:prstDash val="solid"/>
                    <a:miter/>
                  </a:ln>
                </p:spPr>
                <p:txBody>
                  <a:bodyPr rtlCol="0" anchor="ctr"/>
                  <a:lstStyle/>
                  <a:p>
                    <a:endParaRPr lang="en-US" sz="2400"/>
                  </a:p>
                </p:txBody>
              </p:sp>
              <p:sp>
                <p:nvSpPr>
                  <p:cNvPr id="441" name="Freeform: Shape 440">
                    <a:extLst>
                      <a:ext uri="{FF2B5EF4-FFF2-40B4-BE49-F238E27FC236}">
                        <a16:creationId xmlns:a16="http://schemas.microsoft.com/office/drawing/2014/main" id="{4942D738-D357-735B-F858-760BD17D8CCB}"/>
                      </a:ext>
                    </a:extLst>
                  </p:cNvPr>
                  <p:cNvSpPr/>
                  <p:nvPr userDrawn="1"/>
                </p:nvSpPr>
                <p:spPr>
                  <a:xfrm>
                    <a:off x="8458017" y="437162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1E4EB"/>
                  </a:solidFill>
                  <a:ln w="2339" cap="flat">
                    <a:noFill/>
                    <a:prstDash val="solid"/>
                    <a:miter/>
                  </a:ln>
                </p:spPr>
                <p:txBody>
                  <a:bodyPr rtlCol="0" anchor="ctr"/>
                  <a:lstStyle/>
                  <a:p>
                    <a:endParaRPr lang="en-US" sz="2400"/>
                  </a:p>
                </p:txBody>
              </p:sp>
              <p:sp>
                <p:nvSpPr>
                  <p:cNvPr id="442" name="Freeform: Shape 441">
                    <a:extLst>
                      <a:ext uri="{FF2B5EF4-FFF2-40B4-BE49-F238E27FC236}">
                        <a16:creationId xmlns:a16="http://schemas.microsoft.com/office/drawing/2014/main" id="{B30D68BE-867F-A03C-29F3-BA31AA45AAFB}"/>
                      </a:ext>
                    </a:extLst>
                  </p:cNvPr>
                  <p:cNvSpPr/>
                  <p:nvPr userDrawn="1"/>
                </p:nvSpPr>
                <p:spPr>
                  <a:xfrm>
                    <a:off x="8458368" y="437138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1E4EC"/>
                  </a:solidFill>
                  <a:ln w="2339" cap="flat">
                    <a:noFill/>
                    <a:prstDash val="solid"/>
                    <a:miter/>
                  </a:ln>
                </p:spPr>
                <p:txBody>
                  <a:bodyPr rtlCol="0" anchor="ctr"/>
                  <a:lstStyle/>
                  <a:p>
                    <a:endParaRPr lang="en-US" sz="2400"/>
                  </a:p>
                </p:txBody>
              </p:sp>
              <p:sp>
                <p:nvSpPr>
                  <p:cNvPr id="443" name="Freeform: Shape 442">
                    <a:extLst>
                      <a:ext uri="{FF2B5EF4-FFF2-40B4-BE49-F238E27FC236}">
                        <a16:creationId xmlns:a16="http://schemas.microsoft.com/office/drawing/2014/main" id="{6EBA6CEA-6B5D-0778-C7C2-6152B1FB771F}"/>
                      </a:ext>
                    </a:extLst>
                  </p:cNvPr>
                  <p:cNvSpPr/>
                  <p:nvPr userDrawn="1"/>
                </p:nvSpPr>
                <p:spPr>
                  <a:xfrm>
                    <a:off x="8458719" y="437113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2E4EC"/>
                  </a:solidFill>
                  <a:ln w="2339" cap="flat">
                    <a:noFill/>
                    <a:prstDash val="solid"/>
                    <a:miter/>
                  </a:ln>
                </p:spPr>
                <p:txBody>
                  <a:bodyPr rtlCol="0" anchor="ctr"/>
                  <a:lstStyle/>
                  <a:p>
                    <a:endParaRPr lang="en-US" sz="2400"/>
                  </a:p>
                </p:txBody>
              </p:sp>
              <p:sp>
                <p:nvSpPr>
                  <p:cNvPr id="444" name="Freeform: Shape 443">
                    <a:extLst>
                      <a:ext uri="{FF2B5EF4-FFF2-40B4-BE49-F238E27FC236}">
                        <a16:creationId xmlns:a16="http://schemas.microsoft.com/office/drawing/2014/main" id="{7CEC4550-6D3C-8EAA-7F63-7CF26396B92B}"/>
                      </a:ext>
                    </a:extLst>
                  </p:cNvPr>
                  <p:cNvSpPr/>
                  <p:nvPr userDrawn="1"/>
                </p:nvSpPr>
                <p:spPr>
                  <a:xfrm>
                    <a:off x="8459046" y="437087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2E5EC"/>
                  </a:solidFill>
                  <a:ln w="2339" cap="flat">
                    <a:noFill/>
                    <a:prstDash val="solid"/>
                    <a:miter/>
                  </a:ln>
                </p:spPr>
                <p:txBody>
                  <a:bodyPr rtlCol="0" anchor="ctr"/>
                  <a:lstStyle/>
                  <a:p>
                    <a:endParaRPr lang="en-US" sz="2400"/>
                  </a:p>
                </p:txBody>
              </p:sp>
              <p:sp>
                <p:nvSpPr>
                  <p:cNvPr id="445" name="Freeform: Shape 444">
                    <a:extLst>
                      <a:ext uri="{FF2B5EF4-FFF2-40B4-BE49-F238E27FC236}">
                        <a16:creationId xmlns:a16="http://schemas.microsoft.com/office/drawing/2014/main" id="{FAB69673-4A6A-27A2-2B8B-0E244446591F}"/>
                      </a:ext>
                    </a:extLst>
                  </p:cNvPr>
                  <p:cNvSpPr/>
                  <p:nvPr userDrawn="1"/>
                </p:nvSpPr>
                <p:spPr>
                  <a:xfrm>
                    <a:off x="8459397" y="437063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E2E5EC"/>
                  </a:solidFill>
                  <a:ln w="2339" cap="flat">
                    <a:noFill/>
                    <a:prstDash val="solid"/>
                    <a:miter/>
                  </a:ln>
                </p:spPr>
                <p:txBody>
                  <a:bodyPr rtlCol="0" anchor="ctr"/>
                  <a:lstStyle/>
                  <a:p>
                    <a:endParaRPr lang="en-US" sz="2400"/>
                  </a:p>
                </p:txBody>
              </p:sp>
              <p:sp>
                <p:nvSpPr>
                  <p:cNvPr id="446" name="Freeform: Shape 445">
                    <a:extLst>
                      <a:ext uri="{FF2B5EF4-FFF2-40B4-BE49-F238E27FC236}">
                        <a16:creationId xmlns:a16="http://schemas.microsoft.com/office/drawing/2014/main" id="{06732E06-0D9D-E393-24D3-D5AB21E1B94A}"/>
                      </a:ext>
                    </a:extLst>
                  </p:cNvPr>
                  <p:cNvSpPr/>
                  <p:nvPr userDrawn="1"/>
                </p:nvSpPr>
                <p:spPr>
                  <a:xfrm>
                    <a:off x="8459725" y="437038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3E5EC"/>
                  </a:solidFill>
                  <a:ln w="2339" cap="flat">
                    <a:noFill/>
                    <a:prstDash val="solid"/>
                    <a:miter/>
                  </a:ln>
                </p:spPr>
                <p:txBody>
                  <a:bodyPr rtlCol="0" anchor="ctr"/>
                  <a:lstStyle/>
                  <a:p>
                    <a:endParaRPr lang="en-US" sz="2400"/>
                  </a:p>
                </p:txBody>
              </p:sp>
              <p:sp>
                <p:nvSpPr>
                  <p:cNvPr id="447" name="Freeform: Shape 446">
                    <a:extLst>
                      <a:ext uri="{FF2B5EF4-FFF2-40B4-BE49-F238E27FC236}">
                        <a16:creationId xmlns:a16="http://schemas.microsoft.com/office/drawing/2014/main" id="{E88E1CEA-D3B8-D17E-6DAC-468D6A63C864}"/>
                      </a:ext>
                    </a:extLst>
                  </p:cNvPr>
                  <p:cNvSpPr/>
                  <p:nvPr userDrawn="1"/>
                </p:nvSpPr>
                <p:spPr>
                  <a:xfrm>
                    <a:off x="8460052" y="437012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3E5ED"/>
                  </a:solidFill>
                  <a:ln w="2339" cap="flat">
                    <a:noFill/>
                    <a:prstDash val="solid"/>
                    <a:miter/>
                  </a:ln>
                </p:spPr>
                <p:txBody>
                  <a:bodyPr rtlCol="0" anchor="ctr"/>
                  <a:lstStyle/>
                  <a:p>
                    <a:endParaRPr lang="en-US" sz="2400"/>
                  </a:p>
                </p:txBody>
              </p:sp>
              <p:sp>
                <p:nvSpPr>
                  <p:cNvPr id="448" name="Freeform: Shape 447">
                    <a:extLst>
                      <a:ext uri="{FF2B5EF4-FFF2-40B4-BE49-F238E27FC236}">
                        <a16:creationId xmlns:a16="http://schemas.microsoft.com/office/drawing/2014/main" id="{77E78768-6D16-AFD5-1701-736A40206771}"/>
                      </a:ext>
                    </a:extLst>
                  </p:cNvPr>
                  <p:cNvSpPr/>
                  <p:nvPr userDrawn="1"/>
                </p:nvSpPr>
                <p:spPr>
                  <a:xfrm>
                    <a:off x="8460403" y="436989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E3E6ED"/>
                  </a:solidFill>
                  <a:ln w="2339" cap="flat">
                    <a:noFill/>
                    <a:prstDash val="solid"/>
                    <a:miter/>
                  </a:ln>
                </p:spPr>
                <p:txBody>
                  <a:bodyPr rtlCol="0" anchor="ctr"/>
                  <a:lstStyle/>
                  <a:p>
                    <a:endParaRPr lang="en-US" sz="2400"/>
                  </a:p>
                </p:txBody>
              </p:sp>
              <p:sp>
                <p:nvSpPr>
                  <p:cNvPr id="449" name="Freeform: Shape 448">
                    <a:extLst>
                      <a:ext uri="{FF2B5EF4-FFF2-40B4-BE49-F238E27FC236}">
                        <a16:creationId xmlns:a16="http://schemas.microsoft.com/office/drawing/2014/main" id="{119F834C-A698-0802-FA4B-4FAF6B62985F}"/>
                      </a:ext>
                    </a:extLst>
                  </p:cNvPr>
                  <p:cNvSpPr/>
                  <p:nvPr userDrawn="1"/>
                </p:nvSpPr>
                <p:spPr>
                  <a:xfrm>
                    <a:off x="8460731" y="436963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3E6ED"/>
                  </a:solidFill>
                  <a:ln w="2339" cap="flat">
                    <a:noFill/>
                    <a:prstDash val="solid"/>
                    <a:miter/>
                  </a:ln>
                </p:spPr>
                <p:txBody>
                  <a:bodyPr rtlCol="0" anchor="ctr"/>
                  <a:lstStyle/>
                  <a:p>
                    <a:endParaRPr lang="en-US" sz="2400"/>
                  </a:p>
                </p:txBody>
              </p:sp>
              <p:sp>
                <p:nvSpPr>
                  <p:cNvPr id="450" name="Freeform: Shape 449">
                    <a:extLst>
                      <a:ext uri="{FF2B5EF4-FFF2-40B4-BE49-F238E27FC236}">
                        <a16:creationId xmlns:a16="http://schemas.microsoft.com/office/drawing/2014/main" id="{31CB67B3-F60A-6556-5261-113685E2B506}"/>
                      </a:ext>
                    </a:extLst>
                  </p:cNvPr>
                  <p:cNvSpPr/>
                  <p:nvPr userDrawn="1"/>
                </p:nvSpPr>
                <p:spPr>
                  <a:xfrm>
                    <a:off x="8461059" y="436937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4E6ED"/>
                  </a:solidFill>
                  <a:ln w="2339" cap="flat">
                    <a:noFill/>
                    <a:prstDash val="solid"/>
                    <a:miter/>
                  </a:ln>
                </p:spPr>
                <p:txBody>
                  <a:bodyPr rtlCol="0" anchor="ctr"/>
                  <a:lstStyle/>
                  <a:p>
                    <a:endParaRPr lang="en-US" sz="2400"/>
                  </a:p>
                </p:txBody>
              </p:sp>
              <p:sp>
                <p:nvSpPr>
                  <p:cNvPr id="451" name="Freeform: Shape 450">
                    <a:extLst>
                      <a:ext uri="{FF2B5EF4-FFF2-40B4-BE49-F238E27FC236}">
                        <a16:creationId xmlns:a16="http://schemas.microsoft.com/office/drawing/2014/main" id="{7440B663-6638-66F2-C019-57E3016BF97D}"/>
                      </a:ext>
                    </a:extLst>
                  </p:cNvPr>
                  <p:cNvSpPr/>
                  <p:nvPr userDrawn="1"/>
                </p:nvSpPr>
                <p:spPr>
                  <a:xfrm>
                    <a:off x="8461363" y="436911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4E6ED"/>
                  </a:solidFill>
                  <a:ln w="2339" cap="flat">
                    <a:noFill/>
                    <a:prstDash val="solid"/>
                    <a:miter/>
                  </a:ln>
                </p:spPr>
                <p:txBody>
                  <a:bodyPr rtlCol="0" anchor="ctr"/>
                  <a:lstStyle/>
                  <a:p>
                    <a:endParaRPr lang="en-US" sz="2400"/>
                  </a:p>
                </p:txBody>
              </p:sp>
              <p:sp>
                <p:nvSpPr>
                  <p:cNvPr id="452" name="Freeform: Shape 451">
                    <a:extLst>
                      <a:ext uri="{FF2B5EF4-FFF2-40B4-BE49-F238E27FC236}">
                        <a16:creationId xmlns:a16="http://schemas.microsoft.com/office/drawing/2014/main" id="{FD7677C8-F4E8-AA9B-C4AA-FB76F9277AB4}"/>
                      </a:ext>
                    </a:extLst>
                  </p:cNvPr>
                  <p:cNvSpPr/>
                  <p:nvPr userDrawn="1"/>
                </p:nvSpPr>
                <p:spPr>
                  <a:xfrm>
                    <a:off x="8461690" y="436886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4E7EE"/>
                  </a:solidFill>
                  <a:ln w="2339" cap="flat">
                    <a:noFill/>
                    <a:prstDash val="solid"/>
                    <a:miter/>
                  </a:ln>
                </p:spPr>
                <p:txBody>
                  <a:bodyPr rtlCol="0" anchor="ctr"/>
                  <a:lstStyle/>
                  <a:p>
                    <a:endParaRPr lang="en-US" sz="2400"/>
                  </a:p>
                </p:txBody>
              </p:sp>
              <p:sp>
                <p:nvSpPr>
                  <p:cNvPr id="453" name="Freeform: Shape 452">
                    <a:extLst>
                      <a:ext uri="{FF2B5EF4-FFF2-40B4-BE49-F238E27FC236}">
                        <a16:creationId xmlns:a16="http://schemas.microsoft.com/office/drawing/2014/main" id="{74BB0F45-8444-8456-5A5D-39FF4D09F7B0}"/>
                      </a:ext>
                    </a:extLst>
                  </p:cNvPr>
                  <p:cNvSpPr/>
                  <p:nvPr userDrawn="1"/>
                </p:nvSpPr>
                <p:spPr>
                  <a:xfrm>
                    <a:off x="8462018" y="436860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5E7EE"/>
                  </a:solidFill>
                  <a:ln w="2339" cap="flat">
                    <a:noFill/>
                    <a:prstDash val="solid"/>
                    <a:miter/>
                  </a:ln>
                </p:spPr>
                <p:txBody>
                  <a:bodyPr rtlCol="0" anchor="ctr"/>
                  <a:lstStyle/>
                  <a:p>
                    <a:endParaRPr lang="en-US" sz="2400"/>
                  </a:p>
                </p:txBody>
              </p:sp>
              <p:sp>
                <p:nvSpPr>
                  <p:cNvPr id="454" name="Freeform: Shape 453">
                    <a:extLst>
                      <a:ext uri="{FF2B5EF4-FFF2-40B4-BE49-F238E27FC236}">
                        <a16:creationId xmlns:a16="http://schemas.microsoft.com/office/drawing/2014/main" id="{4E7DA1EA-B15B-0ACD-69BB-658274D9A48F}"/>
                      </a:ext>
                    </a:extLst>
                  </p:cNvPr>
                  <p:cNvSpPr/>
                  <p:nvPr userDrawn="1"/>
                </p:nvSpPr>
                <p:spPr>
                  <a:xfrm>
                    <a:off x="8462322" y="436837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E5E7EE"/>
                  </a:solidFill>
                  <a:ln w="2339" cap="flat">
                    <a:noFill/>
                    <a:prstDash val="solid"/>
                    <a:miter/>
                  </a:ln>
                </p:spPr>
                <p:txBody>
                  <a:bodyPr rtlCol="0" anchor="ctr"/>
                  <a:lstStyle/>
                  <a:p>
                    <a:endParaRPr lang="en-US" sz="2400"/>
                  </a:p>
                </p:txBody>
              </p:sp>
              <p:sp>
                <p:nvSpPr>
                  <p:cNvPr id="455" name="Freeform: Shape 454">
                    <a:extLst>
                      <a:ext uri="{FF2B5EF4-FFF2-40B4-BE49-F238E27FC236}">
                        <a16:creationId xmlns:a16="http://schemas.microsoft.com/office/drawing/2014/main" id="{E05414D4-707D-9473-2AD5-DE03E07A9599}"/>
                      </a:ext>
                    </a:extLst>
                  </p:cNvPr>
                  <p:cNvSpPr/>
                  <p:nvPr userDrawn="1"/>
                </p:nvSpPr>
                <p:spPr>
                  <a:xfrm>
                    <a:off x="8462650" y="436811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E5E8EE"/>
                  </a:solidFill>
                  <a:ln w="2339" cap="flat">
                    <a:noFill/>
                    <a:prstDash val="solid"/>
                    <a:miter/>
                  </a:ln>
                </p:spPr>
                <p:txBody>
                  <a:bodyPr rtlCol="0" anchor="ctr"/>
                  <a:lstStyle/>
                  <a:p>
                    <a:endParaRPr lang="en-US" sz="2400"/>
                  </a:p>
                </p:txBody>
              </p:sp>
              <p:sp>
                <p:nvSpPr>
                  <p:cNvPr id="456" name="Freeform: Shape 455">
                    <a:extLst>
                      <a:ext uri="{FF2B5EF4-FFF2-40B4-BE49-F238E27FC236}">
                        <a16:creationId xmlns:a16="http://schemas.microsoft.com/office/drawing/2014/main" id="{C398BDF1-2E2B-88B0-1739-89B04B7494C6}"/>
                      </a:ext>
                    </a:extLst>
                  </p:cNvPr>
                  <p:cNvSpPr/>
                  <p:nvPr userDrawn="1"/>
                </p:nvSpPr>
                <p:spPr>
                  <a:xfrm>
                    <a:off x="8463048" y="436776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6E8EE"/>
                  </a:solidFill>
                  <a:ln w="2339" cap="flat">
                    <a:noFill/>
                    <a:prstDash val="solid"/>
                    <a:miter/>
                  </a:ln>
                </p:spPr>
                <p:txBody>
                  <a:bodyPr rtlCol="0" anchor="ctr"/>
                  <a:lstStyle/>
                  <a:p>
                    <a:endParaRPr lang="en-US" sz="2400"/>
                  </a:p>
                </p:txBody>
              </p:sp>
              <p:sp>
                <p:nvSpPr>
                  <p:cNvPr id="457" name="Freeform: Shape 456">
                    <a:extLst>
                      <a:ext uri="{FF2B5EF4-FFF2-40B4-BE49-F238E27FC236}">
                        <a16:creationId xmlns:a16="http://schemas.microsoft.com/office/drawing/2014/main" id="{F541EDCB-F468-3379-86C2-91209714AB6C}"/>
                      </a:ext>
                    </a:extLst>
                  </p:cNvPr>
                  <p:cNvSpPr/>
                  <p:nvPr userDrawn="1"/>
                </p:nvSpPr>
                <p:spPr>
                  <a:xfrm>
                    <a:off x="8463539" y="436736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6E8EF"/>
                  </a:solidFill>
                  <a:ln w="2339" cap="flat">
                    <a:noFill/>
                    <a:prstDash val="solid"/>
                    <a:miter/>
                  </a:ln>
                </p:spPr>
                <p:txBody>
                  <a:bodyPr rtlCol="0" anchor="ctr"/>
                  <a:lstStyle/>
                  <a:p>
                    <a:endParaRPr lang="en-US" sz="2400"/>
                  </a:p>
                </p:txBody>
              </p:sp>
              <p:sp>
                <p:nvSpPr>
                  <p:cNvPr id="458" name="Freeform: Shape 457">
                    <a:extLst>
                      <a:ext uri="{FF2B5EF4-FFF2-40B4-BE49-F238E27FC236}">
                        <a16:creationId xmlns:a16="http://schemas.microsoft.com/office/drawing/2014/main" id="{DD9BD855-1828-7AB2-3212-98EA0ED29B92}"/>
                      </a:ext>
                    </a:extLst>
                  </p:cNvPr>
                  <p:cNvSpPr/>
                  <p:nvPr userDrawn="1"/>
                </p:nvSpPr>
                <p:spPr>
                  <a:xfrm>
                    <a:off x="8464030" y="436694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6E8EF"/>
                  </a:solidFill>
                  <a:ln w="2339" cap="flat">
                    <a:noFill/>
                    <a:prstDash val="solid"/>
                    <a:miter/>
                  </a:ln>
                </p:spPr>
                <p:txBody>
                  <a:bodyPr rtlCol="0" anchor="ctr"/>
                  <a:lstStyle/>
                  <a:p>
                    <a:endParaRPr lang="en-US" sz="2400"/>
                  </a:p>
                </p:txBody>
              </p:sp>
              <p:sp>
                <p:nvSpPr>
                  <p:cNvPr id="459" name="Freeform: Shape 458">
                    <a:extLst>
                      <a:ext uri="{FF2B5EF4-FFF2-40B4-BE49-F238E27FC236}">
                        <a16:creationId xmlns:a16="http://schemas.microsoft.com/office/drawing/2014/main" id="{3B286818-4EB5-359B-DC7B-A824CD95CF04}"/>
                      </a:ext>
                    </a:extLst>
                  </p:cNvPr>
                  <p:cNvSpPr/>
                  <p:nvPr userDrawn="1"/>
                </p:nvSpPr>
                <p:spPr>
                  <a:xfrm>
                    <a:off x="8464498" y="436654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7E9EF"/>
                  </a:solidFill>
                  <a:ln w="2339" cap="flat">
                    <a:noFill/>
                    <a:prstDash val="solid"/>
                    <a:miter/>
                  </a:ln>
                </p:spPr>
                <p:txBody>
                  <a:bodyPr rtlCol="0" anchor="ctr"/>
                  <a:lstStyle/>
                  <a:p>
                    <a:endParaRPr lang="en-US" sz="2400"/>
                  </a:p>
                </p:txBody>
              </p:sp>
              <p:sp>
                <p:nvSpPr>
                  <p:cNvPr id="460" name="Freeform: Shape 459">
                    <a:extLst>
                      <a:ext uri="{FF2B5EF4-FFF2-40B4-BE49-F238E27FC236}">
                        <a16:creationId xmlns:a16="http://schemas.microsoft.com/office/drawing/2014/main" id="{4F502FF0-AD24-8A1D-E8FB-70D70C342624}"/>
                      </a:ext>
                    </a:extLst>
                  </p:cNvPr>
                  <p:cNvSpPr/>
                  <p:nvPr userDrawn="1"/>
                </p:nvSpPr>
                <p:spPr>
                  <a:xfrm>
                    <a:off x="8464966" y="436612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7E9EF"/>
                  </a:solidFill>
                  <a:ln w="2339" cap="flat">
                    <a:noFill/>
                    <a:prstDash val="solid"/>
                    <a:miter/>
                  </a:ln>
                </p:spPr>
                <p:txBody>
                  <a:bodyPr rtlCol="0" anchor="ctr"/>
                  <a:lstStyle/>
                  <a:p>
                    <a:endParaRPr lang="en-US" sz="2400"/>
                  </a:p>
                </p:txBody>
              </p:sp>
              <p:sp>
                <p:nvSpPr>
                  <p:cNvPr id="461" name="Freeform: Shape 460">
                    <a:extLst>
                      <a:ext uri="{FF2B5EF4-FFF2-40B4-BE49-F238E27FC236}">
                        <a16:creationId xmlns:a16="http://schemas.microsoft.com/office/drawing/2014/main" id="{B40F71CB-EED7-C164-B247-44A92B191B79}"/>
                      </a:ext>
                    </a:extLst>
                  </p:cNvPr>
                  <p:cNvSpPr/>
                  <p:nvPr userDrawn="1"/>
                </p:nvSpPr>
                <p:spPr>
                  <a:xfrm>
                    <a:off x="8465434" y="436572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7E9EF"/>
                  </a:solidFill>
                  <a:ln w="2339" cap="flat">
                    <a:noFill/>
                    <a:prstDash val="solid"/>
                    <a:miter/>
                  </a:ln>
                </p:spPr>
                <p:txBody>
                  <a:bodyPr rtlCol="0" anchor="ctr"/>
                  <a:lstStyle/>
                  <a:p>
                    <a:endParaRPr lang="en-US" sz="2400"/>
                  </a:p>
                </p:txBody>
              </p:sp>
              <p:sp>
                <p:nvSpPr>
                  <p:cNvPr id="462" name="Freeform: Shape 461">
                    <a:extLst>
                      <a:ext uri="{FF2B5EF4-FFF2-40B4-BE49-F238E27FC236}">
                        <a16:creationId xmlns:a16="http://schemas.microsoft.com/office/drawing/2014/main" id="{BA8135C4-FFFE-C444-454F-99674D3F7073}"/>
                      </a:ext>
                    </a:extLst>
                  </p:cNvPr>
                  <p:cNvSpPr/>
                  <p:nvPr userDrawn="1"/>
                </p:nvSpPr>
                <p:spPr>
                  <a:xfrm>
                    <a:off x="8465902" y="436530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7EAF0"/>
                  </a:solidFill>
                  <a:ln w="2339" cap="flat">
                    <a:noFill/>
                    <a:prstDash val="solid"/>
                    <a:miter/>
                  </a:ln>
                </p:spPr>
                <p:txBody>
                  <a:bodyPr rtlCol="0" anchor="ctr"/>
                  <a:lstStyle/>
                  <a:p>
                    <a:endParaRPr lang="en-US" sz="2400"/>
                  </a:p>
                </p:txBody>
              </p:sp>
              <p:sp>
                <p:nvSpPr>
                  <p:cNvPr id="463" name="Freeform: Shape 462">
                    <a:extLst>
                      <a:ext uri="{FF2B5EF4-FFF2-40B4-BE49-F238E27FC236}">
                        <a16:creationId xmlns:a16="http://schemas.microsoft.com/office/drawing/2014/main" id="{A55D4538-5C0E-FDAB-AB1F-9B68553C9129}"/>
                      </a:ext>
                    </a:extLst>
                  </p:cNvPr>
                  <p:cNvSpPr/>
                  <p:nvPr userDrawn="1"/>
                </p:nvSpPr>
                <p:spPr>
                  <a:xfrm>
                    <a:off x="8466347" y="436490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8EAF0"/>
                  </a:solidFill>
                  <a:ln w="2339" cap="flat">
                    <a:noFill/>
                    <a:prstDash val="solid"/>
                    <a:miter/>
                  </a:ln>
                </p:spPr>
                <p:txBody>
                  <a:bodyPr rtlCol="0" anchor="ctr"/>
                  <a:lstStyle/>
                  <a:p>
                    <a:endParaRPr lang="en-US" sz="2400"/>
                  </a:p>
                </p:txBody>
              </p:sp>
              <p:sp>
                <p:nvSpPr>
                  <p:cNvPr id="464" name="Freeform: Shape 463">
                    <a:extLst>
                      <a:ext uri="{FF2B5EF4-FFF2-40B4-BE49-F238E27FC236}">
                        <a16:creationId xmlns:a16="http://schemas.microsoft.com/office/drawing/2014/main" id="{7CC606ED-318C-DC91-D838-9DC6B767B499}"/>
                      </a:ext>
                    </a:extLst>
                  </p:cNvPr>
                  <p:cNvSpPr/>
                  <p:nvPr userDrawn="1"/>
                </p:nvSpPr>
                <p:spPr>
                  <a:xfrm>
                    <a:off x="8466815" y="436448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8EAF0"/>
                  </a:solidFill>
                  <a:ln w="2339" cap="flat">
                    <a:noFill/>
                    <a:prstDash val="solid"/>
                    <a:miter/>
                  </a:ln>
                </p:spPr>
                <p:txBody>
                  <a:bodyPr rtlCol="0" anchor="ctr"/>
                  <a:lstStyle/>
                  <a:p>
                    <a:endParaRPr lang="en-US" sz="2400"/>
                  </a:p>
                </p:txBody>
              </p:sp>
              <p:sp>
                <p:nvSpPr>
                  <p:cNvPr id="465" name="Freeform: Shape 464">
                    <a:extLst>
                      <a:ext uri="{FF2B5EF4-FFF2-40B4-BE49-F238E27FC236}">
                        <a16:creationId xmlns:a16="http://schemas.microsoft.com/office/drawing/2014/main" id="{69A1DC14-B021-F8A1-3D99-7E6BC8D0B026}"/>
                      </a:ext>
                    </a:extLst>
                  </p:cNvPr>
                  <p:cNvSpPr/>
                  <p:nvPr userDrawn="1"/>
                </p:nvSpPr>
                <p:spPr>
                  <a:xfrm>
                    <a:off x="8467260" y="436406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8EAF0"/>
                  </a:solidFill>
                  <a:ln w="2339" cap="flat">
                    <a:noFill/>
                    <a:prstDash val="solid"/>
                    <a:miter/>
                  </a:ln>
                </p:spPr>
                <p:txBody>
                  <a:bodyPr rtlCol="0" anchor="ctr"/>
                  <a:lstStyle/>
                  <a:p>
                    <a:endParaRPr lang="en-US" sz="2400"/>
                  </a:p>
                </p:txBody>
              </p:sp>
              <p:sp>
                <p:nvSpPr>
                  <p:cNvPr id="466" name="Freeform: Shape 465">
                    <a:extLst>
                      <a:ext uri="{FF2B5EF4-FFF2-40B4-BE49-F238E27FC236}">
                        <a16:creationId xmlns:a16="http://schemas.microsoft.com/office/drawing/2014/main" id="{29A915D6-F55C-D844-7653-4319DD2213C5}"/>
                      </a:ext>
                    </a:extLst>
                  </p:cNvPr>
                  <p:cNvSpPr/>
                  <p:nvPr userDrawn="1"/>
                </p:nvSpPr>
                <p:spPr>
                  <a:xfrm>
                    <a:off x="8467681" y="436366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9EBF0"/>
                  </a:solidFill>
                  <a:ln w="2339" cap="flat">
                    <a:noFill/>
                    <a:prstDash val="solid"/>
                    <a:miter/>
                  </a:ln>
                </p:spPr>
                <p:txBody>
                  <a:bodyPr rtlCol="0" anchor="ctr"/>
                  <a:lstStyle/>
                  <a:p>
                    <a:endParaRPr lang="en-US" sz="2400"/>
                  </a:p>
                </p:txBody>
              </p:sp>
              <p:sp>
                <p:nvSpPr>
                  <p:cNvPr id="467" name="Freeform: Shape 466">
                    <a:extLst>
                      <a:ext uri="{FF2B5EF4-FFF2-40B4-BE49-F238E27FC236}">
                        <a16:creationId xmlns:a16="http://schemas.microsoft.com/office/drawing/2014/main" id="{463094DB-97A5-BEA0-7969-1B7E0B1F1B91}"/>
                      </a:ext>
                    </a:extLst>
                  </p:cNvPr>
                  <p:cNvSpPr/>
                  <p:nvPr userDrawn="1"/>
                </p:nvSpPr>
                <p:spPr>
                  <a:xfrm>
                    <a:off x="8468125" y="436324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9EBF1"/>
                  </a:solidFill>
                  <a:ln w="2339" cap="flat">
                    <a:noFill/>
                    <a:prstDash val="solid"/>
                    <a:miter/>
                  </a:ln>
                </p:spPr>
                <p:txBody>
                  <a:bodyPr rtlCol="0" anchor="ctr"/>
                  <a:lstStyle/>
                  <a:p>
                    <a:endParaRPr lang="en-US" sz="2400"/>
                  </a:p>
                </p:txBody>
              </p:sp>
              <p:sp>
                <p:nvSpPr>
                  <p:cNvPr id="468" name="Freeform: Shape 467">
                    <a:extLst>
                      <a:ext uri="{FF2B5EF4-FFF2-40B4-BE49-F238E27FC236}">
                        <a16:creationId xmlns:a16="http://schemas.microsoft.com/office/drawing/2014/main" id="{32A745A0-A1C7-1328-E38F-F1A5DE3F9B85}"/>
                      </a:ext>
                    </a:extLst>
                  </p:cNvPr>
                  <p:cNvSpPr/>
                  <p:nvPr userDrawn="1"/>
                </p:nvSpPr>
                <p:spPr>
                  <a:xfrm>
                    <a:off x="8468547" y="436282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9EBF1"/>
                  </a:solidFill>
                  <a:ln w="2339" cap="flat">
                    <a:noFill/>
                    <a:prstDash val="solid"/>
                    <a:miter/>
                  </a:ln>
                </p:spPr>
                <p:txBody>
                  <a:bodyPr rtlCol="0" anchor="ctr"/>
                  <a:lstStyle/>
                  <a:p>
                    <a:endParaRPr lang="en-US" sz="2400"/>
                  </a:p>
                </p:txBody>
              </p:sp>
              <p:sp>
                <p:nvSpPr>
                  <p:cNvPr id="469" name="Freeform: Shape 468">
                    <a:extLst>
                      <a:ext uri="{FF2B5EF4-FFF2-40B4-BE49-F238E27FC236}">
                        <a16:creationId xmlns:a16="http://schemas.microsoft.com/office/drawing/2014/main" id="{E86220EF-827B-FB9D-3B46-112F890D8151}"/>
                      </a:ext>
                    </a:extLst>
                  </p:cNvPr>
                  <p:cNvSpPr/>
                  <p:nvPr userDrawn="1"/>
                </p:nvSpPr>
                <p:spPr>
                  <a:xfrm>
                    <a:off x="8468991" y="436242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EAECF1"/>
                  </a:solidFill>
                  <a:ln w="2339" cap="flat">
                    <a:noFill/>
                    <a:prstDash val="solid"/>
                    <a:miter/>
                  </a:ln>
                </p:spPr>
                <p:txBody>
                  <a:bodyPr rtlCol="0" anchor="ctr"/>
                  <a:lstStyle/>
                  <a:p>
                    <a:endParaRPr lang="en-US" sz="2400"/>
                  </a:p>
                </p:txBody>
              </p:sp>
              <p:sp>
                <p:nvSpPr>
                  <p:cNvPr id="470" name="Freeform: Shape 469">
                    <a:extLst>
                      <a:ext uri="{FF2B5EF4-FFF2-40B4-BE49-F238E27FC236}">
                        <a16:creationId xmlns:a16="http://schemas.microsoft.com/office/drawing/2014/main" id="{86C9D181-96F8-63A6-6BFB-9945382E478C}"/>
                      </a:ext>
                    </a:extLst>
                  </p:cNvPr>
                  <p:cNvSpPr/>
                  <p:nvPr userDrawn="1"/>
                </p:nvSpPr>
                <p:spPr>
                  <a:xfrm>
                    <a:off x="8469389" y="436200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AECF1"/>
                  </a:solidFill>
                  <a:ln w="2339" cap="flat">
                    <a:noFill/>
                    <a:prstDash val="solid"/>
                    <a:miter/>
                  </a:ln>
                </p:spPr>
                <p:txBody>
                  <a:bodyPr rtlCol="0" anchor="ctr"/>
                  <a:lstStyle/>
                  <a:p>
                    <a:endParaRPr lang="en-US" sz="2400"/>
                  </a:p>
                </p:txBody>
              </p:sp>
              <p:sp>
                <p:nvSpPr>
                  <p:cNvPr id="471" name="Freeform: Shape 470">
                    <a:extLst>
                      <a:ext uri="{FF2B5EF4-FFF2-40B4-BE49-F238E27FC236}">
                        <a16:creationId xmlns:a16="http://schemas.microsoft.com/office/drawing/2014/main" id="{54E3E05E-8849-9164-C12C-7762250DAA8D}"/>
                      </a:ext>
                    </a:extLst>
                  </p:cNvPr>
                  <p:cNvSpPr/>
                  <p:nvPr userDrawn="1"/>
                </p:nvSpPr>
                <p:spPr>
                  <a:xfrm>
                    <a:off x="8469810" y="436158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AECF1"/>
                  </a:solidFill>
                  <a:ln w="2339" cap="flat">
                    <a:noFill/>
                    <a:prstDash val="solid"/>
                    <a:miter/>
                  </a:ln>
                </p:spPr>
                <p:txBody>
                  <a:bodyPr rtlCol="0" anchor="ctr"/>
                  <a:lstStyle/>
                  <a:p>
                    <a:endParaRPr lang="en-US" sz="2400"/>
                  </a:p>
                </p:txBody>
              </p:sp>
              <p:sp>
                <p:nvSpPr>
                  <p:cNvPr id="472" name="Freeform: Shape 471">
                    <a:extLst>
                      <a:ext uri="{FF2B5EF4-FFF2-40B4-BE49-F238E27FC236}">
                        <a16:creationId xmlns:a16="http://schemas.microsoft.com/office/drawing/2014/main" id="{AE63AE51-17C8-4494-E593-39E588030573}"/>
                      </a:ext>
                    </a:extLst>
                  </p:cNvPr>
                  <p:cNvSpPr/>
                  <p:nvPr userDrawn="1"/>
                </p:nvSpPr>
                <p:spPr>
                  <a:xfrm>
                    <a:off x="8470231" y="436118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EBECF2"/>
                  </a:solidFill>
                  <a:ln w="2339" cap="flat">
                    <a:noFill/>
                    <a:prstDash val="solid"/>
                    <a:miter/>
                  </a:ln>
                </p:spPr>
                <p:txBody>
                  <a:bodyPr rtlCol="0" anchor="ctr"/>
                  <a:lstStyle/>
                  <a:p>
                    <a:endParaRPr lang="en-US" sz="2400"/>
                  </a:p>
                </p:txBody>
              </p:sp>
              <p:sp>
                <p:nvSpPr>
                  <p:cNvPr id="473" name="Freeform: Shape 472">
                    <a:extLst>
                      <a:ext uri="{FF2B5EF4-FFF2-40B4-BE49-F238E27FC236}">
                        <a16:creationId xmlns:a16="http://schemas.microsoft.com/office/drawing/2014/main" id="{3694AC3A-2866-DB3D-BFD5-21F51A7C3C96}"/>
                      </a:ext>
                    </a:extLst>
                  </p:cNvPr>
                  <p:cNvSpPr/>
                  <p:nvPr userDrawn="1"/>
                </p:nvSpPr>
                <p:spPr>
                  <a:xfrm>
                    <a:off x="8470629" y="436076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BEDF2"/>
                  </a:solidFill>
                  <a:ln w="2339" cap="flat">
                    <a:noFill/>
                    <a:prstDash val="solid"/>
                    <a:miter/>
                  </a:ln>
                </p:spPr>
                <p:txBody>
                  <a:bodyPr rtlCol="0" anchor="ctr"/>
                  <a:lstStyle/>
                  <a:p>
                    <a:endParaRPr lang="en-US" sz="2400"/>
                  </a:p>
                </p:txBody>
              </p:sp>
              <p:sp>
                <p:nvSpPr>
                  <p:cNvPr id="474" name="Freeform: Shape 473">
                    <a:extLst>
                      <a:ext uri="{FF2B5EF4-FFF2-40B4-BE49-F238E27FC236}">
                        <a16:creationId xmlns:a16="http://schemas.microsoft.com/office/drawing/2014/main" id="{A75A8EC2-CE78-AC66-0E99-FA146AE8D7C4}"/>
                      </a:ext>
                    </a:extLst>
                  </p:cNvPr>
                  <p:cNvSpPr/>
                  <p:nvPr userDrawn="1"/>
                </p:nvSpPr>
                <p:spPr>
                  <a:xfrm>
                    <a:off x="8471027" y="436034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BEDF2"/>
                  </a:solidFill>
                  <a:ln w="2339" cap="flat">
                    <a:noFill/>
                    <a:prstDash val="solid"/>
                    <a:miter/>
                  </a:ln>
                </p:spPr>
                <p:txBody>
                  <a:bodyPr rtlCol="0" anchor="ctr"/>
                  <a:lstStyle/>
                  <a:p>
                    <a:endParaRPr lang="en-US" sz="2400"/>
                  </a:p>
                </p:txBody>
              </p:sp>
              <p:sp>
                <p:nvSpPr>
                  <p:cNvPr id="475" name="Freeform: Shape 474">
                    <a:extLst>
                      <a:ext uri="{FF2B5EF4-FFF2-40B4-BE49-F238E27FC236}">
                        <a16:creationId xmlns:a16="http://schemas.microsoft.com/office/drawing/2014/main" id="{28AA380C-3154-5430-4751-C42DEBF11C58}"/>
                      </a:ext>
                    </a:extLst>
                  </p:cNvPr>
                  <p:cNvSpPr/>
                  <p:nvPr userDrawn="1"/>
                </p:nvSpPr>
                <p:spPr>
                  <a:xfrm>
                    <a:off x="8471425" y="435992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BEDF2"/>
                  </a:solidFill>
                  <a:ln w="2339" cap="flat">
                    <a:noFill/>
                    <a:prstDash val="solid"/>
                    <a:miter/>
                  </a:ln>
                </p:spPr>
                <p:txBody>
                  <a:bodyPr rtlCol="0" anchor="ctr"/>
                  <a:lstStyle/>
                  <a:p>
                    <a:endParaRPr lang="en-US" sz="2400"/>
                  </a:p>
                </p:txBody>
              </p:sp>
              <p:sp>
                <p:nvSpPr>
                  <p:cNvPr id="476" name="Freeform: Shape 475">
                    <a:extLst>
                      <a:ext uri="{FF2B5EF4-FFF2-40B4-BE49-F238E27FC236}">
                        <a16:creationId xmlns:a16="http://schemas.microsoft.com/office/drawing/2014/main" id="{DE9C600B-54D6-C138-D767-03E7059AD085}"/>
                      </a:ext>
                    </a:extLst>
                  </p:cNvPr>
                  <p:cNvSpPr/>
                  <p:nvPr userDrawn="1"/>
                </p:nvSpPr>
                <p:spPr>
                  <a:xfrm>
                    <a:off x="8471799" y="435950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CEDF2"/>
                  </a:solidFill>
                  <a:ln w="2339" cap="flat">
                    <a:noFill/>
                    <a:prstDash val="solid"/>
                    <a:miter/>
                  </a:ln>
                </p:spPr>
                <p:txBody>
                  <a:bodyPr rtlCol="0" anchor="ctr"/>
                  <a:lstStyle/>
                  <a:p>
                    <a:endParaRPr lang="en-US" sz="2400"/>
                  </a:p>
                </p:txBody>
              </p:sp>
              <p:sp>
                <p:nvSpPr>
                  <p:cNvPr id="477" name="Freeform: Shape 476">
                    <a:extLst>
                      <a:ext uri="{FF2B5EF4-FFF2-40B4-BE49-F238E27FC236}">
                        <a16:creationId xmlns:a16="http://schemas.microsoft.com/office/drawing/2014/main" id="{58548667-9977-3AB8-E265-731109175838}"/>
                      </a:ext>
                    </a:extLst>
                  </p:cNvPr>
                  <p:cNvSpPr/>
                  <p:nvPr userDrawn="1"/>
                </p:nvSpPr>
                <p:spPr>
                  <a:xfrm>
                    <a:off x="8472174" y="435910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CEEF3"/>
                  </a:solidFill>
                  <a:ln w="2339" cap="flat">
                    <a:noFill/>
                    <a:prstDash val="solid"/>
                    <a:miter/>
                  </a:ln>
                </p:spPr>
                <p:txBody>
                  <a:bodyPr rtlCol="0" anchor="ctr"/>
                  <a:lstStyle/>
                  <a:p>
                    <a:endParaRPr lang="en-US" sz="2400"/>
                  </a:p>
                </p:txBody>
              </p:sp>
              <p:sp>
                <p:nvSpPr>
                  <p:cNvPr id="478" name="Freeform: Shape 477">
                    <a:extLst>
                      <a:ext uri="{FF2B5EF4-FFF2-40B4-BE49-F238E27FC236}">
                        <a16:creationId xmlns:a16="http://schemas.microsoft.com/office/drawing/2014/main" id="{D8B37B86-C294-B3E6-7EFE-C39E4E64C78A}"/>
                      </a:ext>
                    </a:extLst>
                  </p:cNvPr>
                  <p:cNvSpPr/>
                  <p:nvPr userDrawn="1"/>
                </p:nvSpPr>
                <p:spPr>
                  <a:xfrm>
                    <a:off x="8472548" y="435868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CEEF3"/>
                  </a:solidFill>
                  <a:ln w="2339" cap="flat">
                    <a:noFill/>
                    <a:prstDash val="solid"/>
                    <a:miter/>
                  </a:ln>
                </p:spPr>
                <p:txBody>
                  <a:bodyPr rtlCol="0" anchor="ctr"/>
                  <a:lstStyle/>
                  <a:p>
                    <a:endParaRPr lang="en-US" sz="2400"/>
                  </a:p>
                </p:txBody>
              </p:sp>
              <p:sp>
                <p:nvSpPr>
                  <p:cNvPr id="479" name="Freeform: Shape 478">
                    <a:extLst>
                      <a:ext uri="{FF2B5EF4-FFF2-40B4-BE49-F238E27FC236}">
                        <a16:creationId xmlns:a16="http://schemas.microsoft.com/office/drawing/2014/main" id="{63FA0585-AB96-2558-AAEA-E43666FDB139}"/>
                      </a:ext>
                    </a:extLst>
                  </p:cNvPr>
                  <p:cNvSpPr/>
                  <p:nvPr userDrawn="1"/>
                </p:nvSpPr>
                <p:spPr>
                  <a:xfrm>
                    <a:off x="8472922" y="435826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DEEF3"/>
                  </a:solidFill>
                  <a:ln w="2339" cap="flat">
                    <a:noFill/>
                    <a:prstDash val="solid"/>
                    <a:miter/>
                  </a:ln>
                </p:spPr>
                <p:txBody>
                  <a:bodyPr rtlCol="0" anchor="ctr"/>
                  <a:lstStyle/>
                  <a:p>
                    <a:endParaRPr lang="en-US" sz="2400"/>
                  </a:p>
                </p:txBody>
              </p:sp>
              <p:sp>
                <p:nvSpPr>
                  <p:cNvPr id="480" name="Freeform: Shape 479">
                    <a:extLst>
                      <a:ext uri="{FF2B5EF4-FFF2-40B4-BE49-F238E27FC236}">
                        <a16:creationId xmlns:a16="http://schemas.microsoft.com/office/drawing/2014/main" id="{B3623D4A-9484-17C1-671A-5E96175FC962}"/>
                      </a:ext>
                    </a:extLst>
                  </p:cNvPr>
                  <p:cNvSpPr/>
                  <p:nvPr userDrawn="1"/>
                </p:nvSpPr>
                <p:spPr>
                  <a:xfrm>
                    <a:off x="8473297" y="435784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DEFF3"/>
                  </a:solidFill>
                  <a:ln w="2339" cap="flat">
                    <a:noFill/>
                    <a:prstDash val="solid"/>
                    <a:miter/>
                  </a:ln>
                </p:spPr>
                <p:txBody>
                  <a:bodyPr rtlCol="0" anchor="ctr"/>
                  <a:lstStyle/>
                  <a:p>
                    <a:endParaRPr lang="en-US" sz="2400"/>
                  </a:p>
                </p:txBody>
              </p:sp>
              <p:sp>
                <p:nvSpPr>
                  <p:cNvPr id="481" name="Freeform: Shape 480">
                    <a:extLst>
                      <a:ext uri="{FF2B5EF4-FFF2-40B4-BE49-F238E27FC236}">
                        <a16:creationId xmlns:a16="http://schemas.microsoft.com/office/drawing/2014/main" id="{6184D78B-72E1-89BE-E5B5-C9B60B4AD866}"/>
                      </a:ext>
                    </a:extLst>
                  </p:cNvPr>
                  <p:cNvSpPr/>
                  <p:nvPr userDrawn="1"/>
                </p:nvSpPr>
                <p:spPr>
                  <a:xfrm>
                    <a:off x="8473648" y="435741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DEFF3"/>
                  </a:solidFill>
                  <a:ln w="2339" cap="flat">
                    <a:noFill/>
                    <a:prstDash val="solid"/>
                    <a:miter/>
                  </a:ln>
                </p:spPr>
                <p:txBody>
                  <a:bodyPr rtlCol="0" anchor="ctr"/>
                  <a:lstStyle/>
                  <a:p>
                    <a:endParaRPr lang="en-US" sz="2400"/>
                  </a:p>
                </p:txBody>
              </p:sp>
              <p:sp>
                <p:nvSpPr>
                  <p:cNvPr id="482" name="Freeform: Shape 481">
                    <a:extLst>
                      <a:ext uri="{FF2B5EF4-FFF2-40B4-BE49-F238E27FC236}">
                        <a16:creationId xmlns:a16="http://schemas.microsoft.com/office/drawing/2014/main" id="{B8EF9F5E-2FCF-3B26-7E0F-8809322E2285}"/>
                      </a:ext>
                    </a:extLst>
                  </p:cNvPr>
                  <p:cNvSpPr/>
                  <p:nvPr userDrawn="1"/>
                </p:nvSpPr>
                <p:spPr>
                  <a:xfrm>
                    <a:off x="8474022" y="435699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EEFF4"/>
                  </a:solidFill>
                  <a:ln w="2339" cap="flat">
                    <a:noFill/>
                    <a:prstDash val="solid"/>
                    <a:miter/>
                  </a:ln>
                </p:spPr>
                <p:txBody>
                  <a:bodyPr rtlCol="0" anchor="ctr"/>
                  <a:lstStyle/>
                  <a:p>
                    <a:endParaRPr lang="en-US" sz="2400"/>
                  </a:p>
                </p:txBody>
              </p:sp>
              <p:sp>
                <p:nvSpPr>
                  <p:cNvPr id="483" name="Freeform: Shape 482">
                    <a:extLst>
                      <a:ext uri="{FF2B5EF4-FFF2-40B4-BE49-F238E27FC236}">
                        <a16:creationId xmlns:a16="http://schemas.microsoft.com/office/drawing/2014/main" id="{C4BD3F9A-6A9C-C26A-A623-2274961379C5}"/>
                      </a:ext>
                    </a:extLst>
                  </p:cNvPr>
                  <p:cNvSpPr/>
                  <p:nvPr userDrawn="1"/>
                </p:nvSpPr>
                <p:spPr>
                  <a:xfrm>
                    <a:off x="8474373" y="435657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EEFF4"/>
                  </a:solidFill>
                  <a:ln w="2339" cap="flat">
                    <a:noFill/>
                    <a:prstDash val="solid"/>
                    <a:miter/>
                  </a:ln>
                </p:spPr>
                <p:txBody>
                  <a:bodyPr rtlCol="0" anchor="ctr"/>
                  <a:lstStyle/>
                  <a:p>
                    <a:endParaRPr lang="en-US" sz="2400"/>
                  </a:p>
                </p:txBody>
              </p:sp>
              <p:sp>
                <p:nvSpPr>
                  <p:cNvPr id="484" name="Freeform: Shape 483">
                    <a:extLst>
                      <a:ext uri="{FF2B5EF4-FFF2-40B4-BE49-F238E27FC236}">
                        <a16:creationId xmlns:a16="http://schemas.microsoft.com/office/drawing/2014/main" id="{FDA31F23-068A-3123-7341-ADD54CC57F49}"/>
                      </a:ext>
                    </a:extLst>
                  </p:cNvPr>
                  <p:cNvSpPr/>
                  <p:nvPr userDrawn="1"/>
                </p:nvSpPr>
                <p:spPr>
                  <a:xfrm>
                    <a:off x="8474701" y="435617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EF0F4"/>
                  </a:solidFill>
                  <a:ln w="2339" cap="flat">
                    <a:noFill/>
                    <a:prstDash val="solid"/>
                    <a:miter/>
                  </a:ln>
                </p:spPr>
                <p:txBody>
                  <a:bodyPr rtlCol="0" anchor="ctr"/>
                  <a:lstStyle/>
                  <a:p>
                    <a:endParaRPr lang="en-US" sz="2400"/>
                  </a:p>
                </p:txBody>
              </p:sp>
              <p:sp>
                <p:nvSpPr>
                  <p:cNvPr id="485" name="Freeform: Shape 484">
                    <a:extLst>
                      <a:ext uri="{FF2B5EF4-FFF2-40B4-BE49-F238E27FC236}">
                        <a16:creationId xmlns:a16="http://schemas.microsoft.com/office/drawing/2014/main" id="{3F1BD666-B591-A39B-9984-FE10193C8B06}"/>
                      </a:ext>
                    </a:extLst>
                  </p:cNvPr>
                  <p:cNvSpPr/>
                  <p:nvPr userDrawn="1"/>
                </p:nvSpPr>
                <p:spPr>
                  <a:xfrm>
                    <a:off x="8475052" y="435575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EEF0F4"/>
                  </a:solidFill>
                  <a:ln w="2339" cap="flat">
                    <a:noFill/>
                    <a:prstDash val="solid"/>
                    <a:miter/>
                  </a:ln>
                </p:spPr>
                <p:txBody>
                  <a:bodyPr rtlCol="0" anchor="ctr"/>
                  <a:lstStyle/>
                  <a:p>
                    <a:endParaRPr lang="en-US" sz="2400"/>
                  </a:p>
                </p:txBody>
              </p:sp>
              <p:sp>
                <p:nvSpPr>
                  <p:cNvPr id="486" name="Freeform: Shape 485">
                    <a:extLst>
                      <a:ext uri="{FF2B5EF4-FFF2-40B4-BE49-F238E27FC236}">
                        <a16:creationId xmlns:a16="http://schemas.microsoft.com/office/drawing/2014/main" id="{FBF9206A-8191-01E3-47D4-4BD3D23A7349}"/>
                      </a:ext>
                    </a:extLst>
                  </p:cNvPr>
                  <p:cNvSpPr/>
                  <p:nvPr userDrawn="1"/>
                </p:nvSpPr>
                <p:spPr>
                  <a:xfrm>
                    <a:off x="8475379" y="435533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FF0F4"/>
                  </a:solidFill>
                  <a:ln w="2339" cap="flat">
                    <a:noFill/>
                    <a:prstDash val="solid"/>
                    <a:miter/>
                  </a:ln>
                </p:spPr>
                <p:txBody>
                  <a:bodyPr rtlCol="0" anchor="ctr"/>
                  <a:lstStyle/>
                  <a:p>
                    <a:endParaRPr lang="en-US" sz="2400"/>
                  </a:p>
                </p:txBody>
              </p:sp>
              <p:sp>
                <p:nvSpPr>
                  <p:cNvPr id="487" name="Freeform: Shape 486">
                    <a:extLst>
                      <a:ext uri="{FF2B5EF4-FFF2-40B4-BE49-F238E27FC236}">
                        <a16:creationId xmlns:a16="http://schemas.microsoft.com/office/drawing/2014/main" id="{CB295DE9-C87B-BAD4-771A-C20232BD93E6}"/>
                      </a:ext>
                    </a:extLst>
                  </p:cNvPr>
                  <p:cNvSpPr/>
                  <p:nvPr userDrawn="1"/>
                </p:nvSpPr>
                <p:spPr>
                  <a:xfrm>
                    <a:off x="8475707" y="435491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FF1F5"/>
                  </a:solidFill>
                  <a:ln w="2339" cap="flat">
                    <a:noFill/>
                    <a:prstDash val="solid"/>
                    <a:miter/>
                  </a:ln>
                </p:spPr>
                <p:txBody>
                  <a:bodyPr rtlCol="0" anchor="ctr"/>
                  <a:lstStyle/>
                  <a:p>
                    <a:endParaRPr lang="en-US" sz="2400"/>
                  </a:p>
                </p:txBody>
              </p:sp>
              <p:sp>
                <p:nvSpPr>
                  <p:cNvPr id="488" name="Freeform: Shape 487">
                    <a:extLst>
                      <a:ext uri="{FF2B5EF4-FFF2-40B4-BE49-F238E27FC236}">
                        <a16:creationId xmlns:a16="http://schemas.microsoft.com/office/drawing/2014/main" id="{D6F71277-865D-4FFB-7C5E-3C0592BC1182}"/>
                      </a:ext>
                    </a:extLst>
                  </p:cNvPr>
                  <p:cNvSpPr/>
                  <p:nvPr userDrawn="1"/>
                </p:nvSpPr>
                <p:spPr>
                  <a:xfrm>
                    <a:off x="8476035" y="435449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FF1F5"/>
                  </a:solidFill>
                  <a:ln w="2339" cap="flat">
                    <a:noFill/>
                    <a:prstDash val="solid"/>
                    <a:miter/>
                  </a:ln>
                </p:spPr>
                <p:txBody>
                  <a:bodyPr rtlCol="0" anchor="ctr"/>
                  <a:lstStyle/>
                  <a:p>
                    <a:endParaRPr lang="en-US" sz="2400"/>
                  </a:p>
                </p:txBody>
              </p:sp>
              <p:sp>
                <p:nvSpPr>
                  <p:cNvPr id="489" name="Freeform: Shape 488">
                    <a:extLst>
                      <a:ext uri="{FF2B5EF4-FFF2-40B4-BE49-F238E27FC236}">
                        <a16:creationId xmlns:a16="http://schemas.microsoft.com/office/drawing/2014/main" id="{08514A47-CF59-8A0D-BCCE-6C457FE453C6}"/>
                      </a:ext>
                    </a:extLst>
                  </p:cNvPr>
                  <p:cNvSpPr/>
                  <p:nvPr userDrawn="1"/>
                </p:nvSpPr>
                <p:spPr>
                  <a:xfrm>
                    <a:off x="8476339" y="435407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F0F1F5"/>
                  </a:solidFill>
                  <a:ln w="2339" cap="flat">
                    <a:noFill/>
                    <a:prstDash val="solid"/>
                    <a:miter/>
                  </a:ln>
                </p:spPr>
                <p:txBody>
                  <a:bodyPr rtlCol="0" anchor="ctr"/>
                  <a:lstStyle/>
                  <a:p>
                    <a:endParaRPr lang="en-US" sz="2400"/>
                  </a:p>
                </p:txBody>
              </p:sp>
              <p:sp>
                <p:nvSpPr>
                  <p:cNvPr id="490" name="Freeform: Shape 489">
                    <a:extLst>
                      <a:ext uri="{FF2B5EF4-FFF2-40B4-BE49-F238E27FC236}">
                        <a16:creationId xmlns:a16="http://schemas.microsoft.com/office/drawing/2014/main" id="{7B1D977D-B0ED-D46D-AAC1-E5F46EE8EA6C}"/>
                      </a:ext>
                    </a:extLst>
                  </p:cNvPr>
                  <p:cNvSpPr/>
                  <p:nvPr userDrawn="1"/>
                </p:nvSpPr>
                <p:spPr>
                  <a:xfrm>
                    <a:off x="8476666" y="435365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F0F1F5"/>
                  </a:solidFill>
                  <a:ln w="2339" cap="flat">
                    <a:noFill/>
                    <a:prstDash val="solid"/>
                    <a:miter/>
                  </a:ln>
                </p:spPr>
                <p:txBody>
                  <a:bodyPr rtlCol="0" anchor="ctr"/>
                  <a:lstStyle/>
                  <a:p>
                    <a:endParaRPr lang="en-US" sz="2400"/>
                  </a:p>
                </p:txBody>
              </p:sp>
              <p:sp>
                <p:nvSpPr>
                  <p:cNvPr id="491" name="Freeform: Shape 490">
                    <a:extLst>
                      <a:ext uri="{FF2B5EF4-FFF2-40B4-BE49-F238E27FC236}">
                        <a16:creationId xmlns:a16="http://schemas.microsoft.com/office/drawing/2014/main" id="{4D8418E9-DEE1-9260-93B8-B2C8D826FF8D}"/>
                      </a:ext>
                    </a:extLst>
                  </p:cNvPr>
                  <p:cNvSpPr/>
                  <p:nvPr userDrawn="1"/>
                </p:nvSpPr>
                <p:spPr>
                  <a:xfrm>
                    <a:off x="8476971" y="435323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F0F2F5"/>
                  </a:solidFill>
                  <a:ln w="2339" cap="flat">
                    <a:noFill/>
                    <a:prstDash val="solid"/>
                    <a:miter/>
                  </a:ln>
                </p:spPr>
                <p:txBody>
                  <a:bodyPr rtlCol="0" anchor="ctr"/>
                  <a:lstStyle/>
                  <a:p>
                    <a:endParaRPr lang="en-US" sz="2400"/>
                  </a:p>
                </p:txBody>
              </p:sp>
              <p:sp>
                <p:nvSpPr>
                  <p:cNvPr id="492" name="Freeform: Shape 491">
                    <a:extLst>
                      <a:ext uri="{FF2B5EF4-FFF2-40B4-BE49-F238E27FC236}">
                        <a16:creationId xmlns:a16="http://schemas.microsoft.com/office/drawing/2014/main" id="{061E7564-7133-3961-176E-DBDC9D15BA96}"/>
                      </a:ext>
                    </a:extLst>
                  </p:cNvPr>
                  <p:cNvSpPr/>
                  <p:nvPr userDrawn="1"/>
                </p:nvSpPr>
                <p:spPr>
                  <a:xfrm>
                    <a:off x="8477275" y="435280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F1F2F6"/>
                  </a:solidFill>
                  <a:ln w="2339" cap="flat">
                    <a:noFill/>
                    <a:prstDash val="solid"/>
                    <a:miter/>
                  </a:ln>
                </p:spPr>
                <p:txBody>
                  <a:bodyPr rtlCol="0" anchor="ctr"/>
                  <a:lstStyle/>
                  <a:p>
                    <a:endParaRPr lang="en-US" sz="2400"/>
                  </a:p>
                </p:txBody>
              </p:sp>
              <p:sp>
                <p:nvSpPr>
                  <p:cNvPr id="493" name="Freeform: Shape 492">
                    <a:extLst>
                      <a:ext uri="{FF2B5EF4-FFF2-40B4-BE49-F238E27FC236}">
                        <a16:creationId xmlns:a16="http://schemas.microsoft.com/office/drawing/2014/main" id="{90952968-018A-26DB-A37B-62FDA805B0FB}"/>
                      </a:ext>
                    </a:extLst>
                  </p:cNvPr>
                  <p:cNvSpPr/>
                  <p:nvPr userDrawn="1"/>
                </p:nvSpPr>
                <p:spPr>
                  <a:xfrm>
                    <a:off x="8477556" y="435238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F1F2F6"/>
                  </a:solidFill>
                  <a:ln w="2339" cap="flat">
                    <a:noFill/>
                    <a:prstDash val="solid"/>
                    <a:miter/>
                  </a:ln>
                </p:spPr>
                <p:txBody>
                  <a:bodyPr rtlCol="0" anchor="ctr"/>
                  <a:lstStyle/>
                  <a:p>
                    <a:endParaRPr lang="en-US" sz="2400"/>
                  </a:p>
                </p:txBody>
              </p:sp>
              <p:sp>
                <p:nvSpPr>
                  <p:cNvPr id="494" name="Freeform: Shape 493">
                    <a:extLst>
                      <a:ext uri="{FF2B5EF4-FFF2-40B4-BE49-F238E27FC236}">
                        <a16:creationId xmlns:a16="http://schemas.microsoft.com/office/drawing/2014/main" id="{65421C63-4B19-145A-63F8-9FB1B3B20A24}"/>
                      </a:ext>
                    </a:extLst>
                  </p:cNvPr>
                  <p:cNvSpPr/>
                  <p:nvPr userDrawn="1"/>
                </p:nvSpPr>
                <p:spPr>
                  <a:xfrm>
                    <a:off x="8477860" y="435196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F1F2F6"/>
                  </a:solidFill>
                  <a:ln w="2339" cap="flat">
                    <a:noFill/>
                    <a:prstDash val="solid"/>
                    <a:miter/>
                  </a:ln>
                </p:spPr>
                <p:txBody>
                  <a:bodyPr rtlCol="0" anchor="ctr"/>
                  <a:lstStyle/>
                  <a:p>
                    <a:endParaRPr lang="en-US" sz="2400"/>
                  </a:p>
                </p:txBody>
              </p:sp>
              <p:sp>
                <p:nvSpPr>
                  <p:cNvPr id="495" name="Freeform: Shape 494">
                    <a:extLst>
                      <a:ext uri="{FF2B5EF4-FFF2-40B4-BE49-F238E27FC236}">
                        <a16:creationId xmlns:a16="http://schemas.microsoft.com/office/drawing/2014/main" id="{DFEB6E37-D2F7-111F-20EC-10FBE28FEAF5}"/>
                      </a:ext>
                    </a:extLst>
                  </p:cNvPr>
                  <p:cNvSpPr/>
                  <p:nvPr userDrawn="1"/>
                </p:nvSpPr>
                <p:spPr>
                  <a:xfrm>
                    <a:off x="8478141" y="435154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F2F3F6"/>
                  </a:solidFill>
                  <a:ln w="2339" cap="flat">
                    <a:noFill/>
                    <a:prstDash val="solid"/>
                    <a:miter/>
                  </a:ln>
                </p:spPr>
                <p:txBody>
                  <a:bodyPr rtlCol="0" anchor="ctr"/>
                  <a:lstStyle/>
                  <a:p>
                    <a:endParaRPr lang="en-US" sz="2400"/>
                  </a:p>
                </p:txBody>
              </p:sp>
              <p:sp>
                <p:nvSpPr>
                  <p:cNvPr id="496" name="Freeform: Shape 495">
                    <a:extLst>
                      <a:ext uri="{FF2B5EF4-FFF2-40B4-BE49-F238E27FC236}">
                        <a16:creationId xmlns:a16="http://schemas.microsoft.com/office/drawing/2014/main" id="{1A9F2A73-ED66-13D6-7B17-67D9E1BB3BF4}"/>
                      </a:ext>
                    </a:extLst>
                  </p:cNvPr>
                  <p:cNvSpPr/>
                  <p:nvPr userDrawn="1"/>
                </p:nvSpPr>
                <p:spPr>
                  <a:xfrm>
                    <a:off x="8478421" y="435112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F2F3F6"/>
                  </a:solidFill>
                  <a:ln w="2339" cap="flat">
                    <a:noFill/>
                    <a:prstDash val="solid"/>
                    <a:miter/>
                  </a:ln>
                </p:spPr>
                <p:txBody>
                  <a:bodyPr rtlCol="0" anchor="ctr"/>
                  <a:lstStyle/>
                  <a:p>
                    <a:endParaRPr lang="en-US" sz="2400"/>
                  </a:p>
                </p:txBody>
              </p:sp>
              <p:sp>
                <p:nvSpPr>
                  <p:cNvPr id="497" name="Freeform: Shape 496">
                    <a:extLst>
                      <a:ext uri="{FF2B5EF4-FFF2-40B4-BE49-F238E27FC236}">
                        <a16:creationId xmlns:a16="http://schemas.microsoft.com/office/drawing/2014/main" id="{8DB49F88-DB19-DB74-51A3-288822C239CC}"/>
                      </a:ext>
                    </a:extLst>
                  </p:cNvPr>
                  <p:cNvSpPr/>
                  <p:nvPr userDrawn="1"/>
                </p:nvSpPr>
                <p:spPr>
                  <a:xfrm>
                    <a:off x="8478702" y="435070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F2F3F7"/>
                  </a:solidFill>
                  <a:ln w="2339" cap="flat">
                    <a:noFill/>
                    <a:prstDash val="solid"/>
                    <a:miter/>
                  </a:ln>
                </p:spPr>
                <p:txBody>
                  <a:bodyPr rtlCol="0" anchor="ctr"/>
                  <a:lstStyle/>
                  <a:p>
                    <a:endParaRPr lang="en-US" sz="2400"/>
                  </a:p>
                </p:txBody>
              </p:sp>
              <p:sp>
                <p:nvSpPr>
                  <p:cNvPr id="498" name="Freeform: Shape 497">
                    <a:extLst>
                      <a:ext uri="{FF2B5EF4-FFF2-40B4-BE49-F238E27FC236}">
                        <a16:creationId xmlns:a16="http://schemas.microsoft.com/office/drawing/2014/main" id="{57BF51F9-57BD-EB5E-7F8F-BC6C46B49679}"/>
                      </a:ext>
                    </a:extLst>
                  </p:cNvPr>
                  <p:cNvSpPr/>
                  <p:nvPr userDrawn="1"/>
                </p:nvSpPr>
                <p:spPr>
                  <a:xfrm>
                    <a:off x="8478960" y="435028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F2F4F7"/>
                  </a:solidFill>
                  <a:ln w="2339" cap="flat">
                    <a:noFill/>
                    <a:prstDash val="solid"/>
                    <a:miter/>
                  </a:ln>
                </p:spPr>
                <p:txBody>
                  <a:bodyPr rtlCol="0" anchor="ctr"/>
                  <a:lstStyle/>
                  <a:p>
                    <a:endParaRPr lang="en-US" sz="2400"/>
                  </a:p>
                </p:txBody>
              </p:sp>
              <p:sp>
                <p:nvSpPr>
                  <p:cNvPr id="499" name="Freeform: Shape 498">
                    <a:extLst>
                      <a:ext uri="{FF2B5EF4-FFF2-40B4-BE49-F238E27FC236}">
                        <a16:creationId xmlns:a16="http://schemas.microsoft.com/office/drawing/2014/main" id="{85E80ECF-071A-FEE0-7561-F383C856454C}"/>
                      </a:ext>
                    </a:extLst>
                  </p:cNvPr>
                  <p:cNvSpPr/>
                  <p:nvPr userDrawn="1"/>
                </p:nvSpPr>
                <p:spPr>
                  <a:xfrm>
                    <a:off x="8479217" y="4349860"/>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3F4F7"/>
                  </a:solidFill>
                  <a:ln w="2339" cap="flat">
                    <a:noFill/>
                    <a:prstDash val="solid"/>
                    <a:miter/>
                  </a:ln>
                </p:spPr>
                <p:txBody>
                  <a:bodyPr rtlCol="0" anchor="ctr"/>
                  <a:lstStyle/>
                  <a:p>
                    <a:endParaRPr lang="en-US" sz="2400"/>
                  </a:p>
                </p:txBody>
              </p:sp>
              <p:sp>
                <p:nvSpPr>
                  <p:cNvPr id="500" name="Freeform: Shape 499">
                    <a:extLst>
                      <a:ext uri="{FF2B5EF4-FFF2-40B4-BE49-F238E27FC236}">
                        <a16:creationId xmlns:a16="http://schemas.microsoft.com/office/drawing/2014/main" id="{C3E1A6A1-FD99-04F1-509A-008AB380F268}"/>
                      </a:ext>
                    </a:extLst>
                  </p:cNvPr>
                  <p:cNvSpPr/>
                  <p:nvPr userDrawn="1"/>
                </p:nvSpPr>
                <p:spPr>
                  <a:xfrm>
                    <a:off x="8479474" y="4349439"/>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3F4F7"/>
                  </a:solidFill>
                  <a:ln w="2339" cap="flat">
                    <a:noFill/>
                    <a:prstDash val="solid"/>
                    <a:miter/>
                  </a:ln>
                </p:spPr>
                <p:txBody>
                  <a:bodyPr rtlCol="0" anchor="ctr"/>
                  <a:lstStyle/>
                  <a:p>
                    <a:endParaRPr lang="en-US" sz="2400"/>
                  </a:p>
                </p:txBody>
              </p:sp>
              <p:sp>
                <p:nvSpPr>
                  <p:cNvPr id="501" name="Freeform: Shape 500">
                    <a:extLst>
                      <a:ext uri="{FF2B5EF4-FFF2-40B4-BE49-F238E27FC236}">
                        <a16:creationId xmlns:a16="http://schemas.microsoft.com/office/drawing/2014/main" id="{44465A16-0DE6-19E2-8BB4-46EE8C85CE4B}"/>
                      </a:ext>
                    </a:extLst>
                  </p:cNvPr>
                  <p:cNvSpPr/>
                  <p:nvPr userDrawn="1"/>
                </p:nvSpPr>
                <p:spPr>
                  <a:xfrm>
                    <a:off x="8479732" y="4349018"/>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3F4F7"/>
                  </a:solidFill>
                  <a:ln w="2339" cap="flat">
                    <a:noFill/>
                    <a:prstDash val="solid"/>
                    <a:miter/>
                  </a:ln>
                </p:spPr>
                <p:txBody>
                  <a:bodyPr rtlCol="0" anchor="ctr"/>
                  <a:lstStyle/>
                  <a:p>
                    <a:endParaRPr lang="en-US" sz="2400"/>
                  </a:p>
                </p:txBody>
              </p:sp>
              <p:sp>
                <p:nvSpPr>
                  <p:cNvPr id="502" name="Freeform: Shape 501">
                    <a:extLst>
                      <a:ext uri="{FF2B5EF4-FFF2-40B4-BE49-F238E27FC236}">
                        <a16:creationId xmlns:a16="http://schemas.microsoft.com/office/drawing/2014/main" id="{A68C4C43-AED1-EAE1-BA47-2D86294D42F4}"/>
                      </a:ext>
                    </a:extLst>
                  </p:cNvPr>
                  <p:cNvSpPr/>
                  <p:nvPr userDrawn="1"/>
                </p:nvSpPr>
                <p:spPr>
                  <a:xfrm>
                    <a:off x="8479989" y="4348597"/>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4F5F8"/>
                  </a:solidFill>
                  <a:ln w="2339" cap="flat">
                    <a:noFill/>
                    <a:prstDash val="solid"/>
                    <a:miter/>
                  </a:ln>
                </p:spPr>
                <p:txBody>
                  <a:bodyPr rtlCol="0" anchor="ctr"/>
                  <a:lstStyle/>
                  <a:p>
                    <a:endParaRPr lang="en-US" sz="2400"/>
                  </a:p>
                </p:txBody>
              </p:sp>
              <p:sp>
                <p:nvSpPr>
                  <p:cNvPr id="503" name="Freeform: Shape 502">
                    <a:extLst>
                      <a:ext uri="{FF2B5EF4-FFF2-40B4-BE49-F238E27FC236}">
                        <a16:creationId xmlns:a16="http://schemas.microsoft.com/office/drawing/2014/main" id="{81DC80D6-F0D8-2674-09D6-5A6AD902FADE}"/>
                      </a:ext>
                    </a:extLst>
                  </p:cNvPr>
                  <p:cNvSpPr/>
                  <p:nvPr userDrawn="1"/>
                </p:nvSpPr>
                <p:spPr>
                  <a:xfrm>
                    <a:off x="8480223" y="4348175"/>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4F5F8"/>
                  </a:solidFill>
                  <a:ln w="2339" cap="flat">
                    <a:noFill/>
                    <a:prstDash val="solid"/>
                    <a:miter/>
                  </a:ln>
                </p:spPr>
                <p:txBody>
                  <a:bodyPr rtlCol="0" anchor="ctr"/>
                  <a:lstStyle/>
                  <a:p>
                    <a:endParaRPr lang="en-US" sz="2400"/>
                  </a:p>
                </p:txBody>
              </p:sp>
              <p:sp>
                <p:nvSpPr>
                  <p:cNvPr id="504" name="Freeform: Shape 503">
                    <a:extLst>
                      <a:ext uri="{FF2B5EF4-FFF2-40B4-BE49-F238E27FC236}">
                        <a16:creationId xmlns:a16="http://schemas.microsoft.com/office/drawing/2014/main" id="{40B039AD-DBF7-C720-518F-198E97434FE9}"/>
                      </a:ext>
                    </a:extLst>
                  </p:cNvPr>
                  <p:cNvSpPr/>
                  <p:nvPr userDrawn="1"/>
                </p:nvSpPr>
                <p:spPr>
                  <a:xfrm>
                    <a:off x="8480457" y="4347754"/>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4F5F8"/>
                  </a:solidFill>
                  <a:ln w="2339" cap="flat">
                    <a:noFill/>
                    <a:prstDash val="solid"/>
                    <a:miter/>
                  </a:ln>
                </p:spPr>
                <p:txBody>
                  <a:bodyPr rtlCol="0" anchor="ctr"/>
                  <a:lstStyle/>
                  <a:p>
                    <a:endParaRPr lang="en-US" sz="2400"/>
                  </a:p>
                </p:txBody>
              </p:sp>
              <p:sp>
                <p:nvSpPr>
                  <p:cNvPr id="505" name="Freeform: Shape 504">
                    <a:extLst>
                      <a:ext uri="{FF2B5EF4-FFF2-40B4-BE49-F238E27FC236}">
                        <a16:creationId xmlns:a16="http://schemas.microsoft.com/office/drawing/2014/main" id="{C1F6AE39-9D46-8F61-FA42-32A21D6D11FA}"/>
                      </a:ext>
                    </a:extLst>
                  </p:cNvPr>
                  <p:cNvSpPr/>
                  <p:nvPr userDrawn="1"/>
                </p:nvSpPr>
                <p:spPr>
                  <a:xfrm>
                    <a:off x="8480691" y="4347356"/>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5F6F8"/>
                  </a:solidFill>
                  <a:ln w="2339" cap="flat">
                    <a:noFill/>
                    <a:prstDash val="solid"/>
                    <a:miter/>
                  </a:ln>
                </p:spPr>
                <p:txBody>
                  <a:bodyPr rtlCol="0" anchor="ctr"/>
                  <a:lstStyle/>
                  <a:p>
                    <a:endParaRPr lang="en-US" sz="2400"/>
                  </a:p>
                </p:txBody>
              </p:sp>
              <p:sp>
                <p:nvSpPr>
                  <p:cNvPr id="506" name="Freeform: Shape 505">
                    <a:extLst>
                      <a:ext uri="{FF2B5EF4-FFF2-40B4-BE49-F238E27FC236}">
                        <a16:creationId xmlns:a16="http://schemas.microsoft.com/office/drawing/2014/main" id="{50DBDBC9-2F58-F2B9-5462-78292D76F4FD}"/>
                      </a:ext>
                    </a:extLst>
                  </p:cNvPr>
                  <p:cNvSpPr/>
                  <p:nvPr userDrawn="1"/>
                </p:nvSpPr>
                <p:spPr>
                  <a:xfrm>
                    <a:off x="8480902" y="4346935"/>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74"/>
                          <a:pt x="0" y="32667"/>
                          <a:pt x="0" y="21037"/>
                        </a:cubicBezTo>
                        <a:close/>
                      </a:path>
                    </a:pathLst>
                  </a:custGeom>
                  <a:solidFill>
                    <a:srgbClr val="F5F6F8"/>
                  </a:solidFill>
                  <a:ln w="2339" cap="flat">
                    <a:noFill/>
                    <a:prstDash val="solid"/>
                    <a:miter/>
                  </a:ln>
                </p:spPr>
                <p:txBody>
                  <a:bodyPr rtlCol="0" anchor="ctr"/>
                  <a:lstStyle/>
                  <a:p>
                    <a:endParaRPr lang="en-US" sz="2400"/>
                  </a:p>
                </p:txBody>
              </p:sp>
              <p:sp>
                <p:nvSpPr>
                  <p:cNvPr id="507" name="Freeform: Shape 506">
                    <a:extLst>
                      <a:ext uri="{FF2B5EF4-FFF2-40B4-BE49-F238E27FC236}">
                        <a16:creationId xmlns:a16="http://schemas.microsoft.com/office/drawing/2014/main" id="{8008055E-6D4A-BFC4-A1E8-57038731439B}"/>
                      </a:ext>
                    </a:extLst>
                  </p:cNvPr>
                  <p:cNvSpPr/>
                  <p:nvPr userDrawn="1"/>
                </p:nvSpPr>
                <p:spPr>
                  <a:xfrm>
                    <a:off x="8481136" y="4346514"/>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5F6F9"/>
                  </a:solidFill>
                  <a:ln w="2339" cap="flat">
                    <a:noFill/>
                    <a:prstDash val="solid"/>
                    <a:miter/>
                  </a:ln>
                </p:spPr>
                <p:txBody>
                  <a:bodyPr rtlCol="0" anchor="ctr"/>
                  <a:lstStyle/>
                  <a:p>
                    <a:endParaRPr lang="en-US" sz="2400"/>
                  </a:p>
                </p:txBody>
              </p:sp>
              <p:sp>
                <p:nvSpPr>
                  <p:cNvPr id="508" name="Freeform: Shape 507">
                    <a:extLst>
                      <a:ext uri="{FF2B5EF4-FFF2-40B4-BE49-F238E27FC236}">
                        <a16:creationId xmlns:a16="http://schemas.microsoft.com/office/drawing/2014/main" id="{4B620994-125C-DC0D-46C4-5D772568290B}"/>
                      </a:ext>
                    </a:extLst>
                  </p:cNvPr>
                  <p:cNvSpPr/>
                  <p:nvPr userDrawn="1"/>
                </p:nvSpPr>
                <p:spPr>
                  <a:xfrm>
                    <a:off x="8481346" y="4346093"/>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6F6F9"/>
                  </a:solidFill>
                  <a:ln w="2339" cap="flat">
                    <a:noFill/>
                    <a:prstDash val="solid"/>
                    <a:miter/>
                  </a:ln>
                </p:spPr>
                <p:txBody>
                  <a:bodyPr rtlCol="0" anchor="ctr"/>
                  <a:lstStyle/>
                  <a:p>
                    <a:endParaRPr lang="en-US" sz="2400"/>
                  </a:p>
                </p:txBody>
              </p:sp>
              <p:sp>
                <p:nvSpPr>
                  <p:cNvPr id="509" name="Freeform: Shape 508">
                    <a:extLst>
                      <a:ext uri="{FF2B5EF4-FFF2-40B4-BE49-F238E27FC236}">
                        <a16:creationId xmlns:a16="http://schemas.microsoft.com/office/drawing/2014/main" id="{4E1814A7-DB36-F77A-6217-3A5BEB74932A}"/>
                      </a:ext>
                    </a:extLst>
                  </p:cNvPr>
                  <p:cNvSpPr/>
                  <p:nvPr userDrawn="1"/>
                </p:nvSpPr>
                <p:spPr>
                  <a:xfrm>
                    <a:off x="8481557" y="4345671"/>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6F7F9"/>
                  </a:solidFill>
                  <a:ln w="2339" cap="flat">
                    <a:noFill/>
                    <a:prstDash val="solid"/>
                    <a:miter/>
                  </a:ln>
                </p:spPr>
                <p:txBody>
                  <a:bodyPr rtlCol="0" anchor="ctr"/>
                  <a:lstStyle/>
                  <a:p>
                    <a:endParaRPr lang="en-US" sz="2400"/>
                  </a:p>
                </p:txBody>
              </p:sp>
              <p:sp>
                <p:nvSpPr>
                  <p:cNvPr id="510" name="Freeform: Shape 509">
                    <a:extLst>
                      <a:ext uri="{FF2B5EF4-FFF2-40B4-BE49-F238E27FC236}">
                        <a16:creationId xmlns:a16="http://schemas.microsoft.com/office/drawing/2014/main" id="{6E5A64D5-C306-5A2F-AA37-8A7878F67681}"/>
                      </a:ext>
                    </a:extLst>
                  </p:cNvPr>
                  <p:cNvSpPr/>
                  <p:nvPr userDrawn="1"/>
                </p:nvSpPr>
                <p:spPr>
                  <a:xfrm>
                    <a:off x="8481744" y="4345250"/>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6F7F9"/>
                  </a:solidFill>
                  <a:ln w="2339" cap="flat">
                    <a:noFill/>
                    <a:prstDash val="solid"/>
                    <a:miter/>
                  </a:ln>
                </p:spPr>
                <p:txBody>
                  <a:bodyPr rtlCol="0" anchor="ctr"/>
                  <a:lstStyle/>
                  <a:p>
                    <a:endParaRPr lang="en-US" sz="2400"/>
                  </a:p>
                </p:txBody>
              </p:sp>
              <p:sp>
                <p:nvSpPr>
                  <p:cNvPr id="511" name="Freeform: Shape 510">
                    <a:extLst>
                      <a:ext uri="{FF2B5EF4-FFF2-40B4-BE49-F238E27FC236}">
                        <a16:creationId xmlns:a16="http://schemas.microsoft.com/office/drawing/2014/main" id="{45592199-A2D4-BD33-AC8E-A5766B3E8DC9}"/>
                      </a:ext>
                    </a:extLst>
                  </p:cNvPr>
                  <p:cNvSpPr/>
                  <p:nvPr userDrawn="1"/>
                </p:nvSpPr>
                <p:spPr>
                  <a:xfrm>
                    <a:off x="8481955" y="4344829"/>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6F7F9"/>
                  </a:solidFill>
                  <a:ln w="2339" cap="flat">
                    <a:noFill/>
                    <a:prstDash val="solid"/>
                    <a:miter/>
                  </a:ln>
                </p:spPr>
                <p:txBody>
                  <a:bodyPr rtlCol="0" anchor="ctr"/>
                  <a:lstStyle/>
                  <a:p>
                    <a:endParaRPr lang="en-US" sz="2400"/>
                  </a:p>
                </p:txBody>
              </p:sp>
              <p:sp>
                <p:nvSpPr>
                  <p:cNvPr id="512" name="Freeform: Shape 511">
                    <a:extLst>
                      <a:ext uri="{FF2B5EF4-FFF2-40B4-BE49-F238E27FC236}">
                        <a16:creationId xmlns:a16="http://schemas.microsoft.com/office/drawing/2014/main" id="{91AF4F22-D7E2-8A12-3068-3ACD7BA5035B}"/>
                      </a:ext>
                    </a:extLst>
                  </p:cNvPr>
                  <p:cNvSpPr/>
                  <p:nvPr userDrawn="1"/>
                </p:nvSpPr>
                <p:spPr>
                  <a:xfrm>
                    <a:off x="8482142" y="4344408"/>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7F7FA"/>
                  </a:solidFill>
                  <a:ln w="2339" cap="flat">
                    <a:noFill/>
                    <a:prstDash val="solid"/>
                    <a:miter/>
                  </a:ln>
                </p:spPr>
                <p:txBody>
                  <a:bodyPr rtlCol="0" anchor="ctr"/>
                  <a:lstStyle/>
                  <a:p>
                    <a:endParaRPr lang="en-US" sz="2400"/>
                  </a:p>
                </p:txBody>
              </p:sp>
              <p:sp>
                <p:nvSpPr>
                  <p:cNvPr id="513" name="Freeform: Shape 512">
                    <a:extLst>
                      <a:ext uri="{FF2B5EF4-FFF2-40B4-BE49-F238E27FC236}">
                        <a16:creationId xmlns:a16="http://schemas.microsoft.com/office/drawing/2014/main" id="{645606EB-9C13-A0A3-7CFC-29EE9CA0635A}"/>
                      </a:ext>
                    </a:extLst>
                  </p:cNvPr>
                  <p:cNvSpPr/>
                  <p:nvPr userDrawn="1"/>
                </p:nvSpPr>
                <p:spPr>
                  <a:xfrm>
                    <a:off x="8482329" y="4343987"/>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7F8FA"/>
                  </a:solidFill>
                  <a:ln w="2339" cap="flat">
                    <a:noFill/>
                    <a:prstDash val="solid"/>
                    <a:miter/>
                  </a:ln>
                </p:spPr>
                <p:txBody>
                  <a:bodyPr rtlCol="0" anchor="ctr"/>
                  <a:lstStyle/>
                  <a:p>
                    <a:endParaRPr lang="en-US" sz="2400"/>
                  </a:p>
                </p:txBody>
              </p:sp>
              <p:sp>
                <p:nvSpPr>
                  <p:cNvPr id="514" name="Freeform: Shape 513">
                    <a:extLst>
                      <a:ext uri="{FF2B5EF4-FFF2-40B4-BE49-F238E27FC236}">
                        <a16:creationId xmlns:a16="http://schemas.microsoft.com/office/drawing/2014/main" id="{8EAD7349-35F2-26F6-9D25-EB0801AF227D}"/>
                      </a:ext>
                    </a:extLst>
                  </p:cNvPr>
                  <p:cNvSpPr/>
                  <p:nvPr userDrawn="1"/>
                </p:nvSpPr>
                <p:spPr>
                  <a:xfrm>
                    <a:off x="8482517" y="4343565"/>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7F8FA"/>
                  </a:solidFill>
                  <a:ln w="2339" cap="flat">
                    <a:noFill/>
                    <a:prstDash val="solid"/>
                    <a:miter/>
                  </a:ln>
                </p:spPr>
                <p:txBody>
                  <a:bodyPr rtlCol="0" anchor="ctr"/>
                  <a:lstStyle/>
                  <a:p>
                    <a:endParaRPr lang="en-US" sz="2400"/>
                  </a:p>
                </p:txBody>
              </p:sp>
              <p:sp>
                <p:nvSpPr>
                  <p:cNvPr id="515" name="Freeform: Shape 514">
                    <a:extLst>
                      <a:ext uri="{FF2B5EF4-FFF2-40B4-BE49-F238E27FC236}">
                        <a16:creationId xmlns:a16="http://schemas.microsoft.com/office/drawing/2014/main" id="{6AF2DAF3-F5E0-4A24-2DE2-3E9DDA8B6E0D}"/>
                      </a:ext>
                    </a:extLst>
                  </p:cNvPr>
                  <p:cNvSpPr/>
                  <p:nvPr userDrawn="1"/>
                </p:nvSpPr>
                <p:spPr>
                  <a:xfrm>
                    <a:off x="8482680" y="4343144"/>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8F8FA"/>
                  </a:solidFill>
                  <a:ln w="2339" cap="flat">
                    <a:noFill/>
                    <a:prstDash val="solid"/>
                    <a:miter/>
                  </a:ln>
                </p:spPr>
                <p:txBody>
                  <a:bodyPr rtlCol="0" anchor="ctr"/>
                  <a:lstStyle/>
                  <a:p>
                    <a:endParaRPr lang="en-US" sz="2400"/>
                  </a:p>
                </p:txBody>
              </p:sp>
              <p:sp>
                <p:nvSpPr>
                  <p:cNvPr id="516" name="Freeform: Shape 515">
                    <a:extLst>
                      <a:ext uri="{FF2B5EF4-FFF2-40B4-BE49-F238E27FC236}">
                        <a16:creationId xmlns:a16="http://schemas.microsoft.com/office/drawing/2014/main" id="{C494E497-1FA6-C87D-0510-DE5CBEB3DE49}"/>
                      </a:ext>
                    </a:extLst>
                  </p:cNvPr>
                  <p:cNvSpPr/>
                  <p:nvPr userDrawn="1"/>
                </p:nvSpPr>
                <p:spPr>
                  <a:xfrm>
                    <a:off x="8482844" y="4342723"/>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90"/>
                          <a:pt x="0" y="21037"/>
                        </a:cubicBezTo>
                        <a:close/>
                      </a:path>
                    </a:pathLst>
                  </a:custGeom>
                  <a:solidFill>
                    <a:srgbClr val="F8F9FA"/>
                  </a:solidFill>
                  <a:ln w="2339" cap="flat">
                    <a:noFill/>
                    <a:prstDash val="solid"/>
                    <a:miter/>
                  </a:ln>
                </p:spPr>
                <p:txBody>
                  <a:bodyPr rtlCol="0" anchor="ctr"/>
                  <a:lstStyle/>
                  <a:p>
                    <a:endParaRPr lang="en-US" sz="2400"/>
                  </a:p>
                </p:txBody>
              </p:sp>
              <p:sp>
                <p:nvSpPr>
                  <p:cNvPr id="517" name="Freeform: Shape 516">
                    <a:extLst>
                      <a:ext uri="{FF2B5EF4-FFF2-40B4-BE49-F238E27FC236}">
                        <a16:creationId xmlns:a16="http://schemas.microsoft.com/office/drawing/2014/main" id="{CD6A2D30-14FA-BA6B-7A70-5756B501CA4D}"/>
                      </a:ext>
                    </a:extLst>
                  </p:cNvPr>
                  <p:cNvSpPr/>
                  <p:nvPr userDrawn="1"/>
                </p:nvSpPr>
                <p:spPr>
                  <a:xfrm>
                    <a:off x="8483008" y="4342325"/>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74"/>
                          <a:pt x="0" y="32667"/>
                          <a:pt x="0" y="21037"/>
                        </a:cubicBezTo>
                        <a:close/>
                      </a:path>
                    </a:pathLst>
                  </a:custGeom>
                  <a:solidFill>
                    <a:srgbClr val="F8F9FB"/>
                  </a:solidFill>
                  <a:ln w="2339" cap="flat">
                    <a:noFill/>
                    <a:prstDash val="solid"/>
                    <a:miter/>
                  </a:ln>
                </p:spPr>
                <p:txBody>
                  <a:bodyPr rtlCol="0" anchor="ctr"/>
                  <a:lstStyle/>
                  <a:p>
                    <a:endParaRPr lang="en-US" sz="2400"/>
                  </a:p>
                </p:txBody>
              </p:sp>
              <p:sp>
                <p:nvSpPr>
                  <p:cNvPr id="518" name="Freeform: Shape 517">
                    <a:extLst>
                      <a:ext uri="{FF2B5EF4-FFF2-40B4-BE49-F238E27FC236}">
                        <a16:creationId xmlns:a16="http://schemas.microsoft.com/office/drawing/2014/main" id="{1B1DE95B-671C-DE0B-789A-8B7651EDE9A9}"/>
                      </a:ext>
                    </a:extLst>
                  </p:cNvPr>
                  <p:cNvSpPr/>
                  <p:nvPr userDrawn="1"/>
                </p:nvSpPr>
                <p:spPr>
                  <a:xfrm>
                    <a:off x="8483172" y="4341904"/>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9F9FB"/>
                  </a:solidFill>
                  <a:ln w="2339" cap="flat">
                    <a:noFill/>
                    <a:prstDash val="solid"/>
                    <a:miter/>
                  </a:ln>
                </p:spPr>
                <p:txBody>
                  <a:bodyPr rtlCol="0" anchor="ctr"/>
                  <a:lstStyle/>
                  <a:p>
                    <a:endParaRPr lang="en-US" sz="2400"/>
                  </a:p>
                </p:txBody>
              </p:sp>
              <p:sp>
                <p:nvSpPr>
                  <p:cNvPr id="519" name="Freeform: Shape 518">
                    <a:extLst>
                      <a:ext uri="{FF2B5EF4-FFF2-40B4-BE49-F238E27FC236}">
                        <a16:creationId xmlns:a16="http://schemas.microsoft.com/office/drawing/2014/main" id="{DE8767FA-CD5A-B3D1-113F-19CCC1A72916}"/>
                      </a:ext>
                    </a:extLst>
                  </p:cNvPr>
                  <p:cNvSpPr/>
                  <p:nvPr userDrawn="1"/>
                </p:nvSpPr>
                <p:spPr>
                  <a:xfrm>
                    <a:off x="8483312" y="4341483"/>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9F9FB"/>
                  </a:solidFill>
                  <a:ln w="2339" cap="flat">
                    <a:noFill/>
                    <a:prstDash val="solid"/>
                    <a:miter/>
                  </a:ln>
                </p:spPr>
                <p:txBody>
                  <a:bodyPr rtlCol="0" anchor="ctr"/>
                  <a:lstStyle/>
                  <a:p>
                    <a:endParaRPr lang="en-US" sz="2400"/>
                  </a:p>
                </p:txBody>
              </p:sp>
              <p:sp>
                <p:nvSpPr>
                  <p:cNvPr id="520" name="Freeform: Shape 519">
                    <a:extLst>
                      <a:ext uri="{FF2B5EF4-FFF2-40B4-BE49-F238E27FC236}">
                        <a16:creationId xmlns:a16="http://schemas.microsoft.com/office/drawing/2014/main" id="{49B25098-EC93-CDEC-409A-81458EF0A9EB}"/>
                      </a:ext>
                    </a:extLst>
                  </p:cNvPr>
                  <p:cNvSpPr/>
                  <p:nvPr userDrawn="1"/>
                </p:nvSpPr>
                <p:spPr>
                  <a:xfrm>
                    <a:off x="8483476" y="4341062"/>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9FAFB"/>
                  </a:solidFill>
                  <a:ln w="2339" cap="flat">
                    <a:noFill/>
                    <a:prstDash val="solid"/>
                    <a:miter/>
                  </a:ln>
                </p:spPr>
                <p:txBody>
                  <a:bodyPr rtlCol="0" anchor="ctr"/>
                  <a:lstStyle/>
                  <a:p>
                    <a:endParaRPr lang="en-US" sz="2400"/>
                  </a:p>
                </p:txBody>
              </p:sp>
              <p:sp>
                <p:nvSpPr>
                  <p:cNvPr id="521" name="Freeform: Shape 520">
                    <a:extLst>
                      <a:ext uri="{FF2B5EF4-FFF2-40B4-BE49-F238E27FC236}">
                        <a16:creationId xmlns:a16="http://schemas.microsoft.com/office/drawing/2014/main" id="{3B2432E0-AC08-9C21-3CFB-512BD854E110}"/>
                      </a:ext>
                    </a:extLst>
                  </p:cNvPr>
                  <p:cNvSpPr/>
                  <p:nvPr userDrawn="1"/>
                </p:nvSpPr>
                <p:spPr>
                  <a:xfrm>
                    <a:off x="8483616" y="4340640"/>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9FAFB"/>
                  </a:solidFill>
                  <a:ln w="2339" cap="flat">
                    <a:noFill/>
                    <a:prstDash val="solid"/>
                    <a:miter/>
                  </a:ln>
                </p:spPr>
                <p:txBody>
                  <a:bodyPr rtlCol="0" anchor="ctr"/>
                  <a:lstStyle/>
                  <a:p>
                    <a:endParaRPr lang="en-US" sz="2400"/>
                  </a:p>
                </p:txBody>
              </p:sp>
              <p:sp>
                <p:nvSpPr>
                  <p:cNvPr id="522" name="Freeform: Shape 521">
                    <a:extLst>
                      <a:ext uri="{FF2B5EF4-FFF2-40B4-BE49-F238E27FC236}">
                        <a16:creationId xmlns:a16="http://schemas.microsoft.com/office/drawing/2014/main" id="{149AC202-B4AF-DDD1-98E8-5119956B4465}"/>
                      </a:ext>
                    </a:extLst>
                  </p:cNvPr>
                  <p:cNvSpPr/>
                  <p:nvPr userDrawn="1"/>
                </p:nvSpPr>
                <p:spPr>
                  <a:xfrm>
                    <a:off x="8483733" y="4340243"/>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74"/>
                          <a:pt x="0" y="32667"/>
                          <a:pt x="0" y="21037"/>
                        </a:cubicBezTo>
                        <a:close/>
                      </a:path>
                    </a:pathLst>
                  </a:custGeom>
                  <a:solidFill>
                    <a:srgbClr val="FAFAFC"/>
                  </a:solidFill>
                  <a:ln w="2339" cap="flat">
                    <a:noFill/>
                    <a:prstDash val="solid"/>
                    <a:miter/>
                  </a:ln>
                </p:spPr>
                <p:txBody>
                  <a:bodyPr rtlCol="0" anchor="ctr"/>
                  <a:lstStyle/>
                  <a:p>
                    <a:endParaRPr lang="en-US" sz="2400"/>
                  </a:p>
                </p:txBody>
              </p:sp>
              <p:sp>
                <p:nvSpPr>
                  <p:cNvPr id="523" name="Freeform: Shape 522">
                    <a:extLst>
                      <a:ext uri="{FF2B5EF4-FFF2-40B4-BE49-F238E27FC236}">
                        <a16:creationId xmlns:a16="http://schemas.microsoft.com/office/drawing/2014/main" id="{9F7B349D-C4E6-3ABF-9369-0B4990462E7D}"/>
                      </a:ext>
                    </a:extLst>
                  </p:cNvPr>
                  <p:cNvSpPr/>
                  <p:nvPr userDrawn="1"/>
                </p:nvSpPr>
                <p:spPr>
                  <a:xfrm>
                    <a:off x="8483874" y="4339821"/>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43" y="0"/>
                          <a:pt x="42074" y="9430"/>
                          <a:pt x="42074" y="21037"/>
                        </a:cubicBezTo>
                        <a:cubicBezTo>
                          <a:pt x="42074" y="32667"/>
                          <a:pt x="32643" y="42097"/>
                          <a:pt x="21037" y="42097"/>
                        </a:cubicBezTo>
                        <a:cubicBezTo>
                          <a:pt x="9430" y="42097"/>
                          <a:pt x="0" y="32667"/>
                          <a:pt x="0" y="21037"/>
                        </a:cubicBezTo>
                        <a:close/>
                      </a:path>
                    </a:pathLst>
                  </a:custGeom>
                  <a:solidFill>
                    <a:srgbClr val="FAFBFC"/>
                  </a:solidFill>
                  <a:ln w="2339" cap="flat">
                    <a:noFill/>
                    <a:prstDash val="solid"/>
                    <a:miter/>
                  </a:ln>
                </p:spPr>
                <p:txBody>
                  <a:bodyPr rtlCol="0" anchor="ctr"/>
                  <a:lstStyle/>
                  <a:p>
                    <a:endParaRPr lang="en-US" sz="2400"/>
                  </a:p>
                </p:txBody>
              </p:sp>
              <p:sp>
                <p:nvSpPr>
                  <p:cNvPr id="524" name="Freeform: Shape 523">
                    <a:extLst>
                      <a:ext uri="{FF2B5EF4-FFF2-40B4-BE49-F238E27FC236}">
                        <a16:creationId xmlns:a16="http://schemas.microsoft.com/office/drawing/2014/main" id="{FB06E11B-C86F-2AE6-3F59-212B575CAFBA}"/>
                      </a:ext>
                    </a:extLst>
                  </p:cNvPr>
                  <p:cNvSpPr/>
                  <p:nvPr userDrawn="1"/>
                </p:nvSpPr>
                <p:spPr>
                  <a:xfrm>
                    <a:off x="8483991" y="4339400"/>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AFBFC"/>
                  </a:solidFill>
                  <a:ln w="2339" cap="flat">
                    <a:noFill/>
                    <a:prstDash val="solid"/>
                    <a:miter/>
                  </a:ln>
                </p:spPr>
                <p:txBody>
                  <a:bodyPr rtlCol="0" anchor="ctr"/>
                  <a:lstStyle/>
                  <a:p>
                    <a:endParaRPr lang="en-US" sz="2400"/>
                  </a:p>
                </p:txBody>
              </p:sp>
              <p:sp>
                <p:nvSpPr>
                  <p:cNvPr id="525" name="Freeform: Shape 524">
                    <a:extLst>
                      <a:ext uri="{FF2B5EF4-FFF2-40B4-BE49-F238E27FC236}">
                        <a16:creationId xmlns:a16="http://schemas.microsoft.com/office/drawing/2014/main" id="{C9742ED2-810E-43F1-3D08-1E07DD0BAF2C}"/>
                      </a:ext>
                    </a:extLst>
                  </p:cNvPr>
                  <p:cNvSpPr/>
                  <p:nvPr userDrawn="1"/>
                </p:nvSpPr>
                <p:spPr>
                  <a:xfrm>
                    <a:off x="8484108" y="4338979"/>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BFBFC"/>
                  </a:solidFill>
                  <a:ln w="2339" cap="flat">
                    <a:noFill/>
                    <a:prstDash val="solid"/>
                    <a:miter/>
                  </a:ln>
                </p:spPr>
                <p:txBody>
                  <a:bodyPr rtlCol="0" anchor="ctr"/>
                  <a:lstStyle/>
                  <a:p>
                    <a:endParaRPr lang="en-US" sz="2400"/>
                  </a:p>
                </p:txBody>
              </p:sp>
              <p:sp>
                <p:nvSpPr>
                  <p:cNvPr id="526" name="Freeform: Shape 525">
                    <a:extLst>
                      <a:ext uri="{FF2B5EF4-FFF2-40B4-BE49-F238E27FC236}">
                        <a16:creationId xmlns:a16="http://schemas.microsoft.com/office/drawing/2014/main" id="{F2247105-C22D-41E3-2EEC-025412CF74F9}"/>
                      </a:ext>
                    </a:extLst>
                  </p:cNvPr>
                  <p:cNvSpPr/>
                  <p:nvPr userDrawn="1"/>
                </p:nvSpPr>
                <p:spPr>
                  <a:xfrm>
                    <a:off x="8484225" y="4338581"/>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74"/>
                          <a:pt x="0" y="32667"/>
                          <a:pt x="0" y="21037"/>
                        </a:cubicBezTo>
                        <a:close/>
                      </a:path>
                    </a:pathLst>
                  </a:custGeom>
                  <a:solidFill>
                    <a:srgbClr val="FBFBFC"/>
                  </a:solidFill>
                  <a:ln w="2339" cap="flat">
                    <a:noFill/>
                    <a:prstDash val="solid"/>
                    <a:miter/>
                  </a:ln>
                </p:spPr>
                <p:txBody>
                  <a:bodyPr rtlCol="0" anchor="ctr"/>
                  <a:lstStyle/>
                  <a:p>
                    <a:endParaRPr lang="en-US" sz="2400"/>
                  </a:p>
                </p:txBody>
              </p:sp>
              <p:sp>
                <p:nvSpPr>
                  <p:cNvPr id="527" name="Freeform: Shape 526">
                    <a:extLst>
                      <a:ext uri="{FF2B5EF4-FFF2-40B4-BE49-F238E27FC236}">
                        <a16:creationId xmlns:a16="http://schemas.microsoft.com/office/drawing/2014/main" id="{A1685B71-8C20-4F78-5CA7-6912AE3D6E56}"/>
                      </a:ext>
                    </a:extLst>
                  </p:cNvPr>
                  <p:cNvSpPr/>
                  <p:nvPr userDrawn="1"/>
                </p:nvSpPr>
                <p:spPr>
                  <a:xfrm>
                    <a:off x="8484342" y="4338160"/>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BFCFD"/>
                  </a:solidFill>
                  <a:ln w="2339" cap="flat">
                    <a:noFill/>
                    <a:prstDash val="solid"/>
                    <a:miter/>
                  </a:ln>
                </p:spPr>
                <p:txBody>
                  <a:bodyPr rtlCol="0" anchor="ctr"/>
                  <a:lstStyle/>
                  <a:p>
                    <a:endParaRPr lang="en-US" sz="2400"/>
                  </a:p>
                </p:txBody>
              </p:sp>
              <p:sp>
                <p:nvSpPr>
                  <p:cNvPr id="528" name="Freeform: Shape 527">
                    <a:extLst>
                      <a:ext uri="{FF2B5EF4-FFF2-40B4-BE49-F238E27FC236}">
                        <a16:creationId xmlns:a16="http://schemas.microsoft.com/office/drawing/2014/main" id="{915AE1F4-9C76-B458-629F-19D05DB76AE6}"/>
                      </a:ext>
                    </a:extLst>
                  </p:cNvPr>
                  <p:cNvSpPr/>
                  <p:nvPr userDrawn="1"/>
                </p:nvSpPr>
                <p:spPr>
                  <a:xfrm>
                    <a:off x="8484435" y="4337739"/>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CFCFD"/>
                  </a:solidFill>
                  <a:ln w="2339" cap="flat">
                    <a:noFill/>
                    <a:prstDash val="solid"/>
                    <a:miter/>
                  </a:ln>
                </p:spPr>
                <p:txBody>
                  <a:bodyPr rtlCol="0" anchor="ctr"/>
                  <a:lstStyle/>
                  <a:p>
                    <a:endParaRPr lang="en-US" sz="2400"/>
                  </a:p>
                </p:txBody>
              </p:sp>
              <p:sp>
                <p:nvSpPr>
                  <p:cNvPr id="529" name="Freeform: Shape 528">
                    <a:extLst>
                      <a:ext uri="{FF2B5EF4-FFF2-40B4-BE49-F238E27FC236}">
                        <a16:creationId xmlns:a16="http://schemas.microsoft.com/office/drawing/2014/main" id="{49126C95-E0AA-EC2A-5B2D-5721DAE0A3B4}"/>
                      </a:ext>
                    </a:extLst>
                  </p:cNvPr>
                  <p:cNvSpPr/>
                  <p:nvPr userDrawn="1"/>
                </p:nvSpPr>
                <p:spPr>
                  <a:xfrm>
                    <a:off x="8484529" y="4337341"/>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CFCFD"/>
                  </a:solidFill>
                  <a:ln w="2339" cap="flat">
                    <a:noFill/>
                    <a:prstDash val="solid"/>
                    <a:miter/>
                  </a:ln>
                </p:spPr>
                <p:txBody>
                  <a:bodyPr rtlCol="0" anchor="ctr"/>
                  <a:lstStyle/>
                  <a:p>
                    <a:endParaRPr lang="en-US" sz="2400"/>
                  </a:p>
                </p:txBody>
              </p:sp>
              <p:sp>
                <p:nvSpPr>
                  <p:cNvPr id="530" name="Freeform: Shape 529">
                    <a:extLst>
                      <a:ext uri="{FF2B5EF4-FFF2-40B4-BE49-F238E27FC236}">
                        <a16:creationId xmlns:a16="http://schemas.microsoft.com/office/drawing/2014/main" id="{0AFF6127-8E7A-98E6-37D4-91E7C28240A8}"/>
                      </a:ext>
                    </a:extLst>
                  </p:cNvPr>
                  <p:cNvSpPr/>
                  <p:nvPr userDrawn="1"/>
                </p:nvSpPr>
                <p:spPr>
                  <a:xfrm>
                    <a:off x="8484623" y="4336920"/>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CFCFD"/>
                  </a:solidFill>
                  <a:ln w="2339" cap="flat">
                    <a:noFill/>
                    <a:prstDash val="solid"/>
                    <a:miter/>
                  </a:ln>
                </p:spPr>
                <p:txBody>
                  <a:bodyPr rtlCol="0" anchor="ctr"/>
                  <a:lstStyle/>
                  <a:p>
                    <a:endParaRPr lang="en-US" sz="2400"/>
                  </a:p>
                </p:txBody>
              </p:sp>
              <p:sp>
                <p:nvSpPr>
                  <p:cNvPr id="531" name="Freeform: Shape 530">
                    <a:extLst>
                      <a:ext uri="{FF2B5EF4-FFF2-40B4-BE49-F238E27FC236}">
                        <a16:creationId xmlns:a16="http://schemas.microsoft.com/office/drawing/2014/main" id="{6E5040B3-DCBE-4357-AA34-12E98A69C6D4}"/>
                      </a:ext>
                    </a:extLst>
                  </p:cNvPr>
                  <p:cNvSpPr/>
                  <p:nvPr userDrawn="1"/>
                </p:nvSpPr>
                <p:spPr>
                  <a:xfrm>
                    <a:off x="8484693" y="4336499"/>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DFDFD"/>
                  </a:solidFill>
                  <a:ln w="2339" cap="flat">
                    <a:noFill/>
                    <a:prstDash val="solid"/>
                    <a:miter/>
                  </a:ln>
                </p:spPr>
                <p:txBody>
                  <a:bodyPr rtlCol="0" anchor="ctr"/>
                  <a:lstStyle/>
                  <a:p>
                    <a:endParaRPr lang="en-US" sz="2400"/>
                  </a:p>
                </p:txBody>
              </p:sp>
              <p:sp>
                <p:nvSpPr>
                  <p:cNvPr id="532" name="Freeform: Shape 531">
                    <a:extLst>
                      <a:ext uri="{FF2B5EF4-FFF2-40B4-BE49-F238E27FC236}">
                        <a16:creationId xmlns:a16="http://schemas.microsoft.com/office/drawing/2014/main" id="{6D5812C9-C35B-DB81-14BC-E8FEFBADE049}"/>
                      </a:ext>
                    </a:extLst>
                  </p:cNvPr>
                  <p:cNvSpPr/>
                  <p:nvPr userDrawn="1"/>
                </p:nvSpPr>
                <p:spPr>
                  <a:xfrm>
                    <a:off x="8484786" y="4336101"/>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DFDFE"/>
                  </a:solidFill>
                  <a:ln w="2339" cap="flat">
                    <a:noFill/>
                    <a:prstDash val="solid"/>
                    <a:miter/>
                  </a:ln>
                </p:spPr>
                <p:txBody>
                  <a:bodyPr rtlCol="0" anchor="ctr"/>
                  <a:lstStyle/>
                  <a:p>
                    <a:endParaRPr lang="en-US" sz="2400"/>
                  </a:p>
                </p:txBody>
              </p:sp>
              <p:sp>
                <p:nvSpPr>
                  <p:cNvPr id="533" name="Freeform: Shape 532">
                    <a:extLst>
                      <a:ext uri="{FF2B5EF4-FFF2-40B4-BE49-F238E27FC236}">
                        <a16:creationId xmlns:a16="http://schemas.microsoft.com/office/drawing/2014/main" id="{AD5502E3-B930-44AF-5A38-30A6EE60E41C}"/>
                      </a:ext>
                    </a:extLst>
                  </p:cNvPr>
                  <p:cNvSpPr/>
                  <p:nvPr userDrawn="1"/>
                </p:nvSpPr>
                <p:spPr>
                  <a:xfrm>
                    <a:off x="8484857" y="4335680"/>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DFDFE"/>
                  </a:solidFill>
                  <a:ln w="2339" cap="flat">
                    <a:noFill/>
                    <a:prstDash val="solid"/>
                    <a:miter/>
                  </a:ln>
                </p:spPr>
                <p:txBody>
                  <a:bodyPr rtlCol="0" anchor="ctr"/>
                  <a:lstStyle/>
                  <a:p>
                    <a:endParaRPr lang="en-US" sz="2400"/>
                  </a:p>
                </p:txBody>
              </p:sp>
              <p:sp>
                <p:nvSpPr>
                  <p:cNvPr id="534" name="Freeform: Shape 533">
                    <a:extLst>
                      <a:ext uri="{FF2B5EF4-FFF2-40B4-BE49-F238E27FC236}">
                        <a16:creationId xmlns:a16="http://schemas.microsoft.com/office/drawing/2014/main" id="{53559ABD-4DC9-C8B8-FDA1-8C3907988122}"/>
                      </a:ext>
                    </a:extLst>
                  </p:cNvPr>
                  <p:cNvSpPr/>
                  <p:nvPr userDrawn="1"/>
                </p:nvSpPr>
                <p:spPr>
                  <a:xfrm>
                    <a:off x="8484927" y="4335282"/>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DFEFE"/>
                  </a:solidFill>
                  <a:ln w="2339" cap="flat">
                    <a:noFill/>
                    <a:prstDash val="solid"/>
                    <a:miter/>
                  </a:ln>
                </p:spPr>
                <p:txBody>
                  <a:bodyPr rtlCol="0" anchor="ctr"/>
                  <a:lstStyle/>
                  <a:p>
                    <a:endParaRPr lang="en-US" sz="2400"/>
                  </a:p>
                </p:txBody>
              </p:sp>
              <p:sp>
                <p:nvSpPr>
                  <p:cNvPr id="535" name="Freeform: Shape 534">
                    <a:extLst>
                      <a:ext uri="{FF2B5EF4-FFF2-40B4-BE49-F238E27FC236}">
                        <a16:creationId xmlns:a16="http://schemas.microsoft.com/office/drawing/2014/main" id="{F8F146DC-3AC8-D458-09C5-ED9D5CBEE9DA}"/>
                      </a:ext>
                    </a:extLst>
                  </p:cNvPr>
                  <p:cNvSpPr/>
                  <p:nvPr userDrawn="1"/>
                </p:nvSpPr>
                <p:spPr>
                  <a:xfrm>
                    <a:off x="8484974" y="4334861"/>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EFEFE"/>
                  </a:solidFill>
                  <a:ln w="2339" cap="flat">
                    <a:noFill/>
                    <a:prstDash val="solid"/>
                    <a:miter/>
                  </a:ln>
                </p:spPr>
                <p:txBody>
                  <a:bodyPr rtlCol="0" anchor="ctr"/>
                  <a:lstStyle/>
                  <a:p>
                    <a:endParaRPr lang="en-US" sz="2400"/>
                  </a:p>
                </p:txBody>
              </p:sp>
              <p:sp>
                <p:nvSpPr>
                  <p:cNvPr id="536" name="Freeform: Shape 535">
                    <a:extLst>
                      <a:ext uri="{FF2B5EF4-FFF2-40B4-BE49-F238E27FC236}">
                        <a16:creationId xmlns:a16="http://schemas.microsoft.com/office/drawing/2014/main" id="{9252C4D9-0344-639F-544F-CCF9BC3E580D}"/>
                      </a:ext>
                    </a:extLst>
                  </p:cNvPr>
                  <p:cNvSpPr/>
                  <p:nvPr userDrawn="1"/>
                </p:nvSpPr>
                <p:spPr>
                  <a:xfrm>
                    <a:off x="8485020" y="4334463"/>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74"/>
                          <a:pt x="0" y="32667"/>
                          <a:pt x="0" y="21037"/>
                        </a:cubicBezTo>
                        <a:close/>
                      </a:path>
                    </a:pathLst>
                  </a:custGeom>
                  <a:solidFill>
                    <a:srgbClr val="FEFEFE"/>
                  </a:solidFill>
                  <a:ln w="2339" cap="flat">
                    <a:noFill/>
                    <a:prstDash val="solid"/>
                    <a:miter/>
                  </a:ln>
                </p:spPr>
                <p:txBody>
                  <a:bodyPr rtlCol="0" anchor="ctr"/>
                  <a:lstStyle/>
                  <a:p>
                    <a:endParaRPr lang="en-US" sz="2400"/>
                  </a:p>
                </p:txBody>
              </p:sp>
              <p:sp>
                <p:nvSpPr>
                  <p:cNvPr id="537" name="Freeform: Shape 536">
                    <a:extLst>
                      <a:ext uri="{FF2B5EF4-FFF2-40B4-BE49-F238E27FC236}">
                        <a16:creationId xmlns:a16="http://schemas.microsoft.com/office/drawing/2014/main" id="{07A1DB01-7B99-9438-2975-7FEC3059E55D}"/>
                      </a:ext>
                    </a:extLst>
                  </p:cNvPr>
                  <p:cNvSpPr/>
                  <p:nvPr userDrawn="1"/>
                </p:nvSpPr>
                <p:spPr>
                  <a:xfrm>
                    <a:off x="8485091" y="4334042"/>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EFEFF"/>
                  </a:solidFill>
                  <a:ln w="2339" cap="flat">
                    <a:noFill/>
                    <a:prstDash val="solid"/>
                    <a:miter/>
                  </a:ln>
                </p:spPr>
                <p:txBody>
                  <a:bodyPr rtlCol="0" anchor="ctr"/>
                  <a:lstStyle/>
                  <a:p>
                    <a:endParaRPr lang="en-US" sz="2400"/>
                  </a:p>
                </p:txBody>
              </p:sp>
              <p:sp>
                <p:nvSpPr>
                  <p:cNvPr id="538" name="Freeform: Shape 537">
                    <a:extLst>
                      <a:ext uri="{FF2B5EF4-FFF2-40B4-BE49-F238E27FC236}">
                        <a16:creationId xmlns:a16="http://schemas.microsoft.com/office/drawing/2014/main" id="{67B0D516-1206-5109-32EB-93AEBC7A0899}"/>
                      </a:ext>
                    </a:extLst>
                  </p:cNvPr>
                  <p:cNvSpPr/>
                  <p:nvPr userDrawn="1"/>
                </p:nvSpPr>
                <p:spPr>
                  <a:xfrm>
                    <a:off x="8485114" y="4333644"/>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74"/>
                          <a:pt x="0" y="32667"/>
                          <a:pt x="0" y="21037"/>
                        </a:cubicBezTo>
                        <a:close/>
                      </a:path>
                    </a:pathLst>
                  </a:custGeom>
                  <a:solidFill>
                    <a:srgbClr val="FFFFFF"/>
                  </a:solidFill>
                  <a:ln w="2339" cap="flat">
                    <a:noFill/>
                    <a:prstDash val="solid"/>
                    <a:miter/>
                  </a:ln>
                </p:spPr>
                <p:txBody>
                  <a:bodyPr rtlCol="0" anchor="ctr"/>
                  <a:lstStyle/>
                  <a:p>
                    <a:endParaRPr lang="en-US" sz="2400"/>
                  </a:p>
                </p:txBody>
              </p:sp>
              <p:sp>
                <p:nvSpPr>
                  <p:cNvPr id="539" name="Freeform: Shape 538">
                    <a:extLst>
                      <a:ext uri="{FF2B5EF4-FFF2-40B4-BE49-F238E27FC236}">
                        <a16:creationId xmlns:a16="http://schemas.microsoft.com/office/drawing/2014/main" id="{DBC2895E-D8B9-ABD9-87E6-939D6212E43C}"/>
                      </a:ext>
                    </a:extLst>
                  </p:cNvPr>
                  <p:cNvSpPr/>
                  <p:nvPr userDrawn="1"/>
                </p:nvSpPr>
                <p:spPr>
                  <a:xfrm>
                    <a:off x="8485161" y="4333223"/>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FFFFF"/>
                  </a:solidFill>
                  <a:ln w="2339" cap="flat">
                    <a:noFill/>
                    <a:prstDash val="solid"/>
                    <a:miter/>
                  </a:ln>
                </p:spPr>
                <p:txBody>
                  <a:bodyPr rtlCol="0" anchor="ctr"/>
                  <a:lstStyle/>
                  <a:p>
                    <a:endParaRPr lang="en-US" sz="2400"/>
                  </a:p>
                </p:txBody>
              </p:sp>
            </p:grpSp>
          </p:grpSp>
          <p:grpSp>
            <p:nvGrpSpPr>
              <p:cNvPr id="540" name="Graphic 4">
                <a:extLst>
                  <a:ext uri="{FF2B5EF4-FFF2-40B4-BE49-F238E27FC236}">
                    <a16:creationId xmlns:a16="http://schemas.microsoft.com/office/drawing/2014/main" id="{FB06EFB0-8661-A435-50AE-18C0E80EC8C3}"/>
                  </a:ext>
                </a:extLst>
              </p:cNvPr>
              <p:cNvGrpSpPr/>
              <p:nvPr userDrawn="1"/>
            </p:nvGrpSpPr>
            <p:grpSpPr>
              <a:xfrm>
                <a:off x="8195045" y="4482867"/>
                <a:ext cx="332188" cy="107360"/>
                <a:chOff x="8195045" y="4482867"/>
                <a:chExt cx="332189" cy="107360"/>
              </a:xfrm>
            </p:grpSpPr>
            <p:grpSp>
              <p:nvGrpSpPr>
                <p:cNvPr id="541" name="Graphic 4">
                  <a:extLst>
                    <a:ext uri="{FF2B5EF4-FFF2-40B4-BE49-F238E27FC236}">
                      <a16:creationId xmlns:a16="http://schemas.microsoft.com/office/drawing/2014/main" id="{A69FE177-6160-6326-D575-1BEA7D01BE77}"/>
                    </a:ext>
                  </a:extLst>
                </p:cNvPr>
                <p:cNvGrpSpPr/>
                <p:nvPr userDrawn="1"/>
              </p:nvGrpSpPr>
              <p:grpSpPr>
                <a:xfrm>
                  <a:off x="8195045" y="4482867"/>
                  <a:ext cx="144893" cy="107360"/>
                  <a:chOff x="8195045" y="4482867"/>
                  <a:chExt cx="144893" cy="107359"/>
                </a:xfrm>
              </p:grpSpPr>
              <p:sp>
                <p:nvSpPr>
                  <p:cNvPr id="542" name="Freeform: Shape 541">
                    <a:extLst>
                      <a:ext uri="{FF2B5EF4-FFF2-40B4-BE49-F238E27FC236}">
                        <a16:creationId xmlns:a16="http://schemas.microsoft.com/office/drawing/2014/main" id="{A6B92602-3DF3-09BE-149C-E4C582792E9C}"/>
                      </a:ext>
                    </a:extLst>
                  </p:cNvPr>
                  <p:cNvSpPr/>
                  <p:nvPr userDrawn="1"/>
                </p:nvSpPr>
                <p:spPr>
                  <a:xfrm>
                    <a:off x="8297842" y="4482867"/>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B1B8CC"/>
                  </a:solidFill>
                  <a:ln w="2339" cap="flat">
                    <a:noFill/>
                    <a:prstDash val="solid"/>
                    <a:miter/>
                  </a:ln>
                </p:spPr>
                <p:txBody>
                  <a:bodyPr rtlCol="0" anchor="ctr"/>
                  <a:lstStyle/>
                  <a:p>
                    <a:endParaRPr lang="en-US" sz="2400"/>
                  </a:p>
                </p:txBody>
              </p:sp>
              <p:sp>
                <p:nvSpPr>
                  <p:cNvPr id="543" name="Freeform: Shape 542">
                    <a:extLst>
                      <a:ext uri="{FF2B5EF4-FFF2-40B4-BE49-F238E27FC236}">
                        <a16:creationId xmlns:a16="http://schemas.microsoft.com/office/drawing/2014/main" id="{B8C38539-FE8E-9D2B-B831-2519CA771660}"/>
                      </a:ext>
                    </a:extLst>
                  </p:cNvPr>
                  <p:cNvSpPr/>
                  <p:nvPr userDrawn="1"/>
                </p:nvSpPr>
                <p:spPr>
                  <a:xfrm>
                    <a:off x="8297281" y="4482937"/>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B1B8CC"/>
                  </a:solidFill>
                  <a:ln w="2339" cap="flat">
                    <a:noFill/>
                    <a:prstDash val="solid"/>
                    <a:miter/>
                  </a:ln>
                </p:spPr>
                <p:txBody>
                  <a:bodyPr rtlCol="0" anchor="ctr"/>
                  <a:lstStyle/>
                  <a:p>
                    <a:endParaRPr lang="en-US" sz="2400"/>
                  </a:p>
                </p:txBody>
              </p:sp>
              <p:sp>
                <p:nvSpPr>
                  <p:cNvPr id="544" name="Freeform: Shape 543">
                    <a:extLst>
                      <a:ext uri="{FF2B5EF4-FFF2-40B4-BE49-F238E27FC236}">
                        <a16:creationId xmlns:a16="http://schemas.microsoft.com/office/drawing/2014/main" id="{CFE62346-EEE9-1734-D6F3-35C8715C1C25}"/>
                      </a:ext>
                    </a:extLst>
                  </p:cNvPr>
                  <p:cNvSpPr/>
                  <p:nvPr userDrawn="1"/>
                </p:nvSpPr>
                <p:spPr>
                  <a:xfrm>
                    <a:off x="8296719" y="4483031"/>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B2B9CC"/>
                  </a:solidFill>
                  <a:ln w="2339" cap="flat">
                    <a:noFill/>
                    <a:prstDash val="solid"/>
                    <a:miter/>
                  </a:ln>
                </p:spPr>
                <p:txBody>
                  <a:bodyPr rtlCol="0" anchor="ctr"/>
                  <a:lstStyle/>
                  <a:p>
                    <a:endParaRPr lang="en-US" sz="2400"/>
                  </a:p>
                </p:txBody>
              </p:sp>
              <p:sp>
                <p:nvSpPr>
                  <p:cNvPr id="545" name="Freeform: Shape 544">
                    <a:extLst>
                      <a:ext uri="{FF2B5EF4-FFF2-40B4-BE49-F238E27FC236}">
                        <a16:creationId xmlns:a16="http://schemas.microsoft.com/office/drawing/2014/main" id="{7B28D175-8D0D-ABA6-28B0-046849F86A89}"/>
                      </a:ext>
                    </a:extLst>
                  </p:cNvPr>
                  <p:cNvSpPr/>
                  <p:nvPr userDrawn="1"/>
                </p:nvSpPr>
                <p:spPr>
                  <a:xfrm>
                    <a:off x="8296158" y="448312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2B9CD"/>
                  </a:solidFill>
                  <a:ln w="2339" cap="flat">
                    <a:noFill/>
                    <a:prstDash val="solid"/>
                    <a:miter/>
                  </a:ln>
                </p:spPr>
                <p:txBody>
                  <a:bodyPr rtlCol="0" anchor="ctr"/>
                  <a:lstStyle/>
                  <a:p>
                    <a:endParaRPr lang="en-US" sz="2400"/>
                  </a:p>
                </p:txBody>
              </p:sp>
              <p:sp>
                <p:nvSpPr>
                  <p:cNvPr id="546" name="Freeform: Shape 545">
                    <a:extLst>
                      <a:ext uri="{FF2B5EF4-FFF2-40B4-BE49-F238E27FC236}">
                        <a16:creationId xmlns:a16="http://schemas.microsoft.com/office/drawing/2014/main" id="{BAF1F9DF-96AF-1006-E277-F16E627B6343}"/>
                      </a:ext>
                    </a:extLst>
                  </p:cNvPr>
                  <p:cNvSpPr/>
                  <p:nvPr userDrawn="1"/>
                </p:nvSpPr>
                <p:spPr>
                  <a:xfrm>
                    <a:off x="8295596" y="4483218"/>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2B9CD"/>
                  </a:solidFill>
                  <a:ln w="2339" cap="flat">
                    <a:noFill/>
                    <a:prstDash val="solid"/>
                    <a:miter/>
                  </a:ln>
                </p:spPr>
                <p:txBody>
                  <a:bodyPr rtlCol="0" anchor="ctr"/>
                  <a:lstStyle/>
                  <a:p>
                    <a:endParaRPr lang="en-US" sz="2400"/>
                  </a:p>
                </p:txBody>
              </p:sp>
              <p:sp>
                <p:nvSpPr>
                  <p:cNvPr id="547" name="Freeform: Shape 546">
                    <a:extLst>
                      <a:ext uri="{FF2B5EF4-FFF2-40B4-BE49-F238E27FC236}">
                        <a16:creationId xmlns:a16="http://schemas.microsoft.com/office/drawing/2014/main" id="{9612801D-42D6-71D7-CB23-E378E0751CF8}"/>
                      </a:ext>
                    </a:extLst>
                  </p:cNvPr>
                  <p:cNvSpPr/>
                  <p:nvPr userDrawn="1"/>
                </p:nvSpPr>
                <p:spPr>
                  <a:xfrm>
                    <a:off x="8295034" y="4483288"/>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B3B9CD"/>
                  </a:solidFill>
                  <a:ln w="2339" cap="flat">
                    <a:noFill/>
                    <a:prstDash val="solid"/>
                    <a:miter/>
                  </a:ln>
                </p:spPr>
                <p:txBody>
                  <a:bodyPr rtlCol="0" anchor="ctr"/>
                  <a:lstStyle/>
                  <a:p>
                    <a:endParaRPr lang="en-US" sz="2400"/>
                  </a:p>
                </p:txBody>
              </p:sp>
              <p:sp>
                <p:nvSpPr>
                  <p:cNvPr id="548" name="Freeform: Shape 547">
                    <a:extLst>
                      <a:ext uri="{FF2B5EF4-FFF2-40B4-BE49-F238E27FC236}">
                        <a16:creationId xmlns:a16="http://schemas.microsoft.com/office/drawing/2014/main" id="{B74CAF45-A076-8608-0948-2A58BC5B75DA}"/>
                      </a:ext>
                    </a:extLst>
                  </p:cNvPr>
                  <p:cNvSpPr/>
                  <p:nvPr userDrawn="1"/>
                </p:nvSpPr>
                <p:spPr>
                  <a:xfrm>
                    <a:off x="8294449" y="4483382"/>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3BACD"/>
                  </a:solidFill>
                  <a:ln w="2339" cap="flat">
                    <a:noFill/>
                    <a:prstDash val="solid"/>
                    <a:miter/>
                  </a:ln>
                </p:spPr>
                <p:txBody>
                  <a:bodyPr rtlCol="0" anchor="ctr"/>
                  <a:lstStyle/>
                  <a:p>
                    <a:endParaRPr lang="en-US" sz="2400"/>
                  </a:p>
                </p:txBody>
              </p:sp>
              <p:sp>
                <p:nvSpPr>
                  <p:cNvPr id="549" name="Freeform: Shape 548">
                    <a:extLst>
                      <a:ext uri="{FF2B5EF4-FFF2-40B4-BE49-F238E27FC236}">
                        <a16:creationId xmlns:a16="http://schemas.microsoft.com/office/drawing/2014/main" id="{41C14B33-03D0-AC6E-FF2B-5F559B31B81A}"/>
                      </a:ext>
                    </a:extLst>
                  </p:cNvPr>
                  <p:cNvSpPr/>
                  <p:nvPr userDrawn="1"/>
                </p:nvSpPr>
                <p:spPr>
                  <a:xfrm>
                    <a:off x="8293888" y="4483475"/>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3BACD"/>
                  </a:solidFill>
                  <a:ln w="2339" cap="flat">
                    <a:noFill/>
                    <a:prstDash val="solid"/>
                    <a:miter/>
                  </a:ln>
                </p:spPr>
                <p:txBody>
                  <a:bodyPr rtlCol="0" anchor="ctr"/>
                  <a:lstStyle/>
                  <a:p>
                    <a:endParaRPr lang="en-US" sz="2400"/>
                  </a:p>
                </p:txBody>
              </p:sp>
              <p:sp>
                <p:nvSpPr>
                  <p:cNvPr id="550" name="Freeform: Shape 549">
                    <a:extLst>
                      <a:ext uri="{FF2B5EF4-FFF2-40B4-BE49-F238E27FC236}">
                        <a16:creationId xmlns:a16="http://schemas.microsoft.com/office/drawing/2014/main" id="{BC9821E5-3A17-CA63-6306-B72767642DD2}"/>
                      </a:ext>
                    </a:extLst>
                  </p:cNvPr>
                  <p:cNvSpPr/>
                  <p:nvPr userDrawn="1"/>
                </p:nvSpPr>
                <p:spPr>
                  <a:xfrm>
                    <a:off x="8293326" y="4483569"/>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3BACE"/>
                  </a:solidFill>
                  <a:ln w="2339" cap="flat">
                    <a:noFill/>
                    <a:prstDash val="solid"/>
                    <a:miter/>
                  </a:ln>
                </p:spPr>
                <p:txBody>
                  <a:bodyPr rtlCol="0" anchor="ctr"/>
                  <a:lstStyle/>
                  <a:p>
                    <a:endParaRPr lang="en-US" sz="2400"/>
                  </a:p>
                </p:txBody>
              </p:sp>
              <p:sp>
                <p:nvSpPr>
                  <p:cNvPr id="551" name="Freeform: Shape 550">
                    <a:extLst>
                      <a:ext uri="{FF2B5EF4-FFF2-40B4-BE49-F238E27FC236}">
                        <a16:creationId xmlns:a16="http://schemas.microsoft.com/office/drawing/2014/main" id="{C6C2E0EE-EF38-6EE2-BE2D-83CF26AF60F6}"/>
                      </a:ext>
                    </a:extLst>
                  </p:cNvPr>
                  <p:cNvSpPr/>
                  <p:nvPr userDrawn="1"/>
                </p:nvSpPr>
                <p:spPr>
                  <a:xfrm>
                    <a:off x="8292764" y="4483662"/>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4BBCE"/>
                  </a:solidFill>
                  <a:ln w="2339" cap="flat">
                    <a:noFill/>
                    <a:prstDash val="solid"/>
                    <a:miter/>
                  </a:ln>
                </p:spPr>
                <p:txBody>
                  <a:bodyPr rtlCol="0" anchor="ctr"/>
                  <a:lstStyle/>
                  <a:p>
                    <a:endParaRPr lang="en-US" sz="2400"/>
                  </a:p>
                </p:txBody>
              </p:sp>
              <p:sp>
                <p:nvSpPr>
                  <p:cNvPr id="552" name="Freeform: Shape 551">
                    <a:extLst>
                      <a:ext uri="{FF2B5EF4-FFF2-40B4-BE49-F238E27FC236}">
                        <a16:creationId xmlns:a16="http://schemas.microsoft.com/office/drawing/2014/main" id="{341ED33A-C153-42C5-279E-5548A11B1341}"/>
                      </a:ext>
                    </a:extLst>
                  </p:cNvPr>
                  <p:cNvSpPr/>
                  <p:nvPr userDrawn="1"/>
                </p:nvSpPr>
                <p:spPr>
                  <a:xfrm>
                    <a:off x="8292203" y="448375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30"/>
                          <a:pt x="42097" y="21037"/>
                        </a:cubicBezTo>
                        <a:close/>
                      </a:path>
                    </a:pathLst>
                  </a:custGeom>
                  <a:solidFill>
                    <a:srgbClr val="B4BBCE"/>
                  </a:solidFill>
                  <a:ln w="2339" cap="flat">
                    <a:noFill/>
                    <a:prstDash val="solid"/>
                    <a:miter/>
                  </a:ln>
                </p:spPr>
                <p:txBody>
                  <a:bodyPr rtlCol="0" anchor="ctr"/>
                  <a:lstStyle/>
                  <a:p>
                    <a:endParaRPr lang="en-US" sz="2400"/>
                  </a:p>
                </p:txBody>
              </p:sp>
              <p:sp>
                <p:nvSpPr>
                  <p:cNvPr id="553" name="Freeform: Shape 552">
                    <a:extLst>
                      <a:ext uri="{FF2B5EF4-FFF2-40B4-BE49-F238E27FC236}">
                        <a16:creationId xmlns:a16="http://schemas.microsoft.com/office/drawing/2014/main" id="{CA2A9195-F684-06B7-8DE9-8FD9B72C30CB}"/>
                      </a:ext>
                    </a:extLst>
                  </p:cNvPr>
                  <p:cNvSpPr/>
                  <p:nvPr userDrawn="1"/>
                </p:nvSpPr>
                <p:spPr>
                  <a:xfrm>
                    <a:off x="8291641" y="4483850"/>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30"/>
                          <a:pt x="42097" y="21037"/>
                        </a:cubicBezTo>
                        <a:close/>
                      </a:path>
                    </a:pathLst>
                  </a:custGeom>
                  <a:solidFill>
                    <a:srgbClr val="B4BBCE"/>
                  </a:solidFill>
                  <a:ln w="2339" cap="flat">
                    <a:noFill/>
                    <a:prstDash val="solid"/>
                    <a:miter/>
                  </a:ln>
                </p:spPr>
                <p:txBody>
                  <a:bodyPr rtlCol="0" anchor="ctr"/>
                  <a:lstStyle/>
                  <a:p>
                    <a:endParaRPr lang="en-US" sz="2400"/>
                  </a:p>
                </p:txBody>
              </p:sp>
              <p:sp>
                <p:nvSpPr>
                  <p:cNvPr id="554" name="Freeform: Shape 553">
                    <a:extLst>
                      <a:ext uri="{FF2B5EF4-FFF2-40B4-BE49-F238E27FC236}">
                        <a16:creationId xmlns:a16="http://schemas.microsoft.com/office/drawing/2014/main" id="{63BC266C-DF1C-5B41-4B80-61A51711DD77}"/>
                      </a:ext>
                    </a:extLst>
                  </p:cNvPr>
                  <p:cNvSpPr/>
                  <p:nvPr userDrawn="1"/>
                </p:nvSpPr>
                <p:spPr>
                  <a:xfrm>
                    <a:off x="8291080" y="448396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B5BBCE"/>
                  </a:solidFill>
                  <a:ln w="2339" cap="flat">
                    <a:noFill/>
                    <a:prstDash val="solid"/>
                    <a:miter/>
                  </a:ln>
                </p:spPr>
                <p:txBody>
                  <a:bodyPr rtlCol="0" anchor="ctr"/>
                  <a:lstStyle/>
                  <a:p>
                    <a:endParaRPr lang="en-US" sz="2400"/>
                  </a:p>
                </p:txBody>
              </p:sp>
              <p:sp>
                <p:nvSpPr>
                  <p:cNvPr id="555" name="Freeform: Shape 554">
                    <a:extLst>
                      <a:ext uri="{FF2B5EF4-FFF2-40B4-BE49-F238E27FC236}">
                        <a16:creationId xmlns:a16="http://schemas.microsoft.com/office/drawing/2014/main" id="{C2D7EA7F-7827-758C-8DA8-BF12360C41A1}"/>
                      </a:ext>
                    </a:extLst>
                  </p:cNvPr>
                  <p:cNvSpPr/>
                  <p:nvPr userDrawn="1"/>
                </p:nvSpPr>
                <p:spPr>
                  <a:xfrm>
                    <a:off x="8290518" y="4484060"/>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B5BCCF"/>
                  </a:solidFill>
                  <a:ln w="2339" cap="flat">
                    <a:noFill/>
                    <a:prstDash val="solid"/>
                    <a:miter/>
                  </a:ln>
                </p:spPr>
                <p:txBody>
                  <a:bodyPr rtlCol="0" anchor="ctr"/>
                  <a:lstStyle/>
                  <a:p>
                    <a:endParaRPr lang="en-US" sz="2400"/>
                  </a:p>
                </p:txBody>
              </p:sp>
              <p:sp>
                <p:nvSpPr>
                  <p:cNvPr id="556" name="Freeform: Shape 555">
                    <a:extLst>
                      <a:ext uri="{FF2B5EF4-FFF2-40B4-BE49-F238E27FC236}">
                        <a16:creationId xmlns:a16="http://schemas.microsoft.com/office/drawing/2014/main" id="{6CBDC93A-B767-7F38-446D-C199E52E8285}"/>
                      </a:ext>
                    </a:extLst>
                  </p:cNvPr>
                  <p:cNvSpPr/>
                  <p:nvPr userDrawn="1"/>
                </p:nvSpPr>
                <p:spPr>
                  <a:xfrm>
                    <a:off x="8289956" y="448415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5BCCF"/>
                  </a:solidFill>
                  <a:ln w="2339" cap="flat">
                    <a:noFill/>
                    <a:prstDash val="solid"/>
                    <a:miter/>
                  </a:ln>
                </p:spPr>
                <p:txBody>
                  <a:bodyPr rtlCol="0" anchor="ctr"/>
                  <a:lstStyle/>
                  <a:p>
                    <a:endParaRPr lang="en-US" sz="2400"/>
                  </a:p>
                </p:txBody>
              </p:sp>
              <p:sp>
                <p:nvSpPr>
                  <p:cNvPr id="557" name="Freeform: Shape 556">
                    <a:extLst>
                      <a:ext uri="{FF2B5EF4-FFF2-40B4-BE49-F238E27FC236}">
                        <a16:creationId xmlns:a16="http://schemas.microsoft.com/office/drawing/2014/main" id="{FBBB510B-997D-CA38-399C-EB220FACA636}"/>
                      </a:ext>
                    </a:extLst>
                  </p:cNvPr>
                  <p:cNvSpPr/>
                  <p:nvPr userDrawn="1"/>
                </p:nvSpPr>
                <p:spPr>
                  <a:xfrm>
                    <a:off x="8289418" y="4484247"/>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B6BCCF"/>
                  </a:solidFill>
                  <a:ln w="2339" cap="flat">
                    <a:noFill/>
                    <a:prstDash val="solid"/>
                    <a:miter/>
                  </a:ln>
                </p:spPr>
                <p:txBody>
                  <a:bodyPr rtlCol="0" anchor="ctr"/>
                  <a:lstStyle/>
                  <a:p>
                    <a:endParaRPr lang="en-US" sz="2400"/>
                  </a:p>
                </p:txBody>
              </p:sp>
              <p:sp>
                <p:nvSpPr>
                  <p:cNvPr id="558" name="Freeform: Shape 557">
                    <a:extLst>
                      <a:ext uri="{FF2B5EF4-FFF2-40B4-BE49-F238E27FC236}">
                        <a16:creationId xmlns:a16="http://schemas.microsoft.com/office/drawing/2014/main" id="{17DB02A7-CF03-57B2-E6CD-3BC014FA734D}"/>
                      </a:ext>
                    </a:extLst>
                  </p:cNvPr>
                  <p:cNvSpPr/>
                  <p:nvPr userDrawn="1"/>
                </p:nvSpPr>
                <p:spPr>
                  <a:xfrm>
                    <a:off x="8288857" y="448436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6BCCF"/>
                  </a:solidFill>
                  <a:ln w="2339" cap="flat">
                    <a:noFill/>
                    <a:prstDash val="solid"/>
                    <a:miter/>
                  </a:ln>
                </p:spPr>
                <p:txBody>
                  <a:bodyPr rtlCol="0" anchor="ctr"/>
                  <a:lstStyle/>
                  <a:p>
                    <a:endParaRPr lang="en-US" sz="2400"/>
                  </a:p>
                </p:txBody>
              </p:sp>
              <p:sp>
                <p:nvSpPr>
                  <p:cNvPr id="559" name="Freeform: Shape 558">
                    <a:extLst>
                      <a:ext uri="{FF2B5EF4-FFF2-40B4-BE49-F238E27FC236}">
                        <a16:creationId xmlns:a16="http://schemas.microsoft.com/office/drawing/2014/main" id="{639941BD-8291-AC36-F857-8F055A8F72B5}"/>
                      </a:ext>
                    </a:extLst>
                  </p:cNvPr>
                  <p:cNvSpPr/>
                  <p:nvPr userDrawn="1"/>
                </p:nvSpPr>
                <p:spPr>
                  <a:xfrm>
                    <a:off x="8288295" y="4484458"/>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B6BDCF"/>
                  </a:solidFill>
                  <a:ln w="2339" cap="flat">
                    <a:noFill/>
                    <a:prstDash val="solid"/>
                    <a:miter/>
                  </a:ln>
                </p:spPr>
                <p:txBody>
                  <a:bodyPr rtlCol="0" anchor="ctr"/>
                  <a:lstStyle/>
                  <a:p>
                    <a:endParaRPr lang="en-US" sz="2400"/>
                  </a:p>
                </p:txBody>
              </p:sp>
              <p:sp>
                <p:nvSpPr>
                  <p:cNvPr id="560" name="Freeform: Shape 559">
                    <a:extLst>
                      <a:ext uri="{FF2B5EF4-FFF2-40B4-BE49-F238E27FC236}">
                        <a16:creationId xmlns:a16="http://schemas.microsoft.com/office/drawing/2014/main" id="{B4981F92-9C0A-2C29-2924-C473D48601CE}"/>
                      </a:ext>
                    </a:extLst>
                  </p:cNvPr>
                  <p:cNvSpPr/>
                  <p:nvPr userDrawn="1"/>
                </p:nvSpPr>
                <p:spPr>
                  <a:xfrm>
                    <a:off x="8287733" y="4484575"/>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7BDD0"/>
                  </a:solidFill>
                  <a:ln w="2339" cap="flat">
                    <a:noFill/>
                    <a:prstDash val="solid"/>
                    <a:miter/>
                  </a:ln>
                </p:spPr>
                <p:txBody>
                  <a:bodyPr rtlCol="0" anchor="ctr"/>
                  <a:lstStyle/>
                  <a:p>
                    <a:endParaRPr lang="en-US" sz="2400"/>
                  </a:p>
                </p:txBody>
              </p:sp>
              <p:sp>
                <p:nvSpPr>
                  <p:cNvPr id="561" name="Freeform: Shape 560">
                    <a:extLst>
                      <a:ext uri="{FF2B5EF4-FFF2-40B4-BE49-F238E27FC236}">
                        <a16:creationId xmlns:a16="http://schemas.microsoft.com/office/drawing/2014/main" id="{1D485A1C-D0F6-E21E-CA8A-86F3840B830C}"/>
                      </a:ext>
                    </a:extLst>
                  </p:cNvPr>
                  <p:cNvSpPr/>
                  <p:nvPr userDrawn="1"/>
                </p:nvSpPr>
                <p:spPr>
                  <a:xfrm>
                    <a:off x="8287172" y="4484669"/>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30"/>
                          <a:pt x="42097" y="21037"/>
                        </a:cubicBezTo>
                        <a:close/>
                      </a:path>
                    </a:pathLst>
                  </a:custGeom>
                  <a:solidFill>
                    <a:srgbClr val="B7BDD0"/>
                  </a:solidFill>
                  <a:ln w="2339" cap="flat">
                    <a:noFill/>
                    <a:prstDash val="solid"/>
                    <a:miter/>
                  </a:ln>
                </p:spPr>
                <p:txBody>
                  <a:bodyPr rtlCol="0" anchor="ctr"/>
                  <a:lstStyle/>
                  <a:p>
                    <a:endParaRPr lang="en-US" sz="2400"/>
                  </a:p>
                </p:txBody>
              </p:sp>
              <p:sp>
                <p:nvSpPr>
                  <p:cNvPr id="562" name="Freeform: Shape 561">
                    <a:extLst>
                      <a:ext uri="{FF2B5EF4-FFF2-40B4-BE49-F238E27FC236}">
                        <a16:creationId xmlns:a16="http://schemas.microsoft.com/office/drawing/2014/main" id="{7A0B8FF0-C7E1-C324-87E2-C9A4A0EB438D}"/>
                      </a:ext>
                    </a:extLst>
                  </p:cNvPr>
                  <p:cNvSpPr/>
                  <p:nvPr userDrawn="1"/>
                </p:nvSpPr>
                <p:spPr>
                  <a:xfrm>
                    <a:off x="8286634" y="448478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B7BED0"/>
                  </a:solidFill>
                  <a:ln w="2339" cap="flat">
                    <a:noFill/>
                    <a:prstDash val="solid"/>
                    <a:miter/>
                  </a:ln>
                </p:spPr>
                <p:txBody>
                  <a:bodyPr rtlCol="0" anchor="ctr"/>
                  <a:lstStyle/>
                  <a:p>
                    <a:endParaRPr lang="en-US" sz="2400"/>
                  </a:p>
                </p:txBody>
              </p:sp>
              <p:sp>
                <p:nvSpPr>
                  <p:cNvPr id="563" name="Freeform: Shape 562">
                    <a:extLst>
                      <a:ext uri="{FF2B5EF4-FFF2-40B4-BE49-F238E27FC236}">
                        <a16:creationId xmlns:a16="http://schemas.microsoft.com/office/drawing/2014/main" id="{CBAC1B17-4A8E-3584-929A-A4E6C9D3A42D}"/>
                      </a:ext>
                    </a:extLst>
                  </p:cNvPr>
                  <p:cNvSpPr/>
                  <p:nvPr userDrawn="1"/>
                </p:nvSpPr>
                <p:spPr>
                  <a:xfrm>
                    <a:off x="8286072" y="4484902"/>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7BED0"/>
                  </a:solidFill>
                  <a:ln w="2339" cap="flat">
                    <a:noFill/>
                    <a:prstDash val="solid"/>
                    <a:miter/>
                  </a:ln>
                </p:spPr>
                <p:txBody>
                  <a:bodyPr rtlCol="0" anchor="ctr"/>
                  <a:lstStyle/>
                  <a:p>
                    <a:endParaRPr lang="en-US" sz="2400"/>
                  </a:p>
                </p:txBody>
              </p:sp>
              <p:sp>
                <p:nvSpPr>
                  <p:cNvPr id="564" name="Freeform: Shape 563">
                    <a:extLst>
                      <a:ext uri="{FF2B5EF4-FFF2-40B4-BE49-F238E27FC236}">
                        <a16:creationId xmlns:a16="http://schemas.microsoft.com/office/drawing/2014/main" id="{91CE72E5-26C2-CA25-2381-31A6F68C4AA9}"/>
                      </a:ext>
                    </a:extLst>
                  </p:cNvPr>
                  <p:cNvSpPr/>
                  <p:nvPr userDrawn="1"/>
                </p:nvSpPr>
                <p:spPr>
                  <a:xfrm>
                    <a:off x="8285510" y="448499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B8BED0"/>
                  </a:solidFill>
                  <a:ln w="2339" cap="flat">
                    <a:noFill/>
                    <a:prstDash val="solid"/>
                    <a:miter/>
                  </a:ln>
                </p:spPr>
                <p:txBody>
                  <a:bodyPr rtlCol="0" anchor="ctr"/>
                  <a:lstStyle/>
                  <a:p>
                    <a:endParaRPr lang="en-US" sz="2400"/>
                  </a:p>
                </p:txBody>
              </p:sp>
              <p:sp>
                <p:nvSpPr>
                  <p:cNvPr id="565" name="Freeform: Shape 564">
                    <a:extLst>
                      <a:ext uri="{FF2B5EF4-FFF2-40B4-BE49-F238E27FC236}">
                        <a16:creationId xmlns:a16="http://schemas.microsoft.com/office/drawing/2014/main" id="{72AA7686-A11E-51F6-ADB1-157BA5B8A620}"/>
                      </a:ext>
                    </a:extLst>
                  </p:cNvPr>
                  <p:cNvSpPr/>
                  <p:nvPr userDrawn="1"/>
                </p:nvSpPr>
                <p:spPr>
                  <a:xfrm>
                    <a:off x="8284972" y="4485113"/>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B8BED1"/>
                  </a:solidFill>
                  <a:ln w="2339" cap="flat">
                    <a:noFill/>
                    <a:prstDash val="solid"/>
                    <a:miter/>
                  </a:ln>
                </p:spPr>
                <p:txBody>
                  <a:bodyPr rtlCol="0" anchor="ctr"/>
                  <a:lstStyle/>
                  <a:p>
                    <a:endParaRPr lang="en-US" sz="2400"/>
                  </a:p>
                </p:txBody>
              </p:sp>
              <p:sp>
                <p:nvSpPr>
                  <p:cNvPr id="566" name="Freeform: Shape 565">
                    <a:extLst>
                      <a:ext uri="{FF2B5EF4-FFF2-40B4-BE49-F238E27FC236}">
                        <a16:creationId xmlns:a16="http://schemas.microsoft.com/office/drawing/2014/main" id="{CF7822AD-3ED9-4E22-2FA9-25C23FA61A77}"/>
                      </a:ext>
                    </a:extLst>
                  </p:cNvPr>
                  <p:cNvSpPr/>
                  <p:nvPr userDrawn="1"/>
                </p:nvSpPr>
                <p:spPr>
                  <a:xfrm>
                    <a:off x="8284411" y="4485230"/>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B8BFD1"/>
                  </a:solidFill>
                  <a:ln w="2339" cap="flat">
                    <a:noFill/>
                    <a:prstDash val="solid"/>
                    <a:miter/>
                  </a:ln>
                </p:spPr>
                <p:txBody>
                  <a:bodyPr rtlCol="0" anchor="ctr"/>
                  <a:lstStyle/>
                  <a:p>
                    <a:endParaRPr lang="en-US" sz="2400"/>
                  </a:p>
                </p:txBody>
              </p:sp>
              <p:sp>
                <p:nvSpPr>
                  <p:cNvPr id="567" name="Freeform: Shape 566">
                    <a:extLst>
                      <a:ext uri="{FF2B5EF4-FFF2-40B4-BE49-F238E27FC236}">
                        <a16:creationId xmlns:a16="http://schemas.microsoft.com/office/drawing/2014/main" id="{B1AB7A82-31C3-AE3F-9F9A-E38632A628D1}"/>
                      </a:ext>
                    </a:extLst>
                  </p:cNvPr>
                  <p:cNvSpPr/>
                  <p:nvPr userDrawn="1"/>
                </p:nvSpPr>
                <p:spPr>
                  <a:xfrm>
                    <a:off x="8283849" y="4485347"/>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B9BFD1"/>
                  </a:solidFill>
                  <a:ln w="2339" cap="flat">
                    <a:noFill/>
                    <a:prstDash val="solid"/>
                    <a:miter/>
                  </a:ln>
                </p:spPr>
                <p:txBody>
                  <a:bodyPr rtlCol="0" anchor="ctr"/>
                  <a:lstStyle/>
                  <a:p>
                    <a:endParaRPr lang="en-US" sz="2400"/>
                  </a:p>
                </p:txBody>
              </p:sp>
              <p:sp>
                <p:nvSpPr>
                  <p:cNvPr id="568" name="Freeform: Shape 567">
                    <a:extLst>
                      <a:ext uri="{FF2B5EF4-FFF2-40B4-BE49-F238E27FC236}">
                        <a16:creationId xmlns:a16="http://schemas.microsoft.com/office/drawing/2014/main" id="{D502EF6C-6E3C-2ACF-F860-40EB6547DE30}"/>
                      </a:ext>
                    </a:extLst>
                  </p:cNvPr>
                  <p:cNvSpPr/>
                  <p:nvPr userDrawn="1"/>
                </p:nvSpPr>
                <p:spPr>
                  <a:xfrm>
                    <a:off x="8283311" y="448546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9BFD1"/>
                  </a:solidFill>
                  <a:ln w="2339" cap="flat">
                    <a:noFill/>
                    <a:prstDash val="solid"/>
                    <a:miter/>
                  </a:ln>
                </p:spPr>
                <p:txBody>
                  <a:bodyPr rtlCol="0" anchor="ctr"/>
                  <a:lstStyle/>
                  <a:p>
                    <a:endParaRPr lang="en-US" sz="2400"/>
                  </a:p>
                </p:txBody>
              </p:sp>
              <p:sp>
                <p:nvSpPr>
                  <p:cNvPr id="569" name="Freeform: Shape 568">
                    <a:extLst>
                      <a:ext uri="{FF2B5EF4-FFF2-40B4-BE49-F238E27FC236}">
                        <a16:creationId xmlns:a16="http://schemas.microsoft.com/office/drawing/2014/main" id="{F86C6450-836D-36F4-1F59-399A5C21C47F}"/>
                      </a:ext>
                    </a:extLst>
                  </p:cNvPr>
                  <p:cNvSpPr/>
                  <p:nvPr userDrawn="1"/>
                </p:nvSpPr>
                <p:spPr>
                  <a:xfrm>
                    <a:off x="8282749" y="4485581"/>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9C0D1"/>
                  </a:solidFill>
                  <a:ln w="2339" cap="flat">
                    <a:noFill/>
                    <a:prstDash val="solid"/>
                    <a:miter/>
                  </a:ln>
                </p:spPr>
                <p:txBody>
                  <a:bodyPr rtlCol="0" anchor="ctr"/>
                  <a:lstStyle/>
                  <a:p>
                    <a:endParaRPr lang="en-US" sz="2400"/>
                  </a:p>
                </p:txBody>
              </p:sp>
              <p:sp>
                <p:nvSpPr>
                  <p:cNvPr id="570" name="Freeform: Shape 569">
                    <a:extLst>
                      <a:ext uri="{FF2B5EF4-FFF2-40B4-BE49-F238E27FC236}">
                        <a16:creationId xmlns:a16="http://schemas.microsoft.com/office/drawing/2014/main" id="{AA0AFC2F-72F5-AF62-E684-576D16A518D2}"/>
                      </a:ext>
                    </a:extLst>
                  </p:cNvPr>
                  <p:cNvSpPr/>
                  <p:nvPr userDrawn="1"/>
                </p:nvSpPr>
                <p:spPr>
                  <a:xfrm>
                    <a:off x="8282211" y="4485698"/>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AC0D2"/>
                  </a:solidFill>
                  <a:ln w="2339" cap="flat">
                    <a:noFill/>
                    <a:prstDash val="solid"/>
                    <a:miter/>
                  </a:ln>
                </p:spPr>
                <p:txBody>
                  <a:bodyPr rtlCol="0" anchor="ctr"/>
                  <a:lstStyle/>
                  <a:p>
                    <a:endParaRPr lang="en-US" sz="2400"/>
                  </a:p>
                </p:txBody>
              </p:sp>
              <p:sp>
                <p:nvSpPr>
                  <p:cNvPr id="571" name="Freeform: Shape 570">
                    <a:extLst>
                      <a:ext uri="{FF2B5EF4-FFF2-40B4-BE49-F238E27FC236}">
                        <a16:creationId xmlns:a16="http://schemas.microsoft.com/office/drawing/2014/main" id="{BBCCF037-FD30-2658-86A2-20B0BA988986}"/>
                      </a:ext>
                    </a:extLst>
                  </p:cNvPr>
                  <p:cNvSpPr/>
                  <p:nvPr userDrawn="1"/>
                </p:nvSpPr>
                <p:spPr>
                  <a:xfrm>
                    <a:off x="8281649" y="4485815"/>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BAC0D2"/>
                  </a:solidFill>
                  <a:ln w="2339" cap="flat">
                    <a:noFill/>
                    <a:prstDash val="solid"/>
                    <a:miter/>
                  </a:ln>
                </p:spPr>
                <p:txBody>
                  <a:bodyPr rtlCol="0" anchor="ctr"/>
                  <a:lstStyle/>
                  <a:p>
                    <a:endParaRPr lang="en-US" sz="2400"/>
                  </a:p>
                </p:txBody>
              </p:sp>
              <p:sp>
                <p:nvSpPr>
                  <p:cNvPr id="572" name="Freeform: Shape 571">
                    <a:extLst>
                      <a:ext uri="{FF2B5EF4-FFF2-40B4-BE49-F238E27FC236}">
                        <a16:creationId xmlns:a16="http://schemas.microsoft.com/office/drawing/2014/main" id="{0B51688E-3DB8-EE10-B06C-B6D3BCBCEA0A}"/>
                      </a:ext>
                    </a:extLst>
                  </p:cNvPr>
                  <p:cNvSpPr/>
                  <p:nvPr userDrawn="1"/>
                </p:nvSpPr>
                <p:spPr>
                  <a:xfrm>
                    <a:off x="8281111" y="4485932"/>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BAC0D2"/>
                  </a:solidFill>
                  <a:ln w="2339" cap="flat">
                    <a:noFill/>
                    <a:prstDash val="solid"/>
                    <a:miter/>
                  </a:ln>
                </p:spPr>
                <p:txBody>
                  <a:bodyPr rtlCol="0" anchor="ctr"/>
                  <a:lstStyle/>
                  <a:p>
                    <a:endParaRPr lang="en-US" sz="2400"/>
                  </a:p>
                </p:txBody>
              </p:sp>
              <p:sp>
                <p:nvSpPr>
                  <p:cNvPr id="573" name="Freeform: Shape 572">
                    <a:extLst>
                      <a:ext uri="{FF2B5EF4-FFF2-40B4-BE49-F238E27FC236}">
                        <a16:creationId xmlns:a16="http://schemas.microsoft.com/office/drawing/2014/main" id="{97E39509-A3BF-B3B3-5A40-5917F5B36BC9}"/>
                      </a:ext>
                    </a:extLst>
                  </p:cNvPr>
                  <p:cNvSpPr/>
                  <p:nvPr userDrawn="1"/>
                </p:nvSpPr>
                <p:spPr>
                  <a:xfrm>
                    <a:off x="8280550" y="4486049"/>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AC1D2"/>
                  </a:solidFill>
                  <a:ln w="2339" cap="flat">
                    <a:noFill/>
                    <a:prstDash val="solid"/>
                    <a:miter/>
                  </a:ln>
                </p:spPr>
                <p:txBody>
                  <a:bodyPr rtlCol="0" anchor="ctr"/>
                  <a:lstStyle/>
                  <a:p>
                    <a:endParaRPr lang="en-US" sz="2400"/>
                  </a:p>
                </p:txBody>
              </p:sp>
              <p:sp>
                <p:nvSpPr>
                  <p:cNvPr id="574" name="Freeform: Shape 573">
                    <a:extLst>
                      <a:ext uri="{FF2B5EF4-FFF2-40B4-BE49-F238E27FC236}">
                        <a16:creationId xmlns:a16="http://schemas.microsoft.com/office/drawing/2014/main" id="{23F00E1E-43BA-8CB6-12EC-2D96A9343CF7}"/>
                      </a:ext>
                    </a:extLst>
                  </p:cNvPr>
                  <p:cNvSpPr/>
                  <p:nvPr userDrawn="1"/>
                </p:nvSpPr>
                <p:spPr>
                  <a:xfrm>
                    <a:off x="8280011" y="448616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BBC1D2"/>
                  </a:solidFill>
                  <a:ln w="2339" cap="flat">
                    <a:noFill/>
                    <a:prstDash val="solid"/>
                    <a:miter/>
                  </a:ln>
                </p:spPr>
                <p:txBody>
                  <a:bodyPr rtlCol="0" anchor="ctr"/>
                  <a:lstStyle/>
                  <a:p>
                    <a:endParaRPr lang="en-US" sz="2400"/>
                  </a:p>
                </p:txBody>
              </p:sp>
              <p:sp>
                <p:nvSpPr>
                  <p:cNvPr id="575" name="Freeform: Shape 574">
                    <a:extLst>
                      <a:ext uri="{FF2B5EF4-FFF2-40B4-BE49-F238E27FC236}">
                        <a16:creationId xmlns:a16="http://schemas.microsoft.com/office/drawing/2014/main" id="{39CA249B-13D5-8A44-EEE8-06CE02A629F4}"/>
                      </a:ext>
                    </a:extLst>
                  </p:cNvPr>
                  <p:cNvSpPr/>
                  <p:nvPr userDrawn="1"/>
                </p:nvSpPr>
                <p:spPr>
                  <a:xfrm>
                    <a:off x="8279473" y="448630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BC1D3"/>
                  </a:solidFill>
                  <a:ln w="2339" cap="flat">
                    <a:noFill/>
                    <a:prstDash val="solid"/>
                    <a:miter/>
                  </a:ln>
                </p:spPr>
                <p:txBody>
                  <a:bodyPr rtlCol="0" anchor="ctr"/>
                  <a:lstStyle/>
                  <a:p>
                    <a:endParaRPr lang="en-US" sz="2400"/>
                  </a:p>
                </p:txBody>
              </p:sp>
              <p:sp>
                <p:nvSpPr>
                  <p:cNvPr id="576" name="Freeform: Shape 575">
                    <a:extLst>
                      <a:ext uri="{FF2B5EF4-FFF2-40B4-BE49-F238E27FC236}">
                        <a16:creationId xmlns:a16="http://schemas.microsoft.com/office/drawing/2014/main" id="{741C38C8-0045-0502-79C5-6AACA05858E0}"/>
                      </a:ext>
                    </a:extLst>
                  </p:cNvPr>
                  <p:cNvSpPr/>
                  <p:nvPr userDrawn="1"/>
                </p:nvSpPr>
                <p:spPr>
                  <a:xfrm>
                    <a:off x="8278912" y="448642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BC1D3"/>
                  </a:solidFill>
                  <a:ln w="2339" cap="flat">
                    <a:noFill/>
                    <a:prstDash val="solid"/>
                    <a:miter/>
                  </a:ln>
                </p:spPr>
                <p:txBody>
                  <a:bodyPr rtlCol="0" anchor="ctr"/>
                  <a:lstStyle/>
                  <a:p>
                    <a:endParaRPr lang="en-US" sz="2400"/>
                  </a:p>
                </p:txBody>
              </p:sp>
              <p:sp>
                <p:nvSpPr>
                  <p:cNvPr id="577" name="Freeform: Shape 576">
                    <a:extLst>
                      <a:ext uri="{FF2B5EF4-FFF2-40B4-BE49-F238E27FC236}">
                        <a16:creationId xmlns:a16="http://schemas.microsoft.com/office/drawing/2014/main" id="{51744ECB-A52D-C617-D92D-7BD0CD79AF8C}"/>
                      </a:ext>
                    </a:extLst>
                  </p:cNvPr>
                  <p:cNvSpPr/>
                  <p:nvPr userDrawn="1"/>
                </p:nvSpPr>
                <p:spPr>
                  <a:xfrm>
                    <a:off x="8278373" y="4486541"/>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BCC2D3"/>
                  </a:solidFill>
                  <a:ln w="2339" cap="flat">
                    <a:noFill/>
                    <a:prstDash val="solid"/>
                    <a:miter/>
                  </a:ln>
                </p:spPr>
                <p:txBody>
                  <a:bodyPr rtlCol="0" anchor="ctr"/>
                  <a:lstStyle/>
                  <a:p>
                    <a:endParaRPr lang="en-US" sz="2400"/>
                  </a:p>
                </p:txBody>
              </p:sp>
              <p:sp>
                <p:nvSpPr>
                  <p:cNvPr id="578" name="Freeform: Shape 577">
                    <a:extLst>
                      <a:ext uri="{FF2B5EF4-FFF2-40B4-BE49-F238E27FC236}">
                        <a16:creationId xmlns:a16="http://schemas.microsoft.com/office/drawing/2014/main" id="{699C1A7C-6DE7-20C2-61F9-3D8C92A60DA4}"/>
                      </a:ext>
                    </a:extLst>
                  </p:cNvPr>
                  <p:cNvSpPr/>
                  <p:nvPr userDrawn="1"/>
                </p:nvSpPr>
                <p:spPr>
                  <a:xfrm>
                    <a:off x="8277835" y="4486681"/>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CC2D3"/>
                  </a:solidFill>
                  <a:ln w="2339" cap="flat">
                    <a:noFill/>
                    <a:prstDash val="solid"/>
                    <a:miter/>
                  </a:ln>
                </p:spPr>
                <p:txBody>
                  <a:bodyPr rtlCol="0" anchor="ctr"/>
                  <a:lstStyle/>
                  <a:p>
                    <a:endParaRPr lang="en-US" sz="2400"/>
                  </a:p>
                </p:txBody>
              </p:sp>
              <p:sp>
                <p:nvSpPr>
                  <p:cNvPr id="579" name="Freeform: Shape 578">
                    <a:extLst>
                      <a:ext uri="{FF2B5EF4-FFF2-40B4-BE49-F238E27FC236}">
                        <a16:creationId xmlns:a16="http://schemas.microsoft.com/office/drawing/2014/main" id="{78AF436A-5AD1-F5DE-19E5-058E04D62537}"/>
                      </a:ext>
                    </a:extLst>
                  </p:cNvPr>
                  <p:cNvSpPr/>
                  <p:nvPr userDrawn="1"/>
                </p:nvSpPr>
                <p:spPr>
                  <a:xfrm>
                    <a:off x="8277297" y="4486798"/>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BCC2D3"/>
                  </a:solidFill>
                  <a:ln w="2339" cap="flat">
                    <a:noFill/>
                    <a:prstDash val="solid"/>
                    <a:miter/>
                  </a:ln>
                </p:spPr>
                <p:txBody>
                  <a:bodyPr rtlCol="0" anchor="ctr"/>
                  <a:lstStyle/>
                  <a:p>
                    <a:endParaRPr lang="en-US" sz="2400"/>
                  </a:p>
                </p:txBody>
              </p:sp>
              <p:sp>
                <p:nvSpPr>
                  <p:cNvPr id="580" name="Freeform: Shape 579">
                    <a:extLst>
                      <a:ext uri="{FF2B5EF4-FFF2-40B4-BE49-F238E27FC236}">
                        <a16:creationId xmlns:a16="http://schemas.microsoft.com/office/drawing/2014/main" id="{BF78983B-C045-A7B0-CF7B-6FA6BBCDD141}"/>
                      </a:ext>
                    </a:extLst>
                  </p:cNvPr>
                  <p:cNvSpPr/>
                  <p:nvPr userDrawn="1"/>
                </p:nvSpPr>
                <p:spPr>
                  <a:xfrm>
                    <a:off x="8276759" y="4486938"/>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DC3D4"/>
                  </a:solidFill>
                  <a:ln w="2339" cap="flat">
                    <a:noFill/>
                    <a:prstDash val="solid"/>
                    <a:miter/>
                  </a:ln>
                </p:spPr>
                <p:txBody>
                  <a:bodyPr rtlCol="0" anchor="ctr"/>
                  <a:lstStyle/>
                  <a:p>
                    <a:endParaRPr lang="en-US" sz="2400"/>
                  </a:p>
                </p:txBody>
              </p:sp>
              <p:sp>
                <p:nvSpPr>
                  <p:cNvPr id="581" name="Freeform: Shape 580">
                    <a:extLst>
                      <a:ext uri="{FF2B5EF4-FFF2-40B4-BE49-F238E27FC236}">
                        <a16:creationId xmlns:a16="http://schemas.microsoft.com/office/drawing/2014/main" id="{BFC6465A-270F-B844-099D-6E154F40FBB0}"/>
                      </a:ext>
                    </a:extLst>
                  </p:cNvPr>
                  <p:cNvSpPr/>
                  <p:nvPr userDrawn="1"/>
                </p:nvSpPr>
                <p:spPr>
                  <a:xfrm>
                    <a:off x="8276197" y="4487055"/>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30"/>
                          <a:pt x="42097" y="21037"/>
                        </a:cubicBezTo>
                        <a:close/>
                      </a:path>
                    </a:pathLst>
                  </a:custGeom>
                  <a:solidFill>
                    <a:srgbClr val="BDC3D4"/>
                  </a:solidFill>
                  <a:ln w="2339" cap="flat">
                    <a:noFill/>
                    <a:prstDash val="solid"/>
                    <a:miter/>
                  </a:ln>
                </p:spPr>
                <p:txBody>
                  <a:bodyPr rtlCol="0" anchor="ctr"/>
                  <a:lstStyle/>
                  <a:p>
                    <a:endParaRPr lang="en-US" sz="2400"/>
                  </a:p>
                </p:txBody>
              </p:sp>
              <p:sp>
                <p:nvSpPr>
                  <p:cNvPr id="582" name="Freeform: Shape 581">
                    <a:extLst>
                      <a:ext uri="{FF2B5EF4-FFF2-40B4-BE49-F238E27FC236}">
                        <a16:creationId xmlns:a16="http://schemas.microsoft.com/office/drawing/2014/main" id="{B07BD104-172F-2DB4-B3DB-C527E46980ED}"/>
                      </a:ext>
                    </a:extLst>
                  </p:cNvPr>
                  <p:cNvSpPr/>
                  <p:nvPr userDrawn="1"/>
                </p:nvSpPr>
                <p:spPr>
                  <a:xfrm>
                    <a:off x="8275659" y="448719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DC3D4"/>
                  </a:solidFill>
                  <a:ln w="2339" cap="flat">
                    <a:noFill/>
                    <a:prstDash val="solid"/>
                    <a:miter/>
                  </a:ln>
                </p:spPr>
                <p:txBody>
                  <a:bodyPr rtlCol="0" anchor="ctr"/>
                  <a:lstStyle/>
                  <a:p>
                    <a:endParaRPr lang="en-US" sz="2400"/>
                  </a:p>
                </p:txBody>
              </p:sp>
              <p:sp>
                <p:nvSpPr>
                  <p:cNvPr id="583" name="Freeform: Shape 582">
                    <a:extLst>
                      <a:ext uri="{FF2B5EF4-FFF2-40B4-BE49-F238E27FC236}">
                        <a16:creationId xmlns:a16="http://schemas.microsoft.com/office/drawing/2014/main" id="{A029DD17-D9BD-A9A4-17DA-F9C977404512}"/>
                      </a:ext>
                    </a:extLst>
                  </p:cNvPr>
                  <p:cNvSpPr/>
                  <p:nvPr userDrawn="1"/>
                </p:nvSpPr>
                <p:spPr>
                  <a:xfrm>
                    <a:off x="8275121" y="448733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BEC3D4"/>
                  </a:solidFill>
                  <a:ln w="2339" cap="flat">
                    <a:noFill/>
                    <a:prstDash val="solid"/>
                    <a:miter/>
                  </a:ln>
                </p:spPr>
                <p:txBody>
                  <a:bodyPr rtlCol="0" anchor="ctr"/>
                  <a:lstStyle/>
                  <a:p>
                    <a:endParaRPr lang="en-US" sz="2400"/>
                  </a:p>
                </p:txBody>
              </p:sp>
              <p:sp>
                <p:nvSpPr>
                  <p:cNvPr id="584" name="Freeform: Shape 583">
                    <a:extLst>
                      <a:ext uri="{FF2B5EF4-FFF2-40B4-BE49-F238E27FC236}">
                        <a16:creationId xmlns:a16="http://schemas.microsoft.com/office/drawing/2014/main" id="{1AB148F4-6C5A-3B19-F788-6F977D6567A4}"/>
                      </a:ext>
                    </a:extLst>
                  </p:cNvPr>
                  <p:cNvSpPr/>
                  <p:nvPr userDrawn="1"/>
                </p:nvSpPr>
                <p:spPr>
                  <a:xfrm>
                    <a:off x="8274583" y="4487453"/>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30"/>
                          <a:pt x="42097" y="21037"/>
                        </a:cubicBezTo>
                        <a:close/>
                      </a:path>
                    </a:pathLst>
                  </a:custGeom>
                  <a:solidFill>
                    <a:srgbClr val="BEC4D4"/>
                  </a:solidFill>
                  <a:ln w="2339" cap="flat">
                    <a:noFill/>
                    <a:prstDash val="solid"/>
                    <a:miter/>
                  </a:ln>
                </p:spPr>
                <p:txBody>
                  <a:bodyPr rtlCol="0" anchor="ctr"/>
                  <a:lstStyle/>
                  <a:p>
                    <a:endParaRPr lang="en-US" sz="2400"/>
                  </a:p>
                </p:txBody>
              </p:sp>
              <p:sp>
                <p:nvSpPr>
                  <p:cNvPr id="585" name="Freeform: Shape 584">
                    <a:extLst>
                      <a:ext uri="{FF2B5EF4-FFF2-40B4-BE49-F238E27FC236}">
                        <a16:creationId xmlns:a16="http://schemas.microsoft.com/office/drawing/2014/main" id="{B41393FC-E2A4-0536-06CF-9AE9626AD687}"/>
                      </a:ext>
                    </a:extLst>
                  </p:cNvPr>
                  <p:cNvSpPr/>
                  <p:nvPr userDrawn="1"/>
                </p:nvSpPr>
                <p:spPr>
                  <a:xfrm>
                    <a:off x="8274044" y="448759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EC4D5"/>
                  </a:solidFill>
                  <a:ln w="2339" cap="flat">
                    <a:noFill/>
                    <a:prstDash val="solid"/>
                    <a:miter/>
                  </a:ln>
                </p:spPr>
                <p:txBody>
                  <a:bodyPr rtlCol="0" anchor="ctr"/>
                  <a:lstStyle/>
                  <a:p>
                    <a:endParaRPr lang="en-US" sz="2400"/>
                  </a:p>
                </p:txBody>
              </p:sp>
              <p:sp>
                <p:nvSpPr>
                  <p:cNvPr id="586" name="Freeform: Shape 585">
                    <a:extLst>
                      <a:ext uri="{FF2B5EF4-FFF2-40B4-BE49-F238E27FC236}">
                        <a16:creationId xmlns:a16="http://schemas.microsoft.com/office/drawing/2014/main" id="{89A21DEC-FA96-B13B-CCF0-B4432975494F}"/>
                      </a:ext>
                    </a:extLst>
                  </p:cNvPr>
                  <p:cNvSpPr/>
                  <p:nvPr userDrawn="1"/>
                </p:nvSpPr>
                <p:spPr>
                  <a:xfrm>
                    <a:off x="8273506" y="448773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EC4D5"/>
                  </a:solidFill>
                  <a:ln w="2339" cap="flat">
                    <a:noFill/>
                    <a:prstDash val="solid"/>
                    <a:miter/>
                  </a:ln>
                </p:spPr>
                <p:txBody>
                  <a:bodyPr rtlCol="0" anchor="ctr"/>
                  <a:lstStyle/>
                  <a:p>
                    <a:endParaRPr lang="en-US" sz="2400"/>
                  </a:p>
                </p:txBody>
              </p:sp>
              <p:sp>
                <p:nvSpPr>
                  <p:cNvPr id="587" name="Freeform: Shape 586">
                    <a:extLst>
                      <a:ext uri="{FF2B5EF4-FFF2-40B4-BE49-F238E27FC236}">
                        <a16:creationId xmlns:a16="http://schemas.microsoft.com/office/drawing/2014/main" id="{BF272FDB-F669-C459-7740-D76703EDCA20}"/>
                      </a:ext>
                    </a:extLst>
                  </p:cNvPr>
                  <p:cNvSpPr/>
                  <p:nvPr userDrawn="1"/>
                </p:nvSpPr>
                <p:spPr>
                  <a:xfrm>
                    <a:off x="8272991" y="448787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FC5D5"/>
                  </a:solidFill>
                  <a:ln w="2339" cap="flat">
                    <a:noFill/>
                    <a:prstDash val="solid"/>
                    <a:miter/>
                  </a:ln>
                </p:spPr>
                <p:txBody>
                  <a:bodyPr rtlCol="0" anchor="ctr"/>
                  <a:lstStyle/>
                  <a:p>
                    <a:endParaRPr lang="en-US" sz="2400"/>
                  </a:p>
                </p:txBody>
              </p:sp>
              <p:sp>
                <p:nvSpPr>
                  <p:cNvPr id="588" name="Freeform: Shape 587">
                    <a:extLst>
                      <a:ext uri="{FF2B5EF4-FFF2-40B4-BE49-F238E27FC236}">
                        <a16:creationId xmlns:a16="http://schemas.microsoft.com/office/drawing/2014/main" id="{FFBA45C8-B6F0-AD7D-3735-755DECB9B456}"/>
                      </a:ext>
                    </a:extLst>
                  </p:cNvPr>
                  <p:cNvSpPr/>
                  <p:nvPr userDrawn="1"/>
                </p:nvSpPr>
                <p:spPr>
                  <a:xfrm>
                    <a:off x="8272453" y="4488015"/>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FC5D5"/>
                  </a:solidFill>
                  <a:ln w="2339" cap="flat">
                    <a:noFill/>
                    <a:prstDash val="solid"/>
                    <a:miter/>
                  </a:ln>
                </p:spPr>
                <p:txBody>
                  <a:bodyPr rtlCol="0" anchor="ctr"/>
                  <a:lstStyle/>
                  <a:p>
                    <a:endParaRPr lang="en-US" sz="2400"/>
                  </a:p>
                </p:txBody>
              </p:sp>
              <p:sp>
                <p:nvSpPr>
                  <p:cNvPr id="589" name="Freeform: Shape 588">
                    <a:extLst>
                      <a:ext uri="{FF2B5EF4-FFF2-40B4-BE49-F238E27FC236}">
                        <a16:creationId xmlns:a16="http://schemas.microsoft.com/office/drawing/2014/main" id="{29E6BD77-25F6-182E-7C27-7113A3DD940D}"/>
                      </a:ext>
                    </a:extLst>
                  </p:cNvPr>
                  <p:cNvSpPr/>
                  <p:nvPr userDrawn="1"/>
                </p:nvSpPr>
                <p:spPr>
                  <a:xfrm>
                    <a:off x="8271915" y="4488155"/>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FC5D5"/>
                  </a:solidFill>
                  <a:ln w="2339" cap="flat">
                    <a:noFill/>
                    <a:prstDash val="solid"/>
                    <a:miter/>
                  </a:ln>
                </p:spPr>
                <p:txBody>
                  <a:bodyPr rtlCol="0" anchor="ctr"/>
                  <a:lstStyle/>
                  <a:p>
                    <a:endParaRPr lang="en-US" sz="2400"/>
                  </a:p>
                </p:txBody>
              </p:sp>
              <p:sp>
                <p:nvSpPr>
                  <p:cNvPr id="590" name="Freeform: Shape 589">
                    <a:extLst>
                      <a:ext uri="{FF2B5EF4-FFF2-40B4-BE49-F238E27FC236}">
                        <a16:creationId xmlns:a16="http://schemas.microsoft.com/office/drawing/2014/main" id="{CA282874-A1FC-A092-4031-9635AD1C394D}"/>
                      </a:ext>
                    </a:extLst>
                  </p:cNvPr>
                  <p:cNvSpPr/>
                  <p:nvPr userDrawn="1"/>
                </p:nvSpPr>
                <p:spPr>
                  <a:xfrm>
                    <a:off x="8271377" y="448829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C0C5D6"/>
                  </a:solidFill>
                  <a:ln w="2339" cap="flat">
                    <a:noFill/>
                    <a:prstDash val="solid"/>
                    <a:miter/>
                  </a:ln>
                </p:spPr>
                <p:txBody>
                  <a:bodyPr rtlCol="0" anchor="ctr"/>
                  <a:lstStyle/>
                  <a:p>
                    <a:endParaRPr lang="en-US" sz="2400"/>
                  </a:p>
                </p:txBody>
              </p:sp>
              <p:sp>
                <p:nvSpPr>
                  <p:cNvPr id="591" name="Freeform: Shape 590">
                    <a:extLst>
                      <a:ext uri="{FF2B5EF4-FFF2-40B4-BE49-F238E27FC236}">
                        <a16:creationId xmlns:a16="http://schemas.microsoft.com/office/drawing/2014/main" id="{AD4E8AEA-320E-44B1-DAB0-E4E032600B68}"/>
                      </a:ext>
                    </a:extLst>
                  </p:cNvPr>
                  <p:cNvSpPr/>
                  <p:nvPr userDrawn="1"/>
                </p:nvSpPr>
                <p:spPr>
                  <a:xfrm>
                    <a:off x="8270862" y="448843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C0C6D6"/>
                  </a:solidFill>
                  <a:ln w="2339" cap="flat">
                    <a:noFill/>
                    <a:prstDash val="solid"/>
                    <a:miter/>
                  </a:ln>
                </p:spPr>
                <p:txBody>
                  <a:bodyPr rtlCol="0" anchor="ctr"/>
                  <a:lstStyle/>
                  <a:p>
                    <a:endParaRPr lang="en-US" sz="2400"/>
                  </a:p>
                </p:txBody>
              </p:sp>
              <p:sp>
                <p:nvSpPr>
                  <p:cNvPr id="592" name="Freeform: Shape 591">
                    <a:extLst>
                      <a:ext uri="{FF2B5EF4-FFF2-40B4-BE49-F238E27FC236}">
                        <a16:creationId xmlns:a16="http://schemas.microsoft.com/office/drawing/2014/main" id="{CE56B401-6D94-0221-F6BB-B8F5D887EE56}"/>
                      </a:ext>
                    </a:extLst>
                  </p:cNvPr>
                  <p:cNvSpPr/>
                  <p:nvPr userDrawn="1"/>
                </p:nvSpPr>
                <p:spPr>
                  <a:xfrm>
                    <a:off x="8270324" y="448857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C0C6D6"/>
                  </a:solidFill>
                  <a:ln w="2339" cap="flat">
                    <a:noFill/>
                    <a:prstDash val="solid"/>
                    <a:miter/>
                  </a:ln>
                </p:spPr>
                <p:txBody>
                  <a:bodyPr rtlCol="0" anchor="ctr"/>
                  <a:lstStyle/>
                  <a:p>
                    <a:endParaRPr lang="en-US" sz="2400"/>
                  </a:p>
                </p:txBody>
              </p:sp>
              <p:sp>
                <p:nvSpPr>
                  <p:cNvPr id="593" name="Freeform: Shape 592">
                    <a:extLst>
                      <a:ext uri="{FF2B5EF4-FFF2-40B4-BE49-F238E27FC236}">
                        <a16:creationId xmlns:a16="http://schemas.microsoft.com/office/drawing/2014/main" id="{70737F38-03E5-6233-ABFD-75037A69D95B}"/>
                      </a:ext>
                    </a:extLst>
                  </p:cNvPr>
                  <p:cNvSpPr/>
                  <p:nvPr userDrawn="1"/>
                </p:nvSpPr>
                <p:spPr>
                  <a:xfrm>
                    <a:off x="8269786" y="4488717"/>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C1C6D6"/>
                  </a:solidFill>
                  <a:ln w="2339" cap="flat">
                    <a:noFill/>
                    <a:prstDash val="solid"/>
                    <a:miter/>
                  </a:ln>
                </p:spPr>
                <p:txBody>
                  <a:bodyPr rtlCol="0" anchor="ctr"/>
                  <a:lstStyle/>
                  <a:p>
                    <a:endParaRPr lang="en-US" sz="2400"/>
                  </a:p>
                </p:txBody>
              </p:sp>
              <p:sp>
                <p:nvSpPr>
                  <p:cNvPr id="594" name="Freeform: Shape 593">
                    <a:extLst>
                      <a:ext uri="{FF2B5EF4-FFF2-40B4-BE49-F238E27FC236}">
                        <a16:creationId xmlns:a16="http://schemas.microsoft.com/office/drawing/2014/main" id="{0A3B5F06-04FA-D886-E0D6-51E3B5B58C51}"/>
                      </a:ext>
                    </a:extLst>
                  </p:cNvPr>
                  <p:cNvSpPr/>
                  <p:nvPr userDrawn="1"/>
                </p:nvSpPr>
                <p:spPr>
                  <a:xfrm>
                    <a:off x="8269271" y="4488857"/>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C1C6D6"/>
                  </a:solidFill>
                  <a:ln w="2339" cap="flat">
                    <a:noFill/>
                    <a:prstDash val="solid"/>
                    <a:miter/>
                  </a:ln>
                </p:spPr>
                <p:txBody>
                  <a:bodyPr rtlCol="0" anchor="ctr"/>
                  <a:lstStyle/>
                  <a:p>
                    <a:endParaRPr lang="en-US" sz="2400"/>
                  </a:p>
                </p:txBody>
              </p:sp>
              <p:sp>
                <p:nvSpPr>
                  <p:cNvPr id="595" name="Freeform: Shape 594">
                    <a:extLst>
                      <a:ext uri="{FF2B5EF4-FFF2-40B4-BE49-F238E27FC236}">
                        <a16:creationId xmlns:a16="http://schemas.microsoft.com/office/drawing/2014/main" id="{54D6B4C1-ACF0-F75B-ABEB-16B3305BA469}"/>
                      </a:ext>
                    </a:extLst>
                  </p:cNvPr>
                  <p:cNvSpPr/>
                  <p:nvPr userDrawn="1"/>
                </p:nvSpPr>
                <p:spPr>
                  <a:xfrm>
                    <a:off x="8268733" y="4489021"/>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C1C7D7"/>
                  </a:solidFill>
                  <a:ln w="2339" cap="flat">
                    <a:noFill/>
                    <a:prstDash val="solid"/>
                    <a:miter/>
                  </a:ln>
                </p:spPr>
                <p:txBody>
                  <a:bodyPr rtlCol="0" anchor="ctr"/>
                  <a:lstStyle/>
                  <a:p>
                    <a:endParaRPr lang="en-US" sz="2400"/>
                  </a:p>
                </p:txBody>
              </p:sp>
              <p:sp>
                <p:nvSpPr>
                  <p:cNvPr id="596" name="Freeform: Shape 595">
                    <a:extLst>
                      <a:ext uri="{FF2B5EF4-FFF2-40B4-BE49-F238E27FC236}">
                        <a16:creationId xmlns:a16="http://schemas.microsoft.com/office/drawing/2014/main" id="{08939685-CC31-E01A-F8C7-64E62F1581C5}"/>
                      </a:ext>
                    </a:extLst>
                  </p:cNvPr>
                  <p:cNvSpPr/>
                  <p:nvPr userDrawn="1"/>
                </p:nvSpPr>
                <p:spPr>
                  <a:xfrm>
                    <a:off x="8268218" y="4489161"/>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C2C7D7"/>
                  </a:solidFill>
                  <a:ln w="2339" cap="flat">
                    <a:noFill/>
                    <a:prstDash val="solid"/>
                    <a:miter/>
                  </a:ln>
                </p:spPr>
                <p:txBody>
                  <a:bodyPr rtlCol="0" anchor="ctr"/>
                  <a:lstStyle/>
                  <a:p>
                    <a:endParaRPr lang="en-US" sz="2400"/>
                  </a:p>
                </p:txBody>
              </p:sp>
              <p:sp>
                <p:nvSpPr>
                  <p:cNvPr id="597" name="Freeform: Shape 596">
                    <a:extLst>
                      <a:ext uri="{FF2B5EF4-FFF2-40B4-BE49-F238E27FC236}">
                        <a16:creationId xmlns:a16="http://schemas.microsoft.com/office/drawing/2014/main" id="{7F041C8C-F365-7FF2-F3D5-DDC957DC6322}"/>
                      </a:ext>
                    </a:extLst>
                  </p:cNvPr>
                  <p:cNvSpPr/>
                  <p:nvPr userDrawn="1"/>
                </p:nvSpPr>
                <p:spPr>
                  <a:xfrm>
                    <a:off x="8267680" y="4489302"/>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C2C7D7"/>
                  </a:solidFill>
                  <a:ln w="2339" cap="flat">
                    <a:noFill/>
                    <a:prstDash val="solid"/>
                    <a:miter/>
                  </a:ln>
                </p:spPr>
                <p:txBody>
                  <a:bodyPr rtlCol="0" anchor="ctr"/>
                  <a:lstStyle/>
                  <a:p>
                    <a:endParaRPr lang="en-US" sz="2400"/>
                  </a:p>
                </p:txBody>
              </p:sp>
              <p:sp>
                <p:nvSpPr>
                  <p:cNvPr id="598" name="Freeform: Shape 597">
                    <a:extLst>
                      <a:ext uri="{FF2B5EF4-FFF2-40B4-BE49-F238E27FC236}">
                        <a16:creationId xmlns:a16="http://schemas.microsoft.com/office/drawing/2014/main" id="{25BAEDDC-91AF-35FF-E556-3808DAE4D9A3}"/>
                      </a:ext>
                    </a:extLst>
                  </p:cNvPr>
                  <p:cNvSpPr/>
                  <p:nvPr userDrawn="1"/>
                </p:nvSpPr>
                <p:spPr>
                  <a:xfrm>
                    <a:off x="8267165" y="448946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C2C8D7"/>
                  </a:solidFill>
                  <a:ln w="2339" cap="flat">
                    <a:noFill/>
                    <a:prstDash val="solid"/>
                    <a:miter/>
                  </a:ln>
                </p:spPr>
                <p:txBody>
                  <a:bodyPr rtlCol="0" anchor="ctr"/>
                  <a:lstStyle/>
                  <a:p>
                    <a:endParaRPr lang="en-US" sz="2400"/>
                  </a:p>
                </p:txBody>
              </p:sp>
              <p:sp>
                <p:nvSpPr>
                  <p:cNvPr id="599" name="Freeform: Shape 598">
                    <a:extLst>
                      <a:ext uri="{FF2B5EF4-FFF2-40B4-BE49-F238E27FC236}">
                        <a16:creationId xmlns:a16="http://schemas.microsoft.com/office/drawing/2014/main" id="{483C69ED-03A0-8FA7-B8E8-FF8C7EBFA957}"/>
                      </a:ext>
                    </a:extLst>
                  </p:cNvPr>
                  <p:cNvSpPr/>
                  <p:nvPr userDrawn="1"/>
                </p:nvSpPr>
                <p:spPr>
                  <a:xfrm>
                    <a:off x="8266650" y="448960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C2C8D7"/>
                  </a:solidFill>
                  <a:ln w="2339" cap="flat">
                    <a:noFill/>
                    <a:prstDash val="solid"/>
                    <a:miter/>
                  </a:ln>
                </p:spPr>
                <p:txBody>
                  <a:bodyPr rtlCol="0" anchor="ctr"/>
                  <a:lstStyle/>
                  <a:p>
                    <a:endParaRPr lang="en-US" sz="2400"/>
                  </a:p>
                </p:txBody>
              </p:sp>
              <p:sp>
                <p:nvSpPr>
                  <p:cNvPr id="600" name="Freeform: Shape 599">
                    <a:extLst>
                      <a:ext uri="{FF2B5EF4-FFF2-40B4-BE49-F238E27FC236}">
                        <a16:creationId xmlns:a16="http://schemas.microsoft.com/office/drawing/2014/main" id="{295D27D2-8B8D-0174-4F4E-C743D026697E}"/>
                      </a:ext>
                    </a:extLst>
                  </p:cNvPr>
                  <p:cNvSpPr/>
                  <p:nvPr userDrawn="1"/>
                </p:nvSpPr>
                <p:spPr>
                  <a:xfrm>
                    <a:off x="8266112" y="4489770"/>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C3C8D8"/>
                  </a:solidFill>
                  <a:ln w="2339" cap="flat">
                    <a:noFill/>
                    <a:prstDash val="solid"/>
                    <a:miter/>
                  </a:ln>
                </p:spPr>
                <p:txBody>
                  <a:bodyPr rtlCol="0" anchor="ctr"/>
                  <a:lstStyle/>
                  <a:p>
                    <a:endParaRPr lang="en-US" sz="2400"/>
                  </a:p>
                </p:txBody>
              </p:sp>
              <p:sp>
                <p:nvSpPr>
                  <p:cNvPr id="601" name="Freeform: Shape 600">
                    <a:extLst>
                      <a:ext uri="{FF2B5EF4-FFF2-40B4-BE49-F238E27FC236}">
                        <a16:creationId xmlns:a16="http://schemas.microsoft.com/office/drawing/2014/main" id="{029ED290-F2B8-3BDA-2F4E-160AC9B8F227}"/>
                      </a:ext>
                    </a:extLst>
                  </p:cNvPr>
                  <p:cNvSpPr/>
                  <p:nvPr userDrawn="1"/>
                </p:nvSpPr>
                <p:spPr>
                  <a:xfrm>
                    <a:off x="8265597" y="4489910"/>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C3C8D8"/>
                  </a:solidFill>
                  <a:ln w="2339" cap="flat">
                    <a:noFill/>
                    <a:prstDash val="solid"/>
                    <a:miter/>
                  </a:ln>
                </p:spPr>
                <p:txBody>
                  <a:bodyPr rtlCol="0" anchor="ctr"/>
                  <a:lstStyle/>
                  <a:p>
                    <a:endParaRPr lang="en-US" sz="2400"/>
                  </a:p>
                </p:txBody>
              </p:sp>
              <p:sp>
                <p:nvSpPr>
                  <p:cNvPr id="602" name="Freeform: Shape 601">
                    <a:extLst>
                      <a:ext uri="{FF2B5EF4-FFF2-40B4-BE49-F238E27FC236}">
                        <a16:creationId xmlns:a16="http://schemas.microsoft.com/office/drawing/2014/main" id="{3DE11477-E5C7-BF06-88C8-1EEF373280C8}"/>
                      </a:ext>
                    </a:extLst>
                  </p:cNvPr>
                  <p:cNvSpPr/>
                  <p:nvPr userDrawn="1"/>
                </p:nvSpPr>
                <p:spPr>
                  <a:xfrm>
                    <a:off x="8265082" y="449007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C3C9D8"/>
                  </a:solidFill>
                  <a:ln w="2339" cap="flat">
                    <a:noFill/>
                    <a:prstDash val="solid"/>
                    <a:miter/>
                  </a:ln>
                </p:spPr>
                <p:txBody>
                  <a:bodyPr rtlCol="0" anchor="ctr"/>
                  <a:lstStyle/>
                  <a:p>
                    <a:endParaRPr lang="en-US" sz="2400"/>
                  </a:p>
                </p:txBody>
              </p:sp>
              <p:sp>
                <p:nvSpPr>
                  <p:cNvPr id="603" name="Freeform: Shape 602">
                    <a:extLst>
                      <a:ext uri="{FF2B5EF4-FFF2-40B4-BE49-F238E27FC236}">
                        <a16:creationId xmlns:a16="http://schemas.microsoft.com/office/drawing/2014/main" id="{EEBECE3D-22BF-7646-CBB4-DD9A97F9C44B}"/>
                      </a:ext>
                    </a:extLst>
                  </p:cNvPr>
                  <p:cNvSpPr/>
                  <p:nvPr userDrawn="1"/>
                </p:nvSpPr>
                <p:spPr>
                  <a:xfrm>
                    <a:off x="8264567" y="449021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C4C9D8"/>
                  </a:solidFill>
                  <a:ln w="2339" cap="flat">
                    <a:noFill/>
                    <a:prstDash val="solid"/>
                    <a:miter/>
                  </a:ln>
                </p:spPr>
                <p:txBody>
                  <a:bodyPr rtlCol="0" anchor="ctr"/>
                  <a:lstStyle/>
                  <a:p>
                    <a:endParaRPr lang="en-US" sz="2400"/>
                  </a:p>
                </p:txBody>
              </p:sp>
              <p:sp>
                <p:nvSpPr>
                  <p:cNvPr id="604" name="Freeform: Shape 603">
                    <a:extLst>
                      <a:ext uri="{FF2B5EF4-FFF2-40B4-BE49-F238E27FC236}">
                        <a16:creationId xmlns:a16="http://schemas.microsoft.com/office/drawing/2014/main" id="{5DB1BC50-86D9-9505-1418-D96286AF2440}"/>
                      </a:ext>
                    </a:extLst>
                  </p:cNvPr>
                  <p:cNvSpPr/>
                  <p:nvPr userDrawn="1"/>
                </p:nvSpPr>
                <p:spPr>
                  <a:xfrm>
                    <a:off x="8264052" y="4490378"/>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C4C9D8"/>
                  </a:solidFill>
                  <a:ln w="2339" cap="flat">
                    <a:noFill/>
                    <a:prstDash val="solid"/>
                    <a:miter/>
                  </a:ln>
                </p:spPr>
                <p:txBody>
                  <a:bodyPr rtlCol="0" anchor="ctr"/>
                  <a:lstStyle/>
                  <a:p>
                    <a:endParaRPr lang="en-US" sz="2400"/>
                  </a:p>
                </p:txBody>
              </p:sp>
              <p:sp>
                <p:nvSpPr>
                  <p:cNvPr id="605" name="Freeform: Shape 604">
                    <a:extLst>
                      <a:ext uri="{FF2B5EF4-FFF2-40B4-BE49-F238E27FC236}">
                        <a16:creationId xmlns:a16="http://schemas.microsoft.com/office/drawing/2014/main" id="{A387A617-C2BD-5DC5-F76C-9588C37B6A20}"/>
                      </a:ext>
                    </a:extLst>
                  </p:cNvPr>
                  <p:cNvSpPr/>
                  <p:nvPr userDrawn="1"/>
                </p:nvSpPr>
                <p:spPr>
                  <a:xfrm>
                    <a:off x="8263538" y="4490542"/>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C4CAD9"/>
                  </a:solidFill>
                  <a:ln w="2339" cap="flat">
                    <a:noFill/>
                    <a:prstDash val="solid"/>
                    <a:miter/>
                  </a:ln>
                </p:spPr>
                <p:txBody>
                  <a:bodyPr rtlCol="0" anchor="ctr"/>
                  <a:lstStyle/>
                  <a:p>
                    <a:endParaRPr lang="en-US" sz="2400"/>
                  </a:p>
                </p:txBody>
              </p:sp>
              <p:sp>
                <p:nvSpPr>
                  <p:cNvPr id="606" name="Freeform: Shape 605">
                    <a:extLst>
                      <a:ext uri="{FF2B5EF4-FFF2-40B4-BE49-F238E27FC236}">
                        <a16:creationId xmlns:a16="http://schemas.microsoft.com/office/drawing/2014/main" id="{D32C9375-F559-7FC2-409C-ECAEB432A6B1}"/>
                      </a:ext>
                    </a:extLst>
                  </p:cNvPr>
                  <p:cNvSpPr/>
                  <p:nvPr userDrawn="1"/>
                </p:nvSpPr>
                <p:spPr>
                  <a:xfrm>
                    <a:off x="8263023" y="449070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C5CAD9"/>
                  </a:solidFill>
                  <a:ln w="2339" cap="flat">
                    <a:noFill/>
                    <a:prstDash val="solid"/>
                    <a:miter/>
                  </a:ln>
                </p:spPr>
                <p:txBody>
                  <a:bodyPr rtlCol="0" anchor="ctr"/>
                  <a:lstStyle/>
                  <a:p>
                    <a:endParaRPr lang="en-US" sz="2400"/>
                  </a:p>
                </p:txBody>
              </p:sp>
              <p:sp>
                <p:nvSpPr>
                  <p:cNvPr id="607" name="Freeform: Shape 606">
                    <a:extLst>
                      <a:ext uri="{FF2B5EF4-FFF2-40B4-BE49-F238E27FC236}">
                        <a16:creationId xmlns:a16="http://schemas.microsoft.com/office/drawing/2014/main" id="{6E927559-7058-01C8-7524-42FFF7C77CC1}"/>
                      </a:ext>
                    </a:extLst>
                  </p:cNvPr>
                  <p:cNvSpPr/>
                  <p:nvPr userDrawn="1"/>
                </p:nvSpPr>
                <p:spPr>
                  <a:xfrm>
                    <a:off x="8262508" y="449082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C5CAD9"/>
                  </a:solidFill>
                  <a:ln w="2339" cap="flat">
                    <a:noFill/>
                    <a:prstDash val="solid"/>
                    <a:miter/>
                  </a:ln>
                </p:spPr>
                <p:txBody>
                  <a:bodyPr rtlCol="0" anchor="ctr"/>
                  <a:lstStyle/>
                  <a:p>
                    <a:endParaRPr lang="en-US" sz="2400"/>
                  </a:p>
                </p:txBody>
              </p:sp>
              <p:sp>
                <p:nvSpPr>
                  <p:cNvPr id="608" name="Freeform: Shape 607">
                    <a:extLst>
                      <a:ext uri="{FF2B5EF4-FFF2-40B4-BE49-F238E27FC236}">
                        <a16:creationId xmlns:a16="http://schemas.microsoft.com/office/drawing/2014/main" id="{3CEFEC5B-CBB6-3C5B-F8F5-214CECA34055}"/>
                      </a:ext>
                    </a:extLst>
                  </p:cNvPr>
                  <p:cNvSpPr/>
                  <p:nvPr userDrawn="1"/>
                </p:nvSpPr>
                <p:spPr>
                  <a:xfrm>
                    <a:off x="8261993" y="449098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C5CAD9"/>
                  </a:solidFill>
                  <a:ln w="2339" cap="flat">
                    <a:noFill/>
                    <a:prstDash val="solid"/>
                    <a:miter/>
                  </a:ln>
                </p:spPr>
                <p:txBody>
                  <a:bodyPr rtlCol="0" anchor="ctr"/>
                  <a:lstStyle/>
                  <a:p>
                    <a:endParaRPr lang="en-US" sz="2400"/>
                  </a:p>
                </p:txBody>
              </p:sp>
              <p:sp>
                <p:nvSpPr>
                  <p:cNvPr id="609" name="Freeform: Shape 608">
                    <a:extLst>
                      <a:ext uri="{FF2B5EF4-FFF2-40B4-BE49-F238E27FC236}">
                        <a16:creationId xmlns:a16="http://schemas.microsoft.com/office/drawing/2014/main" id="{B0A0D05C-E365-BD12-86CB-5271BF59B270}"/>
                      </a:ext>
                    </a:extLst>
                  </p:cNvPr>
                  <p:cNvSpPr/>
                  <p:nvPr userDrawn="1"/>
                </p:nvSpPr>
                <p:spPr>
                  <a:xfrm>
                    <a:off x="8261478" y="449115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C5CBD9"/>
                  </a:solidFill>
                  <a:ln w="2339" cap="flat">
                    <a:noFill/>
                    <a:prstDash val="solid"/>
                    <a:miter/>
                  </a:ln>
                </p:spPr>
                <p:txBody>
                  <a:bodyPr rtlCol="0" anchor="ctr"/>
                  <a:lstStyle/>
                  <a:p>
                    <a:endParaRPr lang="en-US" sz="2400"/>
                  </a:p>
                </p:txBody>
              </p:sp>
              <p:sp>
                <p:nvSpPr>
                  <p:cNvPr id="610" name="Freeform: Shape 609">
                    <a:extLst>
                      <a:ext uri="{FF2B5EF4-FFF2-40B4-BE49-F238E27FC236}">
                        <a16:creationId xmlns:a16="http://schemas.microsoft.com/office/drawing/2014/main" id="{9C3F06C7-7DA1-89C0-2025-81D757A01897}"/>
                      </a:ext>
                    </a:extLst>
                  </p:cNvPr>
                  <p:cNvSpPr/>
                  <p:nvPr userDrawn="1"/>
                </p:nvSpPr>
                <p:spPr>
                  <a:xfrm>
                    <a:off x="8260964" y="449131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C6CBDA"/>
                  </a:solidFill>
                  <a:ln w="2339" cap="flat">
                    <a:noFill/>
                    <a:prstDash val="solid"/>
                    <a:miter/>
                  </a:ln>
                </p:spPr>
                <p:txBody>
                  <a:bodyPr rtlCol="0" anchor="ctr"/>
                  <a:lstStyle/>
                  <a:p>
                    <a:endParaRPr lang="en-US" sz="2400"/>
                  </a:p>
                </p:txBody>
              </p:sp>
              <p:sp>
                <p:nvSpPr>
                  <p:cNvPr id="611" name="Freeform: Shape 610">
                    <a:extLst>
                      <a:ext uri="{FF2B5EF4-FFF2-40B4-BE49-F238E27FC236}">
                        <a16:creationId xmlns:a16="http://schemas.microsoft.com/office/drawing/2014/main" id="{C0B12F52-535A-B191-E799-EA284E732CF7}"/>
                      </a:ext>
                    </a:extLst>
                  </p:cNvPr>
                  <p:cNvSpPr/>
                  <p:nvPr userDrawn="1"/>
                </p:nvSpPr>
                <p:spPr>
                  <a:xfrm>
                    <a:off x="8260472" y="449147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C6CBDA"/>
                  </a:solidFill>
                  <a:ln w="2339" cap="flat">
                    <a:noFill/>
                    <a:prstDash val="solid"/>
                    <a:miter/>
                  </a:ln>
                </p:spPr>
                <p:txBody>
                  <a:bodyPr rtlCol="0" anchor="ctr"/>
                  <a:lstStyle/>
                  <a:p>
                    <a:endParaRPr lang="en-US" sz="2400"/>
                  </a:p>
                </p:txBody>
              </p:sp>
              <p:sp>
                <p:nvSpPr>
                  <p:cNvPr id="612" name="Freeform: Shape 611">
                    <a:extLst>
                      <a:ext uri="{FF2B5EF4-FFF2-40B4-BE49-F238E27FC236}">
                        <a16:creationId xmlns:a16="http://schemas.microsoft.com/office/drawing/2014/main" id="{09ED0A07-D865-060D-6AF9-F2C564A61836}"/>
                      </a:ext>
                    </a:extLst>
                  </p:cNvPr>
                  <p:cNvSpPr/>
                  <p:nvPr userDrawn="1"/>
                </p:nvSpPr>
                <p:spPr>
                  <a:xfrm>
                    <a:off x="8259957" y="449164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C6CBDA"/>
                  </a:solidFill>
                  <a:ln w="2339" cap="flat">
                    <a:noFill/>
                    <a:prstDash val="solid"/>
                    <a:miter/>
                  </a:ln>
                </p:spPr>
                <p:txBody>
                  <a:bodyPr rtlCol="0" anchor="ctr"/>
                  <a:lstStyle/>
                  <a:p>
                    <a:endParaRPr lang="en-US" sz="2400"/>
                  </a:p>
                </p:txBody>
              </p:sp>
              <p:sp>
                <p:nvSpPr>
                  <p:cNvPr id="613" name="Freeform: Shape 612">
                    <a:extLst>
                      <a:ext uri="{FF2B5EF4-FFF2-40B4-BE49-F238E27FC236}">
                        <a16:creationId xmlns:a16="http://schemas.microsoft.com/office/drawing/2014/main" id="{A0680B7A-C294-D878-33F5-48284B56511D}"/>
                      </a:ext>
                    </a:extLst>
                  </p:cNvPr>
                  <p:cNvSpPr/>
                  <p:nvPr userDrawn="1"/>
                </p:nvSpPr>
                <p:spPr>
                  <a:xfrm>
                    <a:off x="8259443" y="449180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C7CCDA"/>
                  </a:solidFill>
                  <a:ln w="2339" cap="flat">
                    <a:noFill/>
                    <a:prstDash val="solid"/>
                    <a:miter/>
                  </a:ln>
                </p:spPr>
                <p:txBody>
                  <a:bodyPr rtlCol="0" anchor="ctr"/>
                  <a:lstStyle/>
                  <a:p>
                    <a:endParaRPr lang="en-US" sz="2400"/>
                  </a:p>
                </p:txBody>
              </p:sp>
              <p:sp>
                <p:nvSpPr>
                  <p:cNvPr id="614" name="Freeform: Shape 613">
                    <a:extLst>
                      <a:ext uri="{FF2B5EF4-FFF2-40B4-BE49-F238E27FC236}">
                        <a16:creationId xmlns:a16="http://schemas.microsoft.com/office/drawing/2014/main" id="{8922E4F7-FDF8-A423-4E4B-B9CAD4FFA441}"/>
                      </a:ext>
                    </a:extLst>
                  </p:cNvPr>
                  <p:cNvSpPr/>
                  <p:nvPr userDrawn="1"/>
                </p:nvSpPr>
                <p:spPr>
                  <a:xfrm>
                    <a:off x="8258951" y="449196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C7CCDA"/>
                  </a:solidFill>
                  <a:ln w="2339" cap="flat">
                    <a:noFill/>
                    <a:prstDash val="solid"/>
                    <a:miter/>
                  </a:ln>
                </p:spPr>
                <p:txBody>
                  <a:bodyPr rtlCol="0" anchor="ctr"/>
                  <a:lstStyle/>
                  <a:p>
                    <a:endParaRPr lang="en-US" sz="2400"/>
                  </a:p>
                </p:txBody>
              </p:sp>
              <p:sp>
                <p:nvSpPr>
                  <p:cNvPr id="615" name="Freeform: Shape 614">
                    <a:extLst>
                      <a:ext uri="{FF2B5EF4-FFF2-40B4-BE49-F238E27FC236}">
                        <a16:creationId xmlns:a16="http://schemas.microsoft.com/office/drawing/2014/main" id="{71B14718-A887-5576-DF4C-5756F614F041}"/>
                      </a:ext>
                    </a:extLst>
                  </p:cNvPr>
                  <p:cNvSpPr/>
                  <p:nvPr userDrawn="1"/>
                </p:nvSpPr>
                <p:spPr>
                  <a:xfrm>
                    <a:off x="8258436" y="449215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C7CCDB"/>
                  </a:solidFill>
                  <a:ln w="2339" cap="flat">
                    <a:noFill/>
                    <a:prstDash val="solid"/>
                    <a:miter/>
                  </a:ln>
                </p:spPr>
                <p:txBody>
                  <a:bodyPr rtlCol="0" anchor="ctr"/>
                  <a:lstStyle/>
                  <a:p>
                    <a:endParaRPr lang="en-US" sz="2400"/>
                  </a:p>
                </p:txBody>
              </p:sp>
              <p:sp>
                <p:nvSpPr>
                  <p:cNvPr id="616" name="Freeform: Shape 615">
                    <a:extLst>
                      <a:ext uri="{FF2B5EF4-FFF2-40B4-BE49-F238E27FC236}">
                        <a16:creationId xmlns:a16="http://schemas.microsoft.com/office/drawing/2014/main" id="{C300A191-3753-0DED-70F1-DEB5C79D865C}"/>
                      </a:ext>
                    </a:extLst>
                  </p:cNvPr>
                  <p:cNvSpPr/>
                  <p:nvPr userDrawn="1"/>
                </p:nvSpPr>
                <p:spPr>
                  <a:xfrm>
                    <a:off x="8257945" y="449232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8CDDB"/>
                  </a:solidFill>
                  <a:ln w="2339" cap="flat">
                    <a:noFill/>
                    <a:prstDash val="solid"/>
                    <a:miter/>
                  </a:ln>
                </p:spPr>
                <p:txBody>
                  <a:bodyPr rtlCol="0" anchor="ctr"/>
                  <a:lstStyle/>
                  <a:p>
                    <a:endParaRPr lang="en-US" sz="2400"/>
                  </a:p>
                </p:txBody>
              </p:sp>
              <p:sp>
                <p:nvSpPr>
                  <p:cNvPr id="617" name="Freeform: Shape 616">
                    <a:extLst>
                      <a:ext uri="{FF2B5EF4-FFF2-40B4-BE49-F238E27FC236}">
                        <a16:creationId xmlns:a16="http://schemas.microsoft.com/office/drawing/2014/main" id="{BB4115A7-A5F9-F3B7-ED51-416AD00773FC}"/>
                      </a:ext>
                    </a:extLst>
                  </p:cNvPr>
                  <p:cNvSpPr/>
                  <p:nvPr userDrawn="1"/>
                </p:nvSpPr>
                <p:spPr>
                  <a:xfrm>
                    <a:off x="8257430" y="449248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C8CDDB"/>
                  </a:solidFill>
                  <a:ln w="2339" cap="flat">
                    <a:noFill/>
                    <a:prstDash val="solid"/>
                    <a:miter/>
                  </a:ln>
                </p:spPr>
                <p:txBody>
                  <a:bodyPr rtlCol="0" anchor="ctr"/>
                  <a:lstStyle/>
                  <a:p>
                    <a:endParaRPr lang="en-US" sz="2400"/>
                  </a:p>
                </p:txBody>
              </p:sp>
              <p:sp>
                <p:nvSpPr>
                  <p:cNvPr id="618" name="Freeform: Shape 617">
                    <a:extLst>
                      <a:ext uri="{FF2B5EF4-FFF2-40B4-BE49-F238E27FC236}">
                        <a16:creationId xmlns:a16="http://schemas.microsoft.com/office/drawing/2014/main" id="{A12434B4-7FE5-991E-A8A3-76C82733C66D}"/>
                      </a:ext>
                    </a:extLst>
                  </p:cNvPr>
                  <p:cNvSpPr/>
                  <p:nvPr userDrawn="1"/>
                </p:nvSpPr>
                <p:spPr>
                  <a:xfrm>
                    <a:off x="8256939" y="449264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C8CDDB"/>
                  </a:solidFill>
                  <a:ln w="2339" cap="flat">
                    <a:noFill/>
                    <a:prstDash val="solid"/>
                    <a:miter/>
                  </a:ln>
                </p:spPr>
                <p:txBody>
                  <a:bodyPr rtlCol="0" anchor="ctr"/>
                  <a:lstStyle/>
                  <a:p>
                    <a:endParaRPr lang="en-US" sz="2400"/>
                  </a:p>
                </p:txBody>
              </p:sp>
              <p:sp>
                <p:nvSpPr>
                  <p:cNvPr id="619" name="Freeform: Shape 618">
                    <a:extLst>
                      <a:ext uri="{FF2B5EF4-FFF2-40B4-BE49-F238E27FC236}">
                        <a16:creationId xmlns:a16="http://schemas.microsoft.com/office/drawing/2014/main" id="{57DC57EC-C6BC-46EE-6FD5-A5041FA9CF7D}"/>
                      </a:ext>
                    </a:extLst>
                  </p:cNvPr>
                  <p:cNvSpPr/>
                  <p:nvPr userDrawn="1"/>
                </p:nvSpPr>
                <p:spPr>
                  <a:xfrm>
                    <a:off x="8256447" y="449283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9CDDB"/>
                  </a:solidFill>
                  <a:ln w="2339" cap="flat">
                    <a:noFill/>
                    <a:prstDash val="solid"/>
                    <a:miter/>
                  </a:ln>
                </p:spPr>
                <p:txBody>
                  <a:bodyPr rtlCol="0" anchor="ctr"/>
                  <a:lstStyle/>
                  <a:p>
                    <a:endParaRPr lang="en-US" sz="2400"/>
                  </a:p>
                </p:txBody>
              </p:sp>
              <p:sp>
                <p:nvSpPr>
                  <p:cNvPr id="620" name="Freeform: Shape 619">
                    <a:extLst>
                      <a:ext uri="{FF2B5EF4-FFF2-40B4-BE49-F238E27FC236}">
                        <a16:creationId xmlns:a16="http://schemas.microsoft.com/office/drawing/2014/main" id="{54FD676A-0853-9BBD-8642-B1A7FA12DF03}"/>
                      </a:ext>
                    </a:extLst>
                  </p:cNvPr>
                  <p:cNvSpPr/>
                  <p:nvPr userDrawn="1"/>
                </p:nvSpPr>
                <p:spPr>
                  <a:xfrm>
                    <a:off x="8255956" y="449299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C9CEDC"/>
                  </a:solidFill>
                  <a:ln w="2339" cap="flat">
                    <a:noFill/>
                    <a:prstDash val="solid"/>
                    <a:miter/>
                  </a:ln>
                </p:spPr>
                <p:txBody>
                  <a:bodyPr rtlCol="0" anchor="ctr"/>
                  <a:lstStyle/>
                  <a:p>
                    <a:endParaRPr lang="en-US" sz="2400"/>
                  </a:p>
                </p:txBody>
              </p:sp>
              <p:sp>
                <p:nvSpPr>
                  <p:cNvPr id="621" name="Freeform: Shape 620">
                    <a:extLst>
                      <a:ext uri="{FF2B5EF4-FFF2-40B4-BE49-F238E27FC236}">
                        <a16:creationId xmlns:a16="http://schemas.microsoft.com/office/drawing/2014/main" id="{7450E40D-05FF-FF73-ECA6-484AD3B48A7D}"/>
                      </a:ext>
                    </a:extLst>
                  </p:cNvPr>
                  <p:cNvSpPr/>
                  <p:nvPr userDrawn="1"/>
                </p:nvSpPr>
                <p:spPr>
                  <a:xfrm>
                    <a:off x="8255465" y="449318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9CEDC"/>
                  </a:solidFill>
                  <a:ln w="2339" cap="flat">
                    <a:noFill/>
                    <a:prstDash val="solid"/>
                    <a:miter/>
                  </a:ln>
                </p:spPr>
                <p:txBody>
                  <a:bodyPr rtlCol="0" anchor="ctr"/>
                  <a:lstStyle/>
                  <a:p>
                    <a:endParaRPr lang="en-US" sz="2400"/>
                  </a:p>
                </p:txBody>
              </p:sp>
              <p:sp>
                <p:nvSpPr>
                  <p:cNvPr id="622" name="Freeform: Shape 621">
                    <a:extLst>
                      <a:ext uri="{FF2B5EF4-FFF2-40B4-BE49-F238E27FC236}">
                        <a16:creationId xmlns:a16="http://schemas.microsoft.com/office/drawing/2014/main" id="{D62885F4-1394-D702-0446-609E9D2A505F}"/>
                      </a:ext>
                    </a:extLst>
                  </p:cNvPr>
                  <p:cNvSpPr/>
                  <p:nvPr userDrawn="1"/>
                </p:nvSpPr>
                <p:spPr>
                  <a:xfrm>
                    <a:off x="8254950" y="449335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C9CEDC"/>
                  </a:solidFill>
                  <a:ln w="2339" cap="flat">
                    <a:noFill/>
                    <a:prstDash val="solid"/>
                    <a:miter/>
                  </a:ln>
                </p:spPr>
                <p:txBody>
                  <a:bodyPr rtlCol="0" anchor="ctr"/>
                  <a:lstStyle/>
                  <a:p>
                    <a:endParaRPr lang="en-US" sz="2400"/>
                  </a:p>
                </p:txBody>
              </p:sp>
              <p:sp>
                <p:nvSpPr>
                  <p:cNvPr id="623" name="Freeform: Shape 622">
                    <a:extLst>
                      <a:ext uri="{FF2B5EF4-FFF2-40B4-BE49-F238E27FC236}">
                        <a16:creationId xmlns:a16="http://schemas.microsoft.com/office/drawing/2014/main" id="{1838C8D6-BCB1-BAA3-7754-786F22963AFA}"/>
                      </a:ext>
                    </a:extLst>
                  </p:cNvPr>
                  <p:cNvSpPr/>
                  <p:nvPr userDrawn="1"/>
                </p:nvSpPr>
                <p:spPr>
                  <a:xfrm>
                    <a:off x="8254458" y="449353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CACFDC"/>
                  </a:solidFill>
                  <a:ln w="2339" cap="flat">
                    <a:noFill/>
                    <a:prstDash val="solid"/>
                    <a:miter/>
                  </a:ln>
                </p:spPr>
                <p:txBody>
                  <a:bodyPr rtlCol="0" anchor="ctr"/>
                  <a:lstStyle/>
                  <a:p>
                    <a:endParaRPr lang="en-US" sz="2400"/>
                  </a:p>
                </p:txBody>
              </p:sp>
              <p:sp>
                <p:nvSpPr>
                  <p:cNvPr id="624" name="Freeform: Shape 623">
                    <a:extLst>
                      <a:ext uri="{FF2B5EF4-FFF2-40B4-BE49-F238E27FC236}">
                        <a16:creationId xmlns:a16="http://schemas.microsoft.com/office/drawing/2014/main" id="{37D454F1-05B3-E40C-87F1-3FD5AEE60793}"/>
                      </a:ext>
                    </a:extLst>
                  </p:cNvPr>
                  <p:cNvSpPr/>
                  <p:nvPr userDrawn="1"/>
                </p:nvSpPr>
                <p:spPr>
                  <a:xfrm>
                    <a:off x="8253967" y="449370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CACFDC"/>
                  </a:solidFill>
                  <a:ln w="2339" cap="flat">
                    <a:noFill/>
                    <a:prstDash val="solid"/>
                    <a:miter/>
                  </a:ln>
                </p:spPr>
                <p:txBody>
                  <a:bodyPr rtlCol="0" anchor="ctr"/>
                  <a:lstStyle/>
                  <a:p>
                    <a:endParaRPr lang="en-US" sz="2400"/>
                  </a:p>
                </p:txBody>
              </p:sp>
              <p:sp>
                <p:nvSpPr>
                  <p:cNvPr id="625" name="Freeform: Shape 624">
                    <a:extLst>
                      <a:ext uri="{FF2B5EF4-FFF2-40B4-BE49-F238E27FC236}">
                        <a16:creationId xmlns:a16="http://schemas.microsoft.com/office/drawing/2014/main" id="{22239771-8E14-B591-ACA5-8A388E7D9924}"/>
                      </a:ext>
                    </a:extLst>
                  </p:cNvPr>
                  <p:cNvSpPr/>
                  <p:nvPr userDrawn="1"/>
                </p:nvSpPr>
                <p:spPr>
                  <a:xfrm>
                    <a:off x="8253499" y="449388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ACFDD"/>
                  </a:solidFill>
                  <a:ln w="2339" cap="flat">
                    <a:noFill/>
                    <a:prstDash val="solid"/>
                    <a:miter/>
                  </a:ln>
                </p:spPr>
                <p:txBody>
                  <a:bodyPr rtlCol="0" anchor="ctr"/>
                  <a:lstStyle/>
                  <a:p>
                    <a:endParaRPr lang="en-US" sz="2400"/>
                  </a:p>
                </p:txBody>
              </p:sp>
              <p:sp>
                <p:nvSpPr>
                  <p:cNvPr id="626" name="Freeform: Shape 625">
                    <a:extLst>
                      <a:ext uri="{FF2B5EF4-FFF2-40B4-BE49-F238E27FC236}">
                        <a16:creationId xmlns:a16="http://schemas.microsoft.com/office/drawing/2014/main" id="{CD1ABAF4-2129-1B83-FFBA-C97F63315D81}"/>
                      </a:ext>
                    </a:extLst>
                  </p:cNvPr>
                  <p:cNvSpPr/>
                  <p:nvPr userDrawn="1"/>
                </p:nvSpPr>
                <p:spPr>
                  <a:xfrm>
                    <a:off x="8253008" y="449407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BCFDD"/>
                  </a:solidFill>
                  <a:ln w="2339" cap="flat">
                    <a:noFill/>
                    <a:prstDash val="solid"/>
                    <a:miter/>
                  </a:ln>
                </p:spPr>
                <p:txBody>
                  <a:bodyPr rtlCol="0" anchor="ctr"/>
                  <a:lstStyle/>
                  <a:p>
                    <a:endParaRPr lang="en-US" sz="2400"/>
                  </a:p>
                </p:txBody>
              </p:sp>
              <p:sp>
                <p:nvSpPr>
                  <p:cNvPr id="627" name="Freeform: Shape 626">
                    <a:extLst>
                      <a:ext uri="{FF2B5EF4-FFF2-40B4-BE49-F238E27FC236}">
                        <a16:creationId xmlns:a16="http://schemas.microsoft.com/office/drawing/2014/main" id="{733CBBB0-38C5-978A-99E8-CBF8B249190C}"/>
                      </a:ext>
                    </a:extLst>
                  </p:cNvPr>
                  <p:cNvSpPr/>
                  <p:nvPr userDrawn="1"/>
                </p:nvSpPr>
                <p:spPr>
                  <a:xfrm>
                    <a:off x="8252516" y="449423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CBD0DD"/>
                  </a:solidFill>
                  <a:ln w="2339" cap="flat">
                    <a:noFill/>
                    <a:prstDash val="solid"/>
                    <a:miter/>
                  </a:ln>
                </p:spPr>
                <p:txBody>
                  <a:bodyPr rtlCol="0" anchor="ctr"/>
                  <a:lstStyle/>
                  <a:p>
                    <a:endParaRPr lang="en-US" sz="2400"/>
                  </a:p>
                </p:txBody>
              </p:sp>
              <p:sp>
                <p:nvSpPr>
                  <p:cNvPr id="628" name="Freeform: Shape 627">
                    <a:extLst>
                      <a:ext uri="{FF2B5EF4-FFF2-40B4-BE49-F238E27FC236}">
                        <a16:creationId xmlns:a16="http://schemas.microsoft.com/office/drawing/2014/main" id="{4B7347EF-259A-E39E-7147-66F4C52B06C5}"/>
                      </a:ext>
                    </a:extLst>
                  </p:cNvPr>
                  <p:cNvSpPr/>
                  <p:nvPr userDrawn="1"/>
                </p:nvSpPr>
                <p:spPr>
                  <a:xfrm>
                    <a:off x="8252025" y="449442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CBD0DD"/>
                  </a:solidFill>
                  <a:ln w="2339" cap="flat">
                    <a:noFill/>
                    <a:prstDash val="solid"/>
                    <a:miter/>
                  </a:ln>
                </p:spPr>
                <p:txBody>
                  <a:bodyPr rtlCol="0" anchor="ctr"/>
                  <a:lstStyle/>
                  <a:p>
                    <a:endParaRPr lang="en-US" sz="2400"/>
                  </a:p>
                </p:txBody>
              </p:sp>
              <p:sp>
                <p:nvSpPr>
                  <p:cNvPr id="629" name="Freeform: Shape 628">
                    <a:extLst>
                      <a:ext uri="{FF2B5EF4-FFF2-40B4-BE49-F238E27FC236}">
                        <a16:creationId xmlns:a16="http://schemas.microsoft.com/office/drawing/2014/main" id="{78EA3BA1-7B75-8FE2-75EE-10172A128632}"/>
                      </a:ext>
                    </a:extLst>
                  </p:cNvPr>
                  <p:cNvSpPr/>
                  <p:nvPr userDrawn="1"/>
                </p:nvSpPr>
                <p:spPr>
                  <a:xfrm>
                    <a:off x="8251557" y="449461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CD0DD"/>
                  </a:solidFill>
                  <a:ln w="2339" cap="flat">
                    <a:noFill/>
                    <a:prstDash val="solid"/>
                    <a:miter/>
                  </a:ln>
                </p:spPr>
                <p:txBody>
                  <a:bodyPr rtlCol="0" anchor="ctr"/>
                  <a:lstStyle/>
                  <a:p>
                    <a:endParaRPr lang="en-US" sz="2400"/>
                  </a:p>
                </p:txBody>
              </p:sp>
              <p:sp>
                <p:nvSpPr>
                  <p:cNvPr id="630" name="Freeform: Shape 629">
                    <a:extLst>
                      <a:ext uri="{FF2B5EF4-FFF2-40B4-BE49-F238E27FC236}">
                        <a16:creationId xmlns:a16="http://schemas.microsoft.com/office/drawing/2014/main" id="{A8498297-63E6-DBF0-D8C0-689DBD479E8B}"/>
                      </a:ext>
                    </a:extLst>
                  </p:cNvPr>
                  <p:cNvSpPr/>
                  <p:nvPr userDrawn="1"/>
                </p:nvSpPr>
                <p:spPr>
                  <a:xfrm>
                    <a:off x="8251065" y="449480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CD0DE"/>
                  </a:solidFill>
                  <a:ln w="2339" cap="flat">
                    <a:noFill/>
                    <a:prstDash val="solid"/>
                    <a:miter/>
                  </a:ln>
                </p:spPr>
                <p:txBody>
                  <a:bodyPr rtlCol="0" anchor="ctr"/>
                  <a:lstStyle/>
                  <a:p>
                    <a:endParaRPr lang="en-US" sz="2400"/>
                  </a:p>
                </p:txBody>
              </p:sp>
              <p:sp>
                <p:nvSpPr>
                  <p:cNvPr id="631" name="Freeform: Shape 630">
                    <a:extLst>
                      <a:ext uri="{FF2B5EF4-FFF2-40B4-BE49-F238E27FC236}">
                        <a16:creationId xmlns:a16="http://schemas.microsoft.com/office/drawing/2014/main" id="{22EBEC67-E503-86A2-E40C-43D18F0B8A40}"/>
                      </a:ext>
                    </a:extLst>
                  </p:cNvPr>
                  <p:cNvSpPr/>
                  <p:nvPr userDrawn="1"/>
                </p:nvSpPr>
                <p:spPr>
                  <a:xfrm>
                    <a:off x="8250574" y="449498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CCD1DE"/>
                  </a:solidFill>
                  <a:ln w="2339" cap="flat">
                    <a:noFill/>
                    <a:prstDash val="solid"/>
                    <a:miter/>
                  </a:ln>
                </p:spPr>
                <p:txBody>
                  <a:bodyPr rtlCol="0" anchor="ctr"/>
                  <a:lstStyle/>
                  <a:p>
                    <a:endParaRPr lang="en-US" sz="2400"/>
                  </a:p>
                </p:txBody>
              </p:sp>
              <p:sp>
                <p:nvSpPr>
                  <p:cNvPr id="632" name="Freeform: Shape 631">
                    <a:extLst>
                      <a:ext uri="{FF2B5EF4-FFF2-40B4-BE49-F238E27FC236}">
                        <a16:creationId xmlns:a16="http://schemas.microsoft.com/office/drawing/2014/main" id="{29F53596-6F54-0653-B888-7186DD1879E4}"/>
                      </a:ext>
                    </a:extLst>
                  </p:cNvPr>
                  <p:cNvSpPr/>
                  <p:nvPr userDrawn="1"/>
                </p:nvSpPr>
                <p:spPr>
                  <a:xfrm>
                    <a:off x="8250106" y="449517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DD1DE"/>
                  </a:solidFill>
                  <a:ln w="2339" cap="flat">
                    <a:noFill/>
                    <a:prstDash val="solid"/>
                    <a:miter/>
                  </a:ln>
                </p:spPr>
                <p:txBody>
                  <a:bodyPr rtlCol="0" anchor="ctr"/>
                  <a:lstStyle/>
                  <a:p>
                    <a:endParaRPr lang="en-US" sz="2400"/>
                  </a:p>
                </p:txBody>
              </p:sp>
              <p:sp>
                <p:nvSpPr>
                  <p:cNvPr id="633" name="Freeform: Shape 632">
                    <a:extLst>
                      <a:ext uri="{FF2B5EF4-FFF2-40B4-BE49-F238E27FC236}">
                        <a16:creationId xmlns:a16="http://schemas.microsoft.com/office/drawing/2014/main" id="{08193A3C-8206-9028-4810-43E23DACCC2D}"/>
                      </a:ext>
                    </a:extLst>
                  </p:cNvPr>
                  <p:cNvSpPr/>
                  <p:nvPr userDrawn="1"/>
                </p:nvSpPr>
                <p:spPr>
                  <a:xfrm>
                    <a:off x="8249638" y="449533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CDD1DE"/>
                  </a:solidFill>
                  <a:ln w="2339" cap="flat">
                    <a:noFill/>
                    <a:prstDash val="solid"/>
                    <a:miter/>
                  </a:ln>
                </p:spPr>
                <p:txBody>
                  <a:bodyPr rtlCol="0" anchor="ctr"/>
                  <a:lstStyle/>
                  <a:p>
                    <a:endParaRPr lang="en-US" sz="2400"/>
                  </a:p>
                </p:txBody>
              </p:sp>
              <p:sp>
                <p:nvSpPr>
                  <p:cNvPr id="634" name="Freeform: Shape 633">
                    <a:extLst>
                      <a:ext uri="{FF2B5EF4-FFF2-40B4-BE49-F238E27FC236}">
                        <a16:creationId xmlns:a16="http://schemas.microsoft.com/office/drawing/2014/main" id="{50FE1AD5-3EF9-F5C5-1259-A747D22F133F}"/>
                      </a:ext>
                    </a:extLst>
                  </p:cNvPr>
                  <p:cNvSpPr/>
                  <p:nvPr userDrawn="1"/>
                </p:nvSpPr>
                <p:spPr>
                  <a:xfrm>
                    <a:off x="8249147" y="449555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CDD2DE"/>
                  </a:solidFill>
                  <a:ln w="2339" cap="flat">
                    <a:noFill/>
                    <a:prstDash val="solid"/>
                    <a:miter/>
                  </a:ln>
                </p:spPr>
                <p:txBody>
                  <a:bodyPr rtlCol="0" anchor="ctr"/>
                  <a:lstStyle/>
                  <a:p>
                    <a:endParaRPr lang="en-US" sz="2400"/>
                  </a:p>
                </p:txBody>
              </p:sp>
              <p:sp>
                <p:nvSpPr>
                  <p:cNvPr id="635" name="Freeform: Shape 634">
                    <a:extLst>
                      <a:ext uri="{FF2B5EF4-FFF2-40B4-BE49-F238E27FC236}">
                        <a16:creationId xmlns:a16="http://schemas.microsoft.com/office/drawing/2014/main" id="{89D84B4D-E6D8-FE8C-05E9-6FF4E83D67F3}"/>
                      </a:ext>
                    </a:extLst>
                  </p:cNvPr>
                  <p:cNvSpPr/>
                  <p:nvPr userDrawn="1"/>
                </p:nvSpPr>
                <p:spPr>
                  <a:xfrm>
                    <a:off x="8248679" y="449573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DD2DF"/>
                  </a:solidFill>
                  <a:ln w="2339" cap="flat">
                    <a:noFill/>
                    <a:prstDash val="solid"/>
                    <a:miter/>
                  </a:ln>
                </p:spPr>
                <p:txBody>
                  <a:bodyPr rtlCol="0" anchor="ctr"/>
                  <a:lstStyle/>
                  <a:p>
                    <a:endParaRPr lang="en-US" sz="2400"/>
                  </a:p>
                </p:txBody>
              </p:sp>
              <p:sp>
                <p:nvSpPr>
                  <p:cNvPr id="636" name="Freeform: Shape 635">
                    <a:extLst>
                      <a:ext uri="{FF2B5EF4-FFF2-40B4-BE49-F238E27FC236}">
                        <a16:creationId xmlns:a16="http://schemas.microsoft.com/office/drawing/2014/main" id="{248CF6FB-0F4C-93AF-8264-2847C56BA5FD}"/>
                      </a:ext>
                    </a:extLst>
                  </p:cNvPr>
                  <p:cNvSpPr/>
                  <p:nvPr userDrawn="1"/>
                </p:nvSpPr>
                <p:spPr>
                  <a:xfrm>
                    <a:off x="8248211" y="449592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ED2DF"/>
                  </a:solidFill>
                  <a:ln w="2339" cap="flat">
                    <a:noFill/>
                    <a:prstDash val="solid"/>
                    <a:miter/>
                  </a:ln>
                </p:spPr>
                <p:txBody>
                  <a:bodyPr rtlCol="0" anchor="ctr"/>
                  <a:lstStyle/>
                  <a:p>
                    <a:endParaRPr lang="en-US" sz="2400"/>
                  </a:p>
                </p:txBody>
              </p:sp>
              <p:sp>
                <p:nvSpPr>
                  <p:cNvPr id="637" name="Freeform: Shape 636">
                    <a:extLst>
                      <a:ext uri="{FF2B5EF4-FFF2-40B4-BE49-F238E27FC236}">
                        <a16:creationId xmlns:a16="http://schemas.microsoft.com/office/drawing/2014/main" id="{710C9674-95DF-5E05-5641-D2056C750E2B}"/>
                      </a:ext>
                    </a:extLst>
                  </p:cNvPr>
                  <p:cNvSpPr/>
                  <p:nvPr userDrawn="1"/>
                </p:nvSpPr>
                <p:spPr>
                  <a:xfrm>
                    <a:off x="8247743" y="449611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ED2DF"/>
                  </a:solidFill>
                  <a:ln w="2339" cap="flat">
                    <a:noFill/>
                    <a:prstDash val="solid"/>
                    <a:miter/>
                  </a:ln>
                </p:spPr>
                <p:txBody>
                  <a:bodyPr rtlCol="0" anchor="ctr"/>
                  <a:lstStyle/>
                  <a:p>
                    <a:endParaRPr lang="en-US" sz="2400"/>
                  </a:p>
                </p:txBody>
              </p:sp>
              <p:sp>
                <p:nvSpPr>
                  <p:cNvPr id="638" name="Freeform: Shape 637">
                    <a:extLst>
                      <a:ext uri="{FF2B5EF4-FFF2-40B4-BE49-F238E27FC236}">
                        <a16:creationId xmlns:a16="http://schemas.microsoft.com/office/drawing/2014/main" id="{B630E2D4-BE22-FF96-D4A0-9710E279875D}"/>
                      </a:ext>
                    </a:extLst>
                  </p:cNvPr>
                  <p:cNvSpPr/>
                  <p:nvPr userDrawn="1"/>
                </p:nvSpPr>
                <p:spPr>
                  <a:xfrm>
                    <a:off x="8247275" y="449629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ED3DF"/>
                  </a:solidFill>
                  <a:ln w="2339" cap="flat">
                    <a:noFill/>
                    <a:prstDash val="solid"/>
                    <a:miter/>
                  </a:ln>
                </p:spPr>
                <p:txBody>
                  <a:bodyPr rtlCol="0" anchor="ctr"/>
                  <a:lstStyle/>
                  <a:p>
                    <a:endParaRPr lang="en-US" sz="2400"/>
                  </a:p>
                </p:txBody>
              </p:sp>
              <p:sp>
                <p:nvSpPr>
                  <p:cNvPr id="639" name="Freeform: Shape 638">
                    <a:extLst>
                      <a:ext uri="{FF2B5EF4-FFF2-40B4-BE49-F238E27FC236}">
                        <a16:creationId xmlns:a16="http://schemas.microsoft.com/office/drawing/2014/main" id="{BF8AC1D8-5138-C822-764C-B7BA4A790FCE}"/>
                      </a:ext>
                    </a:extLst>
                  </p:cNvPr>
                  <p:cNvSpPr/>
                  <p:nvPr userDrawn="1"/>
                </p:nvSpPr>
                <p:spPr>
                  <a:xfrm>
                    <a:off x="8246807" y="449648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CFD3DF"/>
                  </a:solidFill>
                  <a:ln w="2339" cap="flat">
                    <a:noFill/>
                    <a:prstDash val="solid"/>
                    <a:miter/>
                  </a:ln>
                </p:spPr>
                <p:txBody>
                  <a:bodyPr rtlCol="0" anchor="ctr"/>
                  <a:lstStyle/>
                  <a:p>
                    <a:endParaRPr lang="en-US" sz="2400"/>
                  </a:p>
                </p:txBody>
              </p:sp>
              <p:sp>
                <p:nvSpPr>
                  <p:cNvPr id="640" name="Freeform: Shape 639">
                    <a:extLst>
                      <a:ext uri="{FF2B5EF4-FFF2-40B4-BE49-F238E27FC236}">
                        <a16:creationId xmlns:a16="http://schemas.microsoft.com/office/drawing/2014/main" id="{08CE36D7-D47D-84C6-1F69-9720976C107A}"/>
                      </a:ext>
                    </a:extLst>
                  </p:cNvPr>
                  <p:cNvSpPr/>
                  <p:nvPr userDrawn="1"/>
                </p:nvSpPr>
                <p:spPr>
                  <a:xfrm>
                    <a:off x="8246339" y="449667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CFD3E0"/>
                  </a:solidFill>
                  <a:ln w="2339" cap="flat">
                    <a:noFill/>
                    <a:prstDash val="solid"/>
                    <a:miter/>
                  </a:ln>
                </p:spPr>
                <p:txBody>
                  <a:bodyPr rtlCol="0" anchor="ctr"/>
                  <a:lstStyle/>
                  <a:p>
                    <a:endParaRPr lang="en-US" sz="2400"/>
                  </a:p>
                </p:txBody>
              </p:sp>
              <p:sp>
                <p:nvSpPr>
                  <p:cNvPr id="641" name="Freeform: Shape 640">
                    <a:extLst>
                      <a:ext uri="{FF2B5EF4-FFF2-40B4-BE49-F238E27FC236}">
                        <a16:creationId xmlns:a16="http://schemas.microsoft.com/office/drawing/2014/main" id="{4C694BA1-2CD2-8A97-3CA3-49822FB7641C}"/>
                      </a:ext>
                    </a:extLst>
                  </p:cNvPr>
                  <p:cNvSpPr/>
                  <p:nvPr userDrawn="1"/>
                </p:nvSpPr>
                <p:spPr>
                  <a:xfrm>
                    <a:off x="8245871" y="449688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FD4E0"/>
                  </a:solidFill>
                  <a:ln w="2339" cap="flat">
                    <a:noFill/>
                    <a:prstDash val="solid"/>
                    <a:miter/>
                  </a:ln>
                </p:spPr>
                <p:txBody>
                  <a:bodyPr rtlCol="0" anchor="ctr"/>
                  <a:lstStyle/>
                  <a:p>
                    <a:endParaRPr lang="en-US" sz="2400"/>
                  </a:p>
                </p:txBody>
              </p:sp>
              <p:sp>
                <p:nvSpPr>
                  <p:cNvPr id="642" name="Freeform: Shape 641">
                    <a:extLst>
                      <a:ext uri="{FF2B5EF4-FFF2-40B4-BE49-F238E27FC236}">
                        <a16:creationId xmlns:a16="http://schemas.microsoft.com/office/drawing/2014/main" id="{B3FF489F-73C4-6C18-FEBC-9EA8BA6B0721}"/>
                      </a:ext>
                    </a:extLst>
                  </p:cNvPr>
                  <p:cNvSpPr/>
                  <p:nvPr userDrawn="1"/>
                </p:nvSpPr>
                <p:spPr>
                  <a:xfrm>
                    <a:off x="8245403" y="449707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0D4E0"/>
                  </a:solidFill>
                  <a:ln w="2339" cap="flat">
                    <a:noFill/>
                    <a:prstDash val="solid"/>
                    <a:miter/>
                  </a:ln>
                </p:spPr>
                <p:txBody>
                  <a:bodyPr rtlCol="0" anchor="ctr"/>
                  <a:lstStyle/>
                  <a:p>
                    <a:endParaRPr lang="en-US" sz="2400"/>
                  </a:p>
                </p:txBody>
              </p:sp>
              <p:sp>
                <p:nvSpPr>
                  <p:cNvPr id="643" name="Freeform: Shape 642">
                    <a:extLst>
                      <a:ext uri="{FF2B5EF4-FFF2-40B4-BE49-F238E27FC236}">
                        <a16:creationId xmlns:a16="http://schemas.microsoft.com/office/drawing/2014/main" id="{7E10DE55-9A8D-749F-45FD-B3AC1B409E27}"/>
                      </a:ext>
                    </a:extLst>
                  </p:cNvPr>
                  <p:cNvSpPr/>
                  <p:nvPr userDrawn="1"/>
                </p:nvSpPr>
                <p:spPr>
                  <a:xfrm>
                    <a:off x="8244935" y="449728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0D4E0"/>
                  </a:solidFill>
                  <a:ln w="2339" cap="flat">
                    <a:noFill/>
                    <a:prstDash val="solid"/>
                    <a:miter/>
                  </a:ln>
                </p:spPr>
                <p:txBody>
                  <a:bodyPr rtlCol="0" anchor="ctr"/>
                  <a:lstStyle/>
                  <a:p>
                    <a:endParaRPr lang="en-US" sz="2400"/>
                  </a:p>
                </p:txBody>
              </p:sp>
              <p:sp>
                <p:nvSpPr>
                  <p:cNvPr id="644" name="Freeform: Shape 643">
                    <a:extLst>
                      <a:ext uri="{FF2B5EF4-FFF2-40B4-BE49-F238E27FC236}">
                        <a16:creationId xmlns:a16="http://schemas.microsoft.com/office/drawing/2014/main" id="{F2AC34BC-C26C-2124-175C-98024B807AEA}"/>
                      </a:ext>
                    </a:extLst>
                  </p:cNvPr>
                  <p:cNvSpPr/>
                  <p:nvPr userDrawn="1"/>
                </p:nvSpPr>
                <p:spPr>
                  <a:xfrm>
                    <a:off x="8244490" y="449746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0D4E0"/>
                  </a:solidFill>
                  <a:ln w="2339" cap="flat">
                    <a:noFill/>
                    <a:prstDash val="solid"/>
                    <a:miter/>
                  </a:ln>
                </p:spPr>
                <p:txBody>
                  <a:bodyPr rtlCol="0" anchor="ctr"/>
                  <a:lstStyle/>
                  <a:p>
                    <a:endParaRPr lang="en-US" sz="2400"/>
                  </a:p>
                </p:txBody>
              </p:sp>
              <p:sp>
                <p:nvSpPr>
                  <p:cNvPr id="645" name="Freeform: Shape 644">
                    <a:extLst>
                      <a:ext uri="{FF2B5EF4-FFF2-40B4-BE49-F238E27FC236}">
                        <a16:creationId xmlns:a16="http://schemas.microsoft.com/office/drawing/2014/main" id="{85155C0B-564D-65EE-B384-079A10E036D2}"/>
                      </a:ext>
                    </a:extLst>
                  </p:cNvPr>
                  <p:cNvSpPr/>
                  <p:nvPr userDrawn="1"/>
                </p:nvSpPr>
                <p:spPr>
                  <a:xfrm>
                    <a:off x="8244022" y="449765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54"/>
                          <a:pt x="42097" y="21060"/>
                        </a:cubicBezTo>
                        <a:close/>
                      </a:path>
                    </a:pathLst>
                  </a:custGeom>
                  <a:solidFill>
                    <a:srgbClr val="D1D5E1"/>
                  </a:solidFill>
                  <a:ln w="2339" cap="flat">
                    <a:noFill/>
                    <a:prstDash val="solid"/>
                    <a:miter/>
                  </a:ln>
                </p:spPr>
                <p:txBody>
                  <a:bodyPr rtlCol="0" anchor="ctr"/>
                  <a:lstStyle/>
                  <a:p>
                    <a:endParaRPr lang="en-US" sz="2400"/>
                  </a:p>
                </p:txBody>
              </p:sp>
              <p:sp>
                <p:nvSpPr>
                  <p:cNvPr id="646" name="Freeform: Shape 645">
                    <a:extLst>
                      <a:ext uri="{FF2B5EF4-FFF2-40B4-BE49-F238E27FC236}">
                        <a16:creationId xmlns:a16="http://schemas.microsoft.com/office/drawing/2014/main" id="{C8F143AD-8EBE-EDDC-0288-F9516D917C80}"/>
                      </a:ext>
                    </a:extLst>
                  </p:cNvPr>
                  <p:cNvSpPr/>
                  <p:nvPr userDrawn="1"/>
                </p:nvSpPr>
                <p:spPr>
                  <a:xfrm>
                    <a:off x="8243577" y="449786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1D5E1"/>
                  </a:solidFill>
                  <a:ln w="2339" cap="flat">
                    <a:noFill/>
                    <a:prstDash val="solid"/>
                    <a:miter/>
                  </a:ln>
                </p:spPr>
                <p:txBody>
                  <a:bodyPr rtlCol="0" anchor="ctr"/>
                  <a:lstStyle/>
                  <a:p>
                    <a:endParaRPr lang="en-US" sz="2400"/>
                  </a:p>
                </p:txBody>
              </p:sp>
              <p:sp>
                <p:nvSpPr>
                  <p:cNvPr id="647" name="Freeform: Shape 646">
                    <a:extLst>
                      <a:ext uri="{FF2B5EF4-FFF2-40B4-BE49-F238E27FC236}">
                        <a16:creationId xmlns:a16="http://schemas.microsoft.com/office/drawing/2014/main" id="{20737FEC-C3B6-4B65-4EF2-B2622DBDD8B3}"/>
                      </a:ext>
                    </a:extLst>
                  </p:cNvPr>
                  <p:cNvSpPr/>
                  <p:nvPr userDrawn="1"/>
                </p:nvSpPr>
                <p:spPr>
                  <a:xfrm>
                    <a:off x="8243109" y="449807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1D5E1"/>
                  </a:solidFill>
                  <a:ln w="2339" cap="flat">
                    <a:noFill/>
                    <a:prstDash val="solid"/>
                    <a:miter/>
                  </a:ln>
                </p:spPr>
                <p:txBody>
                  <a:bodyPr rtlCol="0" anchor="ctr"/>
                  <a:lstStyle/>
                  <a:p>
                    <a:endParaRPr lang="en-US" sz="2400"/>
                  </a:p>
                </p:txBody>
              </p:sp>
              <p:sp>
                <p:nvSpPr>
                  <p:cNvPr id="648" name="Freeform: Shape 647">
                    <a:extLst>
                      <a:ext uri="{FF2B5EF4-FFF2-40B4-BE49-F238E27FC236}">
                        <a16:creationId xmlns:a16="http://schemas.microsoft.com/office/drawing/2014/main" id="{8061C05B-4D4B-F4ED-7843-5FA5B6A1007C}"/>
                      </a:ext>
                    </a:extLst>
                  </p:cNvPr>
                  <p:cNvSpPr/>
                  <p:nvPr userDrawn="1"/>
                </p:nvSpPr>
                <p:spPr>
                  <a:xfrm>
                    <a:off x="8242665" y="449826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1D6E1"/>
                  </a:solidFill>
                  <a:ln w="2339" cap="flat">
                    <a:noFill/>
                    <a:prstDash val="solid"/>
                    <a:miter/>
                  </a:ln>
                </p:spPr>
                <p:txBody>
                  <a:bodyPr rtlCol="0" anchor="ctr"/>
                  <a:lstStyle/>
                  <a:p>
                    <a:endParaRPr lang="en-US" sz="2400"/>
                  </a:p>
                </p:txBody>
              </p:sp>
              <p:sp>
                <p:nvSpPr>
                  <p:cNvPr id="649" name="Freeform: Shape 648">
                    <a:extLst>
                      <a:ext uri="{FF2B5EF4-FFF2-40B4-BE49-F238E27FC236}">
                        <a16:creationId xmlns:a16="http://schemas.microsoft.com/office/drawing/2014/main" id="{47023DDE-BFC3-D94C-90C1-48BD9EDFDAFC}"/>
                      </a:ext>
                    </a:extLst>
                  </p:cNvPr>
                  <p:cNvSpPr/>
                  <p:nvPr userDrawn="1"/>
                </p:nvSpPr>
                <p:spPr>
                  <a:xfrm>
                    <a:off x="8242220" y="449847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2D6E1"/>
                  </a:solidFill>
                  <a:ln w="2339" cap="flat">
                    <a:noFill/>
                    <a:prstDash val="solid"/>
                    <a:miter/>
                  </a:ln>
                </p:spPr>
                <p:txBody>
                  <a:bodyPr rtlCol="0" anchor="ctr"/>
                  <a:lstStyle/>
                  <a:p>
                    <a:endParaRPr lang="en-US" sz="2400"/>
                  </a:p>
                </p:txBody>
              </p:sp>
              <p:sp>
                <p:nvSpPr>
                  <p:cNvPr id="650" name="Freeform: Shape 649">
                    <a:extLst>
                      <a:ext uri="{FF2B5EF4-FFF2-40B4-BE49-F238E27FC236}">
                        <a16:creationId xmlns:a16="http://schemas.microsoft.com/office/drawing/2014/main" id="{3303DA0A-F67B-70C1-5288-E3504E3906F5}"/>
                      </a:ext>
                    </a:extLst>
                  </p:cNvPr>
                  <p:cNvSpPr/>
                  <p:nvPr userDrawn="1"/>
                </p:nvSpPr>
                <p:spPr>
                  <a:xfrm>
                    <a:off x="8241776" y="449866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D2D6E2"/>
                  </a:solidFill>
                  <a:ln w="2339" cap="flat">
                    <a:noFill/>
                    <a:prstDash val="solid"/>
                    <a:miter/>
                  </a:ln>
                </p:spPr>
                <p:txBody>
                  <a:bodyPr rtlCol="0" anchor="ctr"/>
                  <a:lstStyle/>
                  <a:p>
                    <a:endParaRPr lang="en-US" sz="2400"/>
                  </a:p>
                </p:txBody>
              </p:sp>
              <p:sp>
                <p:nvSpPr>
                  <p:cNvPr id="651" name="Freeform: Shape 650">
                    <a:extLst>
                      <a:ext uri="{FF2B5EF4-FFF2-40B4-BE49-F238E27FC236}">
                        <a16:creationId xmlns:a16="http://schemas.microsoft.com/office/drawing/2014/main" id="{2E30EC6F-9157-5232-F54B-04F683A3B98E}"/>
                      </a:ext>
                    </a:extLst>
                  </p:cNvPr>
                  <p:cNvSpPr/>
                  <p:nvPr userDrawn="1"/>
                </p:nvSpPr>
                <p:spPr>
                  <a:xfrm>
                    <a:off x="8241308" y="449887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D2D6E2"/>
                  </a:solidFill>
                  <a:ln w="2339" cap="flat">
                    <a:noFill/>
                    <a:prstDash val="solid"/>
                    <a:miter/>
                  </a:ln>
                </p:spPr>
                <p:txBody>
                  <a:bodyPr rtlCol="0" anchor="ctr"/>
                  <a:lstStyle/>
                  <a:p>
                    <a:endParaRPr lang="en-US" sz="2400"/>
                  </a:p>
                </p:txBody>
              </p:sp>
              <p:sp>
                <p:nvSpPr>
                  <p:cNvPr id="652" name="Freeform: Shape 651">
                    <a:extLst>
                      <a:ext uri="{FF2B5EF4-FFF2-40B4-BE49-F238E27FC236}">
                        <a16:creationId xmlns:a16="http://schemas.microsoft.com/office/drawing/2014/main" id="{12F0BA98-DB56-53FC-C0C4-797E396F42C6}"/>
                      </a:ext>
                    </a:extLst>
                  </p:cNvPr>
                  <p:cNvSpPr/>
                  <p:nvPr userDrawn="1"/>
                </p:nvSpPr>
                <p:spPr>
                  <a:xfrm>
                    <a:off x="8240863" y="449908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3D7E2"/>
                  </a:solidFill>
                  <a:ln w="2339" cap="flat">
                    <a:noFill/>
                    <a:prstDash val="solid"/>
                    <a:miter/>
                  </a:ln>
                </p:spPr>
                <p:txBody>
                  <a:bodyPr rtlCol="0" anchor="ctr"/>
                  <a:lstStyle/>
                  <a:p>
                    <a:endParaRPr lang="en-US" sz="2400"/>
                  </a:p>
                </p:txBody>
              </p:sp>
              <p:sp>
                <p:nvSpPr>
                  <p:cNvPr id="653" name="Freeform: Shape 652">
                    <a:extLst>
                      <a:ext uri="{FF2B5EF4-FFF2-40B4-BE49-F238E27FC236}">
                        <a16:creationId xmlns:a16="http://schemas.microsoft.com/office/drawing/2014/main" id="{925AC1CC-8232-5FCB-0118-21217C25A1B6}"/>
                      </a:ext>
                    </a:extLst>
                  </p:cNvPr>
                  <p:cNvSpPr/>
                  <p:nvPr userDrawn="1"/>
                </p:nvSpPr>
                <p:spPr>
                  <a:xfrm>
                    <a:off x="8240418" y="449929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3D7E2"/>
                  </a:solidFill>
                  <a:ln w="2339" cap="flat">
                    <a:noFill/>
                    <a:prstDash val="solid"/>
                    <a:miter/>
                  </a:ln>
                </p:spPr>
                <p:txBody>
                  <a:bodyPr rtlCol="0" anchor="ctr"/>
                  <a:lstStyle/>
                  <a:p>
                    <a:endParaRPr lang="en-US" sz="2400"/>
                  </a:p>
                </p:txBody>
              </p:sp>
              <p:sp>
                <p:nvSpPr>
                  <p:cNvPr id="654" name="Freeform: Shape 653">
                    <a:extLst>
                      <a:ext uri="{FF2B5EF4-FFF2-40B4-BE49-F238E27FC236}">
                        <a16:creationId xmlns:a16="http://schemas.microsoft.com/office/drawing/2014/main" id="{96D53BCA-81E1-8CA8-E242-A2757490FD89}"/>
                      </a:ext>
                    </a:extLst>
                  </p:cNvPr>
                  <p:cNvSpPr/>
                  <p:nvPr userDrawn="1"/>
                </p:nvSpPr>
                <p:spPr>
                  <a:xfrm>
                    <a:off x="8239997" y="449950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3D7E2"/>
                  </a:solidFill>
                  <a:ln w="2339" cap="flat">
                    <a:noFill/>
                    <a:prstDash val="solid"/>
                    <a:miter/>
                  </a:ln>
                </p:spPr>
                <p:txBody>
                  <a:bodyPr rtlCol="0" anchor="ctr"/>
                  <a:lstStyle/>
                  <a:p>
                    <a:endParaRPr lang="en-US" sz="2400"/>
                  </a:p>
                </p:txBody>
              </p:sp>
              <p:sp>
                <p:nvSpPr>
                  <p:cNvPr id="655" name="Freeform: Shape 654">
                    <a:extLst>
                      <a:ext uri="{FF2B5EF4-FFF2-40B4-BE49-F238E27FC236}">
                        <a16:creationId xmlns:a16="http://schemas.microsoft.com/office/drawing/2014/main" id="{4C5D06A8-DA0F-330F-D240-1877DDCAD384}"/>
                      </a:ext>
                    </a:extLst>
                  </p:cNvPr>
                  <p:cNvSpPr/>
                  <p:nvPr userDrawn="1"/>
                </p:nvSpPr>
                <p:spPr>
                  <a:xfrm>
                    <a:off x="8239552" y="449971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4D7E3"/>
                  </a:solidFill>
                  <a:ln w="2339" cap="flat">
                    <a:noFill/>
                    <a:prstDash val="solid"/>
                    <a:miter/>
                  </a:ln>
                </p:spPr>
                <p:txBody>
                  <a:bodyPr rtlCol="0" anchor="ctr"/>
                  <a:lstStyle/>
                  <a:p>
                    <a:endParaRPr lang="en-US" sz="2400"/>
                  </a:p>
                </p:txBody>
              </p:sp>
              <p:sp>
                <p:nvSpPr>
                  <p:cNvPr id="656" name="Freeform: Shape 655">
                    <a:extLst>
                      <a:ext uri="{FF2B5EF4-FFF2-40B4-BE49-F238E27FC236}">
                        <a16:creationId xmlns:a16="http://schemas.microsoft.com/office/drawing/2014/main" id="{E8917F63-8123-1D09-CE30-C22B79617EE8}"/>
                      </a:ext>
                    </a:extLst>
                  </p:cNvPr>
                  <p:cNvSpPr/>
                  <p:nvPr userDrawn="1"/>
                </p:nvSpPr>
                <p:spPr>
                  <a:xfrm>
                    <a:off x="8239108" y="449990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D4D8E3"/>
                  </a:solidFill>
                  <a:ln w="2339" cap="flat">
                    <a:noFill/>
                    <a:prstDash val="solid"/>
                    <a:miter/>
                  </a:ln>
                </p:spPr>
                <p:txBody>
                  <a:bodyPr rtlCol="0" anchor="ctr"/>
                  <a:lstStyle/>
                  <a:p>
                    <a:endParaRPr lang="en-US" sz="2400"/>
                  </a:p>
                </p:txBody>
              </p:sp>
              <p:sp>
                <p:nvSpPr>
                  <p:cNvPr id="657" name="Freeform: Shape 656">
                    <a:extLst>
                      <a:ext uri="{FF2B5EF4-FFF2-40B4-BE49-F238E27FC236}">
                        <a16:creationId xmlns:a16="http://schemas.microsoft.com/office/drawing/2014/main" id="{B439CB0D-B42F-C713-BABA-D1AC3D9E3BC4}"/>
                      </a:ext>
                    </a:extLst>
                  </p:cNvPr>
                  <p:cNvSpPr/>
                  <p:nvPr userDrawn="1"/>
                </p:nvSpPr>
                <p:spPr>
                  <a:xfrm>
                    <a:off x="8238663" y="450011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54"/>
                          <a:pt x="42097" y="21060"/>
                        </a:cubicBezTo>
                        <a:close/>
                      </a:path>
                    </a:pathLst>
                  </a:custGeom>
                  <a:solidFill>
                    <a:srgbClr val="D4D8E3"/>
                  </a:solidFill>
                  <a:ln w="2339" cap="flat">
                    <a:noFill/>
                    <a:prstDash val="solid"/>
                    <a:miter/>
                  </a:ln>
                </p:spPr>
                <p:txBody>
                  <a:bodyPr rtlCol="0" anchor="ctr"/>
                  <a:lstStyle/>
                  <a:p>
                    <a:endParaRPr lang="en-US" sz="2400"/>
                  </a:p>
                </p:txBody>
              </p:sp>
              <p:sp>
                <p:nvSpPr>
                  <p:cNvPr id="658" name="Freeform: Shape 657">
                    <a:extLst>
                      <a:ext uri="{FF2B5EF4-FFF2-40B4-BE49-F238E27FC236}">
                        <a16:creationId xmlns:a16="http://schemas.microsoft.com/office/drawing/2014/main" id="{2180C730-0E69-5ADA-25EC-9C151F70D55E}"/>
                      </a:ext>
                    </a:extLst>
                  </p:cNvPr>
                  <p:cNvSpPr/>
                  <p:nvPr userDrawn="1"/>
                </p:nvSpPr>
                <p:spPr>
                  <a:xfrm>
                    <a:off x="8238242" y="450032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D4D8E3"/>
                  </a:solidFill>
                  <a:ln w="2339" cap="flat">
                    <a:noFill/>
                    <a:prstDash val="solid"/>
                    <a:miter/>
                  </a:ln>
                </p:spPr>
                <p:txBody>
                  <a:bodyPr rtlCol="0" anchor="ctr"/>
                  <a:lstStyle/>
                  <a:p>
                    <a:endParaRPr lang="en-US" sz="2400"/>
                  </a:p>
                </p:txBody>
              </p:sp>
              <p:sp>
                <p:nvSpPr>
                  <p:cNvPr id="659" name="Freeform: Shape 658">
                    <a:extLst>
                      <a:ext uri="{FF2B5EF4-FFF2-40B4-BE49-F238E27FC236}">
                        <a16:creationId xmlns:a16="http://schemas.microsoft.com/office/drawing/2014/main" id="{ABA8C9E2-6400-155F-9787-64D65FC9F97F}"/>
                      </a:ext>
                    </a:extLst>
                  </p:cNvPr>
                  <p:cNvSpPr/>
                  <p:nvPr userDrawn="1"/>
                </p:nvSpPr>
                <p:spPr>
                  <a:xfrm>
                    <a:off x="8237797" y="450053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54"/>
                          <a:pt x="42097" y="21060"/>
                        </a:cubicBezTo>
                        <a:close/>
                      </a:path>
                    </a:pathLst>
                  </a:custGeom>
                  <a:solidFill>
                    <a:srgbClr val="D5D9E3"/>
                  </a:solidFill>
                  <a:ln w="2339" cap="flat">
                    <a:noFill/>
                    <a:prstDash val="solid"/>
                    <a:miter/>
                  </a:ln>
                </p:spPr>
                <p:txBody>
                  <a:bodyPr rtlCol="0" anchor="ctr"/>
                  <a:lstStyle/>
                  <a:p>
                    <a:endParaRPr lang="en-US" sz="2400"/>
                  </a:p>
                </p:txBody>
              </p:sp>
              <p:sp>
                <p:nvSpPr>
                  <p:cNvPr id="660" name="Freeform: Shape 659">
                    <a:extLst>
                      <a:ext uri="{FF2B5EF4-FFF2-40B4-BE49-F238E27FC236}">
                        <a16:creationId xmlns:a16="http://schemas.microsoft.com/office/drawing/2014/main" id="{57EACA58-2410-8D92-6FCD-385F78C762EC}"/>
                      </a:ext>
                    </a:extLst>
                  </p:cNvPr>
                  <p:cNvSpPr/>
                  <p:nvPr userDrawn="1"/>
                </p:nvSpPr>
                <p:spPr>
                  <a:xfrm>
                    <a:off x="8237376" y="450076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5D9E4"/>
                  </a:solidFill>
                  <a:ln w="2339" cap="flat">
                    <a:noFill/>
                    <a:prstDash val="solid"/>
                    <a:miter/>
                  </a:ln>
                </p:spPr>
                <p:txBody>
                  <a:bodyPr rtlCol="0" anchor="ctr"/>
                  <a:lstStyle/>
                  <a:p>
                    <a:endParaRPr lang="en-US" sz="2400"/>
                  </a:p>
                </p:txBody>
              </p:sp>
              <p:sp>
                <p:nvSpPr>
                  <p:cNvPr id="661" name="Freeform: Shape 660">
                    <a:extLst>
                      <a:ext uri="{FF2B5EF4-FFF2-40B4-BE49-F238E27FC236}">
                        <a16:creationId xmlns:a16="http://schemas.microsoft.com/office/drawing/2014/main" id="{7E7942C5-3924-CFAC-C72A-6222F004DEAD}"/>
                      </a:ext>
                    </a:extLst>
                  </p:cNvPr>
                  <p:cNvSpPr/>
                  <p:nvPr userDrawn="1"/>
                </p:nvSpPr>
                <p:spPr>
                  <a:xfrm>
                    <a:off x="8236932" y="450097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5D9E4"/>
                  </a:solidFill>
                  <a:ln w="2339" cap="flat">
                    <a:noFill/>
                    <a:prstDash val="solid"/>
                    <a:miter/>
                  </a:ln>
                </p:spPr>
                <p:txBody>
                  <a:bodyPr rtlCol="0" anchor="ctr"/>
                  <a:lstStyle/>
                  <a:p>
                    <a:endParaRPr lang="en-US" sz="2400"/>
                  </a:p>
                </p:txBody>
              </p:sp>
              <p:sp>
                <p:nvSpPr>
                  <p:cNvPr id="662" name="Freeform: Shape 661">
                    <a:extLst>
                      <a:ext uri="{FF2B5EF4-FFF2-40B4-BE49-F238E27FC236}">
                        <a16:creationId xmlns:a16="http://schemas.microsoft.com/office/drawing/2014/main" id="{8DB49B85-1AE5-F80E-7723-688D2C9B82CE}"/>
                      </a:ext>
                    </a:extLst>
                  </p:cNvPr>
                  <p:cNvSpPr/>
                  <p:nvPr userDrawn="1"/>
                </p:nvSpPr>
                <p:spPr>
                  <a:xfrm>
                    <a:off x="8236510" y="450118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6D9E4"/>
                  </a:solidFill>
                  <a:ln w="2339" cap="flat">
                    <a:noFill/>
                    <a:prstDash val="solid"/>
                    <a:miter/>
                  </a:ln>
                </p:spPr>
                <p:txBody>
                  <a:bodyPr rtlCol="0" anchor="ctr"/>
                  <a:lstStyle/>
                  <a:p>
                    <a:endParaRPr lang="en-US" sz="2400"/>
                  </a:p>
                </p:txBody>
              </p:sp>
              <p:sp>
                <p:nvSpPr>
                  <p:cNvPr id="663" name="Freeform: Shape 662">
                    <a:extLst>
                      <a:ext uri="{FF2B5EF4-FFF2-40B4-BE49-F238E27FC236}">
                        <a16:creationId xmlns:a16="http://schemas.microsoft.com/office/drawing/2014/main" id="{17F09ABA-68FB-BDE1-08F7-7851B3C611A1}"/>
                      </a:ext>
                    </a:extLst>
                  </p:cNvPr>
                  <p:cNvSpPr/>
                  <p:nvPr userDrawn="1"/>
                </p:nvSpPr>
                <p:spPr>
                  <a:xfrm>
                    <a:off x="8236089" y="450140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6DAE4"/>
                  </a:solidFill>
                  <a:ln w="2339" cap="flat">
                    <a:noFill/>
                    <a:prstDash val="solid"/>
                    <a:miter/>
                  </a:ln>
                </p:spPr>
                <p:txBody>
                  <a:bodyPr rtlCol="0" anchor="ctr"/>
                  <a:lstStyle/>
                  <a:p>
                    <a:endParaRPr lang="en-US" sz="2400"/>
                  </a:p>
                </p:txBody>
              </p:sp>
              <p:sp>
                <p:nvSpPr>
                  <p:cNvPr id="664" name="Freeform: Shape 663">
                    <a:extLst>
                      <a:ext uri="{FF2B5EF4-FFF2-40B4-BE49-F238E27FC236}">
                        <a16:creationId xmlns:a16="http://schemas.microsoft.com/office/drawing/2014/main" id="{1CB444DB-F768-65F1-69FC-FD51C9E69E81}"/>
                      </a:ext>
                    </a:extLst>
                  </p:cNvPr>
                  <p:cNvSpPr/>
                  <p:nvPr userDrawn="1"/>
                </p:nvSpPr>
                <p:spPr>
                  <a:xfrm>
                    <a:off x="8235668" y="450161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6DAE4"/>
                  </a:solidFill>
                  <a:ln w="2339" cap="flat">
                    <a:noFill/>
                    <a:prstDash val="solid"/>
                    <a:miter/>
                  </a:ln>
                </p:spPr>
                <p:txBody>
                  <a:bodyPr rtlCol="0" anchor="ctr"/>
                  <a:lstStyle/>
                  <a:p>
                    <a:endParaRPr lang="en-US" sz="2400"/>
                  </a:p>
                </p:txBody>
              </p:sp>
              <p:sp>
                <p:nvSpPr>
                  <p:cNvPr id="665" name="Freeform: Shape 664">
                    <a:extLst>
                      <a:ext uri="{FF2B5EF4-FFF2-40B4-BE49-F238E27FC236}">
                        <a16:creationId xmlns:a16="http://schemas.microsoft.com/office/drawing/2014/main" id="{8ED12C53-C062-C37E-FC15-E6BBE20633C5}"/>
                      </a:ext>
                    </a:extLst>
                  </p:cNvPr>
                  <p:cNvSpPr/>
                  <p:nvPr userDrawn="1"/>
                </p:nvSpPr>
                <p:spPr>
                  <a:xfrm>
                    <a:off x="8235247" y="450184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7DAE5"/>
                  </a:solidFill>
                  <a:ln w="2339" cap="flat">
                    <a:noFill/>
                    <a:prstDash val="solid"/>
                    <a:miter/>
                  </a:ln>
                </p:spPr>
                <p:txBody>
                  <a:bodyPr rtlCol="0" anchor="ctr"/>
                  <a:lstStyle/>
                  <a:p>
                    <a:endParaRPr lang="en-US" sz="2400"/>
                  </a:p>
                </p:txBody>
              </p:sp>
              <p:sp>
                <p:nvSpPr>
                  <p:cNvPr id="666" name="Freeform: Shape 665">
                    <a:extLst>
                      <a:ext uri="{FF2B5EF4-FFF2-40B4-BE49-F238E27FC236}">
                        <a16:creationId xmlns:a16="http://schemas.microsoft.com/office/drawing/2014/main" id="{722E0FFD-F99B-8096-A555-C06A7E4F91D7}"/>
                      </a:ext>
                    </a:extLst>
                  </p:cNvPr>
                  <p:cNvSpPr/>
                  <p:nvPr userDrawn="1"/>
                </p:nvSpPr>
                <p:spPr>
                  <a:xfrm>
                    <a:off x="8234826" y="450205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7DBE5"/>
                  </a:solidFill>
                  <a:ln w="2339" cap="flat">
                    <a:noFill/>
                    <a:prstDash val="solid"/>
                    <a:miter/>
                  </a:ln>
                </p:spPr>
                <p:txBody>
                  <a:bodyPr rtlCol="0" anchor="ctr"/>
                  <a:lstStyle/>
                  <a:p>
                    <a:endParaRPr lang="en-US" sz="2400"/>
                  </a:p>
                </p:txBody>
              </p:sp>
              <p:sp>
                <p:nvSpPr>
                  <p:cNvPr id="667" name="Freeform: Shape 666">
                    <a:extLst>
                      <a:ext uri="{FF2B5EF4-FFF2-40B4-BE49-F238E27FC236}">
                        <a16:creationId xmlns:a16="http://schemas.microsoft.com/office/drawing/2014/main" id="{2BA9600B-4E7C-FFCA-45BF-3129C0A242F0}"/>
                      </a:ext>
                    </a:extLst>
                  </p:cNvPr>
                  <p:cNvSpPr/>
                  <p:nvPr userDrawn="1"/>
                </p:nvSpPr>
                <p:spPr>
                  <a:xfrm>
                    <a:off x="8234404" y="450226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D7DBE5"/>
                  </a:solidFill>
                  <a:ln w="2339" cap="flat">
                    <a:noFill/>
                    <a:prstDash val="solid"/>
                    <a:miter/>
                  </a:ln>
                </p:spPr>
                <p:txBody>
                  <a:bodyPr rtlCol="0" anchor="ctr"/>
                  <a:lstStyle/>
                  <a:p>
                    <a:endParaRPr lang="en-US" sz="2400"/>
                  </a:p>
                </p:txBody>
              </p:sp>
              <p:sp>
                <p:nvSpPr>
                  <p:cNvPr id="668" name="Freeform: Shape 667">
                    <a:extLst>
                      <a:ext uri="{FF2B5EF4-FFF2-40B4-BE49-F238E27FC236}">
                        <a16:creationId xmlns:a16="http://schemas.microsoft.com/office/drawing/2014/main" id="{EAD42298-2F99-7AE9-A777-07BD70A0DDC3}"/>
                      </a:ext>
                    </a:extLst>
                  </p:cNvPr>
                  <p:cNvSpPr/>
                  <p:nvPr userDrawn="1"/>
                </p:nvSpPr>
                <p:spPr>
                  <a:xfrm>
                    <a:off x="8233983" y="450249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8DBE5"/>
                  </a:solidFill>
                  <a:ln w="2339" cap="flat">
                    <a:noFill/>
                    <a:prstDash val="solid"/>
                    <a:miter/>
                  </a:ln>
                </p:spPr>
                <p:txBody>
                  <a:bodyPr rtlCol="0" anchor="ctr"/>
                  <a:lstStyle/>
                  <a:p>
                    <a:endParaRPr lang="en-US" sz="2400"/>
                  </a:p>
                </p:txBody>
              </p:sp>
              <p:sp>
                <p:nvSpPr>
                  <p:cNvPr id="669" name="Freeform: Shape 668">
                    <a:extLst>
                      <a:ext uri="{FF2B5EF4-FFF2-40B4-BE49-F238E27FC236}">
                        <a16:creationId xmlns:a16="http://schemas.microsoft.com/office/drawing/2014/main" id="{128BC310-A570-D1A5-4A98-D65112E03387}"/>
                      </a:ext>
                    </a:extLst>
                  </p:cNvPr>
                  <p:cNvSpPr/>
                  <p:nvPr userDrawn="1"/>
                </p:nvSpPr>
                <p:spPr>
                  <a:xfrm>
                    <a:off x="8233585" y="450271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8DBE5"/>
                  </a:solidFill>
                  <a:ln w="2339" cap="flat">
                    <a:noFill/>
                    <a:prstDash val="solid"/>
                    <a:miter/>
                  </a:ln>
                </p:spPr>
                <p:txBody>
                  <a:bodyPr rtlCol="0" anchor="ctr"/>
                  <a:lstStyle/>
                  <a:p>
                    <a:endParaRPr lang="en-US" sz="2400"/>
                  </a:p>
                </p:txBody>
              </p:sp>
              <p:sp>
                <p:nvSpPr>
                  <p:cNvPr id="670" name="Freeform: Shape 669">
                    <a:extLst>
                      <a:ext uri="{FF2B5EF4-FFF2-40B4-BE49-F238E27FC236}">
                        <a16:creationId xmlns:a16="http://schemas.microsoft.com/office/drawing/2014/main" id="{0A0273A2-BCF9-B35C-66B6-B7AB896BB46C}"/>
                      </a:ext>
                    </a:extLst>
                  </p:cNvPr>
                  <p:cNvSpPr/>
                  <p:nvPr userDrawn="1"/>
                </p:nvSpPr>
                <p:spPr>
                  <a:xfrm>
                    <a:off x="8233164" y="450292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54"/>
                          <a:pt x="42097" y="21060"/>
                        </a:cubicBezTo>
                        <a:close/>
                      </a:path>
                    </a:pathLst>
                  </a:custGeom>
                  <a:solidFill>
                    <a:srgbClr val="D8DCE6"/>
                  </a:solidFill>
                  <a:ln w="2339" cap="flat">
                    <a:noFill/>
                    <a:prstDash val="solid"/>
                    <a:miter/>
                  </a:ln>
                </p:spPr>
                <p:txBody>
                  <a:bodyPr rtlCol="0" anchor="ctr"/>
                  <a:lstStyle/>
                  <a:p>
                    <a:endParaRPr lang="en-US" sz="2400"/>
                  </a:p>
                </p:txBody>
              </p:sp>
              <p:sp>
                <p:nvSpPr>
                  <p:cNvPr id="671" name="Freeform: Shape 670">
                    <a:extLst>
                      <a:ext uri="{FF2B5EF4-FFF2-40B4-BE49-F238E27FC236}">
                        <a16:creationId xmlns:a16="http://schemas.microsoft.com/office/drawing/2014/main" id="{2C502DDF-8257-5C47-D7A8-A47B9F56148C}"/>
                      </a:ext>
                    </a:extLst>
                  </p:cNvPr>
                  <p:cNvSpPr/>
                  <p:nvPr userDrawn="1"/>
                </p:nvSpPr>
                <p:spPr>
                  <a:xfrm>
                    <a:off x="8232766" y="450315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8DCE6"/>
                  </a:solidFill>
                  <a:ln w="2339" cap="flat">
                    <a:noFill/>
                    <a:prstDash val="solid"/>
                    <a:miter/>
                  </a:ln>
                </p:spPr>
                <p:txBody>
                  <a:bodyPr rtlCol="0" anchor="ctr"/>
                  <a:lstStyle/>
                  <a:p>
                    <a:endParaRPr lang="en-US" sz="2400"/>
                  </a:p>
                </p:txBody>
              </p:sp>
              <p:sp>
                <p:nvSpPr>
                  <p:cNvPr id="672" name="Freeform: Shape 671">
                    <a:extLst>
                      <a:ext uri="{FF2B5EF4-FFF2-40B4-BE49-F238E27FC236}">
                        <a16:creationId xmlns:a16="http://schemas.microsoft.com/office/drawing/2014/main" id="{1302409E-27B7-5266-A0FC-0B35E3F992BC}"/>
                      </a:ext>
                    </a:extLst>
                  </p:cNvPr>
                  <p:cNvSpPr/>
                  <p:nvPr userDrawn="1"/>
                </p:nvSpPr>
                <p:spPr>
                  <a:xfrm>
                    <a:off x="8232345" y="450338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9DCE6"/>
                  </a:solidFill>
                  <a:ln w="2339" cap="flat">
                    <a:noFill/>
                    <a:prstDash val="solid"/>
                    <a:miter/>
                  </a:ln>
                </p:spPr>
                <p:txBody>
                  <a:bodyPr rtlCol="0" anchor="ctr"/>
                  <a:lstStyle/>
                  <a:p>
                    <a:endParaRPr lang="en-US" sz="2400"/>
                  </a:p>
                </p:txBody>
              </p:sp>
              <p:sp>
                <p:nvSpPr>
                  <p:cNvPr id="673" name="Freeform: Shape 672">
                    <a:extLst>
                      <a:ext uri="{FF2B5EF4-FFF2-40B4-BE49-F238E27FC236}">
                        <a16:creationId xmlns:a16="http://schemas.microsoft.com/office/drawing/2014/main" id="{457BEA28-7287-A7D4-3DED-12DBD67D0B69}"/>
                      </a:ext>
                    </a:extLst>
                  </p:cNvPr>
                  <p:cNvSpPr/>
                  <p:nvPr userDrawn="1"/>
                </p:nvSpPr>
                <p:spPr>
                  <a:xfrm>
                    <a:off x="8231947" y="450359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9DCE6"/>
                  </a:solidFill>
                  <a:ln w="2339" cap="flat">
                    <a:noFill/>
                    <a:prstDash val="solid"/>
                    <a:miter/>
                  </a:ln>
                </p:spPr>
                <p:txBody>
                  <a:bodyPr rtlCol="0" anchor="ctr"/>
                  <a:lstStyle/>
                  <a:p>
                    <a:endParaRPr lang="en-US" sz="2400"/>
                  </a:p>
                </p:txBody>
              </p:sp>
              <p:sp>
                <p:nvSpPr>
                  <p:cNvPr id="674" name="Freeform: Shape 673">
                    <a:extLst>
                      <a:ext uri="{FF2B5EF4-FFF2-40B4-BE49-F238E27FC236}">
                        <a16:creationId xmlns:a16="http://schemas.microsoft.com/office/drawing/2014/main" id="{27E3455F-E8A3-0E88-C6DC-FB59D6B840EE}"/>
                      </a:ext>
                    </a:extLst>
                  </p:cNvPr>
                  <p:cNvSpPr/>
                  <p:nvPr userDrawn="1"/>
                </p:nvSpPr>
                <p:spPr>
                  <a:xfrm>
                    <a:off x="8231550" y="450383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9DDE6"/>
                  </a:solidFill>
                  <a:ln w="2339" cap="flat">
                    <a:noFill/>
                    <a:prstDash val="solid"/>
                    <a:miter/>
                  </a:ln>
                </p:spPr>
                <p:txBody>
                  <a:bodyPr rtlCol="0" anchor="ctr"/>
                  <a:lstStyle/>
                  <a:p>
                    <a:endParaRPr lang="en-US" sz="2400"/>
                  </a:p>
                </p:txBody>
              </p:sp>
              <p:sp>
                <p:nvSpPr>
                  <p:cNvPr id="675" name="Freeform: Shape 674">
                    <a:extLst>
                      <a:ext uri="{FF2B5EF4-FFF2-40B4-BE49-F238E27FC236}">
                        <a16:creationId xmlns:a16="http://schemas.microsoft.com/office/drawing/2014/main" id="{28BC0240-A859-9C5A-597B-0532851CFACB}"/>
                      </a:ext>
                    </a:extLst>
                  </p:cNvPr>
                  <p:cNvSpPr/>
                  <p:nvPr userDrawn="1"/>
                </p:nvSpPr>
                <p:spPr>
                  <a:xfrm>
                    <a:off x="8231152" y="450404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ADDE7"/>
                  </a:solidFill>
                  <a:ln w="2339" cap="flat">
                    <a:noFill/>
                    <a:prstDash val="solid"/>
                    <a:miter/>
                  </a:ln>
                </p:spPr>
                <p:txBody>
                  <a:bodyPr rtlCol="0" anchor="ctr"/>
                  <a:lstStyle/>
                  <a:p>
                    <a:endParaRPr lang="en-US" sz="2400"/>
                  </a:p>
                </p:txBody>
              </p:sp>
              <p:sp>
                <p:nvSpPr>
                  <p:cNvPr id="676" name="Freeform: Shape 675">
                    <a:extLst>
                      <a:ext uri="{FF2B5EF4-FFF2-40B4-BE49-F238E27FC236}">
                        <a16:creationId xmlns:a16="http://schemas.microsoft.com/office/drawing/2014/main" id="{7A578C52-2D13-1CC4-3245-2C51A14876BB}"/>
                      </a:ext>
                    </a:extLst>
                  </p:cNvPr>
                  <p:cNvSpPr/>
                  <p:nvPr userDrawn="1"/>
                </p:nvSpPr>
                <p:spPr>
                  <a:xfrm>
                    <a:off x="8230731" y="450427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ADDE7"/>
                  </a:solidFill>
                  <a:ln w="2339" cap="flat">
                    <a:noFill/>
                    <a:prstDash val="solid"/>
                    <a:miter/>
                  </a:ln>
                </p:spPr>
                <p:txBody>
                  <a:bodyPr rtlCol="0" anchor="ctr"/>
                  <a:lstStyle/>
                  <a:p>
                    <a:endParaRPr lang="en-US" sz="2400"/>
                  </a:p>
                </p:txBody>
              </p:sp>
              <p:sp>
                <p:nvSpPr>
                  <p:cNvPr id="677" name="Freeform: Shape 676">
                    <a:extLst>
                      <a:ext uri="{FF2B5EF4-FFF2-40B4-BE49-F238E27FC236}">
                        <a16:creationId xmlns:a16="http://schemas.microsoft.com/office/drawing/2014/main" id="{17010E2B-EECE-D08F-CB21-56D279A2C9C9}"/>
                      </a:ext>
                    </a:extLst>
                  </p:cNvPr>
                  <p:cNvSpPr/>
                  <p:nvPr userDrawn="1"/>
                </p:nvSpPr>
                <p:spPr>
                  <a:xfrm>
                    <a:off x="8230333" y="450451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ADEE7"/>
                  </a:solidFill>
                  <a:ln w="2339" cap="flat">
                    <a:noFill/>
                    <a:prstDash val="solid"/>
                    <a:miter/>
                  </a:ln>
                </p:spPr>
                <p:txBody>
                  <a:bodyPr rtlCol="0" anchor="ctr"/>
                  <a:lstStyle/>
                  <a:p>
                    <a:endParaRPr lang="en-US" sz="2400"/>
                  </a:p>
                </p:txBody>
              </p:sp>
              <p:sp>
                <p:nvSpPr>
                  <p:cNvPr id="678" name="Freeform: Shape 677">
                    <a:extLst>
                      <a:ext uri="{FF2B5EF4-FFF2-40B4-BE49-F238E27FC236}">
                        <a16:creationId xmlns:a16="http://schemas.microsoft.com/office/drawing/2014/main" id="{579E52C7-9B13-6A99-9E8A-B17A792F0DE5}"/>
                      </a:ext>
                    </a:extLst>
                  </p:cNvPr>
                  <p:cNvSpPr/>
                  <p:nvPr userDrawn="1"/>
                </p:nvSpPr>
                <p:spPr>
                  <a:xfrm>
                    <a:off x="8229958" y="450474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BDEE7"/>
                  </a:solidFill>
                  <a:ln w="2339" cap="flat">
                    <a:noFill/>
                    <a:prstDash val="solid"/>
                    <a:miter/>
                  </a:ln>
                </p:spPr>
                <p:txBody>
                  <a:bodyPr rtlCol="0" anchor="ctr"/>
                  <a:lstStyle/>
                  <a:p>
                    <a:endParaRPr lang="en-US" sz="2400"/>
                  </a:p>
                </p:txBody>
              </p:sp>
              <p:sp>
                <p:nvSpPr>
                  <p:cNvPr id="679" name="Freeform: Shape 678">
                    <a:extLst>
                      <a:ext uri="{FF2B5EF4-FFF2-40B4-BE49-F238E27FC236}">
                        <a16:creationId xmlns:a16="http://schemas.microsoft.com/office/drawing/2014/main" id="{E121E40F-1B26-6555-004C-7B0BFB7D015F}"/>
                      </a:ext>
                    </a:extLst>
                  </p:cNvPr>
                  <p:cNvSpPr/>
                  <p:nvPr userDrawn="1"/>
                </p:nvSpPr>
                <p:spPr>
                  <a:xfrm>
                    <a:off x="8229561" y="450495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BDEE7"/>
                  </a:solidFill>
                  <a:ln w="2339" cap="flat">
                    <a:noFill/>
                    <a:prstDash val="solid"/>
                    <a:miter/>
                  </a:ln>
                </p:spPr>
                <p:txBody>
                  <a:bodyPr rtlCol="0" anchor="ctr"/>
                  <a:lstStyle/>
                  <a:p>
                    <a:endParaRPr lang="en-US" sz="2400"/>
                  </a:p>
                </p:txBody>
              </p:sp>
              <p:sp>
                <p:nvSpPr>
                  <p:cNvPr id="680" name="Freeform: Shape 679">
                    <a:extLst>
                      <a:ext uri="{FF2B5EF4-FFF2-40B4-BE49-F238E27FC236}">
                        <a16:creationId xmlns:a16="http://schemas.microsoft.com/office/drawing/2014/main" id="{D2AC5DD9-5134-E44C-90E3-B9D878C450EB}"/>
                      </a:ext>
                    </a:extLst>
                  </p:cNvPr>
                  <p:cNvSpPr/>
                  <p:nvPr userDrawn="1"/>
                </p:nvSpPr>
                <p:spPr>
                  <a:xfrm>
                    <a:off x="8229163" y="450519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BDEE8"/>
                  </a:solidFill>
                  <a:ln w="2339" cap="flat">
                    <a:noFill/>
                    <a:prstDash val="solid"/>
                    <a:miter/>
                  </a:ln>
                </p:spPr>
                <p:txBody>
                  <a:bodyPr rtlCol="0" anchor="ctr"/>
                  <a:lstStyle/>
                  <a:p>
                    <a:endParaRPr lang="en-US" sz="2400"/>
                  </a:p>
                </p:txBody>
              </p:sp>
              <p:sp>
                <p:nvSpPr>
                  <p:cNvPr id="681" name="Freeform: Shape 680">
                    <a:extLst>
                      <a:ext uri="{FF2B5EF4-FFF2-40B4-BE49-F238E27FC236}">
                        <a16:creationId xmlns:a16="http://schemas.microsoft.com/office/drawing/2014/main" id="{EDEE694F-B73B-CE96-B547-F2B699D09F54}"/>
                      </a:ext>
                    </a:extLst>
                  </p:cNvPr>
                  <p:cNvSpPr/>
                  <p:nvPr userDrawn="1"/>
                </p:nvSpPr>
                <p:spPr>
                  <a:xfrm>
                    <a:off x="8228765" y="450542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CDFE8"/>
                  </a:solidFill>
                  <a:ln w="2339" cap="flat">
                    <a:noFill/>
                    <a:prstDash val="solid"/>
                    <a:miter/>
                  </a:ln>
                </p:spPr>
                <p:txBody>
                  <a:bodyPr rtlCol="0" anchor="ctr"/>
                  <a:lstStyle/>
                  <a:p>
                    <a:endParaRPr lang="en-US" sz="2400"/>
                  </a:p>
                </p:txBody>
              </p:sp>
              <p:sp>
                <p:nvSpPr>
                  <p:cNvPr id="682" name="Freeform: Shape 681">
                    <a:extLst>
                      <a:ext uri="{FF2B5EF4-FFF2-40B4-BE49-F238E27FC236}">
                        <a16:creationId xmlns:a16="http://schemas.microsoft.com/office/drawing/2014/main" id="{49A79477-F2D8-3AFA-58A5-BCF03F401402}"/>
                      </a:ext>
                    </a:extLst>
                  </p:cNvPr>
                  <p:cNvSpPr/>
                  <p:nvPr userDrawn="1"/>
                </p:nvSpPr>
                <p:spPr>
                  <a:xfrm>
                    <a:off x="8228391" y="450565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CDFE8"/>
                  </a:solidFill>
                  <a:ln w="2339" cap="flat">
                    <a:noFill/>
                    <a:prstDash val="solid"/>
                    <a:miter/>
                  </a:ln>
                </p:spPr>
                <p:txBody>
                  <a:bodyPr rtlCol="0" anchor="ctr"/>
                  <a:lstStyle/>
                  <a:p>
                    <a:endParaRPr lang="en-US" sz="2400"/>
                  </a:p>
                </p:txBody>
              </p:sp>
              <p:sp>
                <p:nvSpPr>
                  <p:cNvPr id="683" name="Freeform: Shape 682">
                    <a:extLst>
                      <a:ext uri="{FF2B5EF4-FFF2-40B4-BE49-F238E27FC236}">
                        <a16:creationId xmlns:a16="http://schemas.microsoft.com/office/drawing/2014/main" id="{F9BFF842-E039-34F0-2614-D189FCB821EE}"/>
                      </a:ext>
                    </a:extLst>
                  </p:cNvPr>
                  <p:cNvSpPr/>
                  <p:nvPr userDrawn="1"/>
                </p:nvSpPr>
                <p:spPr>
                  <a:xfrm>
                    <a:off x="8227993" y="450589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CDFE8"/>
                  </a:solidFill>
                  <a:ln w="2339" cap="flat">
                    <a:noFill/>
                    <a:prstDash val="solid"/>
                    <a:miter/>
                  </a:ln>
                </p:spPr>
                <p:txBody>
                  <a:bodyPr rtlCol="0" anchor="ctr"/>
                  <a:lstStyle/>
                  <a:p>
                    <a:endParaRPr lang="en-US" sz="2400"/>
                  </a:p>
                </p:txBody>
              </p:sp>
              <p:sp>
                <p:nvSpPr>
                  <p:cNvPr id="684" name="Freeform: Shape 683">
                    <a:extLst>
                      <a:ext uri="{FF2B5EF4-FFF2-40B4-BE49-F238E27FC236}">
                        <a16:creationId xmlns:a16="http://schemas.microsoft.com/office/drawing/2014/main" id="{6071860C-180A-1285-1F74-FBC9CBB67447}"/>
                      </a:ext>
                    </a:extLst>
                  </p:cNvPr>
                  <p:cNvSpPr/>
                  <p:nvPr userDrawn="1"/>
                </p:nvSpPr>
                <p:spPr>
                  <a:xfrm>
                    <a:off x="8227618" y="450612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CE0E8"/>
                  </a:solidFill>
                  <a:ln w="2339" cap="flat">
                    <a:noFill/>
                    <a:prstDash val="solid"/>
                    <a:miter/>
                  </a:ln>
                </p:spPr>
                <p:txBody>
                  <a:bodyPr rtlCol="0" anchor="ctr"/>
                  <a:lstStyle/>
                  <a:p>
                    <a:endParaRPr lang="en-US" sz="2400"/>
                  </a:p>
                </p:txBody>
              </p:sp>
              <p:sp>
                <p:nvSpPr>
                  <p:cNvPr id="685" name="Freeform: Shape 684">
                    <a:extLst>
                      <a:ext uri="{FF2B5EF4-FFF2-40B4-BE49-F238E27FC236}">
                        <a16:creationId xmlns:a16="http://schemas.microsoft.com/office/drawing/2014/main" id="{86D9907C-F2B0-ACC0-578C-0891DCB317E9}"/>
                      </a:ext>
                    </a:extLst>
                  </p:cNvPr>
                  <p:cNvSpPr/>
                  <p:nvPr userDrawn="1"/>
                </p:nvSpPr>
                <p:spPr>
                  <a:xfrm>
                    <a:off x="8227244" y="450636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DE0E9"/>
                  </a:solidFill>
                  <a:ln w="2339" cap="flat">
                    <a:noFill/>
                    <a:prstDash val="solid"/>
                    <a:miter/>
                  </a:ln>
                </p:spPr>
                <p:txBody>
                  <a:bodyPr rtlCol="0" anchor="ctr"/>
                  <a:lstStyle/>
                  <a:p>
                    <a:endParaRPr lang="en-US" sz="2400"/>
                  </a:p>
                </p:txBody>
              </p:sp>
              <p:sp>
                <p:nvSpPr>
                  <p:cNvPr id="686" name="Freeform: Shape 685">
                    <a:extLst>
                      <a:ext uri="{FF2B5EF4-FFF2-40B4-BE49-F238E27FC236}">
                        <a16:creationId xmlns:a16="http://schemas.microsoft.com/office/drawing/2014/main" id="{0924933F-7EA3-BF80-A043-D415589B66FC}"/>
                      </a:ext>
                    </a:extLst>
                  </p:cNvPr>
                  <p:cNvSpPr/>
                  <p:nvPr userDrawn="1"/>
                </p:nvSpPr>
                <p:spPr>
                  <a:xfrm>
                    <a:off x="8226870" y="450659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DE0E9"/>
                  </a:solidFill>
                  <a:ln w="2339" cap="flat">
                    <a:noFill/>
                    <a:prstDash val="solid"/>
                    <a:miter/>
                  </a:ln>
                </p:spPr>
                <p:txBody>
                  <a:bodyPr rtlCol="0" anchor="ctr"/>
                  <a:lstStyle/>
                  <a:p>
                    <a:endParaRPr lang="en-US" sz="2400"/>
                  </a:p>
                </p:txBody>
              </p:sp>
              <p:sp>
                <p:nvSpPr>
                  <p:cNvPr id="687" name="Freeform: Shape 686">
                    <a:extLst>
                      <a:ext uri="{FF2B5EF4-FFF2-40B4-BE49-F238E27FC236}">
                        <a16:creationId xmlns:a16="http://schemas.microsoft.com/office/drawing/2014/main" id="{CBCC6E50-B74A-3D9F-CCF4-579201008631}"/>
                      </a:ext>
                    </a:extLst>
                  </p:cNvPr>
                  <p:cNvSpPr/>
                  <p:nvPr userDrawn="1"/>
                </p:nvSpPr>
                <p:spPr>
                  <a:xfrm>
                    <a:off x="8226495" y="450682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DE0E9"/>
                  </a:solidFill>
                  <a:ln w="2339" cap="flat">
                    <a:noFill/>
                    <a:prstDash val="solid"/>
                    <a:miter/>
                  </a:ln>
                </p:spPr>
                <p:txBody>
                  <a:bodyPr rtlCol="0" anchor="ctr"/>
                  <a:lstStyle/>
                  <a:p>
                    <a:endParaRPr lang="en-US" sz="2400"/>
                  </a:p>
                </p:txBody>
              </p:sp>
              <p:sp>
                <p:nvSpPr>
                  <p:cNvPr id="688" name="Freeform: Shape 687">
                    <a:extLst>
                      <a:ext uri="{FF2B5EF4-FFF2-40B4-BE49-F238E27FC236}">
                        <a16:creationId xmlns:a16="http://schemas.microsoft.com/office/drawing/2014/main" id="{FD8B06B4-0F85-0D60-4604-8A3AC41BE8C9}"/>
                      </a:ext>
                    </a:extLst>
                  </p:cNvPr>
                  <p:cNvSpPr/>
                  <p:nvPr userDrawn="1"/>
                </p:nvSpPr>
                <p:spPr>
                  <a:xfrm>
                    <a:off x="8226121" y="450706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EE1E9"/>
                  </a:solidFill>
                  <a:ln w="2339" cap="flat">
                    <a:noFill/>
                    <a:prstDash val="solid"/>
                    <a:miter/>
                  </a:ln>
                </p:spPr>
                <p:txBody>
                  <a:bodyPr rtlCol="0" anchor="ctr"/>
                  <a:lstStyle/>
                  <a:p>
                    <a:endParaRPr lang="en-US" sz="2400"/>
                  </a:p>
                </p:txBody>
              </p:sp>
              <p:sp>
                <p:nvSpPr>
                  <p:cNvPr id="689" name="Freeform: Shape 688">
                    <a:extLst>
                      <a:ext uri="{FF2B5EF4-FFF2-40B4-BE49-F238E27FC236}">
                        <a16:creationId xmlns:a16="http://schemas.microsoft.com/office/drawing/2014/main" id="{41CAEBA4-9421-8377-BCE0-4D96F44D3A4B}"/>
                      </a:ext>
                    </a:extLst>
                  </p:cNvPr>
                  <p:cNvSpPr/>
                  <p:nvPr userDrawn="1"/>
                </p:nvSpPr>
                <p:spPr>
                  <a:xfrm>
                    <a:off x="8225746" y="450729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EE1E9"/>
                  </a:solidFill>
                  <a:ln w="2339" cap="flat">
                    <a:noFill/>
                    <a:prstDash val="solid"/>
                    <a:miter/>
                  </a:ln>
                </p:spPr>
                <p:txBody>
                  <a:bodyPr rtlCol="0" anchor="ctr"/>
                  <a:lstStyle/>
                  <a:p>
                    <a:endParaRPr lang="en-US" sz="2400"/>
                  </a:p>
                </p:txBody>
              </p:sp>
              <p:sp>
                <p:nvSpPr>
                  <p:cNvPr id="690" name="Freeform: Shape 689">
                    <a:extLst>
                      <a:ext uri="{FF2B5EF4-FFF2-40B4-BE49-F238E27FC236}">
                        <a16:creationId xmlns:a16="http://schemas.microsoft.com/office/drawing/2014/main" id="{116AE617-FE88-5210-4A09-C22C4417B137}"/>
                      </a:ext>
                    </a:extLst>
                  </p:cNvPr>
                  <p:cNvSpPr/>
                  <p:nvPr userDrawn="1"/>
                </p:nvSpPr>
                <p:spPr>
                  <a:xfrm>
                    <a:off x="8225372" y="450755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EE1EA"/>
                  </a:solidFill>
                  <a:ln w="2339" cap="flat">
                    <a:noFill/>
                    <a:prstDash val="solid"/>
                    <a:miter/>
                  </a:ln>
                </p:spPr>
                <p:txBody>
                  <a:bodyPr rtlCol="0" anchor="ctr"/>
                  <a:lstStyle/>
                  <a:p>
                    <a:endParaRPr lang="en-US" sz="2400"/>
                  </a:p>
                </p:txBody>
              </p:sp>
              <p:sp>
                <p:nvSpPr>
                  <p:cNvPr id="691" name="Freeform: Shape 690">
                    <a:extLst>
                      <a:ext uri="{FF2B5EF4-FFF2-40B4-BE49-F238E27FC236}">
                        <a16:creationId xmlns:a16="http://schemas.microsoft.com/office/drawing/2014/main" id="{3F202EBD-EB8E-10EF-C5EF-DCC442136CFA}"/>
                      </a:ext>
                    </a:extLst>
                  </p:cNvPr>
                  <p:cNvSpPr/>
                  <p:nvPr userDrawn="1"/>
                </p:nvSpPr>
                <p:spPr>
                  <a:xfrm>
                    <a:off x="8224998" y="450778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FE1EA"/>
                  </a:solidFill>
                  <a:ln w="2339" cap="flat">
                    <a:noFill/>
                    <a:prstDash val="solid"/>
                    <a:miter/>
                  </a:ln>
                </p:spPr>
                <p:txBody>
                  <a:bodyPr rtlCol="0" anchor="ctr"/>
                  <a:lstStyle/>
                  <a:p>
                    <a:endParaRPr lang="en-US" sz="2400"/>
                  </a:p>
                </p:txBody>
              </p:sp>
              <p:sp>
                <p:nvSpPr>
                  <p:cNvPr id="692" name="Freeform: Shape 691">
                    <a:extLst>
                      <a:ext uri="{FF2B5EF4-FFF2-40B4-BE49-F238E27FC236}">
                        <a16:creationId xmlns:a16="http://schemas.microsoft.com/office/drawing/2014/main" id="{6572F741-834E-451B-6CB8-161A6FC8D0E8}"/>
                      </a:ext>
                    </a:extLst>
                  </p:cNvPr>
                  <p:cNvSpPr/>
                  <p:nvPr userDrawn="1"/>
                </p:nvSpPr>
                <p:spPr>
                  <a:xfrm>
                    <a:off x="8224647" y="450802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FE2EA"/>
                  </a:solidFill>
                  <a:ln w="2339" cap="flat">
                    <a:noFill/>
                    <a:prstDash val="solid"/>
                    <a:miter/>
                  </a:ln>
                </p:spPr>
                <p:txBody>
                  <a:bodyPr rtlCol="0" anchor="ctr"/>
                  <a:lstStyle/>
                  <a:p>
                    <a:endParaRPr lang="en-US" sz="2400"/>
                  </a:p>
                </p:txBody>
              </p:sp>
              <p:sp>
                <p:nvSpPr>
                  <p:cNvPr id="693" name="Freeform: Shape 692">
                    <a:extLst>
                      <a:ext uri="{FF2B5EF4-FFF2-40B4-BE49-F238E27FC236}">
                        <a16:creationId xmlns:a16="http://schemas.microsoft.com/office/drawing/2014/main" id="{27C7F04F-3A8F-ADF6-D5E1-889FAB9D7A3D}"/>
                      </a:ext>
                    </a:extLst>
                  </p:cNvPr>
                  <p:cNvSpPr/>
                  <p:nvPr userDrawn="1"/>
                </p:nvSpPr>
                <p:spPr>
                  <a:xfrm>
                    <a:off x="8224272" y="450825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DFE2EA"/>
                  </a:solidFill>
                  <a:ln w="2339" cap="flat">
                    <a:noFill/>
                    <a:prstDash val="solid"/>
                    <a:miter/>
                  </a:ln>
                </p:spPr>
                <p:txBody>
                  <a:bodyPr rtlCol="0" anchor="ctr"/>
                  <a:lstStyle/>
                  <a:p>
                    <a:endParaRPr lang="en-US" sz="2400"/>
                  </a:p>
                </p:txBody>
              </p:sp>
              <p:sp>
                <p:nvSpPr>
                  <p:cNvPr id="694" name="Freeform: Shape 693">
                    <a:extLst>
                      <a:ext uri="{FF2B5EF4-FFF2-40B4-BE49-F238E27FC236}">
                        <a16:creationId xmlns:a16="http://schemas.microsoft.com/office/drawing/2014/main" id="{B71129C5-47E8-0FBC-FC82-0E8CAD006A9D}"/>
                      </a:ext>
                    </a:extLst>
                  </p:cNvPr>
                  <p:cNvSpPr/>
                  <p:nvPr userDrawn="1"/>
                </p:nvSpPr>
                <p:spPr>
                  <a:xfrm>
                    <a:off x="8223921" y="450851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FE2EA"/>
                  </a:solidFill>
                  <a:ln w="2339" cap="flat">
                    <a:noFill/>
                    <a:prstDash val="solid"/>
                    <a:miter/>
                  </a:ln>
                </p:spPr>
                <p:txBody>
                  <a:bodyPr rtlCol="0" anchor="ctr"/>
                  <a:lstStyle/>
                  <a:p>
                    <a:endParaRPr lang="en-US" sz="2400"/>
                  </a:p>
                </p:txBody>
              </p:sp>
              <p:sp>
                <p:nvSpPr>
                  <p:cNvPr id="695" name="Freeform: Shape 694">
                    <a:extLst>
                      <a:ext uri="{FF2B5EF4-FFF2-40B4-BE49-F238E27FC236}">
                        <a16:creationId xmlns:a16="http://schemas.microsoft.com/office/drawing/2014/main" id="{1DC50917-144B-0C07-43A1-006A999881AD}"/>
                      </a:ext>
                    </a:extLst>
                  </p:cNvPr>
                  <p:cNvSpPr/>
                  <p:nvPr userDrawn="1"/>
                </p:nvSpPr>
                <p:spPr>
                  <a:xfrm>
                    <a:off x="8223570" y="450874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0E3EB"/>
                  </a:solidFill>
                  <a:ln w="2339" cap="flat">
                    <a:noFill/>
                    <a:prstDash val="solid"/>
                    <a:miter/>
                  </a:ln>
                </p:spPr>
                <p:txBody>
                  <a:bodyPr rtlCol="0" anchor="ctr"/>
                  <a:lstStyle/>
                  <a:p>
                    <a:endParaRPr lang="en-US" sz="2400"/>
                  </a:p>
                </p:txBody>
              </p:sp>
              <p:sp>
                <p:nvSpPr>
                  <p:cNvPr id="696" name="Freeform: Shape 695">
                    <a:extLst>
                      <a:ext uri="{FF2B5EF4-FFF2-40B4-BE49-F238E27FC236}">
                        <a16:creationId xmlns:a16="http://schemas.microsoft.com/office/drawing/2014/main" id="{B73FEF94-4ED6-3CE4-6156-9690CEAF3A9E}"/>
                      </a:ext>
                    </a:extLst>
                  </p:cNvPr>
                  <p:cNvSpPr/>
                  <p:nvPr userDrawn="1"/>
                </p:nvSpPr>
                <p:spPr>
                  <a:xfrm>
                    <a:off x="8223196" y="450898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54"/>
                          <a:pt x="42097" y="21060"/>
                        </a:cubicBezTo>
                        <a:close/>
                      </a:path>
                    </a:pathLst>
                  </a:custGeom>
                  <a:solidFill>
                    <a:srgbClr val="E0E3EB"/>
                  </a:solidFill>
                  <a:ln w="2339" cap="flat">
                    <a:noFill/>
                    <a:prstDash val="solid"/>
                    <a:miter/>
                  </a:ln>
                </p:spPr>
                <p:txBody>
                  <a:bodyPr rtlCol="0" anchor="ctr"/>
                  <a:lstStyle/>
                  <a:p>
                    <a:endParaRPr lang="en-US" sz="2400"/>
                  </a:p>
                </p:txBody>
              </p:sp>
              <p:sp>
                <p:nvSpPr>
                  <p:cNvPr id="697" name="Freeform: Shape 696">
                    <a:extLst>
                      <a:ext uri="{FF2B5EF4-FFF2-40B4-BE49-F238E27FC236}">
                        <a16:creationId xmlns:a16="http://schemas.microsoft.com/office/drawing/2014/main" id="{724C5B1E-D5FD-0CED-4B92-77753B01463C}"/>
                      </a:ext>
                    </a:extLst>
                  </p:cNvPr>
                  <p:cNvSpPr/>
                  <p:nvPr userDrawn="1"/>
                </p:nvSpPr>
                <p:spPr>
                  <a:xfrm>
                    <a:off x="8222845" y="450923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0E3EB"/>
                  </a:solidFill>
                  <a:ln w="2339" cap="flat">
                    <a:noFill/>
                    <a:prstDash val="solid"/>
                    <a:miter/>
                  </a:ln>
                </p:spPr>
                <p:txBody>
                  <a:bodyPr rtlCol="0" anchor="ctr"/>
                  <a:lstStyle/>
                  <a:p>
                    <a:endParaRPr lang="en-US" sz="2400"/>
                  </a:p>
                </p:txBody>
              </p:sp>
              <p:sp>
                <p:nvSpPr>
                  <p:cNvPr id="698" name="Freeform: Shape 697">
                    <a:extLst>
                      <a:ext uri="{FF2B5EF4-FFF2-40B4-BE49-F238E27FC236}">
                        <a16:creationId xmlns:a16="http://schemas.microsoft.com/office/drawing/2014/main" id="{D6685779-9E1E-4013-8EDD-671D4B1450B2}"/>
                      </a:ext>
                    </a:extLst>
                  </p:cNvPr>
                  <p:cNvSpPr/>
                  <p:nvPr userDrawn="1"/>
                </p:nvSpPr>
                <p:spPr>
                  <a:xfrm>
                    <a:off x="8222494" y="450947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1E3EB"/>
                  </a:solidFill>
                  <a:ln w="2339" cap="flat">
                    <a:noFill/>
                    <a:prstDash val="solid"/>
                    <a:miter/>
                  </a:ln>
                </p:spPr>
                <p:txBody>
                  <a:bodyPr rtlCol="0" anchor="ctr"/>
                  <a:lstStyle/>
                  <a:p>
                    <a:endParaRPr lang="en-US" sz="2400"/>
                  </a:p>
                </p:txBody>
              </p:sp>
              <p:sp>
                <p:nvSpPr>
                  <p:cNvPr id="699" name="Freeform: Shape 698">
                    <a:extLst>
                      <a:ext uri="{FF2B5EF4-FFF2-40B4-BE49-F238E27FC236}">
                        <a16:creationId xmlns:a16="http://schemas.microsoft.com/office/drawing/2014/main" id="{BA0C2D05-8F1E-BFB6-1481-E55EFFE221A9}"/>
                      </a:ext>
                    </a:extLst>
                  </p:cNvPr>
                  <p:cNvSpPr/>
                  <p:nvPr userDrawn="1"/>
                </p:nvSpPr>
                <p:spPr>
                  <a:xfrm>
                    <a:off x="8222166" y="450973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1E4EB"/>
                  </a:solidFill>
                  <a:ln w="2339" cap="flat">
                    <a:noFill/>
                    <a:prstDash val="solid"/>
                    <a:miter/>
                  </a:ln>
                </p:spPr>
                <p:txBody>
                  <a:bodyPr rtlCol="0" anchor="ctr"/>
                  <a:lstStyle/>
                  <a:p>
                    <a:endParaRPr lang="en-US" sz="2400"/>
                  </a:p>
                </p:txBody>
              </p:sp>
              <p:sp>
                <p:nvSpPr>
                  <p:cNvPr id="700" name="Freeform: Shape 699">
                    <a:extLst>
                      <a:ext uri="{FF2B5EF4-FFF2-40B4-BE49-F238E27FC236}">
                        <a16:creationId xmlns:a16="http://schemas.microsoft.com/office/drawing/2014/main" id="{6C93E986-EDD7-D80E-717C-FFE75461BF78}"/>
                      </a:ext>
                    </a:extLst>
                  </p:cNvPr>
                  <p:cNvSpPr/>
                  <p:nvPr userDrawn="1"/>
                </p:nvSpPr>
                <p:spPr>
                  <a:xfrm>
                    <a:off x="8221815" y="450996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E1E4EC"/>
                  </a:solidFill>
                  <a:ln w="2339" cap="flat">
                    <a:noFill/>
                    <a:prstDash val="solid"/>
                    <a:miter/>
                  </a:ln>
                </p:spPr>
                <p:txBody>
                  <a:bodyPr rtlCol="0" anchor="ctr"/>
                  <a:lstStyle/>
                  <a:p>
                    <a:endParaRPr lang="en-US" sz="2400"/>
                  </a:p>
                </p:txBody>
              </p:sp>
              <p:sp>
                <p:nvSpPr>
                  <p:cNvPr id="701" name="Freeform: Shape 700">
                    <a:extLst>
                      <a:ext uri="{FF2B5EF4-FFF2-40B4-BE49-F238E27FC236}">
                        <a16:creationId xmlns:a16="http://schemas.microsoft.com/office/drawing/2014/main" id="{AC67D884-0C00-45C8-350A-9BC81D1166B0}"/>
                      </a:ext>
                    </a:extLst>
                  </p:cNvPr>
                  <p:cNvSpPr/>
                  <p:nvPr userDrawn="1"/>
                </p:nvSpPr>
                <p:spPr>
                  <a:xfrm>
                    <a:off x="8221464" y="451022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2E4EC"/>
                  </a:solidFill>
                  <a:ln w="2339" cap="flat">
                    <a:noFill/>
                    <a:prstDash val="solid"/>
                    <a:miter/>
                  </a:ln>
                </p:spPr>
                <p:txBody>
                  <a:bodyPr rtlCol="0" anchor="ctr"/>
                  <a:lstStyle/>
                  <a:p>
                    <a:endParaRPr lang="en-US" sz="2400"/>
                  </a:p>
                </p:txBody>
              </p:sp>
              <p:sp>
                <p:nvSpPr>
                  <p:cNvPr id="702" name="Freeform: Shape 701">
                    <a:extLst>
                      <a:ext uri="{FF2B5EF4-FFF2-40B4-BE49-F238E27FC236}">
                        <a16:creationId xmlns:a16="http://schemas.microsoft.com/office/drawing/2014/main" id="{257F51C0-BB05-5C03-215A-65DBF1A5C9E2}"/>
                      </a:ext>
                    </a:extLst>
                  </p:cNvPr>
                  <p:cNvSpPr/>
                  <p:nvPr userDrawn="1"/>
                </p:nvSpPr>
                <p:spPr>
                  <a:xfrm>
                    <a:off x="8221113" y="451047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2E5EC"/>
                  </a:solidFill>
                  <a:ln w="2339" cap="flat">
                    <a:noFill/>
                    <a:prstDash val="solid"/>
                    <a:miter/>
                  </a:ln>
                </p:spPr>
                <p:txBody>
                  <a:bodyPr rtlCol="0" anchor="ctr"/>
                  <a:lstStyle/>
                  <a:p>
                    <a:endParaRPr lang="en-US" sz="2400"/>
                  </a:p>
                </p:txBody>
              </p:sp>
              <p:sp>
                <p:nvSpPr>
                  <p:cNvPr id="703" name="Freeform: Shape 702">
                    <a:extLst>
                      <a:ext uri="{FF2B5EF4-FFF2-40B4-BE49-F238E27FC236}">
                        <a16:creationId xmlns:a16="http://schemas.microsoft.com/office/drawing/2014/main" id="{9B6805BA-DDC1-23DF-84B7-0C44E8A941BF}"/>
                      </a:ext>
                    </a:extLst>
                  </p:cNvPr>
                  <p:cNvSpPr/>
                  <p:nvPr userDrawn="1"/>
                </p:nvSpPr>
                <p:spPr>
                  <a:xfrm>
                    <a:off x="8220786" y="451071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2E5EC"/>
                  </a:solidFill>
                  <a:ln w="2339" cap="flat">
                    <a:noFill/>
                    <a:prstDash val="solid"/>
                    <a:miter/>
                  </a:ln>
                </p:spPr>
                <p:txBody>
                  <a:bodyPr rtlCol="0" anchor="ctr"/>
                  <a:lstStyle/>
                  <a:p>
                    <a:endParaRPr lang="en-US" sz="2400"/>
                  </a:p>
                </p:txBody>
              </p:sp>
              <p:sp>
                <p:nvSpPr>
                  <p:cNvPr id="704" name="Freeform: Shape 703">
                    <a:extLst>
                      <a:ext uri="{FF2B5EF4-FFF2-40B4-BE49-F238E27FC236}">
                        <a16:creationId xmlns:a16="http://schemas.microsoft.com/office/drawing/2014/main" id="{09A91D92-DFAF-D550-B303-652B00A8D7C3}"/>
                      </a:ext>
                    </a:extLst>
                  </p:cNvPr>
                  <p:cNvSpPr/>
                  <p:nvPr userDrawn="1"/>
                </p:nvSpPr>
                <p:spPr>
                  <a:xfrm>
                    <a:off x="8220458" y="451097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3E5EC"/>
                  </a:solidFill>
                  <a:ln w="2339" cap="flat">
                    <a:noFill/>
                    <a:prstDash val="solid"/>
                    <a:miter/>
                  </a:ln>
                </p:spPr>
                <p:txBody>
                  <a:bodyPr rtlCol="0" anchor="ctr"/>
                  <a:lstStyle/>
                  <a:p>
                    <a:endParaRPr lang="en-US" sz="2400"/>
                  </a:p>
                </p:txBody>
              </p:sp>
              <p:sp>
                <p:nvSpPr>
                  <p:cNvPr id="705" name="Freeform: Shape 704">
                    <a:extLst>
                      <a:ext uri="{FF2B5EF4-FFF2-40B4-BE49-F238E27FC236}">
                        <a16:creationId xmlns:a16="http://schemas.microsoft.com/office/drawing/2014/main" id="{42D678D0-BDB0-F2C6-0345-0E4615C1FA27}"/>
                      </a:ext>
                    </a:extLst>
                  </p:cNvPr>
                  <p:cNvSpPr/>
                  <p:nvPr userDrawn="1"/>
                </p:nvSpPr>
                <p:spPr>
                  <a:xfrm>
                    <a:off x="8220107" y="451122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3E5ED"/>
                  </a:solidFill>
                  <a:ln w="2339" cap="flat">
                    <a:noFill/>
                    <a:prstDash val="solid"/>
                    <a:miter/>
                  </a:ln>
                </p:spPr>
                <p:txBody>
                  <a:bodyPr rtlCol="0" anchor="ctr"/>
                  <a:lstStyle/>
                  <a:p>
                    <a:endParaRPr lang="en-US" sz="2400"/>
                  </a:p>
                </p:txBody>
              </p:sp>
              <p:sp>
                <p:nvSpPr>
                  <p:cNvPr id="706" name="Freeform: Shape 705">
                    <a:extLst>
                      <a:ext uri="{FF2B5EF4-FFF2-40B4-BE49-F238E27FC236}">
                        <a16:creationId xmlns:a16="http://schemas.microsoft.com/office/drawing/2014/main" id="{384351D3-3FFE-7D65-ECA0-E74BA75A924C}"/>
                      </a:ext>
                    </a:extLst>
                  </p:cNvPr>
                  <p:cNvSpPr/>
                  <p:nvPr userDrawn="1"/>
                </p:nvSpPr>
                <p:spPr>
                  <a:xfrm>
                    <a:off x="8219779" y="451146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3E6ED"/>
                  </a:solidFill>
                  <a:ln w="2339" cap="flat">
                    <a:noFill/>
                    <a:prstDash val="solid"/>
                    <a:miter/>
                  </a:ln>
                </p:spPr>
                <p:txBody>
                  <a:bodyPr rtlCol="0" anchor="ctr"/>
                  <a:lstStyle/>
                  <a:p>
                    <a:endParaRPr lang="en-US" sz="2400"/>
                  </a:p>
                </p:txBody>
              </p:sp>
              <p:sp>
                <p:nvSpPr>
                  <p:cNvPr id="707" name="Freeform: Shape 706">
                    <a:extLst>
                      <a:ext uri="{FF2B5EF4-FFF2-40B4-BE49-F238E27FC236}">
                        <a16:creationId xmlns:a16="http://schemas.microsoft.com/office/drawing/2014/main" id="{F81BD2D1-6965-A2D6-6BDB-9E88DA802E09}"/>
                      </a:ext>
                    </a:extLst>
                  </p:cNvPr>
                  <p:cNvSpPr/>
                  <p:nvPr userDrawn="1"/>
                </p:nvSpPr>
                <p:spPr>
                  <a:xfrm>
                    <a:off x="8219452" y="451171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3E6ED"/>
                  </a:solidFill>
                  <a:ln w="2339" cap="flat">
                    <a:noFill/>
                    <a:prstDash val="solid"/>
                    <a:miter/>
                  </a:ln>
                </p:spPr>
                <p:txBody>
                  <a:bodyPr rtlCol="0" anchor="ctr"/>
                  <a:lstStyle/>
                  <a:p>
                    <a:endParaRPr lang="en-US" sz="2400"/>
                  </a:p>
                </p:txBody>
              </p:sp>
              <p:sp>
                <p:nvSpPr>
                  <p:cNvPr id="708" name="Freeform: Shape 707">
                    <a:extLst>
                      <a:ext uri="{FF2B5EF4-FFF2-40B4-BE49-F238E27FC236}">
                        <a16:creationId xmlns:a16="http://schemas.microsoft.com/office/drawing/2014/main" id="{20056DDD-6C1D-9C75-94D7-B430F8DC85F8}"/>
                      </a:ext>
                    </a:extLst>
                  </p:cNvPr>
                  <p:cNvSpPr/>
                  <p:nvPr userDrawn="1"/>
                </p:nvSpPr>
                <p:spPr>
                  <a:xfrm>
                    <a:off x="8219124" y="451197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4E6ED"/>
                  </a:solidFill>
                  <a:ln w="2339" cap="flat">
                    <a:noFill/>
                    <a:prstDash val="solid"/>
                    <a:miter/>
                  </a:ln>
                </p:spPr>
                <p:txBody>
                  <a:bodyPr rtlCol="0" anchor="ctr"/>
                  <a:lstStyle/>
                  <a:p>
                    <a:endParaRPr lang="en-US" sz="2400"/>
                  </a:p>
                </p:txBody>
              </p:sp>
              <p:sp>
                <p:nvSpPr>
                  <p:cNvPr id="709" name="Freeform: Shape 708">
                    <a:extLst>
                      <a:ext uri="{FF2B5EF4-FFF2-40B4-BE49-F238E27FC236}">
                        <a16:creationId xmlns:a16="http://schemas.microsoft.com/office/drawing/2014/main" id="{BE9F9AB2-79C0-9381-5B4D-36A55CB05AB5}"/>
                      </a:ext>
                    </a:extLst>
                  </p:cNvPr>
                  <p:cNvSpPr/>
                  <p:nvPr userDrawn="1"/>
                </p:nvSpPr>
                <p:spPr>
                  <a:xfrm>
                    <a:off x="8218797" y="451223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4E6ED"/>
                  </a:solidFill>
                  <a:ln w="2339" cap="flat">
                    <a:noFill/>
                    <a:prstDash val="solid"/>
                    <a:miter/>
                  </a:ln>
                </p:spPr>
                <p:txBody>
                  <a:bodyPr rtlCol="0" anchor="ctr"/>
                  <a:lstStyle/>
                  <a:p>
                    <a:endParaRPr lang="en-US" sz="2400"/>
                  </a:p>
                </p:txBody>
              </p:sp>
              <p:sp>
                <p:nvSpPr>
                  <p:cNvPr id="710" name="Freeform: Shape 709">
                    <a:extLst>
                      <a:ext uri="{FF2B5EF4-FFF2-40B4-BE49-F238E27FC236}">
                        <a16:creationId xmlns:a16="http://schemas.microsoft.com/office/drawing/2014/main" id="{9D7D7694-D1F6-4403-E681-3C20BA9CE0D4}"/>
                      </a:ext>
                    </a:extLst>
                  </p:cNvPr>
                  <p:cNvSpPr/>
                  <p:nvPr userDrawn="1"/>
                </p:nvSpPr>
                <p:spPr>
                  <a:xfrm>
                    <a:off x="8218492" y="451249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4E7EE"/>
                  </a:solidFill>
                  <a:ln w="2339" cap="flat">
                    <a:noFill/>
                    <a:prstDash val="solid"/>
                    <a:miter/>
                  </a:ln>
                </p:spPr>
                <p:txBody>
                  <a:bodyPr rtlCol="0" anchor="ctr"/>
                  <a:lstStyle/>
                  <a:p>
                    <a:endParaRPr lang="en-US" sz="2400"/>
                  </a:p>
                </p:txBody>
              </p:sp>
              <p:sp>
                <p:nvSpPr>
                  <p:cNvPr id="711" name="Freeform: Shape 710">
                    <a:extLst>
                      <a:ext uri="{FF2B5EF4-FFF2-40B4-BE49-F238E27FC236}">
                        <a16:creationId xmlns:a16="http://schemas.microsoft.com/office/drawing/2014/main" id="{9B5CDE67-028B-180A-0713-8FB8841516C2}"/>
                      </a:ext>
                    </a:extLst>
                  </p:cNvPr>
                  <p:cNvSpPr/>
                  <p:nvPr userDrawn="1"/>
                </p:nvSpPr>
                <p:spPr>
                  <a:xfrm>
                    <a:off x="8218165" y="451274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5E7EE"/>
                  </a:solidFill>
                  <a:ln w="2339" cap="flat">
                    <a:noFill/>
                    <a:prstDash val="solid"/>
                    <a:miter/>
                  </a:ln>
                </p:spPr>
                <p:txBody>
                  <a:bodyPr rtlCol="0" anchor="ctr"/>
                  <a:lstStyle/>
                  <a:p>
                    <a:endParaRPr lang="en-US" sz="2400"/>
                  </a:p>
                </p:txBody>
              </p:sp>
              <p:sp>
                <p:nvSpPr>
                  <p:cNvPr id="712" name="Freeform: Shape 711">
                    <a:extLst>
                      <a:ext uri="{FF2B5EF4-FFF2-40B4-BE49-F238E27FC236}">
                        <a16:creationId xmlns:a16="http://schemas.microsoft.com/office/drawing/2014/main" id="{D71D966A-88E9-8084-3FE9-BCEECA04A69C}"/>
                      </a:ext>
                    </a:extLst>
                  </p:cNvPr>
                  <p:cNvSpPr/>
                  <p:nvPr userDrawn="1"/>
                </p:nvSpPr>
                <p:spPr>
                  <a:xfrm>
                    <a:off x="8217837" y="451300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5E7EE"/>
                  </a:solidFill>
                  <a:ln w="2339" cap="flat">
                    <a:noFill/>
                    <a:prstDash val="solid"/>
                    <a:miter/>
                  </a:ln>
                </p:spPr>
                <p:txBody>
                  <a:bodyPr rtlCol="0" anchor="ctr"/>
                  <a:lstStyle/>
                  <a:p>
                    <a:endParaRPr lang="en-US" sz="2400"/>
                  </a:p>
                </p:txBody>
              </p:sp>
              <p:sp>
                <p:nvSpPr>
                  <p:cNvPr id="713" name="Freeform: Shape 712">
                    <a:extLst>
                      <a:ext uri="{FF2B5EF4-FFF2-40B4-BE49-F238E27FC236}">
                        <a16:creationId xmlns:a16="http://schemas.microsoft.com/office/drawing/2014/main" id="{6B039D51-53B1-6EF9-287A-F2F0FE47F4F4}"/>
                      </a:ext>
                    </a:extLst>
                  </p:cNvPr>
                  <p:cNvSpPr/>
                  <p:nvPr userDrawn="1"/>
                </p:nvSpPr>
                <p:spPr>
                  <a:xfrm>
                    <a:off x="8217533" y="451326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5E8EE"/>
                  </a:solidFill>
                  <a:ln w="2339" cap="flat">
                    <a:noFill/>
                    <a:prstDash val="solid"/>
                    <a:miter/>
                  </a:ln>
                </p:spPr>
                <p:txBody>
                  <a:bodyPr rtlCol="0" anchor="ctr"/>
                  <a:lstStyle/>
                  <a:p>
                    <a:endParaRPr lang="en-US" sz="2400"/>
                  </a:p>
                </p:txBody>
              </p:sp>
              <p:sp>
                <p:nvSpPr>
                  <p:cNvPr id="714" name="Freeform: Shape 713">
                    <a:extLst>
                      <a:ext uri="{FF2B5EF4-FFF2-40B4-BE49-F238E27FC236}">
                        <a16:creationId xmlns:a16="http://schemas.microsoft.com/office/drawing/2014/main" id="{AD3558CE-EC06-B6BB-5A0B-666C3860D4BC}"/>
                      </a:ext>
                    </a:extLst>
                  </p:cNvPr>
                  <p:cNvSpPr/>
                  <p:nvPr userDrawn="1"/>
                </p:nvSpPr>
                <p:spPr>
                  <a:xfrm>
                    <a:off x="8217112" y="451359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6E8EE"/>
                  </a:solidFill>
                  <a:ln w="2339" cap="flat">
                    <a:noFill/>
                    <a:prstDash val="solid"/>
                    <a:miter/>
                  </a:ln>
                </p:spPr>
                <p:txBody>
                  <a:bodyPr rtlCol="0" anchor="ctr"/>
                  <a:lstStyle/>
                  <a:p>
                    <a:endParaRPr lang="en-US" sz="2400"/>
                  </a:p>
                </p:txBody>
              </p:sp>
              <p:sp>
                <p:nvSpPr>
                  <p:cNvPr id="715" name="Freeform: Shape 714">
                    <a:extLst>
                      <a:ext uri="{FF2B5EF4-FFF2-40B4-BE49-F238E27FC236}">
                        <a16:creationId xmlns:a16="http://schemas.microsoft.com/office/drawing/2014/main" id="{05A13242-A1B4-7FAA-3A78-C5DF470A9DB9}"/>
                      </a:ext>
                    </a:extLst>
                  </p:cNvPr>
                  <p:cNvSpPr/>
                  <p:nvPr userDrawn="1"/>
                </p:nvSpPr>
                <p:spPr>
                  <a:xfrm>
                    <a:off x="8216620" y="451401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6E8EF"/>
                  </a:solidFill>
                  <a:ln w="2339" cap="flat">
                    <a:noFill/>
                    <a:prstDash val="solid"/>
                    <a:miter/>
                  </a:ln>
                </p:spPr>
                <p:txBody>
                  <a:bodyPr rtlCol="0" anchor="ctr"/>
                  <a:lstStyle/>
                  <a:p>
                    <a:endParaRPr lang="en-US" sz="2400"/>
                  </a:p>
                </p:txBody>
              </p:sp>
              <p:sp>
                <p:nvSpPr>
                  <p:cNvPr id="716" name="Freeform: Shape 715">
                    <a:extLst>
                      <a:ext uri="{FF2B5EF4-FFF2-40B4-BE49-F238E27FC236}">
                        <a16:creationId xmlns:a16="http://schemas.microsoft.com/office/drawing/2014/main" id="{B6DF12CB-A161-45E5-CC24-59BAF90E1363}"/>
                      </a:ext>
                    </a:extLst>
                  </p:cNvPr>
                  <p:cNvSpPr/>
                  <p:nvPr userDrawn="1"/>
                </p:nvSpPr>
                <p:spPr>
                  <a:xfrm>
                    <a:off x="8216152" y="451441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6E8EF"/>
                  </a:solidFill>
                  <a:ln w="2339" cap="flat">
                    <a:noFill/>
                    <a:prstDash val="solid"/>
                    <a:miter/>
                  </a:ln>
                </p:spPr>
                <p:txBody>
                  <a:bodyPr rtlCol="0" anchor="ctr"/>
                  <a:lstStyle/>
                  <a:p>
                    <a:endParaRPr lang="en-US" sz="2400"/>
                  </a:p>
                </p:txBody>
              </p:sp>
              <p:sp>
                <p:nvSpPr>
                  <p:cNvPr id="717" name="Freeform: Shape 716">
                    <a:extLst>
                      <a:ext uri="{FF2B5EF4-FFF2-40B4-BE49-F238E27FC236}">
                        <a16:creationId xmlns:a16="http://schemas.microsoft.com/office/drawing/2014/main" id="{3CF734BA-B7F8-C318-1BED-CB5E42C4EFA9}"/>
                      </a:ext>
                    </a:extLst>
                  </p:cNvPr>
                  <p:cNvSpPr/>
                  <p:nvPr userDrawn="1"/>
                </p:nvSpPr>
                <p:spPr>
                  <a:xfrm>
                    <a:off x="8215684" y="451480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7E9EF"/>
                  </a:solidFill>
                  <a:ln w="2339" cap="flat">
                    <a:noFill/>
                    <a:prstDash val="solid"/>
                    <a:miter/>
                  </a:ln>
                </p:spPr>
                <p:txBody>
                  <a:bodyPr rtlCol="0" anchor="ctr"/>
                  <a:lstStyle/>
                  <a:p>
                    <a:endParaRPr lang="en-US" sz="2400"/>
                  </a:p>
                </p:txBody>
              </p:sp>
              <p:sp>
                <p:nvSpPr>
                  <p:cNvPr id="718" name="Freeform: Shape 717">
                    <a:extLst>
                      <a:ext uri="{FF2B5EF4-FFF2-40B4-BE49-F238E27FC236}">
                        <a16:creationId xmlns:a16="http://schemas.microsoft.com/office/drawing/2014/main" id="{5B2500D6-6E29-D596-39B8-207ED88FD786}"/>
                      </a:ext>
                    </a:extLst>
                  </p:cNvPr>
                  <p:cNvSpPr/>
                  <p:nvPr userDrawn="1"/>
                </p:nvSpPr>
                <p:spPr>
                  <a:xfrm>
                    <a:off x="8215193" y="451522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7E9EF"/>
                  </a:solidFill>
                  <a:ln w="2339" cap="flat">
                    <a:noFill/>
                    <a:prstDash val="solid"/>
                    <a:miter/>
                  </a:ln>
                </p:spPr>
                <p:txBody>
                  <a:bodyPr rtlCol="0" anchor="ctr"/>
                  <a:lstStyle/>
                  <a:p>
                    <a:endParaRPr lang="en-US" sz="2400"/>
                  </a:p>
                </p:txBody>
              </p:sp>
              <p:sp>
                <p:nvSpPr>
                  <p:cNvPr id="719" name="Freeform: Shape 718">
                    <a:extLst>
                      <a:ext uri="{FF2B5EF4-FFF2-40B4-BE49-F238E27FC236}">
                        <a16:creationId xmlns:a16="http://schemas.microsoft.com/office/drawing/2014/main" id="{2C81E99E-1A51-F229-0C45-A638E18308E4}"/>
                      </a:ext>
                    </a:extLst>
                  </p:cNvPr>
                  <p:cNvSpPr/>
                  <p:nvPr userDrawn="1"/>
                </p:nvSpPr>
                <p:spPr>
                  <a:xfrm>
                    <a:off x="8214725" y="451562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7E9EF"/>
                  </a:solidFill>
                  <a:ln w="2339" cap="flat">
                    <a:noFill/>
                    <a:prstDash val="solid"/>
                    <a:miter/>
                  </a:ln>
                </p:spPr>
                <p:txBody>
                  <a:bodyPr rtlCol="0" anchor="ctr"/>
                  <a:lstStyle/>
                  <a:p>
                    <a:endParaRPr lang="en-US" sz="2400"/>
                  </a:p>
                </p:txBody>
              </p:sp>
              <p:sp>
                <p:nvSpPr>
                  <p:cNvPr id="720" name="Freeform: Shape 719">
                    <a:extLst>
                      <a:ext uri="{FF2B5EF4-FFF2-40B4-BE49-F238E27FC236}">
                        <a16:creationId xmlns:a16="http://schemas.microsoft.com/office/drawing/2014/main" id="{530440E6-BA60-13D8-753A-0961975F099F}"/>
                      </a:ext>
                    </a:extLst>
                  </p:cNvPr>
                  <p:cNvSpPr/>
                  <p:nvPr userDrawn="1"/>
                </p:nvSpPr>
                <p:spPr>
                  <a:xfrm>
                    <a:off x="8214280" y="451604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7EAF0"/>
                  </a:solidFill>
                  <a:ln w="2339" cap="flat">
                    <a:noFill/>
                    <a:prstDash val="solid"/>
                    <a:miter/>
                  </a:ln>
                </p:spPr>
                <p:txBody>
                  <a:bodyPr rtlCol="0" anchor="ctr"/>
                  <a:lstStyle/>
                  <a:p>
                    <a:endParaRPr lang="en-US" sz="2400"/>
                  </a:p>
                </p:txBody>
              </p:sp>
              <p:sp>
                <p:nvSpPr>
                  <p:cNvPr id="721" name="Freeform: Shape 720">
                    <a:extLst>
                      <a:ext uri="{FF2B5EF4-FFF2-40B4-BE49-F238E27FC236}">
                        <a16:creationId xmlns:a16="http://schemas.microsoft.com/office/drawing/2014/main" id="{0123F08A-C621-3F23-46BA-C7CF6689B775}"/>
                      </a:ext>
                    </a:extLst>
                  </p:cNvPr>
                  <p:cNvSpPr/>
                  <p:nvPr userDrawn="1"/>
                </p:nvSpPr>
                <p:spPr>
                  <a:xfrm>
                    <a:off x="8213812" y="451646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8EAF0"/>
                  </a:solidFill>
                  <a:ln w="2339" cap="flat">
                    <a:noFill/>
                    <a:prstDash val="solid"/>
                    <a:miter/>
                  </a:ln>
                </p:spPr>
                <p:txBody>
                  <a:bodyPr rtlCol="0" anchor="ctr"/>
                  <a:lstStyle/>
                  <a:p>
                    <a:endParaRPr lang="en-US" sz="2400"/>
                  </a:p>
                </p:txBody>
              </p:sp>
              <p:sp>
                <p:nvSpPr>
                  <p:cNvPr id="722" name="Freeform: Shape 721">
                    <a:extLst>
                      <a:ext uri="{FF2B5EF4-FFF2-40B4-BE49-F238E27FC236}">
                        <a16:creationId xmlns:a16="http://schemas.microsoft.com/office/drawing/2014/main" id="{ECE64344-7315-EF3B-D964-D5553E0C82D8}"/>
                      </a:ext>
                    </a:extLst>
                  </p:cNvPr>
                  <p:cNvSpPr/>
                  <p:nvPr userDrawn="1"/>
                </p:nvSpPr>
                <p:spPr>
                  <a:xfrm>
                    <a:off x="8213368" y="451686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8EAF0"/>
                  </a:solidFill>
                  <a:ln w="2339" cap="flat">
                    <a:noFill/>
                    <a:prstDash val="solid"/>
                    <a:miter/>
                  </a:ln>
                </p:spPr>
                <p:txBody>
                  <a:bodyPr rtlCol="0" anchor="ctr"/>
                  <a:lstStyle/>
                  <a:p>
                    <a:endParaRPr lang="en-US" sz="2400"/>
                  </a:p>
                </p:txBody>
              </p:sp>
              <p:sp>
                <p:nvSpPr>
                  <p:cNvPr id="723" name="Freeform: Shape 722">
                    <a:extLst>
                      <a:ext uri="{FF2B5EF4-FFF2-40B4-BE49-F238E27FC236}">
                        <a16:creationId xmlns:a16="http://schemas.microsoft.com/office/drawing/2014/main" id="{8DD7F0DC-8E6C-F0A9-A256-AD96FE461221}"/>
                      </a:ext>
                    </a:extLst>
                  </p:cNvPr>
                  <p:cNvSpPr/>
                  <p:nvPr userDrawn="1"/>
                </p:nvSpPr>
                <p:spPr>
                  <a:xfrm>
                    <a:off x="8212923" y="451728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8EAF0"/>
                  </a:solidFill>
                  <a:ln w="2339" cap="flat">
                    <a:noFill/>
                    <a:prstDash val="solid"/>
                    <a:miter/>
                  </a:ln>
                </p:spPr>
                <p:txBody>
                  <a:bodyPr rtlCol="0" anchor="ctr"/>
                  <a:lstStyle/>
                  <a:p>
                    <a:endParaRPr lang="en-US" sz="2400"/>
                  </a:p>
                </p:txBody>
              </p:sp>
              <p:sp>
                <p:nvSpPr>
                  <p:cNvPr id="724" name="Freeform: Shape 723">
                    <a:extLst>
                      <a:ext uri="{FF2B5EF4-FFF2-40B4-BE49-F238E27FC236}">
                        <a16:creationId xmlns:a16="http://schemas.microsoft.com/office/drawing/2014/main" id="{02799B33-F3B7-DB87-CD26-8F9E67AFA7B1}"/>
                      </a:ext>
                    </a:extLst>
                  </p:cNvPr>
                  <p:cNvSpPr/>
                  <p:nvPr userDrawn="1"/>
                </p:nvSpPr>
                <p:spPr>
                  <a:xfrm>
                    <a:off x="8212478" y="451768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9EBF0"/>
                  </a:solidFill>
                  <a:ln w="2339" cap="flat">
                    <a:noFill/>
                    <a:prstDash val="solid"/>
                    <a:miter/>
                  </a:ln>
                </p:spPr>
                <p:txBody>
                  <a:bodyPr rtlCol="0" anchor="ctr"/>
                  <a:lstStyle/>
                  <a:p>
                    <a:endParaRPr lang="en-US" sz="2400"/>
                  </a:p>
                </p:txBody>
              </p:sp>
              <p:sp>
                <p:nvSpPr>
                  <p:cNvPr id="725" name="Freeform: Shape 724">
                    <a:extLst>
                      <a:ext uri="{FF2B5EF4-FFF2-40B4-BE49-F238E27FC236}">
                        <a16:creationId xmlns:a16="http://schemas.microsoft.com/office/drawing/2014/main" id="{AA391193-096F-D02B-BF81-A55EAEA88B73}"/>
                      </a:ext>
                    </a:extLst>
                  </p:cNvPr>
                  <p:cNvSpPr/>
                  <p:nvPr userDrawn="1"/>
                </p:nvSpPr>
                <p:spPr>
                  <a:xfrm>
                    <a:off x="8212057" y="451810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9EBF1"/>
                  </a:solidFill>
                  <a:ln w="2339" cap="flat">
                    <a:noFill/>
                    <a:prstDash val="solid"/>
                    <a:miter/>
                  </a:ln>
                </p:spPr>
                <p:txBody>
                  <a:bodyPr rtlCol="0" anchor="ctr"/>
                  <a:lstStyle/>
                  <a:p>
                    <a:endParaRPr lang="en-US" sz="2400"/>
                  </a:p>
                </p:txBody>
              </p:sp>
              <p:sp>
                <p:nvSpPr>
                  <p:cNvPr id="726" name="Freeform: Shape 725">
                    <a:extLst>
                      <a:ext uri="{FF2B5EF4-FFF2-40B4-BE49-F238E27FC236}">
                        <a16:creationId xmlns:a16="http://schemas.microsoft.com/office/drawing/2014/main" id="{B4EE2041-9F77-F493-89A4-620EDEB72431}"/>
                      </a:ext>
                    </a:extLst>
                  </p:cNvPr>
                  <p:cNvSpPr/>
                  <p:nvPr userDrawn="1"/>
                </p:nvSpPr>
                <p:spPr>
                  <a:xfrm>
                    <a:off x="8211613" y="451852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9EBF1"/>
                  </a:solidFill>
                  <a:ln w="2339" cap="flat">
                    <a:noFill/>
                    <a:prstDash val="solid"/>
                    <a:miter/>
                  </a:ln>
                </p:spPr>
                <p:txBody>
                  <a:bodyPr rtlCol="0" anchor="ctr"/>
                  <a:lstStyle/>
                  <a:p>
                    <a:endParaRPr lang="en-US" sz="2400"/>
                  </a:p>
                </p:txBody>
              </p:sp>
              <p:sp>
                <p:nvSpPr>
                  <p:cNvPr id="727" name="Freeform: Shape 726">
                    <a:extLst>
                      <a:ext uri="{FF2B5EF4-FFF2-40B4-BE49-F238E27FC236}">
                        <a16:creationId xmlns:a16="http://schemas.microsoft.com/office/drawing/2014/main" id="{37B18D5B-6B0A-6D3D-7DA0-D57DCAB38B12}"/>
                      </a:ext>
                    </a:extLst>
                  </p:cNvPr>
                  <p:cNvSpPr/>
                  <p:nvPr userDrawn="1"/>
                </p:nvSpPr>
                <p:spPr>
                  <a:xfrm>
                    <a:off x="8211191" y="451892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AECF1"/>
                  </a:solidFill>
                  <a:ln w="2339" cap="flat">
                    <a:noFill/>
                    <a:prstDash val="solid"/>
                    <a:miter/>
                  </a:ln>
                </p:spPr>
                <p:txBody>
                  <a:bodyPr rtlCol="0" anchor="ctr"/>
                  <a:lstStyle/>
                  <a:p>
                    <a:endParaRPr lang="en-US" sz="2400"/>
                  </a:p>
                </p:txBody>
              </p:sp>
              <p:sp>
                <p:nvSpPr>
                  <p:cNvPr id="728" name="Freeform: Shape 727">
                    <a:extLst>
                      <a:ext uri="{FF2B5EF4-FFF2-40B4-BE49-F238E27FC236}">
                        <a16:creationId xmlns:a16="http://schemas.microsoft.com/office/drawing/2014/main" id="{87D64452-E02A-9E79-7FFA-C86CFA9444DB}"/>
                      </a:ext>
                    </a:extLst>
                  </p:cNvPr>
                  <p:cNvSpPr/>
                  <p:nvPr userDrawn="1"/>
                </p:nvSpPr>
                <p:spPr>
                  <a:xfrm>
                    <a:off x="8210770" y="451934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AECF1"/>
                  </a:solidFill>
                  <a:ln w="2339" cap="flat">
                    <a:noFill/>
                    <a:prstDash val="solid"/>
                    <a:miter/>
                  </a:ln>
                </p:spPr>
                <p:txBody>
                  <a:bodyPr rtlCol="0" anchor="ctr"/>
                  <a:lstStyle/>
                  <a:p>
                    <a:endParaRPr lang="en-US" sz="2400"/>
                  </a:p>
                </p:txBody>
              </p:sp>
              <p:sp>
                <p:nvSpPr>
                  <p:cNvPr id="729" name="Freeform: Shape 728">
                    <a:extLst>
                      <a:ext uri="{FF2B5EF4-FFF2-40B4-BE49-F238E27FC236}">
                        <a16:creationId xmlns:a16="http://schemas.microsoft.com/office/drawing/2014/main" id="{E145CCFF-900A-6B2A-A199-FB3F2E61251D}"/>
                      </a:ext>
                    </a:extLst>
                  </p:cNvPr>
                  <p:cNvSpPr/>
                  <p:nvPr userDrawn="1"/>
                </p:nvSpPr>
                <p:spPr>
                  <a:xfrm>
                    <a:off x="8210372" y="451976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AECF1"/>
                  </a:solidFill>
                  <a:ln w="2339" cap="flat">
                    <a:noFill/>
                    <a:prstDash val="solid"/>
                    <a:miter/>
                  </a:ln>
                </p:spPr>
                <p:txBody>
                  <a:bodyPr rtlCol="0" anchor="ctr"/>
                  <a:lstStyle/>
                  <a:p>
                    <a:endParaRPr lang="en-US" sz="2400"/>
                  </a:p>
                </p:txBody>
              </p:sp>
              <p:sp>
                <p:nvSpPr>
                  <p:cNvPr id="730" name="Freeform: Shape 729">
                    <a:extLst>
                      <a:ext uri="{FF2B5EF4-FFF2-40B4-BE49-F238E27FC236}">
                        <a16:creationId xmlns:a16="http://schemas.microsoft.com/office/drawing/2014/main" id="{62BD698B-E009-1594-DD53-E8341C50B74A}"/>
                      </a:ext>
                    </a:extLst>
                  </p:cNvPr>
                  <p:cNvSpPr/>
                  <p:nvPr userDrawn="1"/>
                </p:nvSpPr>
                <p:spPr>
                  <a:xfrm>
                    <a:off x="8209951" y="452016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54"/>
                          <a:pt x="42097" y="21060"/>
                        </a:cubicBezTo>
                        <a:close/>
                      </a:path>
                    </a:pathLst>
                  </a:custGeom>
                  <a:solidFill>
                    <a:srgbClr val="EBECF2"/>
                  </a:solidFill>
                  <a:ln w="2339" cap="flat">
                    <a:noFill/>
                    <a:prstDash val="solid"/>
                    <a:miter/>
                  </a:ln>
                </p:spPr>
                <p:txBody>
                  <a:bodyPr rtlCol="0" anchor="ctr"/>
                  <a:lstStyle/>
                  <a:p>
                    <a:endParaRPr lang="en-US" sz="2400"/>
                  </a:p>
                </p:txBody>
              </p:sp>
              <p:sp>
                <p:nvSpPr>
                  <p:cNvPr id="731" name="Freeform: Shape 730">
                    <a:extLst>
                      <a:ext uri="{FF2B5EF4-FFF2-40B4-BE49-F238E27FC236}">
                        <a16:creationId xmlns:a16="http://schemas.microsoft.com/office/drawing/2014/main" id="{1E06039E-A563-065F-A90F-DE323F97AB68}"/>
                      </a:ext>
                    </a:extLst>
                  </p:cNvPr>
                  <p:cNvSpPr/>
                  <p:nvPr userDrawn="1"/>
                </p:nvSpPr>
                <p:spPr>
                  <a:xfrm>
                    <a:off x="8209553" y="452058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BEDF2"/>
                  </a:solidFill>
                  <a:ln w="2339" cap="flat">
                    <a:noFill/>
                    <a:prstDash val="solid"/>
                    <a:miter/>
                  </a:ln>
                </p:spPr>
                <p:txBody>
                  <a:bodyPr rtlCol="0" anchor="ctr"/>
                  <a:lstStyle/>
                  <a:p>
                    <a:endParaRPr lang="en-US" sz="2400"/>
                  </a:p>
                </p:txBody>
              </p:sp>
              <p:sp>
                <p:nvSpPr>
                  <p:cNvPr id="732" name="Freeform: Shape 731">
                    <a:extLst>
                      <a:ext uri="{FF2B5EF4-FFF2-40B4-BE49-F238E27FC236}">
                        <a16:creationId xmlns:a16="http://schemas.microsoft.com/office/drawing/2014/main" id="{ADD63904-A1C1-C692-D58C-C18B504DE8C8}"/>
                      </a:ext>
                    </a:extLst>
                  </p:cNvPr>
                  <p:cNvSpPr/>
                  <p:nvPr userDrawn="1"/>
                </p:nvSpPr>
                <p:spPr>
                  <a:xfrm>
                    <a:off x="8209156" y="452100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BEDF2"/>
                  </a:solidFill>
                  <a:ln w="2339" cap="flat">
                    <a:noFill/>
                    <a:prstDash val="solid"/>
                    <a:miter/>
                  </a:ln>
                </p:spPr>
                <p:txBody>
                  <a:bodyPr rtlCol="0" anchor="ctr"/>
                  <a:lstStyle/>
                  <a:p>
                    <a:endParaRPr lang="en-US" sz="2400"/>
                  </a:p>
                </p:txBody>
              </p:sp>
              <p:sp>
                <p:nvSpPr>
                  <p:cNvPr id="733" name="Freeform: Shape 732">
                    <a:extLst>
                      <a:ext uri="{FF2B5EF4-FFF2-40B4-BE49-F238E27FC236}">
                        <a16:creationId xmlns:a16="http://schemas.microsoft.com/office/drawing/2014/main" id="{7902C7FE-9241-C5B2-6307-4F792DB625FF}"/>
                      </a:ext>
                    </a:extLst>
                  </p:cNvPr>
                  <p:cNvSpPr/>
                  <p:nvPr userDrawn="1"/>
                </p:nvSpPr>
                <p:spPr>
                  <a:xfrm>
                    <a:off x="8208758" y="452143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BEDF2"/>
                  </a:solidFill>
                  <a:ln w="2339" cap="flat">
                    <a:noFill/>
                    <a:prstDash val="solid"/>
                    <a:miter/>
                  </a:ln>
                </p:spPr>
                <p:txBody>
                  <a:bodyPr rtlCol="0" anchor="ctr"/>
                  <a:lstStyle/>
                  <a:p>
                    <a:endParaRPr lang="en-US" sz="2400"/>
                  </a:p>
                </p:txBody>
              </p:sp>
              <p:sp>
                <p:nvSpPr>
                  <p:cNvPr id="734" name="Freeform: Shape 733">
                    <a:extLst>
                      <a:ext uri="{FF2B5EF4-FFF2-40B4-BE49-F238E27FC236}">
                        <a16:creationId xmlns:a16="http://schemas.microsoft.com/office/drawing/2014/main" id="{E9B67C76-8BCA-29C0-7260-DB52318BCA00}"/>
                      </a:ext>
                    </a:extLst>
                  </p:cNvPr>
                  <p:cNvSpPr/>
                  <p:nvPr userDrawn="1"/>
                </p:nvSpPr>
                <p:spPr>
                  <a:xfrm>
                    <a:off x="8208383" y="452185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CEDF2"/>
                  </a:solidFill>
                  <a:ln w="2339" cap="flat">
                    <a:noFill/>
                    <a:prstDash val="solid"/>
                    <a:miter/>
                  </a:ln>
                </p:spPr>
                <p:txBody>
                  <a:bodyPr rtlCol="0" anchor="ctr"/>
                  <a:lstStyle/>
                  <a:p>
                    <a:endParaRPr lang="en-US" sz="2400"/>
                  </a:p>
                </p:txBody>
              </p:sp>
              <p:sp>
                <p:nvSpPr>
                  <p:cNvPr id="735" name="Freeform: Shape 734">
                    <a:extLst>
                      <a:ext uri="{FF2B5EF4-FFF2-40B4-BE49-F238E27FC236}">
                        <a16:creationId xmlns:a16="http://schemas.microsoft.com/office/drawing/2014/main" id="{B4E29558-4157-0CAB-6BDC-5D74960F2450}"/>
                      </a:ext>
                    </a:extLst>
                  </p:cNvPr>
                  <p:cNvSpPr/>
                  <p:nvPr userDrawn="1"/>
                </p:nvSpPr>
                <p:spPr>
                  <a:xfrm>
                    <a:off x="8207986" y="452224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CEEF3"/>
                  </a:solidFill>
                  <a:ln w="2339" cap="flat">
                    <a:noFill/>
                    <a:prstDash val="solid"/>
                    <a:miter/>
                  </a:ln>
                </p:spPr>
                <p:txBody>
                  <a:bodyPr rtlCol="0" anchor="ctr"/>
                  <a:lstStyle/>
                  <a:p>
                    <a:endParaRPr lang="en-US" sz="2400"/>
                  </a:p>
                </p:txBody>
              </p:sp>
              <p:sp>
                <p:nvSpPr>
                  <p:cNvPr id="736" name="Freeform: Shape 735">
                    <a:extLst>
                      <a:ext uri="{FF2B5EF4-FFF2-40B4-BE49-F238E27FC236}">
                        <a16:creationId xmlns:a16="http://schemas.microsoft.com/office/drawing/2014/main" id="{78F014BB-FB9B-1B27-CA88-87B56740613E}"/>
                      </a:ext>
                    </a:extLst>
                  </p:cNvPr>
                  <p:cNvSpPr/>
                  <p:nvPr userDrawn="1"/>
                </p:nvSpPr>
                <p:spPr>
                  <a:xfrm>
                    <a:off x="8207611" y="452267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CEEF3"/>
                  </a:solidFill>
                  <a:ln w="2339" cap="flat">
                    <a:noFill/>
                    <a:prstDash val="solid"/>
                    <a:miter/>
                  </a:ln>
                </p:spPr>
                <p:txBody>
                  <a:bodyPr rtlCol="0" anchor="ctr"/>
                  <a:lstStyle/>
                  <a:p>
                    <a:endParaRPr lang="en-US" sz="2400"/>
                  </a:p>
                </p:txBody>
              </p:sp>
              <p:sp>
                <p:nvSpPr>
                  <p:cNvPr id="737" name="Freeform: Shape 736">
                    <a:extLst>
                      <a:ext uri="{FF2B5EF4-FFF2-40B4-BE49-F238E27FC236}">
                        <a16:creationId xmlns:a16="http://schemas.microsoft.com/office/drawing/2014/main" id="{07B646DA-86F7-1C53-A4AC-33A48F96AD4C}"/>
                      </a:ext>
                    </a:extLst>
                  </p:cNvPr>
                  <p:cNvSpPr/>
                  <p:nvPr userDrawn="1"/>
                </p:nvSpPr>
                <p:spPr>
                  <a:xfrm>
                    <a:off x="8207237" y="452309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DEEF3"/>
                  </a:solidFill>
                  <a:ln w="2339" cap="flat">
                    <a:noFill/>
                    <a:prstDash val="solid"/>
                    <a:miter/>
                  </a:ln>
                </p:spPr>
                <p:txBody>
                  <a:bodyPr rtlCol="0" anchor="ctr"/>
                  <a:lstStyle/>
                  <a:p>
                    <a:endParaRPr lang="en-US" sz="2400"/>
                  </a:p>
                </p:txBody>
              </p:sp>
              <p:sp>
                <p:nvSpPr>
                  <p:cNvPr id="738" name="Freeform: Shape 737">
                    <a:extLst>
                      <a:ext uri="{FF2B5EF4-FFF2-40B4-BE49-F238E27FC236}">
                        <a16:creationId xmlns:a16="http://schemas.microsoft.com/office/drawing/2014/main" id="{105E8AFB-2F94-64D9-2972-A5E9EF14EC54}"/>
                      </a:ext>
                    </a:extLst>
                  </p:cNvPr>
                  <p:cNvSpPr/>
                  <p:nvPr userDrawn="1"/>
                </p:nvSpPr>
                <p:spPr>
                  <a:xfrm>
                    <a:off x="8206886" y="452351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DEFF3"/>
                  </a:solidFill>
                  <a:ln w="2339" cap="flat">
                    <a:noFill/>
                    <a:prstDash val="solid"/>
                    <a:miter/>
                  </a:ln>
                </p:spPr>
                <p:txBody>
                  <a:bodyPr rtlCol="0" anchor="ctr"/>
                  <a:lstStyle/>
                  <a:p>
                    <a:endParaRPr lang="en-US" sz="2400"/>
                  </a:p>
                </p:txBody>
              </p:sp>
              <p:sp>
                <p:nvSpPr>
                  <p:cNvPr id="739" name="Freeform: Shape 738">
                    <a:extLst>
                      <a:ext uri="{FF2B5EF4-FFF2-40B4-BE49-F238E27FC236}">
                        <a16:creationId xmlns:a16="http://schemas.microsoft.com/office/drawing/2014/main" id="{6430BE3E-6714-854C-CF7D-196AEBB95E74}"/>
                      </a:ext>
                    </a:extLst>
                  </p:cNvPr>
                  <p:cNvSpPr/>
                  <p:nvPr userDrawn="1"/>
                </p:nvSpPr>
                <p:spPr>
                  <a:xfrm>
                    <a:off x="8206511" y="452393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DEFF3"/>
                  </a:solidFill>
                  <a:ln w="2339" cap="flat">
                    <a:noFill/>
                    <a:prstDash val="solid"/>
                    <a:miter/>
                  </a:ln>
                </p:spPr>
                <p:txBody>
                  <a:bodyPr rtlCol="0" anchor="ctr"/>
                  <a:lstStyle/>
                  <a:p>
                    <a:endParaRPr lang="en-US" sz="2400"/>
                  </a:p>
                </p:txBody>
              </p:sp>
              <p:sp>
                <p:nvSpPr>
                  <p:cNvPr id="740" name="Freeform: Shape 739">
                    <a:extLst>
                      <a:ext uri="{FF2B5EF4-FFF2-40B4-BE49-F238E27FC236}">
                        <a16:creationId xmlns:a16="http://schemas.microsoft.com/office/drawing/2014/main" id="{BABEE50B-0E2F-1F6A-2B70-A07757019066}"/>
                      </a:ext>
                    </a:extLst>
                  </p:cNvPr>
                  <p:cNvSpPr/>
                  <p:nvPr userDrawn="1"/>
                </p:nvSpPr>
                <p:spPr>
                  <a:xfrm>
                    <a:off x="8206160" y="452435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EEFF4"/>
                  </a:solidFill>
                  <a:ln w="2339" cap="flat">
                    <a:noFill/>
                    <a:prstDash val="solid"/>
                    <a:miter/>
                  </a:ln>
                </p:spPr>
                <p:txBody>
                  <a:bodyPr rtlCol="0" anchor="ctr"/>
                  <a:lstStyle/>
                  <a:p>
                    <a:endParaRPr lang="en-US" sz="2400"/>
                  </a:p>
                </p:txBody>
              </p:sp>
              <p:sp>
                <p:nvSpPr>
                  <p:cNvPr id="741" name="Freeform: Shape 740">
                    <a:extLst>
                      <a:ext uri="{FF2B5EF4-FFF2-40B4-BE49-F238E27FC236}">
                        <a16:creationId xmlns:a16="http://schemas.microsoft.com/office/drawing/2014/main" id="{4E89E0F4-30B0-F826-48A0-DA5C0431CD73}"/>
                      </a:ext>
                    </a:extLst>
                  </p:cNvPr>
                  <p:cNvSpPr/>
                  <p:nvPr userDrawn="1"/>
                </p:nvSpPr>
                <p:spPr>
                  <a:xfrm>
                    <a:off x="8205809" y="452477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EEFF4"/>
                  </a:solidFill>
                  <a:ln w="2339" cap="flat">
                    <a:noFill/>
                    <a:prstDash val="solid"/>
                    <a:miter/>
                  </a:ln>
                </p:spPr>
                <p:txBody>
                  <a:bodyPr rtlCol="0" anchor="ctr"/>
                  <a:lstStyle/>
                  <a:p>
                    <a:endParaRPr lang="en-US" sz="2400"/>
                  </a:p>
                </p:txBody>
              </p:sp>
              <p:sp>
                <p:nvSpPr>
                  <p:cNvPr id="742" name="Freeform: Shape 741">
                    <a:extLst>
                      <a:ext uri="{FF2B5EF4-FFF2-40B4-BE49-F238E27FC236}">
                        <a16:creationId xmlns:a16="http://schemas.microsoft.com/office/drawing/2014/main" id="{DF335933-9DEB-525A-1F19-6B76D501B1AD}"/>
                      </a:ext>
                    </a:extLst>
                  </p:cNvPr>
                  <p:cNvSpPr/>
                  <p:nvPr userDrawn="1"/>
                </p:nvSpPr>
                <p:spPr>
                  <a:xfrm>
                    <a:off x="8205458" y="452519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EF0F4"/>
                  </a:solidFill>
                  <a:ln w="2339" cap="flat">
                    <a:noFill/>
                    <a:prstDash val="solid"/>
                    <a:miter/>
                  </a:ln>
                </p:spPr>
                <p:txBody>
                  <a:bodyPr rtlCol="0" anchor="ctr"/>
                  <a:lstStyle/>
                  <a:p>
                    <a:endParaRPr lang="en-US" sz="2400"/>
                  </a:p>
                </p:txBody>
              </p:sp>
              <p:sp>
                <p:nvSpPr>
                  <p:cNvPr id="743" name="Freeform: Shape 742">
                    <a:extLst>
                      <a:ext uri="{FF2B5EF4-FFF2-40B4-BE49-F238E27FC236}">
                        <a16:creationId xmlns:a16="http://schemas.microsoft.com/office/drawing/2014/main" id="{AFFBEF0F-0583-396A-F5A5-9E884E366A5D}"/>
                      </a:ext>
                    </a:extLst>
                  </p:cNvPr>
                  <p:cNvSpPr/>
                  <p:nvPr userDrawn="1"/>
                </p:nvSpPr>
                <p:spPr>
                  <a:xfrm>
                    <a:off x="8205131" y="452559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EF0F4"/>
                  </a:solidFill>
                  <a:ln w="2339" cap="flat">
                    <a:noFill/>
                    <a:prstDash val="solid"/>
                    <a:miter/>
                  </a:ln>
                </p:spPr>
                <p:txBody>
                  <a:bodyPr rtlCol="0" anchor="ctr"/>
                  <a:lstStyle/>
                  <a:p>
                    <a:endParaRPr lang="en-US" sz="2400"/>
                  </a:p>
                </p:txBody>
              </p:sp>
              <p:sp>
                <p:nvSpPr>
                  <p:cNvPr id="744" name="Freeform: Shape 743">
                    <a:extLst>
                      <a:ext uri="{FF2B5EF4-FFF2-40B4-BE49-F238E27FC236}">
                        <a16:creationId xmlns:a16="http://schemas.microsoft.com/office/drawing/2014/main" id="{964FF648-190F-E01F-80A9-49F560F99386}"/>
                      </a:ext>
                    </a:extLst>
                  </p:cNvPr>
                  <p:cNvSpPr/>
                  <p:nvPr userDrawn="1"/>
                </p:nvSpPr>
                <p:spPr>
                  <a:xfrm>
                    <a:off x="8204803" y="452601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FF0F4"/>
                  </a:solidFill>
                  <a:ln w="2339" cap="flat">
                    <a:noFill/>
                    <a:prstDash val="solid"/>
                    <a:miter/>
                  </a:ln>
                </p:spPr>
                <p:txBody>
                  <a:bodyPr rtlCol="0" anchor="ctr"/>
                  <a:lstStyle/>
                  <a:p>
                    <a:endParaRPr lang="en-US" sz="2400"/>
                  </a:p>
                </p:txBody>
              </p:sp>
              <p:sp>
                <p:nvSpPr>
                  <p:cNvPr id="745" name="Freeform: Shape 744">
                    <a:extLst>
                      <a:ext uri="{FF2B5EF4-FFF2-40B4-BE49-F238E27FC236}">
                        <a16:creationId xmlns:a16="http://schemas.microsoft.com/office/drawing/2014/main" id="{00B4C766-B083-5485-56A9-0BDB227B0FF0}"/>
                      </a:ext>
                    </a:extLst>
                  </p:cNvPr>
                  <p:cNvSpPr/>
                  <p:nvPr userDrawn="1"/>
                </p:nvSpPr>
                <p:spPr>
                  <a:xfrm>
                    <a:off x="8204476" y="452643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FF1F5"/>
                  </a:solidFill>
                  <a:ln w="2339" cap="flat">
                    <a:noFill/>
                    <a:prstDash val="solid"/>
                    <a:miter/>
                  </a:ln>
                </p:spPr>
                <p:txBody>
                  <a:bodyPr rtlCol="0" anchor="ctr"/>
                  <a:lstStyle/>
                  <a:p>
                    <a:endParaRPr lang="en-US" sz="2400"/>
                  </a:p>
                </p:txBody>
              </p:sp>
              <p:sp>
                <p:nvSpPr>
                  <p:cNvPr id="746" name="Freeform: Shape 745">
                    <a:extLst>
                      <a:ext uri="{FF2B5EF4-FFF2-40B4-BE49-F238E27FC236}">
                        <a16:creationId xmlns:a16="http://schemas.microsoft.com/office/drawing/2014/main" id="{73CB966D-B422-3E72-85DE-30C373313CCE}"/>
                      </a:ext>
                    </a:extLst>
                  </p:cNvPr>
                  <p:cNvSpPr/>
                  <p:nvPr userDrawn="1"/>
                </p:nvSpPr>
                <p:spPr>
                  <a:xfrm>
                    <a:off x="8204148" y="452685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FF1F5"/>
                  </a:solidFill>
                  <a:ln w="2339" cap="flat">
                    <a:noFill/>
                    <a:prstDash val="solid"/>
                    <a:miter/>
                  </a:ln>
                </p:spPr>
                <p:txBody>
                  <a:bodyPr rtlCol="0" anchor="ctr"/>
                  <a:lstStyle/>
                  <a:p>
                    <a:endParaRPr lang="en-US" sz="2400"/>
                  </a:p>
                </p:txBody>
              </p:sp>
              <p:sp>
                <p:nvSpPr>
                  <p:cNvPr id="747" name="Freeform: Shape 746">
                    <a:extLst>
                      <a:ext uri="{FF2B5EF4-FFF2-40B4-BE49-F238E27FC236}">
                        <a16:creationId xmlns:a16="http://schemas.microsoft.com/office/drawing/2014/main" id="{567C6D6A-97DD-6430-DD81-3BAF22295BF5}"/>
                      </a:ext>
                    </a:extLst>
                  </p:cNvPr>
                  <p:cNvSpPr/>
                  <p:nvPr userDrawn="1"/>
                </p:nvSpPr>
                <p:spPr>
                  <a:xfrm>
                    <a:off x="8203820" y="452728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F0F1F5"/>
                  </a:solidFill>
                  <a:ln w="2339" cap="flat">
                    <a:noFill/>
                    <a:prstDash val="solid"/>
                    <a:miter/>
                  </a:ln>
                </p:spPr>
                <p:txBody>
                  <a:bodyPr rtlCol="0" anchor="ctr"/>
                  <a:lstStyle/>
                  <a:p>
                    <a:endParaRPr lang="en-US" sz="2400"/>
                  </a:p>
                </p:txBody>
              </p:sp>
              <p:sp>
                <p:nvSpPr>
                  <p:cNvPr id="748" name="Freeform: Shape 747">
                    <a:extLst>
                      <a:ext uri="{FF2B5EF4-FFF2-40B4-BE49-F238E27FC236}">
                        <a16:creationId xmlns:a16="http://schemas.microsoft.com/office/drawing/2014/main" id="{1DE7A111-336B-7EE2-0719-7091F0278DAB}"/>
                      </a:ext>
                    </a:extLst>
                  </p:cNvPr>
                  <p:cNvSpPr/>
                  <p:nvPr userDrawn="1"/>
                </p:nvSpPr>
                <p:spPr>
                  <a:xfrm>
                    <a:off x="8203516" y="452770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F0F1F5"/>
                  </a:solidFill>
                  <a:ln w="2339" cap="flat">
                    <a:noFill/>
                    <a:prstDash val="solid"/>
                    <a:miter/>
                  </a:ln>
                </p:spPr>
                <p:txBody>
                  <a:bodyPr rtlCol="0" anchor="ctr"/>
                  <a:lstStyle/>
                  <a:p>
                    <a:endParaRPr lang="en-US" sz="2400"/>
                  </a:p>
                </p:txBody>
              </p:sp>
              <p:sp>
                <p:nvSpPr>
                  <p:cNvPr id="749" name="Freeform: Shape 748">
                    <a:extLst>
                      <a:ext uri="{FF2B5EF4-FFF2-40B4-BE49-F238E27FC236}">
                        <a16:creationId xmlns:a16="http://schemas.microsoft.com/office/drawing/2014/main" id="{177EAFD7-77BE-7E3E-6516-D51F3139428F}"/>
                      </a:ext>
                    </a:extLst>
                  </p:cNvPr>
                  <p:cNvSpPr/>
                  <p:nvPr userDrawn="1"/>
                </p:nvSpPr>
                <p:spPr>
                  <a:xfrm>
                    <a:off x="8203212" y="452812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F0F2F5"/>
                  </a:solidFill>
                  <a:ln w="2339" cap="flat">
                    <a:noFill/>
                    <a:prstDash val="solid"/>
                    <a:miter/>
                  </a:ln>
                </p:spPr>
                <p:txBody>
                  <a:bodyPr rtlCol="0" anchor="ctr"/>
                  <a:lstStyle/>
                  <a:p>
                    <a:endParaRPr lang="en-US" sz="2400"/>
                  </a:p>
                </p:txBody>
              </p:sp>
              <p:sp>
                <p:nvSpPr>
                  <p:cNvPr id="750" name="Freeform: Shape 749">
                    <a:extLst>
                      <a:ext uri="{FF2B5EF4-FFF2-40B4-BE49-F238E27FC236}">
                        <a16:creationId xmlns:a16="http://schemas.microsoft.com/office/drawing/2014/main" id="{B99D53CD-7F38-929D-CB4E-F0B6AD369E28}"/>
                      </a:ext>
                    </a:extLst>
                  </p:cNvPr>
                  <p:cNvSpPr/>
                  <p:nvPr userDrawn="1"/>
                </p:nvSpPr>
                <p:spPr>
                  <a:xfrm>
                    <a:off x="8202908" y="452854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F1F2F6"/>
                  </a:solidFill>
                  <a:ln w="2339" cap="flat">
                    <a:noFill/>
                    <a:prstDash val="solid"/>
                    <a:miter/>
                  </a:ln>
                </p:spPr>
                <p:txBody>
                  <a:bodyPr rtlCol="0" anchor="ctr"/>
                  <a:lstStyle/>
                  <a:p>
                    <a:endParaRPr lang="en-US" sz="2400"/>
                  </a:p>
                </p:txBody>
              </p:sp>
              <p:sp>
                <p:nvSpPr>
                  <p:cNvPr id="751" name="Freeform: Shape 750">
                    <a:extLst>
                      <a:ext uri="{FF2B5EF4-FFF2-40B4-BE49-F238E27FC236}">
                        <a16:creationId xmlns:a16="http://schemas.microsoft.com/office/drawing/2014/main" id="{164A020F-3DE2-B857-B3A4-A291E1DDF3ED}"/>
                      </a:ext>
                    </a:extLst>
                  </p:cNvPr>
                  <p:cNvSpPr/>
                  <p:nvPr userDrawn="1"/>
                </p:nvSpPr>
                <p:spPr>
                  <a:xfrm>
                    <a:off x="8202604" y="452896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F1F2F6"/>
                  </a:solidFill>
                  <a:ln w="2339" cap="flat">
                    <a:noFill/>
                    <a:prstDash val="solid"/>
                    <a:miter/>
                  </a:ln>
                </p:spPr>
                <p:txBody>
                  <a:bodyPr rtlCol="0" anchor="ctr"/>
                  <a:lstStyle/>
                  <a:p>
                    <a:endParaRPr lang="en-US" sz="2400"/>
                  </a:p>
                </p:txBody>
              </p:sp>
              <p:sp>
                <p:nvSpPr>
                  <p:cNvPr id="752" name="Freeform: Shape 751">
                    <a:extLst>
                      <a:ext uri="{FF2B5EF4-FFF2-40B4-BE49-F238E27FC236}">
                        <a16:creationId xmlns:a16="http://schemas.microsoft.com/office/drawing/2014/main" id="{719FCA96-471F-E4A8-9082-3ACC5C0A9243}"/>
                      </a:ext>
                    </a:extLst>
                  </p:cNvPr>
                  <p:cNvSpPr/>
                  <p:nvPr userDrawn="1"/>
                </p:nvSpPr>
                <p:spPr>
                  <a:xfrm>
                    <a:off x="8202323" y="452938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F1F2F6"/>
                  </a:solidFill>
                  <a:ln w="2339" cap="flat">
                    <a:noFill/>
                    <a:prstDash val="solid"/>
                    <a:miter/>
                  </a:ln>
                </p:spPr>
                <p:txBody>
                  <a:bodyPr rtlCol="0" anchor="ctr"/>
                  <a:lstStyle/>
                  <a:p>
                    <a:endParaRPr lang="en-US" sz="2400"/>
                  </a:p>
                </p:txBody>
              </p:sp>
              <p:sp>
                <p:nvSpPr>
                  <p:cNvPr id="753" name="Freeform: Shape 752">
                    <a:extLst>
                      <a:ext uri="{FF2B5EF4-FFF2-40B4-BE49-F238E27FC236}">
                        <a16:creationId xmlns:a16="http://schemas.microsoft.com/office/drawing/2014/main" id="{ABBA4913-6AA9-EDD6-1E34-4E9A04E38133}"/>
                      </a:ext>
                    </a:extLst>
                  </p:cNvPr>
                  <p:cNvSpPr/>
                  <p:nvPr userDrawn="1"/>
                </p:nvSpPr>
                <p:spPr>
                  <a:xfrm>
                    <a:off x="8202042" y="452980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F2F3F6"/>
                  </a:solidFill>
                  <a:ln w="2339" cap="flat">
                    <a:noFill/>
                    <a:prstDash val="solid"/>
                    <a:miter/>
                  </a:ln>
                </p:spPr>
                <p:txBody>
                  <a:bodyPr rtlCol="0" anchor="ctr"/>
                  <a:lstStyle/>
                  <a:p>
                    <a:endParaRPr lang="en-US" sz="2400"/>
                  </a:p>
                </p:txBody>
              </p:sp>
              <p:sp>
                <p:nvSpPr>
                  <p:cNvPr id="754" name="Freeform: Shape 753">
                    <a:extLst>
                      <a:ext uri="{FF2B5EF4-FFF2-40B4-BE49-F238E27FC236}">
                        <a16:creationId xmlns:a16="http://schemas.microsoft.com/office/drawing/2014/main" id="{171A6663-CFC7-280B-91DB-87EDC478A75A}"/>
                      </a:ext>
                    </a:extLst>
                  </p:cNvPr>
                  <p:cNvSpPr/>
                  <p:nvPr userDrawn="1"/>
                </p:nvSpPr>
                <p:spPr>
                  <a:xfrm>
                    <a:off x="8201761" y="453022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F2F3F6"/>
                  </a:solidFill>
                  <a:ln w="2339" cap="flat">
                    <a:noFill/>
                    <a:prstDash val="solid"/>
                    <a:miter/>
                  </a:ln>
                </p:spPr>
                <p:txBody>
                  <a:bodyPr rtlCol="0" anchor="ctr"/>
                  <a:lstStyle/>
                  <a:p>
                    <a:endParaRPr lang="en-US" sz="2400"/>
                  </a:p>
                </p:txBody>
              </p:sp>
              <p:sp>
                <p:nvSpPr>
                  <p:cNvPr id="755" name="Freeform: Shape 754">
                    <a:extLst>
                      <a:ext uri="{FF2B5EF4-FFF2-40B4-BE49-F238E27FC236}">
                        <a16:creationId xmlns:a16="http://schemas.microsoft.com/office/drawing/2014/main" id="{00103581-97B6-5C11-7ABA-274DF3305F53}"/>
                      </a:ext>
                    </a:extLst>
                  </p:cNvPr>
                  <p:cNvSpPr/>
                  <p:nvPr userDrawn="1"/>
                </p:nvSpPr>
                <p:spPr>
                  <a:xfrm>
                    <a:off x="8201480" y="453065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F2F3F7"/>
                  </a:solidFill>
                  <a:ln w="2339" cap="flat">
                    <a:noFill/>
                    <a:prstDash val="solid"/>
                    <a:miter/>
                  </a:ln>
                </p:spPr>
                <p:txBody>
                  <a:bodyPr rtlCol="0" anchor="ctr"/>
                  <a:lstStyle/>
                  <a:p>
                    <a:endParaRPr lang="en-US" sz="2400"/>
                  </a:p>
                </p:txBody>
              </p:sp>
              <p:sp>
                <p:nvSpPr>
                  <p:cNvPr id="756" name="Freeform: Shape 755">
                    <a:extLst>
                      <a:ext uri="{FF2B5EF4-FFF2-40B4-BE49-F238E27FC236}">
                        <a16:creationId xmlns:a16="http://schemas.microsoft.com/office/drawing/2014/main" id="{148C5644-7908-1428-396B-FE9816FBADF7}"/>
                      </a:ext>
                    </a:extLst>
                  </p:cNvPr>
                  <p:cNvSpPr/>
                  <p:nvPr userDrawn="1"/>
                </p:nvSpPr>
                <p:spPr>
                  <a:xfrm>
                    <a:off x="8201223" y="453107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F2F4F7"/>
                  </a:solidFill>
                  <a:ln w="2339" cap="flat">
                    <a:noFill/>
                    <a:prstDash val="solid"/>
                    <a:miter/>
                  </a:ln>
                </p:spPr>
                <p:txBody>
                  <a:bodyPr rtlCol="0" anchor="ctr"/>
                  <a:lstStyle/>
                  <a:p>
                    <a:endParaRPr lang="en-US" sz="2400"/>
                  </a:p>
                </p:txBody>
              </p:sp>
              <p:sp>
                <p:nvSpPr>
                  <p:cNvPr id="757" name="Freeform: Shape 756">
                    <a:extLst>
                      <a:ext uri="{FF2B5EF4-FFF2-40B4-BE49-F238E27FC236}">
                        <a16:creationId xmlns:a16="http://schemas.microsoft.com/office/drawing/2014/main" id="{81A2FE6D-AA64-4D92-DF30-492D85ED508C}"/>
                      </a:ext>
                    </a:extLst>
                  </p:cNvPr>
                  <p:cNvSpPr/>
                  <p:nvPr userDrawn="1"/>
                </p:nvSpPr>
                <p:spPr>
                  <a:xfrm>
                    <a:off x="8200966" y="4531492"/>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3F4F7"/>
                  </a:solidFill>
                  <a:ln w="2339" cap="flat">
                    <a:noFill/>
                    <a:prstDash val="solid"/>
                    <a:miter/>
                  </a:ln>
                </p:spPr>
                <p:txBody>
                  <a:bodyPr rtlCol="0" anchor="ctr"/>
                  <a:lstStyle/>
                  <a:p>
                    <a:endParaRPr lang="en-US" sz="2400"/>
                  </a:p>
                </p:txBody>
              </p:sp>
              <p:sp>
                <p:nvSpPr>
                  <p:cNvPr id="758" name="Freeform: Shape 757">
                    <a:extLst>
                      <a:ext uri="{FF2B5EF4-FFF2-40B4-BE49-F238E27FC236}">
                        <a16:creationId xmlns:a16="http://schemas.microsoft.com/office/drawing/2014/main" id="{5040D10C-3134-A1F8-D47A-3275858AE233}"/>
                      </a:ext>
                    </a:extLst>
                  </p:cNvPr>
                  <p:cNvSpPr/>
                  <p:nvPr userDrawn="1"/>
                </p:nvSpPr>
                <p:spPr>
                  <a:xfrm>
                    <a:off x="8200708" y="4531913"/>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3F4F7"/>
                  </a:solidFill>
                  <a:ln w="2339" cap="flat">
                    <a:noFill/>
                    <a:prstDash val="solid"/>
                    <a:miter/>
                  </a:ln>
                </p:spPr>
                <p:txBody>
                  <a:bodyPr rtlCol="0" anchor="ctr"/>
                  <a:lstStyle/>
                  <a:p>
                    <a:endParaRPr lang="en-US" sz="2400"/>
                  </a:p>
                </p:txBody>
              </p:sp>
              <p:sp>
                <p:nvSpPr>
                  <p:cNvPr id="759" name="Freeform: Shape 758">
                    <a:extLst>
                      <a:ext uri="{FF2B5EF4-FFF2-40B4-BE49-F238E27FC236}">
                        <a16:creationId xmlns:a16="http://schemas.microsoft.com/office/drawing/2014/main" id="{C4D8C040-48AF-90FB-C35E-524E6A068D2F}"/>
                      </a:ext>
                    </a:extLst>
                  </p:cNvPr>
                  <p:cNvSpPr/>
                  <p:nvPr userDrawn="1"/>
                </p:nvSpPr>
                <p:spPr>
                  <a:xfrm>
                    <a:off x="8200474" y="4532335"/>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3F4F7"/>
                  </a:solidFill>
                  <a:ln w="2339" cap="flat">
                    <a:noFill/>
                    <a:prstDash val="solid"/>
                    <a:miter/>
                  </a:ln>
                </p:spPr>
                <p:txBody>
                  <a:bodyPr rtlCol="0" anchor="ctr"/>
                  <a:lstStyle/>
                  <a:p>
                    <a:endParaRPr lang="en-US" sz="2400"/>
                  </a:p>
                </p:txBody>
              </p:sp>
              <p:sp>
                <p:nvSpPr>
                  <p:cNvPr id="760" name="Freeform: Shape 759">
                    <a:extLst>
                      <a:ext uri="{FF2B5EF4-FFF2-40B4-BE49-F238E27FC236}">
                        <a16:creationId xmlns:a16="http://schemas.microsoft.com/office/drawing/2014/main" id="{241F8E9C-9B9B-6C9E-55B1-74F00F0D1FD0}"/>
                      </a:ext>
                    </a:extLst>
                  </p:cNvPr>
                  <p:cNvSpPr/>
                  <p:nvPr userDrawn="1"/>
                </p:nvSpPr>
                <p:spPr>
                  <a:xfrm>
                    <a:off x="8200217" y="4532756"/>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4F5F8"/>
                  </a:solidFill>
                  <a:ln w="2339" cap="flat">
                    <a:noFill/>
                    <a:prstDash val="solid"/>
                    <a:miter/>
                  </a:ln>
                </p:spPr>
                <p:txBody>
                  <a:bodyPr rtlCol="0" anchor="ctr"/>
                  <a:lstStyle/>
                  <a:p>
                    <a:endParaRPr lang="en-US" sz="2400"/>
                  </a:p>
                </p:txBody>
              </p:sp>
              <p:sp>
                <p:nvSpPr>
                  <p:cNvPr id="761" name="Freeform: Shape 760">
                    <a:extLst>
                      <a:ext uri="{FF2B5EF4-FFF2-40B4-BE49-F238E27FC236}">
                        <a16:creationId xmlns:a16="http://schemas.microsoft.com/office/drawing/2014/main" id="{3600960D-55DD-D942-EDD4-C5ED50231E97}"/>
                      </a:ext>
                    </a:extLst>
                  </p:cNvPr>
                  <p:cNvSpPr/>
                  <p:nvPr userDrawn="1"/>
                </p:nvSpPr>
                <p:spPr>
                  <a:xfrm>
                    <a:off x="8199983" y="4533177"/>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4F5F8"/>
                  </a:solidFill>
                  <a:ln w="2339" cap="flat">
                    <a:noFill/>
                    <a:prstDash val="solid"/>
                    <a:miter/>
                  </a:ln>
                </p:spPr>
                <p:txBody>
                  <a:bodyPr rtlCol="0" anchor="ctr"/>
                  <a:lstStyle/>
                  <a:p>
                    <a:endParaRPr lang="en-US" sz="2400"/>
                  </a:p>
                </p:txBody>
              </p:sp>
              <p:sp>
                <p:nvSpPr>
                  <p:cNvPr id="762" name="Freeform: Shape 761">
                    <a:extLst>
                      <a:ext uri="{FF2B5EF4-FFF2-40B4-BE49-F238E27FC236}">
                        <a16:creationId xmlns:a16="http://schemas.microsoft.com/office/drawing/2014/main" id="{FEADE57B-965E-7D4D-A799-1D12DA348D1F}"/>
                      </a:ext>
                    </a:extLst>
                  </p:cNvPr>
                  <p:cNvSpPr/>
                  <p:nvPr userDrawn="1"/>
                </p:nvSpPr>
                <p:spPr>
                  <a:xfrm>
                    <a:off x="8199749" y="4533598"/>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4F5F8"/>
                  </a:solidFill>
                  <a:ln w="2339" cap="flat">
                    <a:noFill/>
                    <a:prstDash val="solid"/>
                    <a:miter/>
                  </a:ln>
                </p:spPr>
                <p:txBody>
                  <a:bodyPr rtlCol="0" anchor="ctr"/>
                  <a:lstStyle/>
                  <a:p>
                    <a:endParaRPr lang="en-US" sz="2400"/>
                  </a:p>
                </p:txBody>
              </p:sp>
              <p:sp>
                <p:nvSpPr>
                  <p:cNvPr id="763" name="Freeform: Shape 762">
                    <a:extLst>
                      <a:ext uri="{FF2B5EF4-FFF2-40B4-BE49-F238E27FC236}">
                        <a16:creationId xmlns:a16="http://schemas.microsoft.com/office/drawing/2014/main" id="{9B9E1BC2-3F88-DD81-63C5-77EB25F71D29}"/>
                      </a:ext>
                    </a:extLst>
                  </p:cNvPr>
                  <p:cNvSpPr/>
                  <p:nvPr userDrawn="1"/>
                </p:nvSpPr>
                <p:spPr>
                  <a:xfrm>
                    <a:off x="8199515" y="4534019"/>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5F6F8"/>
                  </a:solidFill>
                  <a:ln w="2339" cap="flat">
                    <a:noFill/>
                    <a:prstDash val="solid"/>
                    <a:miter/>
                  </a:ln>
                </p:spPr>
                <p:txBody>
                  <a:bodyPr rtlCol="0" anchor="ctr"/>
                  <a:lstStyle/>
                  <a:p>
                    <a:endParaRPr lang="en-US" sz="2400"/>
                  </a:p>
                </p:txBody>
              </p:sp>
              <p:sp>
                <p:nvSpPr>
                  <p:cNvPr id="764" name="Freeform: Shape 763">
                    <a:extLst>
                      <a:ext uri="{FF2B5EF4-FFF2-40B4-BE49-F238E27FC236}">
                        <a16:creationId xmlns:a16="http://schemas.microsoft.com/office/drawing/2014/main" id="{4A353150-94AF-561D-8678-2A150291810D}"/>
                      </a:ext>
                    </a:extLst>
                  </p:cNvPr>
                  <p:cNvSpPr/>
                  <p:nvPr userDrawn="1"/>
                </p:nvSpPr>
                <p:spPr>
                  <a:xfrm>
                    <a:off x="8199281" y="4534441"/>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5F6F8"/>
                  </a:solidFill>
                  <a:ln w="2339" cap="flat">
                    <a:noFill/>
                    <a:prstDash val="solid"/>
                    <a:miter/>
                  </a:ln>
                </p:spPr>
                <p:txBody>
                  <a:bodyPr rtlCol="0" anchor="ctr"/>
                  <a:lstStyle/>
                  <a:p>
                    <a:endParaRPr lang="en-US" sz="2400"/>
                  </a:p>
                </p:txBody>
              </p:sp>
              <p:sp>
                <p:nvSpPr>
                  <p:cNvPr id="765" name="Freeform: Shape 764">
                    <a:extLst>
                      <a:ext uri="{FF2B5EF4-FFF2-40B4-BE49-F238E27FC236}">
                        <a16:creationId xmlns:a16="http://schemas.microsoft.com/office/drawing/2014/main" id="{520D25E5-65AF-1E79-90AF-E21114B4F380}"/>
                      </a:ext>
                    </a:extLst>
                  </p:cNvPr>
                  <p:cNvSpPr/>
                  <p:nvPr userDrawn="1"/>
                </p:nvSpPr>
                <p:spPr>
                  <a:xfrm>
                    <a:off x="8199070" y="4534838"/>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23"/>
                          <a:pt x="42074" y="9430"/>
                          <a:pt x="42074" y="21060"/>
                        </a:cubicBezTo>
                        <a:close/>
                      </a:path>
                    </a:pathLst>
                  </a:custGeom>
                  <a:solidFill>
                    <a:srgbClr val="F5F6F9"/>
                  </a:solidFill>
                  <a:ln w="2339" cap="flat">
                    <a:noFill/>
                    <a:prstDash val="solid"/>
                    <a:miter/>
                  </a:ln>
                </p:spPr>
                <p:txBody>
                  <a:bodyPr rtlCol="0" anchor="ctr"/>
                  <a:lstStyle/>
                  <a:p>
                    <a:endParaRPr lang="en-US" sz="2400"/>
                  </a:p>
                </p:txBody>
              </p:sp>
              <p:sp>
                <p:nvSpPr>
                  <p:cNvPr id="766" name="Freeform: Shape 765">
                    <a:extLst>
                      <a:ext uri="{FF2B5EF4-FFF2-40B4-BE49-F238E27FC236}">
                        <a16:creationId xmlns:a16="http://schemas.microsoft.com/office/drawing/2014/main" id="{F7EAC157-9DF1-B8DC-025E-51C0F889DE75}"/>
                      </a:ext>
                    </a:extLst>
                  </p:cNvPr>
                  <p:cNvSpPr/>
                  <p:nvPr userDrawn="1"/>
                </p:nvSpPr>
                <p:spPr>
                  <a:xfrm>
                    <a:off x="8198860" y="4535260"/>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23"/>
                          <a:pt x="42074" y="9430"/>
                          <a:pt x="42074" y="21060"/>
                        </a:cubicBezTo>
                        <a:close/>
                      </a:path>
                    </a:pathLst>
                  </a:custGeom>
                  <a:solidFill>
                    <a:srgbClr val="F6F6F9"/>
                  </a:solidFill>
                  <a:ln w="2339" cap="flat">
                    <a:noFill/>
                    <a:prstDash val="solid"/>
                    <a:miter/>
                  </a:ln>
                </p:spPr>
                <p:txBody>
                  <a:bodyPr rtlCol="0" anchor="ctr"/>
                  <a:lstStyle/>
                  <a:p>
                    <a:endParaRPr lang="en-US" sz="2400"/>
                  </a:p>
                </p:txBody>
              </p:sp>
              <p:sp>
                <p:nvSpPr>
                  <p:cNvPr id="767" name="Freeform: Shape 766">
                    <a:extLst>
                      <a:ext uri="{FF2B5EF4-FFF2-40B4-BE49-F238E27FC236}">
                        <a16:creationId xmlns:a16="http://schemas.microsoft.com/office/drawing/2014/main" id="{E2593326-1E22-87FC-F40C-1AA7E74DD935}"/>
                      </a:ext>
                    </a:extLst>
                  </p:cNvPr>
                  <p:cNvSpPr/>
                  <p:nvPr userDrawn="1"/>
                </p:nvSpPr>
                <p:spPr>
                  <a:xfrm>
                    <a:off x="8198649" y="4535681"/>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23"/>
                          <a:pt x="42074" y="9430"/>
                          <a:pt x="42074" y="21060"/>
                        </a:cubicBezTo>
                        <a:close/>
                      </a:path>
                    </a:pathLst>
                  </a:custGeom>
                  <a:solidFill>
                    <a:srgbClr val="F6F7F9"/>
                  </a:solidFill>
                  <a:ln w="2339" cap="flat">
                    <a:noFill/>
                    <a:prstDash val="solid"/>
                    <a:miter/>
                  </a:ln>
                </p:spPr>
                <p:txBody>
                  <a:bodyPr rtlCol="0" anchor="ctr"/>
                  <a:lstStyle/>
                  <a:p>
                    <a:endParaRPr lang="en-US" sz="2400"/>
                  </a:p>
                </p:txBody>
              </p:sp>
              <p:sp>
                <p:nvSpPr>
                  <p:cNvPr id="768" name="Freeform: Shape 767">
                    <a:extLst>
                      <a:ext uri="{FF2B5EF4-FFF2-40B4-BE49-F238E27FC236}">
                        <a16:creationId xmlns:a16="http://schemas.microsoft.com/office/drawing/2014/main" id="{C3AE38FA-48FD-CD52-A78C-9745E303DB4A}"/>
                      </a:ext>
                    </a:extLst>
                  </p:cNvPr>
                  <p:cNvSpPr/>
                  <p:nvPr userDrawn="1"/>
                </p:nvSpPr>
                <p:spPr>
                  <a:xfrm>
                    <a:off x="8198438" y="4536102"/>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23"/>
                          <a:pt x="42074" y="9430"/>
                          <a:pt x="42074" y="21060"/>
                        </a:cubicBezTo>
                        <a:close/>
                      </a:path>
                    </a:pathLst>
                  </a:custGeom>
                  <a:solidFill>
                    <a:srgbClr val="F6F7F9"/>
                  </a:solidFill>
                  <a:ln w="2339" cap="flat">
                    <a:noFill/>
                    <a:prstDash val="solid"/>
                    <a:miter/>
                  </a:ln>
                </p:spPr>
                <p:txBody>
                  <a:bodyPr rtlCol="0" anchor="ctr"/>
                  <a:lstStyle/>
                  <a:p>
                    <a:endParaRPr lang="en-US" sz="2400"/>
                  </a:p>
                </p:txBody>
              </p:sp>
              <p:sp>
                <p:nvSpPr>
                  <p:cNvPr id="769" name="Freeform: Shape 768">
                    <a:extLst>
                      <a:ext uri="{FF2B5EF4-FFF2-40B4-BE49-F238E27FC236}">
                        <a16:creationId xmlns:a16="http://schemas.microsoft.com/office/drawing/2014/main" id="{9C1F9F00-85F9-B821-FD3F-C7C4DB53B9A4}"/>
                      </a:ext>
                    </a:extLst>
                  </p:cNvPr>
                  <p:cNvSpPr/>
                  <p:nvPr userDrawn="1"/>
                </p:nvSpPr>
                <p:spPr>
                  <a:xfrm>
                    <a:off x="8198251" y="4536523"/>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6F7F9"/>
                  </a:solidFill>
                  <a:ln w="2339" cap="flat">
                    <a:noFill/>
                    <a:prstDash val="solid"/>
                    <a:miter/>
                  </a:ln>
                </p:spPr>
                <p:txBody>
                  <a:bodyPr rtlCol="0" anchor="ctr"/>
                  <a:lstStyle/>
                  <a:p>
                    <a:endParaRPr lang="en-US" sz="2400"/>
                  </a:p>
                </p:txBody>
              </p:sp>
              <p:sp>
                <p:nvSpPr>
                  <p:cNvPr id="770" name="Freeform: Shape 769">
                    <a:extLst>
                      <a:ext uri="{FF2B5EF4-FFF2-40B4-BE49-F238E27FC236}">
                        <a16:creationId xmlns:a16="http://schemas.microsoft.com/office/drawing/2014/main" id="{4E09F77E-A3A3-E178-4A4C-52A3FD8926D4}"/>
                      </a:ext>
                    </a:extLst>
                  </p:cNvPr>
                  <p:cNvSpPr/>
                  <p:nvPr userDrawn="1"/>
                </p:nvSpPr>
                <p:spPr>
                  <a:xfrm>
                    <a:off x="8198064" y="4536945"/>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7F7FA"/>
                  </a:solidFill>
                  <a:ln w="2339" cap="flat">
                    <a:noFill/>
                    <a:prstDash val="solid"/>
                    <a:miter/>
                  </a:ln>
                </p:spPr>
                <p:txBody>
                  <a:bodyPr rtlCol="0" anchor="ctr"/>
                  <a:lstStyle/>
                  <a:p>
                    <a:endParaRPr lang="en-US" sz="2400"/>
                  </a:p>
                </p:txBody>
              </p:sp>
              <p:sp>
                <p:nvSpPr>
                  <p:cNvPr id="771" name="Freeform: Shape 770">
                    <a:extLst>
                      <a:ext uri="{FF2B5EF4-FFF2-40B4-BE49-F238E27FC236}">
                        <a16:creationId xmlns:a16="http://schemas.microsoft.com/office/drawing/2014/main" id="{F85CEDBB-C700-2911-1079-1761FD6A52AB}"/>
                      </a:ext>
                    </a:extLst>
                  </p:cNvPr>
                  <p:cNvSpPr/>
                  <p:nvPr userDrawn="1"/>
                </p:nvSpPr>
                <p:spPr>
                  <a:xfrm>
                    <a:off x="8197877" y="4537366"/>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7F8FA"/>
                  </a:solidFill>
                  <a:ln w="2339" cap="flat">
                    <a:noFill/>
                    <a:prstDash val="solid"/>
                    <a:miter/>
                  </a:ln>
                </p:spPr>
                <p:txBody>
                  <a:bodyPr rtlCol="0" anchor="ctr"/>
                  <a:lstStyle/>
                  <a:p>
                    <a:endParaRPr lang="en-US" sz="2400"/>
                  </a:p>
                </p:txBody>
              </p:sp>
              <p:sp>
                <p:nvSpPr>
                  <p:cNvPr id="772" name="Freeform: Shape 771">
                    <a:extLst>
                      <a:ext uri="{FF2B5EF4-FFF2-40B4-BE49-F238E27FC236}">
                        <a16:creationId xmlns:a16="http://schemas.microsoft.com/office/drawing/2014/main" id="{260329DF-77F3-316E-A46D-7AAFF787BFB7}"/>
                      </a:ext>
                    </a:extLst>
                  </p:cNvPr>
                  <p:cNvSpPr/>
                  <p:nvPr userDrawn="1"/>
                </p:nvSpPr>
                <p:spPr>
                  <a:xfrm>
                    <a:off x="8197690" y="4537787"/>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7F8FA"/>
                  </a:solidFill>
                  <a:ln w="2339" cap="flat">
                    <a:noFill/>
                    <a:prstDash val="solid"/>
                    <a:miter/>
                  </a:ln>
                </p:spPr>
                <p:txBody>
                  <a:bodyPr rtlCol="0" anchor="ctr"/>
                  <a:lstStyle/>
                  <a:p>
                    <a:endParaRPr lang="en-US" sz="2400"/>
                  </a:p>
                </p:txBody>
              </p:sp>
              <p:sp>
                <p:nvSpPr>
                  <p:cNvPr id="773" name="Freeform: Shape 772">
                    <a:extLst>
                      <a:ext uri="{FF2B5EF4-FFF2-40B4-BE49-F238E27FC236}">
                        <a16:creationId xmlns:a16="http://schemas.microsoft.com/office/drawing/2014/main" id="{9DDAEABC-58DA-852B-1259-FA359C1F02AD}"/>
                      </a:ext>
                    </a:extLst>
                  </p:cNvPr>
                  <p:cNvSpPr/>
                  <p:nvPr userDrawn="1"/>
                </p:nvSpPr>
                <p:spPr>
                  <a:xfrm>
                    <a:off x="8197526" y="4538208"/>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8F8FA"/>
                  </a:solidFill>
                  <a:ln w="2339" cap="flat">
                    <a:noFill/>
                    <a:prstDash val="solid"/>
                    <a:miter/>
                  </a:ln>
                </p:spPr>
                <p:txBody>
                  <a:bodyPr rtlCol="0" anchor="ctr"/>
                  <a:lstStyle/>
                  <a:p>
                    <a:endParaRPr lang="en-US" sz="2400"/>
                  </a:p>
                </p:txBody>
              </p:sp>
              <p:sp>
                <p:nvSpPr>
                  <p:cNvPr id="774" name="Freeform: Shape 773">
                    <a:extLst>
                      <a:ext uri="{FF2B5EF4-FFF2-40B4-BE49-F238E27FC236}">
                        <a16:creationId xmlns:a16="http://schemas.microsoft.com/office/drawing/2014/main" id="{E64DCFFD-6783-FC7F-FD2C-996B9A320A4A}"/>
                      </a:ext>
                    </a:extLst>
                  </p:cNvPr>
                  <p:cNvSpPr/>
                  <p:nvPr userDrawn="1"/>
                </p:nvSpPr>
                <p:spPr>
                  <a:xfrm>
                    <a:off x="8197362" y="4538629"/>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8F9FA"/>
                  </a:solidFill>
                  <a:ln w="2339" cap="flat">
                    <a:noFill/>
                    <a:prstDash val="solid"/>
                    <a:miter/>
                  </a:ln>
                </p:spPr>
                <p:txBody>
                  <a:bodyPr rtlCol="0" anchor="ctr"/>
                  <a:lstStyle/>
                  <a:p>
                    <a:endParaRPr lang="en-US" sz="2400"/>
                  </a:p>
                </p:txBody>
              </p:sp>
              <p:sp>
                <p:nvSpPr>
                  <p:cNvPr id="775" name="Freeform: Shape 774">
                    <a:extLst>
                      <a:ext uri="{FF2B5EF4-FFF2-40B4-BE49-F238E27FC236}">
                        <a16:creationId xmlns:a16="http://schemas.microsoft.com/office/drawing/2014/main" id="{B273A2CB-1471-1D08-CF6F-F5430B62F764}"/>
                      </a:ext>
                    </a:extLst>
                  </p:cNvPr>
                  <p:cNvSpPr/>
                  <p:nvPr userDrawn="1"/>
                </p:nvSpPr>
                <p:spPr>
                  <a:xfrm>
                    <a:off x="8197198" y="4539027"/>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23"/>
                          <a:pt x="42074" y="9430"/>
                          <a:pt x="42074" y="21060"/>
                        </a:cubicBezTo>
                        <a:close/>
                      </a:path>
                    </a:pathLst>
                  </a:custGeom>
                  <a:solidFill>
                    <a:srgbClr val="F8F9FB"/>
                  </a:solidFill>
                  <a:ln w="2339" cap="flat">
                    <a:noFill/>
                    <a:prstDash val="solid"/>
                    <a:miter/>
                  </a:ln>
                </p:spPr>
                <p:txBody>
                  <a:bodyPr rtlCol="0" anchor="ctr"/>
                  <a:lstStyle/>
                  <a:p>
                    <a:endParaRPr lang="en-US" sz="2400"/>
                  </a:p>
                </p:txBody>
              </p:sp>
              <p:sp>
                <p:nvSpPr>
                  <p:cNvPr id="776" name="Freeform: Shape 775">
                    <a:extLst>
                      <a:ext uri="{FF2B5EF4-FFF2-40B4-BE49-F238E27FC236}">
                        <a16:creationId xmlns:a16="http://schemas.microsoft.com/office/drawing/2014/main" id="{61EA3DAF-DE29-14B9-8C85-AF439357F687}"/>
                      </a:ext>
                    </a:extLst>
                  </p:cNvPr>
                  <p:cNvSpPr/>
                  <p:nvPr userDrawn="1"/>
                </p:nvSpPr>
                <p:spPr>
                  <a:xfrm>
                    <a:off x="8197034" y="4539448"/>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23"/>
                          <a:pt x="42074" y="9430"/>
                          <a:pt x="42074" y="21060"/>
                        </a:cubicBezTo>
                        <a:close/>
                      </a:path>
                    </a:pathLst>
                  </a:custGeom>
                  <a:solidFill>
                    <a:srgbClr val="F9F9FB"/>
                  </a:solidFill>
                  <a:ln w="2339" cap="flat">
                    <a:noFill/>
                    <a:prstDash val="solid"/>
                    <a:miter/>
                  </a:ln>
                </p:spPr>
                <p:txBody>
                  <a:bodyPr rtlCol="0" anchor="ctr"/>
                  <a:lstStyle/>
                  <a:p>
                    <a:endParaRPr lang="en-US" sz="2400"/>
                  </a:p>
                </p:txBody>
              </p:sp>
              <p:sp>
                <p:nvSpPr>
                  <p:cNvPr id="777" name="Freeform: Shape 776">
                    <a:extLst>
                      <a:ext uri="{FF2B5EF4-FFF2-40B4-BE49-F238E27FC236}">
                        <a16:creationId xmlns:a16="http://schemas.microsoft.com/office/drawing/2014/main" id="{AC1C32A9-30AE-D1BC-B27E-7A5CD65E9B32}"/>
                      </a:ext>
                    </a:extLst>
                  </p:cNvPr>
                  <p:cNvSpPr/>
                  <p:nvPr userDrawn="1"/>
                </p:nvSpPr>
                <p:spPr>
                  <a:xfrm>
                    <a:off x="8196871" y="4539870"/>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9F9FB"/>
                  </a:solidFill>
                  <a:ln w="2339" cap="flat">
                    <a:noFill/>
                    <a:prstDash val="solid"/>
                    <a:miter/>
                  </a:ln>
                </p:spPr>
                <p:txBody>
                  <a:bodyPr rtlCol="0" anchor="ctr"/>
                  <a:lstStyle/>
                  <a:p>
                    <a:endParaRPr lang="en-US" sz="2400"/>
                  </a:p>
                </p:txBody>
              </p:sp>
              <p:sp>
                <p:nvSpPr>
                  <p:cNvPr id="778" name="Freeform: Shape 777">
                    <a:extLst>
                      <a:ext uri="{FF2B5EF4-FFF2-40B4-BE49-F238E27FC236}">
                        <a16:creationId xmlns:a16="http://schemas.microsoft.com/office/drawing/2014/main" id="{5DBC0E52-C0E4-5EB8-A59D-2456F8712018}"/>
                      </a:ext>
                    </a:extLst>
                  </p:cNvPr>
                  <p:cNvSpPr/>
                  <p:nvPr userDrawn="1"/>
                </p:nvSpPr>
                <p:spPr>
                  <a:xfrm>
                    <a:off x="8196730" y="4540291"/>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9FAFB"/>
                  </a:solidFill>
                  <a:ln w="2339" cap="flat">
                    <a:noFill/>
                    <a:prstDash val="solid"/>
                    <a:miter/>
                  </a:ln>
                </p:spPr>
                <p:txBody>
                  <a:bodyPr rtlCol="0" anchor="ctr"/>
                  <a:lstStyle/>
                  <a:p>
                    <a:endParaRPr lang="en-US" sz="2400"/>
                  </a:p>
                </p:txBody>
              </p:sp>
              <p:sp>
                <p:nvSpPr>
                  <p:cNvPr id="779" name="Freeform: Shape 778">
                    <a:extLst>
                      <a:ext uri="{FF2B5EF4-FFF2-40B4-BE49-F238E27FC236}">
                        <a16:creationId xmlns:a16="http://schemas.microsoft.com/office/drawing/2014/main" id="{895483E8-FCEB-2C4C-D9FC-CFA72085F206}"/>
                      </a:ext>
                    </a:extLst>
                  </p:cNvPr>
                  <p:cNvSpPr/>
                  <p:nvPr userDrawn="1"/>
                </p:nvSpPr>
                <p:spPr>
                  <a:xfrm>
                    <a:off x="8196590" y="4540712"/>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9FAFB"/>
                  </a:solidFill>
                  <a:ln w="2339" cap="flat">
                    <a:noFill/>
                    <a:prstDash val="solid"/>
                    <a:miter/>
                  </a:ln>
                </p:spPr>
                <p:txBody>
                  <a:bodyPr rtlCol="0" anchor="ctr"/>
                  <a:lstStyle/>
                  <a:p>
                    <a:endParaRPr lang="en-US" sz="2400"/>
                  </a:p>
                </p:txBody>
              </p:sp>
              <p:sp>
                <p:nvSpPr>
                  <p:cNvPr id="780" name="Freeform: Shape 779">
                    <a:extLst>
                      <a:ext uri="{FF2B5EF4-FFF2-40B4-BE49-F238E27FC236}">
                        <a16:creationId xmlns:a16="http://schemas.microsoft.com/office/drawing/2014/main" id="{4F66D95D-80DB-7F7F-790B-78C4BD734941}"/>
                      </a:ext>
                    </a:extLst>
                  </p:cNvPr>
                  <p:cNvSpPr/>
                  <p:nvPr userDrawn="1"/>
                </p:nvSpPr>
                <p:spPr>
                  <a:xfrm>
                    <a:off x="8196449" y="4541133"/>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07"/>
                          <a:pt x="42074" y="21060"/>
                        </a:cubicBezTo>
                        <a:close/>
                      </a:path>
                    </a:pathLst>
                  </a:custGeom>
                  <a:solidFill>
                    <a:srgbClr val="FAFAFC"/>
                  </a:solidFill>
                  <a:ln w="2339" cap="flat">
                    <a:noFill/>
                    <a:prstDash val="solid"/>
                    <a:miter/>
                  </a:ln>
                </p:spPr>
                <p:txBody>
                  <a:bodyPr rtlCol="0" anchor="ctr"/>
                  <a:lstStyle/>
                  <a:p>
                    <a:endParaRPr lang="en-US" sz="2400"/>
                  </a:p>
                </p:txBody>
              </p:sp>
              <p:sp>
                <p:nvSpPr>
                  <p:cNvPr id="781" name="Freeform: Shape 780">
                    <a:extLst>
                      <a:ext uri="{FF2B5EF4-FFF2-40B4-BE49-F238E27FC236}">
                        <a16:creationId xmlns:a16="http://schemas.microsoft.com/office/drawing/2014/main" id="{7DC62FA3-0157-F14A-4E75-9DF8D4F3C991}"/>
                      </a:ext>
                    </a:extLst>
                  </p:cNvPr>
                  <p:cNvSpPr/>
                  <p:nvPr userDrawn="1"/>
                </p:nvSpPr>
                <p:spPr>
                  <a:xfrm>
                    <a:off x="8196332" y="4541531"/>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23"/>
                          <a:pt x="42074" y="9430"/>
                          <a:pt x="42074" y="21060"/>
                        </a:cubicBezTo>
                        <a:close/>
                      </a:path>
                    </a:pathLst>
                  </a:custGeom>
                  <a:solidFill>
                    <a:srgbClr val="FAFBFC"/>
                  </a:solidFill>
                  <a:ln w="2339" cap="flat">
                    <a:noFill/>
                    <a:prstDash val="solid"/>
                    <a:miter/>
                  </a:ln>
                </p:spPr>
                <p:txBody>
                  <a:bodyPr rtlCol="0" anchor="ctr"/>
                  <a:lstStyle/>
                  <a:p>
                    <a:endParaRPr lang="en-US" sz="2400"/>
                  </a:p>
                </p:txBody>
              </p:sp>
              <p:sp>
                <p:nvSpPr>
                  <p:cNvPr id="782" name="Freeform: Shape 781">
                    <a:extLst>
                      <a:ext uri="{FF2B5EF4-FFF2-40B4-BE49-F238E27FC236}">
                        <a16:creationId xmlns:a16="http://schemas.microsoft.com/office/drawing/2014/main" id="{99B6A069-1075-DD91-6AF4-A99123EB8138}"/>
                      </a:ext>
                    </a:extLst>
                  </p:cNvPr>
                  <p:cNvSpPr/>
                  <p:nvPr userDrawn="1"/>
                </p:nvSpPr>
                <p:spPr>
                  <a:xfrm>
                    <a:off x="8196215" y="4541952"/>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AFBFC"/>
                  </a:solidFill>
                  <a:ln w="2339" cap="flat">
                    <a:noFill/>
                    <a:prstDash val="solid"/>
                    <a:miter/>
                  </a:ln>
                </p:spPr>
                <p:txBody>
                  <a:bodyPr rtlCol="0" anchor="ctr"/>
                  <a:lstStyle/>
                  <a:p>
                    <a:endParaRPr lang="en-US" sz="2400"/>
                  </a:p>
                </p:txBody>
              </p:sp>
              <p:sp>
                <p:nvSpPr>
                  <p:cNvPr id="783" name="Freeform: Shape 782">
                    <a:extLst>
                      <a:ext uri="{FF2B5EF4-FFF2-40B4-BE49-F238E27FC236}">
                        <a16:creationId xmlns:a16="http://schemas.microsoft.com/office/drawing/2014/main" id="{DDC37512-AC22-5F18-2500-DCB7D175D662}"/>
                      </a:ext>
                    </a:extLst>
                  </p:cNvPr>
                  <p:cNvSpPr/>
                  <p:nvPr userDrawn="1"/>
                </p:nvSpPr>
                <p:spPr>
                  <a:xfrm>
                    <a:off x="8196098" y="4542373"/>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BFBFC"/>
                  </a:solidFill>
                  <a:ln w="2339" cap="flat">
                    <a:noFill/>
                    <a:prstDash val="solid"/>
                    <a:miter/>
                  </a:ln>
                </p:spPr>
                <p:txBody>
                  <a:bodyPr rtlCol="0" anchor="ctr"/>
                  <a:lstStyle/>
                  <a:p>
                    <a:endParaRPr lang="en-US" sz="2400"/>
                  </a:p>
                </p:txBody>
              </p:sp>
              <p:sp>
                <p:nvSpPr>
                  <p:cNvPr id="784" name="Freeform: Shape 783">
                    <a:extLst>
                      <a:ext uri="{FF2B5EF4-FFF2-40B4-BE49-F238E27FC236}">
                        <a16:creationId xmlns:a16="http://schemas.microsoft.com/office/drawing/2014/main" id="{7628D5DD-0507-17AA-9222-AF25BDE88216}"/>
                      </a:ext>
                    </a:extLst>
                  </p:cNvPr>
                  <p:cNvSpPr/>
                  <p:nvPr userDrawn="1"/>
                </p:nvSpPr>
                <p:spPr>
                  <a:xfrm>
                    <a:off x="8195981" y="4542771"/>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23"/>
                          <a:pt x="42074" y="9430"/>
                          <a:pt x="42074" y="21060"/>
                        </a:cubicBezTo>
                        <a:close/>
                      </a:path>
                    </a:pathLst>
                  </a:custGeom>
                  <a:solidFill>
                    <a:srgbClr val="FBFBFC"/>
                  </a:solidFill>
                  <a:ln w="2339" cap="flat">
                    <a:noFill/>
                    <a:prstDash val="solid"/>
                    <a:miter/>
                  </a:ln>
                </p:spPr>
                <p:txBody>
                  <a:bodyPr rtlCol="0" anchor="ctr"/>
                  <a:lstStyle/>
                  <a:p>
                    <a:endParaRPr lang="en-US" sz="2400"/>
                  </a:p>
                </p:txBody>
              </p:sp>
              <p:sp>
                <p:nvSpPr>
                  <p:cNvPr id="785" name="Freeform: Shape 784">
                    <a:extLst>
                      <a:ext uri="{FF2B5EF4-FFF2-40B4-BE49-F238E27FC236}">
                        <a16:creationId xmlns:a16="http://schemas.microsoft.com/office/drawing/2014/main" id="{44312CD4-142B-A9A1-10F2-FAB0C78A6D00}"/>
                      </a:ext>
                    </a:extLst>
                  </p:cNvPr>
                  <p:cNvSpPr/>
                  <p:nvPr userDrawn="1"/>
                </p:nvSpPr>
                <p:spPr>
                  <a:xfrm>
                    <a:off x="8195864" y="4543192"/>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BFCFD"/>
                  </a:solidFill>
                  <a:ln w="2339" cap="flat">
                    <a:noFill/>
                    <a:prstDash val="solid"/>
                    <a:miter/>
                  </a:ln>
                </p:spPr>
                <p:txBody>
                  <a:bodyPr rtlCol="0" anchor="ctr"/>
                  <a:lstStyle/>
                  <a:p>
                    <a:endParaRPr lang="en-US" sz="2400"/>
                  </a:p>
                </p:txBody>
              </p:sp>
              <p:sp>
                <p:nvSpPr>
                  <p:cNvPr id="786" name="Freeform: Shape 785">
                    <a:extLst>
                      <a:ext uri="{FF2B5EF4-FFF2-40B4-BE49-F238E27FC236}">
                        <a16:creationId xmlns:a16="http://schemas.microsoft.com/office/drawing/2014/main" id="{BF2B258C-C495-3C7E-65BC-1C06AB3B5FA8}"/>
                      </a:ext>
                    </a:extLst>
                  </p:cNvPr>
                  <p:cNvSpPr/>
                  <p:nvPr userDrawn="1"/>
                </p:nvSpPr>
                <p:spPr>
                  <a:xfrm>
                    <a:off x="8195771" y="4543614"/>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CFCFD"/>
                  </a:solidFill>
                  <a:ln w="2339" cap="flat">
                    <a:noFill/>
                    <a:prstDash val="solid"/>
                    <a:miter/>
                  </a:ln>
                </p:spPr>
                <p:txBody>
                  <a:bodyPr rtlCol="0" anchor="ctr"/>
                  <a:lstStyle/>
                  <a:p>
                    <a:endParaRPr lang="en-US" sz="2400"/>
                  </a:p>
                </p:txBody>
              </p:sp>
              <p:sp>
                <p:nvSpPr>
                  <p:cNvPr id="787" name="Freeform: Shape 786">
                    <a:extLst>
                      <a:ext uri="{FF2B5EF4-FFF2-40B4-BE49-F238E27FC236}">
                        <a16:creationId xmlns:a16="http://schemas.microsoft.com/office/drawing/2014/main" id="{128662C9-1199-E5F6-DE12-C8EE5AE305BC}"/>
                      </a:ext>
                    </a:extLst>
                  </p:cNvPr>
                  <p:cNvSpPr/>
                  <p:nvPr userDrawn="1"/>
                </p:nvSpPr>
                <p:spPr>
                  <a:xfrm>
                    <a:off x="8195677" y="4544035"/>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07"/>
                          <a:pt x="42074" y="21060"/>
                        </a:cubicBezTo>
                        <a:close/>
                      </a:path>
                    </a:pathLst>
                  </a:custGeom>
                  <a:solidFill>
                    <a:srgbClr val="FCFCFD"/>
                  </a:solidFill>
                  <a:ln w="2339" cap="flat">
                    <a:noFill/>
                    <a:prstDash val="solid"/>
                    <a:miter/>
                  </a:ln>
                </p:spPr>
                <p:txBody>
                  <a:bodyPr rtlCol="0" anchor="ctr"/>
                  <a:lstStyle/>
                  <a:p>
                    <a:endParaRPr lang="en-US" sz="2400"/>
                  </a:p>
                </p:txBody>
              </p:sp>
              <p:sp>
                <p:nvSpPr>
                  <p:cNvPr id="788" name="Freeform: Shape 787">
                    <a:extLst>
                      <a:ext uri="{FF2B5EF4-FFF2-40B4-BE49-F238E27FC236}">
                        <a16:creationId xmlns:a16="http://schemas.microsoft.com/office/drawing/2014/main" id="{27741F1D-87ED-80FB-D398-DA9D4AF978FF}"/>
                      </a:ext>
                    </a:extLst>
                  </p:cNvPr>
                  <p:cNvSpPr/>
                  <p:nvPr userDrawn="1"/>
                </p:nvSpPr>
                <p:spPr>
                  <a:xfrm>
                    <a:off x="8195584" y="4544433"/>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CFCFD"/>
                  </a:solidFill>
                  <a:ln w="2339" cap="flat">
                    <a:noFill/>
                    <a:prstDash val="solid"/>
                    <a:miter/>
                  </a:ln>
                </p:spPr>
                <p:txBody>
                  <a:bodyPr rtlCol="0" anchor="ctr"/>
                  <a:lstStyle/>
                  <a:p>
                    <a:endParaRPr lang="en-US" sz="2400"/>
                  </a:p>
                </p:txBody>
              </p:sp>
              <p:sp>
                <p:nvSpPr>
                  <p:cNvPr id="789" name="Freeform: Shape 788">
                    <a:extLst>
                      <a:ext uri="{FF2B5EF4-FFF2-40B4-BE49-F238E27FC236}">
                        <a16:creationId xmlns:a16="http://schemas.microsoft.com/office/drawing/2014/main" id="{E730A6D6-4F58-B26F-1FB4-C23A2945B5AB}"/>
                      </a:ext>
                    </a:extLst>
                  </p:cNvPr>
                  <p:cNvSpPr/>
                  <p:nvPr userDrawn="1"/>
                </p:nvSpPr>
                <p:spPr>
                  <a:xfrm>
                    <a:off x="8195490" y="4544854"/>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DFDFD"/>
                  </a:solidFill>
                  <a:ln w="2339" cap="flat">
                    <a:noFill/>
                    <a:prstDash val="solid"/>
                    <a:miter/>
                  </a:ln>
                </p:spPr>
                <p:txBody>
                  <a:bodyPr rtlCol="0" anchor="ctr"/>
                  <a:lstStyle/>
                  <a:p>
                    <a:endParaRPr lang="en-US" sz="2400"/>
                  </a:p>
                </p:txBody>
              </p:sp>
              <p:sp>
                <p:nvSpPr>
                  <p:cNvPr id="790" name="Freeform: Shape 789">
                    <a:extLst>
                      <a:ext uri="{FF2B5EF4-FFF2-40B4-BE49-F238E27FC236}">
                        <a16:creationId xmlns:a16="http://schemas.microsoft.com/office/drawing/2014/main" id="{68259089-61B5-BB40-535E-BBD2D9B0696E}"/>
                      </a:ext>
                    </a:extLst>
                  </p:cNvPr>
                  <p:cNvSpPr/>
                  <p:nvPr userDrawn="1"/>
                </p:nvSpPr>
                <p:spPr>
                  <a:xfrm>
                    <a:off x="8195420" y="4545252"/>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23"/>
                          <a:pt x="42074" y="9430"/>
                          <a:pt x="42074" y="21060"/>
                        </a:cubicBezTo>
                        <a:close/>
                      </a:path>
                    </a:pathLst>
                  </a:custGeom>
                  <a:solidFill>
                    <a:srgbClr val="FDFDFE"/>
                  </a:solidFill>
                  <a:ln w="2339" cap="flat">
                    <a:noFill/>
                    <a:prstDash val="solid"/>
                    <a:miter/>
                  </a:ln>
                </p:spPr>
                <p:txBody>
                  <a:bodyPr rtlCol="0" anchor="ctr"/>
                  <a:lstStyle/>
                  <a:p>
                    <a:endParaRPr lang="en-US" sz="2400"/>
                  </a:p>
                </p:txBody>
              </p:sp>
              <p:sp>
                <p:nvSpPr>
                  <p:cNvPr id="791" name="Freeform: Shape 790">
                    <a:extLst>
                      <a:ext uri="{FF2B5EF4-FFF2-40B4-BE49-F238E27FC236}">
                        <a16:creationId xmlns:a16="http://schemas.microsoft.com/office/drawing/2014/main" id="{D1AB3285-EBD5-D9DF-5986-8FAAB1322376}"/>
                      </a:ext>
                    </a:extLst>
                  </p:cNvPr>
                  <p:cNvSpPr/>
                  <p:nvPr userDrawn="1"/>
                </p:nvSpPr>
                <p:spPr>
                  <a:xfrm>
                    <a:off x="8195350" y="4545673"/>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DFDFE"/>
                  </a:solidFill>
                  <a:ln w="2339" cap="flat">
                    <a:noFill/>
                    <a:prstDash val="solid"/>
                    <a:miter/>
                  </a:ln>
                </p:spPr>
                <p:txBody>
                  <a:bodyPr rtlCol="0" anchor="ctr"/>
                  <a:lstStyle/>
                  <a:p>
                    <a:endParaRPr lang="en-US" sz="2400"/>
                  </a:p>
                </p:txBody>
              </p:sp>
              <p:sp>
                <p:nvSpPr>
                  <p:cNvPr id="792" name="Freeform: Shape 791">
                    <a:extLst>
                      <a:ext uri="{FF2B5EF4-FFF2-40B4-BE49-F238E27FC236}">
                        <a16:creationId xmlns:a16="http://schemas.microsoft.com/office/drawing/2014/main" id="{FFB86897-0B8F-6244-A2B9-F96181AA9222}"/>
                      </a:ext>
                    </a:extLst>
                  </p:cNvPr>
                  <p:cNvSpPr/>
                  <p:nvPr userDrawn="1"/>
                </p:nvSpPr>
                <p:spPr>
                  <a:xfrm>
                    <a:off x="8195279" y="4546071"/>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23"/>
                          <a:pt x="42074" y="9430"/>
                          <a:pt x="42074" y="21060"/>
                        </a:cubicBezTo>
                        <a:close/>
                      </a:path>
                    </a:pathLst>
                  </a:custGeom>
                  <a:solidFill>
                    <a:srgbClr val="FDFEFE"/>
                  </a:solidFill>
                  <a:ln w="2339" cap="flat">
                    <a:noFill/>
                    <a:prstDash val="solid"/>
                    <a:miter/>
                  </a:ln>
                </p:spPr>
                <p:txBody>
                  <a:bodyPr rtlCol="0" anchor="ctr"/>
                  <a:lstStyle/>
                  <a:p>
                    <a:endParaRPr lang="en-US" sz="2400"/>
                  </a:p>
                </p:txBody>
              </p:sp>
              <p:sp>
                <p:nvSpPr>
                  <p:cNvPr id="793" name="Freeform: Shape 792">
                    <a:extLst>
                      <a:ext uri="{FF2B5EF4-FFF2-40B4-BE49-F238E27FC236}">
                        <a16:creationId xmlns:a16="http://schemas.microsoft.com/office/drawing/2014/main" id="{C8CADA43-38A7-FEED-4B0F-A5E7EE2CC868}"/>
                      </a:ext>
                    </a:extLst>
                  </p:cNvPr>
                  <p:cNvSpPr/>
                  <p:nvPr userDrawn="1"/>
                </p:nvSpPr>
                <p:spPr>
                  <a:xfrm>
                    <a:off x="8195233" y="4546492"/>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EFEFE"/>
                  </a:solidFill>
                  <a:ln w="2339" cap="flat">
                    <a:noFill/>
                    <a:prstDash val="solid"/>
                    <a:miter/>
                  </a:ln>
                </p:spPr>
                <p:txBody>
                  <a:bodyPr rtlCol="0" anchor="ctr"/>
                  <a:lstStyle/>
                  <a:p>
                    <a:endParaRPr lang="en-US" sz="2400"/>
                  </a:p>
                </p:txBody>
              </p:sp>
              <p:sp>
                <p:nvSpPr>
                  <p:cNvPr id="794" name="Freeform: Shape 793">
                    <a:extLst>
                      <a:ext uri="{FF2B5EF4-FFF2-40B4-BE49-F238E27FC236}">
                        <a16:creationId xmlns:a16="http://schemas.microsoft.com/office/drawing/2014/main" id="{C5B888CC-9BE6-AD6D-1BC2-E54C9AED0EDE}"/>
                      </a:ext>
                    </a:extLst>
                  </p:cNvPr>
                  <p:cNvSpPr/>
                  <p:nvPr userDrawn="1"/>
                </p:nvSpPr>
                <p:spPr>
                  <a:xfrm>
                    <a:off x="8195162" y="4546890"/>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23"/>
                          <a:pt x="42074" y="9430"/>
                          <a:pt x="42074" y="21060"/>
                        </a:cubicBezTo>
                        <a:close/>
                      </a:path>
                    </a:pathLst>
                  </a:custGeom>
                  <a:solidFill>
                    <a:srgbClr val="FEFEFE"/>
                  </a:solidFill>
                  <a:ln w="2339" cap="flat">
                    <a:noFill/>
                    <a:prstDash val="solid"/>
                    <a:miter/>
                  </a:ln>
                </p:spPr>
                <p:txBody>
                  <a:bodyPr rtlCol="0" anchor="ctr"/>
                  <a:lstStyle/>
                  <a:p>
                    <a:endParaRPr lang="en-US" sz="2400"/>
                  </a:p>
                </p:txBody>
              </p:sp>
              <p:sp>
                <p:nvSpPr>
                  <p:cNvPr id="795" name="Freeform: Shape 794">
                    <a:extLst>
                      <a:ext uri="{FF2B5EF4-FFF2-40B4-BE49-F238E27FC236}">
                        <a16:creationId xmlns:a16="http://schemas.microsoft.com/office/drawing/2014/main" id="{0D2A4F54-FFFE-7280-B4FD-0DED9E738478}"/>
                      </a:ext>
                    </a:extLst>
                  </p:cNvPr>
                  <p:cNvSpPr/>
                  <p:nvPr userDrawn="1"/>
                </p:nvSpPr>
                <p:spPr>
                  <a:xfrm>
                    <a:off x="8195116" y="4547311"/>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EFEFF"/>
                  </a:solidFill>
                  <a:ln w="2339" cap="flat">
                    <a:noFill/>
                    <a:prstDash val="solid"/>
                    <a:miter/>
                  </a:ln>
                </p:spPr>
                <p:txBody>
                  <a:bodyPr rtlCol="0" anchor="ctr"/>
                  <a:lstStyle/>
                  <a:p>
                    <a:endParaRPr lang="en-US" sz="2400"/>
                  </a:p>
                </p:txBody>
              </p:sp>
              <p:sp>
                <p:nvSpPr>
                  <p:cNvPr id="796" name="Freeform: Shape 795">
                    <a:extLst>
                      <a:ext uri="{FF2B5EF4-FFF2-40B4-BE49-F238E27FC236}">
                        <a16:creationId xmlns:a16="http://schemas.microsoft.com/office/drawing/2014/main" id="{94108A76-BB67-DD4E-E8E7-9BB6B3DF6626}"/>
                      </a:ext>
                    </a:extLst>
                  </p:cNvPr>
                  <p:cNvSpPr/>
                  <p:nvPr userDrawn="1"/>
                </p:nvSpPr>
                <p:spPr>
                  <a:xfrm>
                    <a:off x="8195069" y="4547709"/>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23"/>
                          <a:pt x="42074" y="9430"/>
                          <a:pt x="42074" y="21060"/>
                        </a:cubicBezTo>
                        <a:close/>
                      </a:path>
                    </a:pathLst>
                  </a:custGeom>
                  <a:solidFill>
                    <a:srgbClr val="FFFFFF"/>
                  </a:solidFill>
                  <a:ln w="2339" cap="flat">
                    <a:noFill/>
                    <a:prstDash val="solid"/>
                    <a:miter/>
                  </a:ln>
                </p:spPr>
                <p:txBody>
                  <a:bodyPr rtlCol="0" anchor="ctr"/>
                  <a:lstStyle/>
                  <a:p>
                    <a:endParaRPr lang="en-US" sz="2400"/>
                  </a:p>
                </p:txBody>
              </p:sp>
              <p:sp>
                <p:nvSpPr>
                  <p:cNvPr id="797" name="Freeform: Shape 796">
                    <a:extLst>
                      <a:ext uri="{FF2B5EF4-FFF2-40B4-BE49-F238E27FC236}">
                        <a16:creationId xmlns:a16="http://schemas.microsoft.com/office/drawing/2014/main" id="{32343370-D8A6-368C-45D2-8CFF6B95A804}"/>
                      </a:ext>
                    </a:extLst>
                  </p:cNvPr>
                  <p:cNvSpPr/>
                  <p:nvPr userDrawn="1"/>
                </p:nvSpPr>
                <p:spPr>
                  <a:xfrm>
                    <a:off x="8195045" y="4548130"/>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FFFFF"/>
                  </a:solidFill>
                  <a:ln w="2339" cap="flat">
                    <a:noFill/>
                    <a:prstDash val="solid"/>
                    <a:miter/>
                  </a:ln>
                </p:spPr>
                <p:txBody>
                  <a:bodyPr rtlCol="0" anchor="ctr"/>
                  <a:lstStyle/>
                  <a:p>
                    <a:endParaRPr lang="en-US" sz="2400"/>
                  </a:p>
                </p:txBody>
              </p:sp>
            </p:grpSp>
            <p:grpSp>
              <p:nvGrpSpPr>
                <p:cNvPr id="798" name="Graphic 4">
                  <a:extLst>
                    <a:ext uri="{FF2B5EF4-FFF2-40B4-BE49-F238E27FC236}">
                      <a16:creationId xmlns:a16="http://schemas.microsoft.com/office/drawing/2014/main" id="{49498D74-2319-C3AA-1A1F-A570ED918020}"/>
                    </a:ext>
                  </a:extLst>
                </p:cNvPr>
                <p:cNvGrpSpPr/>
                <p:nvPr userDrawn="1"/>
              </p:nvGrpSpPr>
              <p:grpSpPr>
                <a:xfrm>
                  <a:off x="8382317" y="4482867"/>
                  <a:ext cx="144917" cy="107360"/>
                  <a:chOff x="8382317" y="4482867"/>
                  <a:chExt cx="144917" cy="107359"/>
                </a:xfrm>
              </p:grpSpPr>
              <p:sp>
                <p:nvSpPr>
                  <p:cNvPr id="799" name="Freeform: Shape 798">
                    <a:extLst>
                      <a:ext uri="{FF2B5EF4-FFF2-40B4-BE49-F238E27FC236}">
                        <a16:creationId xmlns:a16="http://schemas.microsoft.com/office/drawing/2014/main" id="{ED981670-0184-7700-BB91-53B97CEE0F22}"/>
                      </a:ext>
                    </a:extLst>
                  </p:cNvPr>
                  <p:cNvSpPr/>
                  <p:nvPr userDrawn="1"/>
                </p:nvSpPr>
                <p:spPr>
                  <a:xfrm>
                    <a:off x="8382317" y="4482867"/>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1B8CC"/>
                  </a:solidFill>
                  <a:ln w="2339" cap="flat">
                    <a:noFill/>
                    <a:prstDash val="solid"/>
                    <a:miter/>
                  </a:ln>
                </p:spPr>
                <p:txBody>
                  <a:bodyPr rtlCol="0" anchor="ctr"/>
                  <a:lstStyle/>
                  <a:p>
                    <a:endParaRPr lang="en-US" sz="2400"/>
                  </a:p>
                </p:txBody>
              </p:sp>
              <p:sp>
                <p:nvSpPr>
                  <p:cNvPr id="800" name="Freeform: Shape 799">
                    <a:extLst>
                      <a:ext uri="{FF2B5EF4-FFF2-40B4-BE49-F238E27FC236}">
                        <a16:creationId xmlns:a16="http://schemas.microsoft.com/office/drawing/2014/main" id="{AFCD6D97-A79B-04DA-23CA-1EA93533E7F5}"/>
                      </a:ext>
                    </a:extLst>
                  </p:cNvPr>
                  <p:cNvSpPr/>
                  <p:nvPr userDrawn="1"/>
                </p:nvSpPr>
                <p:spPr>
                  <a:xfrm>
                    <a:off x="8382902" y="4482937"/>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0"/>
                          <a:pt x="0" y="9430"/>
                          <a:pt x="0" y="21037"/>
                        </a:cubicBezTo>
                        <a:close/>
                      </a:path>
                    </a:pathLst>
                  </a:custGeom>
                  <a:solidFill>
                    <a:srgbClr val="B1B8CC"/>
                  </a:solidFill>
                  <a:ln w="2339" cap="flat">
                    <a:noFill/>
                    <a:prstDash val="solid"/>
                    <a:miter/>
                  </a:ln>
                </p:spPr>
                <p:txBody>
                  <a:bodyPr rtlCol="0" anchor="ctr"/>
                  <a:lstStyle/>
                  <a:p>
                    <a:endParaRPr lang="en-US" sz="2400"/>
                  </a:p>
                </p:txBody>
              </p:sp>
              <p:sp>
                <p:nvSpPr>
                  <p:cNvPr id="801" name="Freeform: Shape 800">
                    <a:extLst>
                      <a:ext uri="{FF2B5EF4-FFF2-40B4-BE49-F238E27FC236}">
                        <a16:creationId xmlns:a16="http://schemas.microsoft.com/office/drawing/2014/main" id="{A743CDEC-67F4-3441-2DFE-279E91FAD764}"/>
                      </a:ext>
                    </a:extLst>
                  </p:cNvPr>
                  <p:cNvSpPr/>
                  <p:nvPr userDrawn="1"/>
                </p:nvSpPr>
                <p:spPr>
                  <a:xfrm>
                    <a:off x="8383464" y="4483031"/>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0"/>
                          <a:pt x="0" y="9407"/>
                          <a:pt x="0" y="21037"/>
                        </a:cubicBezTo>
                        <a:close/>
                      </a:path>
                    </a:pathLst>
                  </a:custGeom>
                  <a:solidFill>
                    <a:srgbClr val="B2B9CC"/>
                  </a:solidFill>
                  <a:ln w="2339" cap="flat">
                    <a:noFill/>
                    <a:prstDash val="solid"/>
                    <a:miter/>
                  </a:ln>
                </p:spPr>
                <p:txBody>
                  <a:bodyPr rtlCol="0" anchor="ctr"/>
                  <a:lstStyle/>
                  <a:p>
                    <a:endParaRPr lang="en-US" sz="2400"/>
                  </a:p>
                </p:txBody>
              </p:sp>
              <p:sp>
                <p:nvSpPr>
                  <p:cNvPr id="802" name="Freeform: Shape 801">
                    <a:extLst>
                      <a:ext uri="{FF2B5EF4-FFF2-40B4-BE49-F238E27FC236}">
                        <a16:creationId xmlns:a16="http://schemas.microsoft.com/office/drawing/2014/main" id="{2603FD01-BD6E-D78B-D332-F1BAB32D2458}"/>
                      </a:ext>
                    </a:extLst>
                  </p:cNvPr>
                  <p:cNvSpPr/>
                  <p:nvPr userDrawn="1"/>
                </p:nvSpPr>
                <p:spPr>
                  <a:xfrm>
                    <a:off x="8384025" y="448312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2B9CD"/>
                  </a:solidFill>
                  <a:ln w="2339" cap="flat">
                    <a:noFill/>
                    <a:prstDash val="solid"/>
                    <a:miter/>
                  </a:ln>
                </p:spPr>
                <p:txBody>
                  <a:bodyPr rtlCol="0" anchor="ctr"/>
                  <a:lstStyle/>
                  <a:p>
                    <a:endParaRPr lang="en-US" sz="2400"/>
                  </a:p>
                </p:txBody>
              </p:sp>
              <p:sp>
                <p:nvSpPr>
                  <p:cNvPr id="803" name="Freeform: Shape 802">
                    <a:extLst>
                      <a:ext uri="{FF2B5EF4-FFF2-40B4-BE49-F238E27FC236}">
                        <a16:creationId xmlns:a16="http://schemas.microsoft.com/office/drawing/2014/main" id="{C5B4CED5-AC2F-87AD-A39F-0BDECFF309E2}"/>
                      </a:ext>
                    </a:extLst>
                  </p:cNvPr>
                  <p:cNvSpPr/>
                  <p:nvPr userDrawn="1"/>
                </p:nvSpPr>
                <p:spPr>
                  <a:xfrm>
                    <a:off x="8384587" y="4483218"/>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2B9CD"/>
                  </a:solidFill>
                  <a:ln w="2339" cap="flat">
                    <a:noFill/>
                    <a:prstDash val="solid"/>
                    <a:miter/>
                  </a:ln>
                </p:spPr>
                <p:txBody>
                  <a:bodyPr rtlCol="0" anchor="ctr"/>
                  <a:lstStyle/>
                  <a:p>
                    <a:endParaRPr lang="en-US" sz="2400"/>
                  </a:p>
                </p:txBody>
              </p:sp>
              <p:sp>
                <p:nvSpPr>
                  <p:cNvPr id="804" name="Freeform: Shape 803">
                    <a:extLst>
                      <a:ext uri="{FF2B5EF4-FFF2-40B4-BE49-F238E27FC236}">
                        <a16:creationId xmlns:a16="http://schemas.microsoft.com/office/drawing/2014/main" id="{CAEC5832-65AC-06B3-CA58-C6252632C95F}"/>
                      </a:ext>
                    </a:extLst>
                  </p:cNvPr>
                  <p:cNvSpPr/>
                  <p:nvPr userDrawn="1"/>
                </p:nvSpPr>
                <p:spPr>
                  <a:xfrm>
                    <a:off x="8385148" y="4483288"/>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B3B9CD"/>
                  </a:solidFill>
                  <a:ln w="2339" cap="flat">
                    <a:noFill/>
                    <a:prstDash val="solid"/>
                    <a:miter/>
                  </a:ln>
                </p:spPr>
                <p:txBody>
                  <a:bodyPr rtlCol="0" anchor="ctr"/>
                  <a:lstStyle/>
                  <a:p>
                    <a:endParaRPr lang="en-US" sz="2400"/>
                  </a:p>
                </p:txBody>
              </p:sp>
              <p:sp>
                <p:nvSpPr>
                  <p:cNvPr id="805" name="Freeform: Shape 804">
                    <a:extLst>
                      <a:ext uri="{FF2B5EF4-FFF2-40B4-BE49-F238E27FC236}">
                        <a16:creationId xmlns:a16="http://schemas.microsoft.com/office/drawing/2014/main" id="{B71FDBD8-6C93-FD72-06A0-63655161C631}"/>
                      </a:ext>
                    </a:extLst>
                  </p:cNvPr>
                  <p:cNvSpPr/>
                  <p:nvPr userDrawn="1"/>
                </p:nvSpPr>
                <p:spPr>
                  <a:xfrm>
                    <a:off x="8385710" y="4483382"/>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3BACD"/>
                  </a:solidFill>
                  <a:ln w="2339" cap="flat">
                    <a:noFill/>
                    <a:prstDash val="solid"/>
                    <a:miter/>
                  </a:ln>
                </p:spPr>
                <p:txBody>
                  <a:bodyPr rtlCol="0" anchor="ctr"/>
                  <a:lstStyle/>
                  <a:p>
                    <a:endParaRPr lang="en-US" sz="2400"/>
                  </a:p>
                </p:txBody>
              </p:sp>
              <p:sp>
                <p:nvSpPr>
                  <p:cNvPr id="806" name="Freeform: Shape 805">
                    <a:extLst>
                      <a:ext uri="{FF2B5EF4-FFF2-40B4-BE49-F238E27FC236}">
                        <a16:creationId xmlns:a16="http://schemas.microsoft.com/office/drawing/2014/main" id="{7FA4A341-1B3D-4B9D-C9A2-ECF23B873006}"/>
                      </a:ext>
                    </a:extLst>
                  </p:cNvPr>
                  <p:cNvSpPr/>
                  <p:nvPr userDrawn="1"/>
                </p:nvSpPr>
                <p:spPr>
                  <a:xfrm>
                    <a:off x="8386272" y="4483475"/>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3BACD"/>
                  </a:solidFill>
                  <a:ln w="2339" cap="flat">
                    <a:noFill/>
                    <a:prstDash val="solid"/>
                    <a:miter/>
                  </a:ln>
                </p:spPr>
                <p:txBody>
                  <a:bodyPr rtlCol="0" anchor="ctr"/>
                  <a:lstStyle/>
                  <a:p>
                    <a:endParaRPr lang="en-US" sz="2400"/>
                  </a:p>
                </p:txBody>
              </p:sp>
              <p:sp>
                <p:nvSpPr>
                  <p:cNvPr id="807" name="Freeform: Shape 806">
                    <a:extLst>
                      <a:ext uri="{FF2B5EF4-FFF2-40B4-BE49-F238E27FC236}">
                        <a16:creationId xmlns:a16="http://schemas.microsoft.com/office/drawing/2014/main" id="{907757A9-B29D-11C1-2F69-B5F02AF3991D}"/>
                      </a:ext>
                    </a:extLst>
                  </p:cNvPr>
                  <p:cNvSpPr/>
                  <p:nvPr userDrawn="1"/>
                </p:nvSpPr>
                <p:spPr>
                  <a:xfrm>
                    <a:off x="8386833" y="4483569"/>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3BACE"/>
                  </a:solidFill>
                  <a:ln w="2339" cap="flat">
                    <a:noFill/>
                    <a:prstDash val="solid"/>
                    <a:miter/>
                  </a:ln>
                </p:spPr>
                <p:txBody>
                  <a:bodyPr rtlCol="0" anchor="ctr"/>
                  <a:lstStyle/>
                  <a:p>
                    <a:endParaRPr lang="en-US" sz="2400"/>
                  </a:p>
                </p:txBody>
              </p:sp>
              <p:sp>
                <p:nvSpPr>
                  <p:cNvPr id="808" name="Freeform: Shape 807">
                    <a:extLst>
                      <a:ext uri="{FF2B5EF4-FFF2-40B4-BE49-F238E27FC236}">
                        <a16:creationId xmlns:a16="http://schemas.microsoft.com/office/drawing/2014/main" id="{25D3B317-3A83-47A3-833B-9DC216025290}"/>
                      </a:ext>
                    </a:extLst>
                  </p:cNvPr>
                  <p:cNvSpPr/>
                  <p:nvPr userDrawn="1"/>
                </p:nvSpPr>
                <p:spPr>
                  <a:xfrm>
                    <a:off x="8387395" y="4483662"/>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4BBCE"/>
                  </a:solidFill>
                  <a:ln w="2339" cap="flat">
                    <a:noFill/>
                    <a:prstDash val="solid"/>
                    <a:miter/>
                  </a:ln>
                </p:spPr>
                <p:txBody>
                  <a:bodyPr rtlCol="0" anchor="ctr"/>
                  <a:lstStyle/>
                  <a:p>
                    <a:endParaRPr lang="en-US" sz="2400"/>
                  </a:p>
                </p:txBody>
              </p:sp>
              <p:sp>
                <p:nvSpPr>
                  <p:cNvPr id="809" name="Freeform: Shape 808">
                    <a:extLst>
                      <a:ext uri="{FF2B5EF4-FFF2-40B4-BE49-F238E27FC236}">
                        <a16:creationId xmlns:a16="http://schemas.microsoft.com/office/drawing/2014/main" id="{C3C666BD-CB0F-7D1E-666B-E5E7A55FB1CB}"/>
                      </a:ext>
                    </a:extLst>
                  </p:cNvPr>
                  <p:cNvSpPr/>
                  <p:nvPr userDrawn="1"/>
                </p:nvSpPr>
                <p:spPr>
                  <a:xfrm>
                    <a:off x="8387956" y="448375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B4BBCE"/>
                  </a:solidFill>
                  <a:ln w="2339" cap="flat">
                    <a:noFill/>
                    <a:prstDash val="solid"/>
                    <a:miter/>
                  </a:ln>
                </p:spPr>
                <p:txBody>
                  <a:bodyPr rtlCol="0" anchor="ctr"/>
                  <a:lstStyle/>
                  <a:p>
                    <a:endParaRPr lang="en-US" sz="2400"/>
                  </a:p>
                </p:txBody>
              </p:sp>
              <p:sp>
                <p:nvSpPr>
                  <p:cNvPr id="810" name="Freeform: Shape 809">
                    <a:extLst>
                      <a:ext uri="{FF2B5EF4-FFF2-40B4-BE49-F238E27FC236}">
                        <a16:creationId xmlns:a16="http://schemas.microsoft.com/office/drawing/2014/main" id="{37A87CAF-D1AA-440B-8A47-1971216A4DDF}"/>
                      </a:ext>
                    </a:extLst>
                  </p:cNvPr>
                  <p:cNvSpPr/>
                  <p:nvPr userDrawn="1"/>
                </p:nvSpPr>
                <p:spPr>
                  <a:xfrm>
                    <a:off x="8388518" y="4483850"/>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B4BBCE"/>
                  </a:solidFill>
                  <a:ln w="2339" cap="flat">
                    <a:noFill/>
                    <a:prstDash val="solid"/>
                    <a:miter/>
                  </a:ln>
                </p:spPr>
                <p:txBody>
                  <a:bodyPr rtlCol="0" anchor="ctr"/>
                  <a:lstStyle/>
                  <a:p>
                    <a:endParaRPr lang="en-US" sz="2400"/>
                  </a:p>
                </p:txBody>
              </p:sp>
              <p:sp>
                <p:nvSpPr>
                  <p:cNvPr id="811" name="Freeform: Shape 810">
                    <a:extLst>
                      <a:ext uri="{FF2B5EF4-FFF2-40B4-BE49-F238E27FC236}">
                        <a16:creationId xmlns:a16="http://schemas.microsoft.com/office/drawing/2014/main" id="{AFD77177-AF02-C5BC-2635-01732B3AA46A}"/>
                      </a:ext>
                    </a:extLst>
                  </p:cNvPr>
                  <p:cNvSpPr/>
                  <p:nvPr userDrawn="1"/>
                </p:nvSpPr>
                <p:spPr>
                  <a:xfrm>
                    <a:off x="8389080" y="448396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5BBCE"/>
                  </a:solidFill>
                  <a:ln w="2339" cap="flat">
                    <a:noFill/>
                    <a:prstDash val="solid"/>
                    <a:miter/>
                  </a:ln>
                </p:spPr>
                <p:txBody>
                  <a:bodyPr rtlCol="0" anchor="ctr"/>
                  <a:lstStyle/>
                  <a:p>
                    <a:endParaRPr lang="en-US" sz="2400"/>
                  </a:p>
                </p:txBody>
              </p:sp>
              <p:sp>
                <p:nvSpPr>
                  <p:cNvPr id="812" name="Freeform: Shape 811">
                    <a:extLst>
                      <a:ext uri="{FF2B5EF4-FFF2-40B4-BE49-F238E27FC236}">
                        <a16:creationId xmlns:a16="http://schemas.microsoft.com/office/drawing/2014/main" id="{1E67FAE5-43C7-B346-5BFB-EB448F1FC87E}"/>
                      </a:ext>
                    </a:extLst>
                  </p:cNvPr>
                  <p:cNvSpPr/>
                  <p:nvPr userDrawn="1"/>
                </p:nvSpPr>
                <p:spPr>
                  <a:xfrm>
                    <a:off x="8389641" y="4484060"/>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5BCCF"/>
                  </a:solidFill>
                  <a:ln w="2339" cap="flat">
                    <a:noFill/>
                    <a:prstDash val="solid"/>
                    <a:miter/>
                  </a:ln>
                </p:spPr>
                <p:txBody>
                  <a:bodyPr rtlCol="0" anchor="ctr"/>
                  <a:lstStyle/>
                  <a:p>
                    <a:endParaRPr lang="en-US" sz="2400"/>
                  </a:p>
                </p:txBody>
              </p:sp>
              <p:sp>
                <p:nvSpPr>
                  <p:cNvPr id="813" name="Freeform: Shape 812">
                    <a:extLst>
                      <a:ext uri="{FF2B5EF4-FFF2-40B4-BE49-F238E27FC236}">
                        <a16:creationId xmlns:a16="http://schemas.microsoft.com/office/drawing/2014/main" id="{A4D46D91-55AF-0104-B25E-3211F1702156}"/>
                      </a:ext>
                    </a:extLst>
                  </p:cNvPr>
                  <p:cNvSpPr/>
                  <p:nvPr userDrawn="1"/>
                </p:nvSpPr>
                <p:spPr>
                  <a:xfrm>
                    <a:off x="8390203" y="448415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5BCCF"/>
                  </a:solidFill>
                  <a:ln w="2339" cap="flat">
                    <a:noFill/>
                    <a:prstDash val="solid"/>
                    <a:miter/>
                  </a:ln>
                </p:spPr>
                <p:txBody>
                  <a:bodyPr rtlCol="0" anchor="ctr"/>
                  <a:lstStyle/>
                  <a:p>
                    <a:endParaRPr lang="en-US" sz="2400"/>
                  </a:p>
                </p:txBody>
              </p:sp>
              <p:sp>
                <p:nvSpPr>
                  <p:cNvPr id="814" name="Freeform: Shape 813">
                    <a:extLst>
                      <a:ext uri="{FF2B5EF4-FFF2-40B4-BE49-F238E27FC236}">
                        <a16:creationId xmlns:a16="http://schemas.microsoft.com/office/drawing/2014/main" id="{96B013E7-75B3-858E-DE06-8C55F0263CD3}"/>
                      </a:ext>
                    </a:extLst>
                  </p:cNvPr>
                  <p:cNvSpPr/>
                  <p:nvPr userDrawn="1"/>
                </p:nvSpPr>
                <p:spPr>
                  <a:xfrm>
                    <a:off x="8390764" y="4484247"/>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B6BCCF"/>
                  </a:solidFill>
                  <a:ln w="2339" cap="flat">
                    <a:noFill/>
                    <a:prstDash val="solid"/>
                    <a:miter/>
                  </a:ln>
                </p:spPr>
                <p:txBody>
                  <a:bodyPr rtlCol="0" anchor="ctr"/>
                  <a:lstStyle/>
                  <a:p>
                    <a:endParaRPr lang="en-US" sz="2400"/>
                  </a:p>
                </p:txBody>
              </p:sp>
              <p:sp>
                <p:nvSpPr>
                  <p:cNvPr id="815" name="Freeform: Shape 814">
                    <a:extLst>
                      <a:ext uri="{FF2B5EF4-FFF2-40B4-BE49-F238E27FC236}">
                        <a16:creationId xmlns:a16="http://schemas.microsoft.com/office/drawing/2014/main" id="{A8AE9EBE-06C9-AA58-9693-C2B56F78E931}"/>
                      </a:ext>
                    </a:extLst>
                  </p:cNvPr>
                  <p:cNvSpPr/>
                  <p:nvPr userDrawn="1"/>
                </p:nvSpPr>
                <p:spPr>
                  <a:xfrm>
                    <a:off x="8391326" y="448436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6BCCF"/>
                  </a:solidFill>
                  <a:ln w="2339" cap="flat">
                    <a:noFill/>
                    <a:prstDash val="solid"/>
                    <a:miter/>
                  </a:ln>
                </p:spPr>
                <p:txBody>
                  <a:bodyPr rtlCol="0" anchor="ctr"/>
                  <a:lstStyle/>
                  <a:p>
                    <a:endParaRPr lang="en-US" sz="2400"/>
                  </a:p>
                </p:txBody>
              </p:sp>
              <p:sp>
                <p:nvSpPr>
                  <p:cNvPr id="816" name="Freeform: Shape 815">
                    <a:extLst>
                      <a:ext uri="{FF2B5EF4-FFF2-40B4-BE49-F238E27FC236}">
                        <a16:creationId xmlns:a16="http://schemas.microsoft.com/office/drawing/2014/main" id="{BFCD30C8-9835-07FA-7E0A-8093F88C3F67}"/>
                      </a:ext>
                    </a:extLst>
                  </p:cNvPr>
                  <p:cNvSpPr/>
                  <p:nvPr userDrawn="1"/>
                </p:nvSpPr>
                <p:spPr>
                  <a:xfrm>
                    <a:off x="8391888" y="4484458"/>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0"/>
                          <a:pt x="0" y="9430"/>
                          <a:pt x="0" y="21037"/>
                        </a:cubicBezTo>
                        <a:close/>
                      </a:path>
                    </a:pathLst>
                  </a:custGeom>
                  <a:solidFill>
                    <a:srgbClr val="B6BDCF"/>
                  </a:solidFill>
                  <a:ln w="2339" cap="flat">
                    <a:noFill/>
                    <a:prstDash val="solid"/>
                    <a:miter/>
                  </a:ln>
                </p:spPr>
                <p:txBody>
                  <a:bodyPr rtlCol="0" anchor="ctr"/>
                  <a:lstStyle/>
                  <a:p>
                    <a:endParaRPr lang="en-US" sz="2400"/>
                  </a:p>
                </p:txBody>
              </p:sp>
              <p:sp>
                <p:nvSpPr>
                  <p:cNvPr id="817" name="Freeform: Shape 816">
                    <a:extLst>
                      <a:ext uri="{FF2B5EF4-FFF2-40B4-BE49-F238E27FC236}">
                        <a16:creationId xmlns:a16="http://schemas.microsoft.com/office/drawing/2014/main" id="{6D01859F-E64F-AF73-0866-9BC07D131FCF}"/>
                      </a:ext>
                    </a:extLst>
                  </p:cNvPr>
                  <p:cNvSpPr/>
                  <p:nvPr userDrawn="1"/>
                </p:nvSpPr>
                <p:spPr>
                  <a:xfrm>
                    <a:off x="8392449" y="4484575"/>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23"/>
                          <a:pt x="0" y="9407"/>
                          <a:pt x="0" y="21037"/>
                        </a:cubicBezTo>
                        <a:close/>
                      </a:path>
                    </a:pathLst>
                  </a:custGeom>
                  <a:solidFill>
                    <a:srgbClr val="B7BDD0"/>
                  </a:solidFill>
                  <a:ln w="2339" cap="flat">
                    <a:noFill/>
                    <a:prstDash val="solid"/>
                    <a:miter/>
                  </a:ln>
                </p:spPr>
                <p:txBody>
                  <a:bodyPr rtlCol="0" anchor="ctr"/>
                  <a:lstStyle/>
                  <a:p>
                    <a:endParaRPr lang="en-US" sz="2400"/>
                  </a:p>
                </p:txBody>
              </p:sp>
              <p:sp>
                <p:nvSpPr>
                  <p:cNvPr id="818" name="Freeform: Shape 817">
                    <a:extLst>
                      <a:ext uri="{FF2B5EF4-FFF2-40B4-BE49-F238E27FC236}">
                        <a16:creationId xmlns:a16="http://schemas.microsoft.com/office/drawing/2014/main" id="{75FBFA9A-8FCD-D9C9-46E3-72D4A4F5AACA}"/>
                      </a:ext>
                    </a:extLst>
                  </p:cNvPr>
                  <p:cNvSpPr/>
                  <p:nvPr userDrawn="1"/>
                </p:nvSpPr>
                <p:spPr>
                  <a:xfrm>
                    <a:off x="8392987" y="4484669"/>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B7BDD0"/>
                  </a:solidFill>
                  <a:ln w="2339" cap="flat">
                    <a:noFill/>
                    <a:prstDash val="solid"/>
                    <a:miter/>
                  </a:ln>
                </p:spPr>
                <p:txBody>
                  <a:bodyPr rtlCol="0" anchor="ctr"/>
                  <a:lstStyle/>
                  <a:p>
                    <a:endParaRPr lang="en-US" sz="2400"/>
                  </a:p>
                </p:txBody>
              </p:sp>
              <p:sp>
                <p:nvSpPr>
                  <p:cNvPr id="819" name="Freeform: Shape 818">
                    <a:extLst>
                      <a:ext uri="{FF2B5EF4-FFF2-40B4-BE49-F238E27FC236}">
                        <a16:creationId xmlns:a16="http://schemas.microsoft.com/office/drawing/2014/main" id="{9E481C85-8E2E-F969-0175-1C3A5D6A5C6A}"/>
                      </a:ext>
                    </a:extLst>
                  </p:cNvPr>
                  <p:cNvSpPr/>
                  <p:nvPr userDrawn="1"/>
                </p:nvSpPr>
                <p:spPr>
                  <a:xfrm>
                    <a:off x="8393549" y="448478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7BED0"/>
                  </a:solidFill>
                  <a:ln w="2339" cap="flat">
                    <a:noFill/>
                    <a:prstDash val="solid"/>
                    <a:miter/>
                  </a:ln>
                </p:spPr>
                <p:txBody>
                  <a:bodyPr rtlCol="0" anchor="ctr"/>
                  <a:lstStyle/>
                  <a:p>
                    <a:endParaRPr lang="en-US" sz="2400"/>
                  </a:p>
                </p:txBody>
              </p:sp>
              <p:sp>
                <p:nvSpPr>
                  <p:cNvPr id="820" name="Freeform: Shape 819">
                    <a:extLst>
                      <a:ext uri="{FF2B5EF4-FFF2-40B4-BE49-F238E27FC236}">
                        <a16:creationId xmlns:a16="http://schemas.microsoft.com/office/drawing/2014/main" id="{8B0188C3-962F-ACA0-337A-FD574CDF28AA}"/>
                      </a:ext>
                    </a:extLst>
                  </p:cNvPr>
                  <p:cNvSpPr/>
                  <p:nvPr userDrawn="1"/>
                </p:nvSpPr>
                <p:spPr>
                  <a:xfrm>
                    <a:off x="8394111" y="4484902"/>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7BED0"/>
                  </a:solidFill>
                  <a:ln w="2339" cap="flat">
                    <a:noFill/>
                    <a:prstDash val="solid"/>
                    <a:miter/>
                  </a:ln>
                </p:spPr>
                <p:txBody>
                  <a:bodyPr rtlCol="0" anchor="ctr"/>
                  <a:lstStyle/>
                  <a:p>
                    <a:endParaRPr lang="en-US" sz="2400"/>
                  </a:p>
                </p:txBody>
              </p:sp>
              <p:sp>
                <p:nvSpPr>
                  <p:cNvPr id="821" name="Freeform: Shape 820">
                    <a:extLst>
                      <a:ext uri="{FF2B5EF4-FFF2-40B4-BE49-F238E27FC236}">
                        <a16:creationId xmlns:a16="http://schemas.microsoft.com/office/drawing/2014/main" id="{E5D30E73-5334-3B26-98D5-822AC06C9907}"/>
                      </a:ext>
                    </a:extLst>
                  </p:cNvPr>
                  <p:cNvSpPr/>
                  <p:nvPr userDrawn="1"/>
                </p:nvSpPr>
                <p:spPr>
                  <a:xfrm>
                    <a:off x="8394672" y="448499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0"/>
                          <a:pt x="0" y="9430"/>
                          <a:pt x="0" y="21037"/>
                        </a:cubicBezTo>
                        <a:close/>
                      </a:path>
                    </a:pathLst>
                  </a:custGeom>
                  <a:solidFill>
                    <a:srgbClr val="B8BED0"/>
                  </a:solidFill>
                  <a:ln w="2339" cap="flat">
                    <a:noFill/>
                    <a:prstDash val="solid"/>
                    <a:miter/>
                  </a:ln>
                </p:spPr>
                <p:txBody>
                  <a:bodyPr rtlCol="0" anchor="ctr"/>
                  <a:lstStyle/>
                  <a:p>
                    <a:endParaRPr lang="en-US" sz="2400"/>
                  </a:p>
                </p:txBody>
              </p:sp>
              <p:sp>
                <p:nvSpPr>
                  <p:cNvPr id="822" name="Freeform: Shape 821">
                    <a:extLst>
                      <a:ext uri="{FF2B5EF4-FFF2-40B4-BE49-F238E27FC236}">
                        <a16:creationId xmlns:a16="http://schemas.microsoft.com/office/drawing/2014/main" id="{8287E318-89EE-BEF5-B3BA-E404BCFCA284}"/>
                      </a:ext>
                    </a:extLst>
                  </p:cNvPr>
                  <p:cNvSpPr/>
                  <p:nvPr userDrawn="1"/>
                </p:nvSpPr>
                <p:spPr>
                  <a:xfrm>
                    <a:off x="8395210" y="4485113"/>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8BED1"/>
                  </a:solidFill>
                  <a:ln w="2339" cap="flat">
                    <a:noFill/>
                    <a:prstDash val="solid"/>
                    <a:miter/>
                  </a:ln>
                </p:spPr>
                <p:txBody>
                  <a:bodyPr rtlCol="0" anchor="ctr"/>
                  <a:lstStyle/>
                  <a:p>
                    <a:endParaRPr lang="en-US" sz="2400"/>
                  </a:p>
                </p:txBody>
              </p:sp>
              <p:sp>
                <p:nvSpPr>
                  <p:cNvPr id="823" name="Freeform: Shape 822">
                    <a:extLst>
                      <a:ext uri="{FF2B5EF4-FFF2-40B4-BE49-F238E27FC236}">
                        <a16:creationId xmlns:a16="http://schemas.microsoft.com/office/drawing/2014/main" id="{F1A7959F-D35D-0294-D045-FF9A344C268C}"/>
                      </a:ext>
                    </a:extLst>
                  </p:cNvPr>
                  <p:cNvSpPr/>
                  <p:nvPr userDrawn="1"/>
                </p:nvSpPr>
                <p:spPr>
                  <a:xfrm>
                    <a:off x="8395772" y="4485230"/>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8BFD1"/>
                  </a:solidFill>
                  <a:ln w="2339" cap="flat">
                    <a:noFill/>
                    <a:prstDash val="solid"/>
                    <a:miter/>
                  </a:ln>
                </p:spPr>
                <p:txBody>
                  <a:bodyPr rtlCol="0" anchor="ctr"/>
                  <a:lstStyle/>
                  <a:p>
                    <a:endParaRPr lang="en-US" sz="2400"/>
                  </a:p>
                </p:txBody>
              </p:sp>
              <p:sp>
                <p:nvSpPr>
                  <p:cNvPr id="824" name="Freeform: Shape 823">
                    <a:extLst>
                      <a:ext uri="{FF2B5EF4-FFF2-40B4-BE49-F238E27FC236}">
                        <a16:creationId xmlns:a16="http://schemas.microsoft.com/office/drawing/2014/main" id="{460FD42E-6EF6-FF8E-6E33-78B02CCFCB1E}"/>
                      </a:ext>
                    </a:extLst>
                  </p:cNvPr>
                  <p:cNvSpPr/>
                  <p:nvPr userDrawn="1"/>
                </p:nvSpPr>
                <p:spPr>
                  <a:xfrm>
                    <a:off x="8396310" y="4485347"/>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9BFD1"/>
                  </a:solidFill>
                  <a:ln w="2339" cap="flat">
                    <a:noFill/>
                    <a:prstDash val="solid"/>
                    <a:miter/>
                  </a:ln>
                </p:spPr>
                <p:txBody>
                  <a:bodyPr rtlCol="0" anchor="ctr"/>
                  <a:lstStyle/>
                  <a:p>
                    <a:endParaRPr lang="en-US" sz="2400"/>
                  </a:p>
                </p:txBody>
              </p:sp>
              <p:sp>
                <p:nvSpPr>
                  <p:cNvPr id="825" name="Freeform: Shape 824">
                    <a:extLst>
                      <a:ext uri="{FF2B5EF4-FFF2-40B4-BE49-F238E27FC236}">
                        <a16:creationId xmlns:a16="http://schemas.microsoft.com/office/drawing/2014/main" id="{C6013E4B-79BA-15D3-4906-D2953694CDB5}"/>
                      </a:ext>
                    </a:extLst>
                  </p:cNvPr>
                  <p:cNvSpPr/>
                  <p:nvPr userDrawn="1"/>
                </p:nvSpPr>
                <p:spPr>
                  <a:xfrm>
                    <a:off x="8396872" y="448546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9BFD1"/>
                  </a:solidFill>
                  <a:ln w="2339" cap="flat">
                    <a:noFill/>
                    <a:prstDash val="solid"/>
                    <a:miter/>
                  </a:ln>
                </p:spPr>
                <p:txBody>
                  <a:bodyPr rtlCol="0" anchor="ctr"/>
                  <a:lstStyle/>
                  <a:p>
                    <a:endParaRPr lang="en-US" sz="2400"/>
                  </a:p>
                </p:txBody>
              </p:sp>
              <p:sp>
                <p:nvSpPr>
                  <p:cNvPr id="826" name="Freeform: Shape 825">
                    <a:extLst>
                      <a:ext uri="{FF2B5EF4-FFF2-40B4-BE49-F238E27FC236}">
                        <a16:creationId xmlns:a16="http://schemas.microsoft.com/office/drawing/2014/main" id="{D9578A16-99DA-BC11-1374-41067FDA3787}"/>
                      </a:ext>
                    </a:extLst>
                  </p:cNvPr>
                  <p:cNvSpPr/>
                  <p:nvPr userDrawn="1"/>
                </p:nvSpPr>
                <p:spPr>
                  <a:xfrm>
                    <a:off x="8397433" y="4485581"/>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23"/>
                          <a:pt x="0" y="9407"/>
                          <a:pt x="0" y="21037"/>
                        </a:cubicBezTo>
                        <a:close/>
                      </a:path>
                    </a:pathLst>
                  </a:custGeom>
                  <a:solidFill>
                    <a:srgbClr val="B9C0D1"/>
                  </a:solidFill>
                  <a:ln w="2339" cap="flat">
                    <a:noFill/>
                    <a:prstDash val="solid"/>
                    <a:miter/>
                  </a:ln>
                </p:spPr>
                <p:txBody>
                  <a:bodyPr rtlCol="0" anchor="ctr"/>
                  <a:lstStyle/>
                  <a:p>
                    <a:endParaRPr lang="en-US" sz="2400"/>
                  </a:p>
                </p:txBody>
              </p:sp>
              <p:sp>
                <p:nvSpPr>
                  <p:cNvPr id="827" name="Freeform: Shape 826">
                    <a:extLst>
                      <a:ext uri="{FF2B5EF4-FFF2-40B4-BE49-F238E27FC236}">
                        <a16:creationId xmlns:a16="http://schemas.microsoft.com/office/drawing/2014/main" id="{6E551B56-094C-D344-905D-403FC9DD1F37}"/>
                      </a:ext>
                    </a:extLst>
                  </p:cNvPr>
                  <p:cNvSpPr/>
                  <p:nvPr userDrawn="1"/>
                </p:nvSpPr>
                <p:spPr>
                  <a:xfrm>
                    <a:off x="8397972" y="4485698"/>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AC0D2"/>
                  </a:solidFill>
                  <a:ln w="2339" cap="flat">
                    <a:noFill/>
                    <a:prstDash val="solid"/>
                    <a:miter/>
                  </a:ln>
                </p:spPr>
                <p:txBody>
                  <a:bodyPr rtlCol="0" anchor="ctr"/>
                  <a:lstStyle/>
                  <a:p>
                    <a:endParaRPr lang="en-US" sz="2400"/>
                  </a:p>
                </p:txBody>
              </p:sp>
              <p:sp>
                <p:nvSpPr>
                  <p:cNvPr id="828" name="Freeform: Shape 827">
                    <a:extLst>
                      <a:ext uri="{FF2B5EF4-FFF2-40B4-BE49-F238E27FC236}">
                        <a16:creationId xmlns:a16="http://schemas.microsoft.com/office/drawing/2014/main" id="{CA3A2033-581F-3E22-AE3C-F9B2125FAC1C}"/>
                      </a:ext>
                    </a:extLst>
                  </p:cNvPr>
                  <p:cNvSpPr/>
                  <p:nvPr userDrawn="1"/>
                </p:nvSpPr>
                <p:spPr>
                  <a:xfrm>
                    <a:off x="8398510" y="4485815"/>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AC0D2"/>
                  </a:solidFill>
                  <a:ln w="2339" cap="flat">
                    <a:noFill/>
                    <a:prstDash val="solid"/>
                    <a:miter/>
                  </a:ln>
                </p:spPr>
                <p:txBody>
                  <a:bodyPr rtlCol="0" anchor="ctr"/>
                  <a:lstStyle/>
                  <a:p>
                    <a:endParaRPr lang="en-US" sz="2400"/>
                  </a:p>
                </p:txBody>
              </p:sp>
              <p:sp>
                <p:nvSpPr>
                  <p:cNvPr id="829" name="Freeform: Shape 828">
                    <a:extLst>
                      <a:ext uri="{FF2B5EF4-FFF2-40B4-BE49-F238E27FC236}">
                        <a16:creationId xmlns:a16="http://schemas.microsoft.com/office/drawing/2014/main" id="{157CAD30-32CB-104C-4B5E-8B76B2BABEF2}"/>
                      </a:ext>
                    </a:extLst>
                  </p:cNvPr>
                  <p:cNvSpPr/>
                  <p:nvPr userDrawn="1"/>
                </p:nvSpPr>
                <p:spPr>
                  <a:xfrm>
                    <a:off x="8399071" y="4485932"/>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AC0D2"/>
                  </a:solidFill>
                  <a:ln w="2339" cap="flat">
                    <a:noFill/>
                    <a:prstDash val="solid"/>
                    <a:miter/>
                  </a:ln>
                </p:spPr>
                <p:txBody>
                  <a:bodyPr rtlCol="0" anchor="ctr"/>
                  <a:lstStyle/>
                  <a:p>
                    <a:endParaRPr lang="en-US" sz="2400"/>
                  </a:p>
                </p:txBody>
              </p:sp>
              <p:sp>
                <p:nvSpPr>
                  <p:cNvPr id="830" name="Freeform: Shape 829">
                    <a:extLst>
                      <a:ext uri="{FF2B5EF4-FFF2-40B4-BE49-F238E27FC236}">
                        <a16:creationId xmlns:a16="http://schemas.microsoft.com/office/drawing/2014/main" id="{A70FFF44-4A6C-4BBE-5319-C65E941BCB1C}"/>
                      </a:ext>
                    </a:extLst>
                  </p:cNvPr>
                  <p:cNvSpPr/>
                  <p:nvPr userDrawn="1"/>
                </p:nvSpPr>
                <p:spPr>
                  <a:xfrm>
                    <a:off x="8399610" y="4486049"/>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AC1D2"/>
                  </a:solidFill>
                  <a:ln w="2339" cap="flat">
                    <a:noFill/>
                    <a:prstDash val="solid"/>
                    <a:miter/>
                  </a:ln>
                </p:spPr>
                <p:txBody>
                  <a:bodyPr rtlCol="0" anchor="ctr"/>
                  <a:lstStyle/>
                  <a:p>
                    <a:endParaRPr lang="en-US" sz="2400"/>
                  </a:p>
                </p:txBody>
              </p:sp>
              <p:sp>
                <p:nvSpPr>
                  <p:cNvPr id="831" name="Freeform: Shape 830">
                    <a:extLst>
                      <a:ext uri="{FF2B5EF4-FFF2-40B4-BE49-F238E27FC236}">
                        <a16:creationId xmlns:a16="http://schemas.microsoft.com/office/drawing/2014/main" id="{5FE05EE7-8A3D-7BCA-384A-24FEF10B894C}"/>
                      </a:ext>
                    </a:extLst>
                  </p:cNvPr>
                  <p:cNvSpPr/>
                  <p:nvPr userDrawn="1"/>
                </p:nvSpPr>
                <p:spPr>
                  <a:xfrm>
                    <a:off x="8400171" y="448616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0"/>
                          <a:pt x="0" y="9430"/>
                          <a:pt x="0" y="21037"/>
                        </a:cubicBezTo>
                        <a:close/>
                      </a:path>
                    </a:pathLst>
                  </a:custGeom>
                  <a:solidFill>
                    <a:srgbClr val="BBC1D2"/>
                  </a:solidFill>
                  <a:ln w="2339" cap="flat">
                    <a:noFill/>
                    <a:prstDash val="solid"/>
                    <a:miter/>
                  </a:ln>
                </p:spPr>
                <p:txBody>
                  <a:bodyPr rtlCol="0" anchor="ctr"/>
                  <a:lstStyle/>
                  <a:p>
                    <a:endParaRPr lang="en-US" sz="2400"/>
                  </a:p>
                </p:txBody>
              </p:sp>
              <p:sp>
                <p:nvSpPr>
                  <p:cNvPr id="832" name="Freeform: Shape 831">
                    <a:extLst>
                      <a:ext uri="{FF2B5EF4-FFF2-40B4-BE49-F238E27FC236}">
                        <a16:creationId xmlns:a16="http://schemas.microsoft.com/office/drawing/2014/main" id="{C19DA6E9-56D2-ADD2-8EC5-59C957A75399}"/>
                      </a:ext>
                    </a:extLst>
                  </p:cNvPr>
                  <p:cNvSpPr/>
                  <p:nvPr userDrawn="1"/>
                </p:nvSpPr>
                <p:spPr>
                  <a:xfrm>
                    <a:off x="8400710" y="448630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BC1D3"/>
                  </a:solidFill>
                  <a:ln w="2339" cap="flat">
                    <a:noFill/>
                    <a:prstDash val="solid"/>
                    <a:miter/>
                  </a:ln>
                </p:spPr>
                <p:txBody>
                  <a:bodyPr rtlCol="0" anchor="ctr"/>
                  <a:lstStyle/>
                  <a:p>
                    <a:endParaRPr lang="en-US" sz="2400"/>
                  </a:p>
                </p:txBody>
              </p:sp>
              <p:sp>
                <p:nvSpPr>
                  <p:cNvPr id="833" name="Freeform: Shape 832">
                    <a:extLst>
                      <a:ext uri="{FF2B5EF4-FFF2-40B4-BE49-F238E27FC236}">
                        <a16:creationId xmlns:a16="http://schemas.microsoft.com/office/drawing/2014/main" id="{048E643D-BB9A-CDE9-5AED-39BB7B61873B}"/>
                      </a:ext>
                    </a:extLst>
                  </p:cNvPr>
                  <p:cNvSpPr/>
                  <p:nvPr userDrawn="1"/>
                </p:nvSpPr>
                <p:spPr>
                  <a:xfrm>
                    <a:off x="8401248" y="448642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BC1D3"/>
                  </a:solidFill>
                  <a:ln w="2339" cap="flat">
                    <a:noFill/>
                    <a:prstDash val="solid"/>
                    <a:miter/>
                  </a:ln>
                </p:spPr>
                <p:txBody>
                  <a:bodyPr rtlCol="0" anchor="ctr"/>
                  <a:lstStyle/>
                  <a:p>
                    <a:endParaRPr lang="en-US" sz="2400"/>
                  </a:p>
                </p:txBody>
              </p:sp>
              <p:sp>
                <p:nvSpPr>
                  <p:cNvPr id="834" name="Freeform: Shape 833">
                    <a:extLst>
                      <a:ext uri="{FF2B5EF4-FFF2-40B4-BE49-F238E27FC236}">
                        <a16:creationId xmlns:a16="http://schemas.microsoft.com/office/drawing/2014/main" id="{5EFF1AA5-6A9E-124C-55FA-090BD2D8A595}"/>
                      </a:ext>
                    </a:extLst>
                  </p:cNvPr>
                  <p:cNvSpPr/>
                  <p:nvPr userDrawn="1"/>
                </p:nvSpPr>
                <p:spPr>
                  <a:xfrm>
                    <a:off x="8401809" y="4486541"/>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0"/>
                          <a:pt x="0" y="9430"/>
                          <a:pt x="0" y="21037"/>
                        </a:cubicBezTo>
                        <a:close/>
                      </a:path>
                    </a:pathLst>
                  </a:custGeom>
                  <a:solidFill>
                    <a:srgbClr val="BCC2D3"/>
                  </a:solidFill>
                  <a:ln w="2339" cap="flat">
                    <a:noFill/>
                    <a:prstDash val="solid"/>
                    <a:miter/>
                  </a:ln>
                </p:spPr>
                <p:txBody>
                  <a:bodyPr rtlCol="0" anchor="ctr"/>
                  <a:lstStyle/>
                  <a:p>
                    <a:endParaRPr lang="en-US" sz="2400"/>
                  </a:p>
                </p:txBody>
              </p:sp>
              <p:sp>
                <p:nvSpPr>
                  <p:cNvPr id="835" name="Freeform: Shape 834">
                    <a:extLst>
                      <a:ext uri="{FF2B5EF4-FFF2-40B4-BE49-F238E27FC236}">
                        <a16:creationId xmlns:a16="http://schemas.microsoft.com/office/drawing/2014/main" id="{2057DB7E-882D-C15C-C85F-CEE8953764F3}"/>
                      </a:ext>
                    </a:extLst>
                  </p:cNvPr>
                  <p:cNvSpPr/>
                  <p:nvPr userDrawn="1"/>
                </p:nvSpPr>
                <p:spPr>
                  <a:xfrm>
                    <a:off x="8402348" y="4486681"/>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23"/>
                          <a:pt x="0" y="9407"/>
                          <a:pt x="0" y="21037"/>
                        </a:cubicBezTo>
                        <a:close/>
                      </a:path>
                    </a:pathLst>
                  </a:custGeom>
                  <a:solidFill>
                    <a:srgbClr val="BCC2D3"/>
                  </a:solidFill>
                  <a:ln w="2339" cap="flat">
                    <a:noFill/>
                    <a:prstDash val="solid"/>
                    <a:miter/>
                  </a:ln>
                </p:spPr>
                <p:txBody>
                  <a:bodyPr rtlCol="0" anchor="ctr"/>
                  <a:lstStyle/>
                  <a:p>
                    <a:endParaRPr lang="en-US" sz="2400"/>
                  </a:p>
                </p:txBody>
              </p:sp>
              <p:sp>
                <p:nvSpPr>
                  <p:cNvPr id="836" name="Freeform: Shape 835">
                    <a:extLst>
                      <a:ext uri="{FF2B5EF4-FFF2-40B4-BE49-F238E27FC236}">
                        <a16:creationId xmlns:a16="http://schemas.microsoft.com/office/drawing/2014/main" id="{0F9BA9CF-E824-4367-83F9-06F26B4B5A21}"/>
                      </a:ext>
                    </a:extLst>
                  </p:cNvPr>
                  <p:cNvSpPr/>
                  <p:nvPr userDrawn="1"/>
                </p:nvSpPr>
                <p:spPr>
                  <a:xfrm>
                    <a:off x="8402886" y="4486798"/>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CC2D3"/>
                  </a:solidFill>
                  <a:ln w="2339" cap="flat">
                    <a:noFill/>
                    <a:prstDash val="solid"/>
                    <a:miter/>
                  </a:ln>
                </p:spPr>
                <p:txBody>
                  <a:bodyPr rtlCol="0" anchor="ctr"/>
                  <a:lstStyle/>
                  <a:p>
                    <a:endParaRPr lang="en-US" sz="2400"/>
                  </a:p>
                </p:txBody>
              </p:sp>
              <p:sp>
                <p:nvSpPr>
                  <p:cNvPr id="837" name="Freeform: Shape 836">
                    <a:extLst>
                      <a:ext uri="{FF2B5EF4-FFF2-40B4-BE49-F238E27FC236}">
                        <a16:creationId xmlns:a16="http://schemas.microsoft.com/office/drawing/2014/main" id="{8AFD96C4-B6D8-DB12-BE1E-9F57749702DC}"/>
                      </a:ext>
                    </a:extLst>
                  </p:cNvPr>
                  <p:cNvSpPr/>
                  <p:nvPr userDrawn="1"/>
                </p:nvSpPr>
                <p:spPr>
                  <a:xfrm>
                    <a:off x="8403424" y="4486938"/>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DC3D4"/>
                  </a:solidFill>
                  <a:ln w="2339" cap="flat">
                    <a:noFill/>
                    <a:prstDash val="solid"/>
                    <a:miter/>
                  </a:ln>
                </p:spPr>
                <p:txBody>
                  <a:bodyPr rtlCol="0" anchor="ctr"/>
                  <a:lstStyle/>
                  <a:p>
                    <a:endParaRPr lang="en-US" sz="2400"/>
                  </a:p>
                </p:txBody>
              </p:sp>
              <p:sp>
                <p:nvSpPr>
                  <p:cNvPr id="838" name="Freeform: Shape 837">
                    <a:extLst>
                      <a:ext uri="{FF2B5EF4-FFF2-40B4-BE49-F238E27FC236}">
                        <a16:creationId xmlns:a16="http://schemas.microsoft.com/office/drawing/2014/main" id="{3EE365E8-4802-CC0F-F5C7-9A1D5F7C9F5E}"/>
                      </a:ext>
                    </a:extLst>
                  </p:cNvPr>
                  <p:cNvSpPr/>
                  <p:nvPr userDrawn="1"/>
                </p:nvSpPr>
                <p:spPr>
                  <a:xfrm>
                    <a:off x="8403962" y="4487055"/>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BDC3D4"/>
                  </a:solidFill>
                  <a:ln w="2339" cap="flat">
                    <a:noFill/>
                    <a:prstDash val="solid"/>
                    <a:miter/>
                  </a:ln>
                </p:spPr>
                <p:txBody>
                  <a:bodyPr rtlCol="0" anchor="ctr"/>
                  <a:lstStyle/>
                  <a:p>
                    <a:endParaRPr lang="en-US" sz="2400"/>
                  </a:p>
                </p:txBody>
              </p:sp>
              <p:sp>
                <p:nvSpPr>
                  <p:cNvPr id="839" name="Freeform: Shape 838">
                    <a:extLst>
                      <a:ext uri="{FF2B5EF4-FFF2-40B4-BE49-F238E27FC236}">
                        <a16:creationId xmlns:a16="http://schemas.microsoft.com/office/drawing/2014/main" id="{5910B7F1-5ED5-C08F-C038-202B397650B9}"/>
                      </a:ext>
                    </a:extLst>
                  </p:cNvPr>
                  <p:cNvSpPr/>
                  <p:nvPr userDrawn="1"/>
                </p:nvSpPr>
                <p:spPr>
                  <a:xfrm>
                    <a:off x="8404500" y="448719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DC3D4"/>
                  </a:solidFill>
                  <a:ln w="2339" cap="flat">
                    <a:noFill/>
                    <a:prstDash val="solid"/>
                    <a:miter/>
                  </a:ln>
                </p:spPr>
                <p:txBody>
                  <a:bodyPr rtlCol="0" anchor="ctr"/>
                  <a:lstStyle/>
                  <a:p>
                    <a:endParaRPr lang="en-US" sz="2400"/>
                  </a:p>
                </p:txBody>
              </p:sp>
              <p:sp>
                <p:nvSpPr>
                  <p:cNvPr id="840" name="Freeform: Shape 839">
                    <a:extLst>
                      <a:ext uri="{FF2B5EF4-FFF2-40B4-BE49-F238E27FC236}">
                        <a16:creationId xmlns:a16="http://schemas.microsoft.com/office/drawing/2014/main" id="{8D799E99-DA44-405A-1171-AC3A15E35F72}"/>
                      </a:ext>
                    </a:extLst>
                  </p:cNvPr>
                  <p:cNvSpPr/>
                  <p:nvPr userDrawn="1"/>
                </p:nvSpPr>
                <p:spPr>
                  <a:xfrm>
                    <a:off x="8405039" y="448733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EC3D4"/>
                  </a:solidFill>
                  <a:ln w="2339" cap="flat">
                    <a:noFill/>
                    <a:prstDash val="solid"/>
                    <a:miter/>
                  </a:ln>
                </p:spPr>
                <p:txBody>
                  <a:bodyPr rtlCol="0" anchor="ctr"/>
                  <a:lstStyle/>
                  <a:p>
                    <a:endParaRPr lang="en-US" sz="2400"/>
                  </a:p>
                </p:txBody>
              </p:sp>
              <p:sp>
                <p:nvSpPr>
                  <p:cNvPr id="841" name="Freeform: Shape 840">
                    <a:extLst>
                      <a:ext uri="{FF2B5EF4-FFF2-40B4-BE49-F238E27FC236}">
                        <a16:creationId xmlns:a16="http://schemas.microsoft.com/office/drawing/2014/main" id="{9256EC53-9C03-7590-A50A-6E8B2A0E72E5}"/>
                      </a:ext>
                    </a:extLst>
                  </p:cNvPr>
                  <p:cNvSpPr/>
                  <p:nvPr userDrawn="1"/>
                </p:nvSpPr>
                <p:spPr>
                  <a:xfrm>
                    <a:off x="8405577" y="4487453"/>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BEC4D4"/>
                  </a:solidFill>
                  <a:ln w="2339" cap="flat">
                    <a:noFill/>
                    <a:prstDash val="solid"/>
                    <a:miter/>
                  </a:ln>
                </p:spPr>
                <p:txBody>
                  <a:bodyPr rtlCol="0" anchor="ctr"/>
                  <a:lstStyle/>
                  <a:p>
                    <a:endParaRPr lang="en-US" sz="2400"/>
                  </a:p>
                </p:txBody>
              </p:sp>
              <p:sp>
                <p:nvSpPr>
                  <p:cNvPr id="842" name="Freeform: Shape 841">
                    <a:extLst>
                      <a:ext uri="{FF2B5EF4-FFF2-40B4-BE49-F238E27FC236}">
                        <a16:creationId xmlns:a16="http://schemas.microsoft.com/office/drawing/2014/main" id="{F11D2210-2940-CBBE-0031-25FF37698592}"/>
                      </a:ext>
                    </a:extLst>
                  </p:cNvPr>
                  <p:cNvSpPr/>
                  <p:nvPr userDrawn="1"/>
                </p:nvSpPr>
                <p:spPr>
                  <a:xfrm>
                    <a:off x="8406115" y="448759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EC4D5"/>
                  </a:solidFill>
                  <a:ln w="2339" cap="flat">
                    <a:noFill/>
                    <a:prstDash val="solid"/>
                    <a:miter/>
                  </a:ln>
                </p:spPr>
                <p:txBody>
                  <a:bodyPr rtlCol="0" anchor="ctr"/>
                  <a:lstStyle/>
                  <a:p>
                    <a:endParaRPr lang="en-US" sz="2400"/>
                  </a:p>
                </p:txBody>
              </p:sp>
              <p:sp>
                <p:nvSpPr>
                  <p:cNvPr id="843" name="Freeform: Shape 842">
                    <a:extLst>
                      <a:ext uri="{FF2B5EF4-FFF2-40B4-BE49-F238E27FC236}">
                        <a16:creationId xmlns:a16="http://schemas.microsoft.com/office/drawing/2014/main" id="{F5AB854B-BCB3-A8AE-A500-7795B30DEEF6}"/>
                      </a:ext>
                    </a:extLst>
                  </p:cNvPr>
                  <p:cNvSpPr/>
                  <p:nvPr userDrawn="1"/>
                </p:nvSpPr>
                <p:spPr>
                  <a:xfrm>
                    <a:off x="8406653" y="448773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EC4D5"/>
                  </a:solidFill>
                  <a:ln w="2339" cap="flat">
                    <a:noFill/>
                    <a:prstDash val="solid"/>
                    <a:miter/>
                  </a:ln>
                </p:spPr>
                <p:txBody>
                  <a:bodyPr rtlCol="0" anchor="ctr"/>
                  <a:lstStyle/>
                  <a:p>
                    <a:endParaRPr lang="en-US" sz="2400"/>
                  </a:p>
                </p:txBody>
              </p:sp>
              <p:sp>
                <p:nvSpPr>
                  <p:cNvPr id="844" name="Freeform: Shape 843">
                    <a:extLst>
                      <a:ext uri="{FF2B5EF4-FFF2-40B4-BE49-F238E27FC236}">
                        <a16:creationId xmlns:a16="http://schemas.microsoft.com/office/drawing/2014/main" id="{C0B303FC-B5CA-D754-7899-EBBABFFC5ED0}"/>
                      </a:ext>
                    </a:extLst>
                  </p:cNvPr>
                  <p:cNvSpPr/>
                  <p:nvPr userDrawn="1"/>
                </p:nvSpPr>
                <p:spPr>
                  <a:xfrm>
                    <a:off x="8407191" y="448787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FC5D5"/>
                  </a:solidFill>
                  <a:ln w="2339" cap="flat">
                    <a:noFill/>
                    <a:prstDash val="solid"/>
                    <a:miter/>
                  </a:ln>
                </p:spPr>
                <p:txBody>
                  <a:bodyPr rtlCol="0" anchor="ctr"/>
                  <a:lstStyle/>
                  <a:p>
                    <a:endParaRPr lang="en-US" sz="2400"/>
                  </a:p>
                </p:txBody>
              </p:sp>
              <p:sp>
                <p:nvSpPr>
                  <p:cNvPr id="845" name="Freeform: Shape 844">
                    <a:extLst>
                      <a:ext uri="{FF2B5EF4-FFF2-40B4-BE49-F238E27FC236}">
                        <a16:creationId xmlns:a16="http://schemas.microsoft.com/office/drawing/2014/main" id="{3BB9BC76-6BEC-4A52-201B-57F6B080E13F}"/>
                      </a:ext>
                    </a:extLst>
                  </p:cNvPr>
                  <p:cNvSpPr/>
                  <p:nvPr userDrawn="1"/>
                </p:nvSpPr>
                <p:spPr>
                  <a:xfrm>
                    <a:off x="8407730" y="4488015"/>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FC5D5"/>
                  </a:solidFill>
                  <a:ln w="2339" cap="flat">
                    <a:noFill/>
                    <a:prstDash val="solid"/>
                    <a:miter/>
                  </a:ln>
                </p:spPr>
                <p:txBody>
                  <a:bodyPr rtlCol="0" anchor="ctr"/>
                  <a:lstStyle/>
                  <a:p>
                    <a:endParaRPr lang="en-US" sz="2400"/>
                  </a:p>
                </p:txBody>
              </p:sp>
              <p:sp>
                <p:nvSpPr>
                  <p:cNvPr id="846" name="Freeform: Shape 845">
                    <a:extLst>
                      <a:ext uri="{FF2B5EF4-FFF2-40B4-BE49-F238E27FC236}">
                        <a16:creationId xmlns:a16="http://schemas.microsoft.com/office/drawing/2014/main" id="{659083FE-EB8F-7C25-C6C8-B429E530F2FF}"/>
                      </a:ext>
                    </a:extLst>
                  </p:cNvPr>
                  <p:cNvSpPr/>
                  <p:nvPr userDrawn="1"/>
                </p:nvSpPr>
                <p:spPr>
                  <a:xfrm>
                    <a:off x="8408268" y="4488155"/>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23"/>
                          <a:pt x="0" y="9407"/>
                          <a:pt x="0" y="21037"/>
                        </a:cubicBezTo>
                        <a:close/>
                      </a:path>
                    </a:pathLst>
                  </a:custGeom>
                  <a:solidFill>
                    <a:srgbClr val="BFC5D5"/>
                  </a:solidFill>
                  <a:ln w="2339" cap="flat">
                    <a:noFill/>
                    <a:prstDash val="solid"/>
                    <a:miter/>
                  </a:ln>
                </p:spPr>
                <p:txBody>
                  <a:bodyPr rtlCol="0" anchor="ctr"/>
                  <a:lstStyle/>
                  <a:p>
                    <a:endParaRPr lang="en-US" sz="2400"/>
                  </a:p>
                </p:txBody>
              </p:sp>
              <p:sp>
                <p:nvSpPr>
                  <p:cNvPr id="847" name="Freeform: Shape 846">
                    <a:extLst>
                      <a:ext uri="{FF2B5EF4-FFF2-40B4-BE49-F238E27FC236}">
                        <a16:creationId xmlns:a16="http://schemas.microsoft.com/office/drawing/2014/main" id="{EA6B1AEA-70F1-FEB4-8EBE-C5D903A79D1F}"/>
                      </a:ext>
                    </a:extLst>
                  </p:cNvPr>
                  <p:cNvSpPr/>
                  <p:nvPr userDrawn="1"/>
                </p:nvSpPr>
                <p:spPr>
                  <a:xfrm>
                    <a:off x="8408783" y="448829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C0C5D6"/>
                  </a:solidFill>
                  <a:ln w="2339" cap="flat">
                    <a:noFill/>
                    <a:prstDash val="solid"/>
                    <a:miter/>
                  </a:ln>
                </p:spPr>
                <p:txBody>
                  <a:bodyPr rtlCol="0" anchor="ctr"/>
                  <a:lstStyle/>
                  <a:p>
                    <a:endParaRPr lang="en-US" sz="2400"/>
                  </a:p>
                </p:txBody>
              </p:sp>
              <p:sp>
                <p:nvSpPr>
                  <p:cNvPr id="848" name="Freeform: Shape 847">
                    <a:extLst>
                      <a:ext uri="{FF2B5EF4-FFF2-40B4-BE49-F238E27FC236}">
                        <a16:creationId xmlns:a16="http://schemas.microsoft.com/office/drawing/2014/main" id="{0A1764A2-D464-6BE7-3553-9C9FF80D9878}"/>
                      </a:ext>
                    </a:extLst>
                  </p:cNvPr>
                  <p:cNvSpPr/>
                  <p:nvPr userDrawn="1"/>
                </p:nvSpPr>
                <p:spPr>
                  <a:xfrm>
                    <a:off x="8409321" y="448843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C0C6D6"/>
                  </a:solidFill>
                  <a:ln w="2339" cap="flat">
                    <a:noFill/>
                    <a:prstDash val="solid"/>
                    <a:miter/>
                  </a:ln>
                </p:spPr>
                <p:txBody>
                  <a:bodyPr rtlCol="0" anchor="ctr"/>
                  <a:lstStyle/>
                  <a:p>
                    <a:endParaRPr lang="en-US" sz="2400"/>
                  </a:p>
                </p:txBody>
              </p:sp>
              <p:sp>
                <p:nvSpPr>
                  <p:cNvPr id="849" name="Freeform: Shape 848">
                    <a:extLst>
                      <a:ext uri="{FF2B5EF4-FFF2-40B4-BE49-F238E27FC236}">
                        <a16:creationId xmlns:a16="http://schemas.microsoft.com/office/drawing/2014/main" id="{DDA6F555-DED0-B628-C531-2946B2081C9E}"/>
                      </a:ext>
                    </a:extLst>
                  </p:cNvPr>
                  <p:cNvSpPr/>
                  <p:nvPr userDrawn="1"/>
                </p:nvSpPr>
                <p:spPr>
                  <a:xfrm>
                    <a:off x="8409859" y="448857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23"/>
                          <a:pt x="0" y="9407"/>
                          <a:pt x="0" y="21037"/>
                        </a:cubicBezTo>
                        <a:close/>
                      </a:path>
                    </a:pathLst>
                  </a:custGeom>
                  <a:solidFill>
                    <a:srgbClr val="C0C6D6"/>
                  </a:solidFill>
                  <a:ln w="2339" cap="flat">
                    <a:noFill/>
                    <a:prstDash val="solid"/>
                    <a:miter/>
                  </a:ln>
                </p:spPr>
                <p:txBody>
                  <a:bodyPr rtlCol="0" anchor="ctr"/>
                  <a:lstStyle/>
                  <a:p>
                    <a:endParaRPr lang="en-US" sz="2400"/>
                  </a:p>
                </p:txBody>
              </p:sp>
              <p:sp>
                <p:nvSpPr>
                  <p:cNvPr id="850" name="Freeform: Shape 849">
                    <a:extLst>
                      <a:ext uri="{FF2B5EF4-FFF2-40B4-BE49-F238E27FC236}">
                        <a16:creationId xmlns:a16="http://schemas.microsoft.com/office/drawing/2014/main" id="{22276E79-7A3A-FB21-11ED-C4FFC1CD16AF}"/>
                      </a:ext>
                    </a:extLst>
                  </p:cNvPr>
                  <p:cNvSpPr/>
                  <p:nvPr userDrawn="1"/>
                </p:nvSpPr>
                <p:spPr>
                  <a:xfrm>
                    <a:off x="8410374" y="4488717"/>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C1C6D6"/>
                  </a:solidFill>
                  <a:ln w="2339" cap="flat">
                    <a:noFill/>
                    <a:prstDash val="solid"/>
                    <a:miter/>
                  </a:ln>
                </p:spPr>
                <p:txBody>
                  <a:bodyPr rtlCol="0" anchor="ctr"/>
                  <a:lstStyle/>
                  <a:p>
                    <a:endParaRPr lang="en-US" sz="2400"/>
                  </a:p>
                </p:txBody>
              </p:sp>
              <p:sp>
                <p:nvSpPr>
                  <p:cNvPr id="851" name="Freeform: Shape 850">
                    <a:extLst>
                      <a:ext uri="{FF2B5EF4-FFF2-40B4-BE49-F238E27FC236}">
                        <a16:creationId xmlns:a16="http://schemas.microsoft.com/office/drawing/2014/main" id="{04654498-BC42-A1F2-7BE0-5F028B4B9443}"/>
                      </a:ext>
                    </a:extLst>
                  </p:cNvPr>
                  <p:cNvSpPr/>
                  <p:nvPr userDrawn="1"/>
                </p:nvSpPr>
                <p:spPr>
                  <a:xfrm>
                    <a:off x="8410912" y="4488857"/>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C1C6D6"/>
                  </a:solidFill>
                  <a:ln w="2339" cap="flat">
                    <a:noFill/>
                    <a:prstDash val="solid"/>
                    <a:miter/>
                  </a:ln>
                </p:spPr>
                <p:txBody>
                  <a:bodyPr rtlCol="0" anchor="ctr"/>
                  <a:lstStyle/>
                  <a:p>
                    <a:endParaRPr lang="en-US" sz="2400"/>
                  </a:p>
                </p:txBody>
              </p:sp>
              <p:sp>
                <p:nvSpPr>
                  <p:cNvPr id="852" name="Freeform: Shape 851">
                    <a:extLst>
                      <a:ext uri="{FF2B5EF4-FFF2-40B4-BE49-F238E27FC236}">
                        <a16:creationId xmlns:a16="http://schemas.microsoft.com/office/drawing/2014/main" id="{958F8095-7DA7-E28C-4882-5F8EE281F5CE}"/>
                      </a:ext>
                    </a:extLst>
                  </p:cNvPr>
                  <p:cNvSpPr/>
                  <p:nvPr userDrawn="1"/>
                </p:nvSpPr>
                <p:spPr>
                  <a:xfrm>
                    <a:off x="8411427" y="4489021"/>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C1C7D7"/>
                  </a:solidFill>
                  <a:ln w="2339" cap="flat">
                    <a:noFill/>
                    <a:prstDash val="solid"/>
                    <a:miter/>
                  </a:ln>
                </p:spPr>
                <p:txBody>
                  <a:bodyPr rtlCol="0" anchor="ctr"/>
                  <a:lstStyle/>
                  <a:p>
                    <a:endParaRPr lang="en-US" sz="2400"/>
                  </a:p>
                </p:txBody>
              </p:sp>
              <p:sp>
                <p:nvSpPr>
                  <p:cNvPr id="853" name="Freeform: Shape 852">
                    <a:extLst>
                      <a:ext uri="{FF2B5EF4-FFF2-40B4-BE49-F238E27FC236}">
                        <a16:creationId xmlns:a16="http://schemas.microsoft.com/office/drawing/2014/main" id="{9786332B-9271-F134-7006-2F9A26F44F5E}"/>
                      </a:ext>
                    </a:extLst>
                  </p:cNvPr>
                  <p:cNvSpPr/>
                  <p:nvPr userDrawn="1"/>
                </p:nvSpPr>
                <p:spPr>
                  <a:xfrm>
                    <a:off x="8411965" y="4489161"/>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C2C7D7"/>
                  </a:solidFill>
                  <a:ln w="2339" cap="flat">
                    <a:noFill/>
                    <a:prstDash val="solid"/>
                    <a:miter/>
                  </a:ln>
                </p:spPr>
                <p:txBody>
                  <a:bodyPr rtlCol="0" anchor="ctr"/>
                  <a:lstStyle/>
                  <a:p>
                    <a:endParaRPr lang="en-US" sz="2400"/>
                  </a:p>
                </p:txBody>
              </p:sp>
              <p:sp>
                <p:nvSpPr>
                  <p:cNvPr id="854" name="Freeform: Shape 853">
                    <a:extLst>
                      <a:ext uri="{FF2B5EF4-FFF2-40B4-BE49-F238E27FC236}">
                        <a16:creationId xmlns:a16="http://schemas.microsoft.com/office/drawing/2014/main" id="{4BF7D09D-3D14-A4F6-FE82-7020366617E4}"/>
                      </a:ext>
                    </a:extLst>
                  </p:cNvPr>
                  <p:cNvSpPr/>
                  <p:nvPr userDrawn="1"/>
                </p:nvSpPr>
                <p:spPr>
                  <a:xfrm>
                    <a:off x="8412480" y="4489302"/>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C2C7D7"/>
                  </a:solidFill>
                  <a:ln w="2339" cap="flat">
                    <a:noFill/>
                    <a:prstDash val="solid"/>
                    <a:miter/>
                  </a:ln>
                </p:spPr>
                <p:txBody>
                  <a:bodyPr rtlCol="0" anchor="ctr"/>
                  <a:lstStyle/>
                  <a:p>
                    <a:endParaRPr lang="en-US" sz="2400"/>
                  </a:p>
                </p:txBody>
              </p:sp>
              <p:sp>
                <p:nvSpPr>
                  <p:cNvPr id="855" name="Freeform: Shape 854">
                    <a:extLst>
                      <a:ext uri="{FF2B5EF4-FFF2-40B4-BE49-F238E27FC236}">
                        <a16:creationId xmlns:a16="http://schemas.microsoft.com/office/drawing/2014/main" id="{4B591B4B-BF6E-5804-EA83-FC7029A39165}"/>
                      </a:ext>
                    </a:extLst>
                  </p:cNvPr>
                  <p:cNvSpPr/>
                  <p:nvPr userDrawn="1"/>
                </p:nvSpPr>
                <p:spPr>
                  <a:xfrm>
                    <a:off x="8413018" y="448946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23"/>
                          <a:pt x="0" y="9407"/>
                          <a:pt x="0" y="21037"/>
                        </a:cubicBezTo>
                        <a:close/>
                      </a:path>
                    </a:pathLst>
                  </a:custGeom>
                  <a:solidFill>
                    <a:srgbClr val="C2C8D7"/>
                  </a:solidFill>
                  <a:ln w="2339" cap="flat">
                    <a:noFill/>
                    <a:prstDash val="solid"/>
                    <a:miter/>
                  </a:ln>
                </p:spPr>
                <p:txBody>
                  <a:bodyPr rtlCol="0" anchor="ctr"/>
                  <a:lstStyle/>
                  <a:p>
                    <a:endParaRPr lang="en-US" sz="2400"/>
                  </a:p>
                </p:txBody>
              </p:sp>
              <p:sp>
                <p:nvSpPr>
                  <p:cNvPr id="856" name="Freeform: Shape 855">
                    <a:extLst>
                      <a:ext uri="{FF2B5EF4-FFF2-40B4-BE49-F238E27FC236}">
                        <a16:creationId xmlns:a16="http://schemas.microsoft.com/office/drawing/2014/main" id="{78283B6F-BAAB-5909-5DF8-E51B1E2551C5}"/>
                      </a:ext>
                    </a:extLst>
                  </p:cNvPr>
                  <p:cNvSpPr/>
                  <p:nvPr userDrawn="1"/>
                </p:nvSpPr>
                <p:spPr>
                  <a:xfrm>
                    <a:off x="8413533" y="448960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C2C8D7"/>
                  </a:solidFill>
                  <a:ln w="2339" cap="flat">
                    <a:noFill/>
                    <a:prstDash val="solid"/>
                    <a:miter/>
                  </a:ln>
                </p:spPr>
                <p:txBody>
                  <a:bodyPr rtlCol="0" anchor="ctr"/>
                  <a:lstStyle/>
                  <a:p>
                    <a:endParaRPr lang="en-US" sz="2400"/>
                  </a:p>
                </p:txBody>
              </p:sp>
              <p:sp>
                <p:nvSpPr>
                  <p:cNvPr id="857" name="Freeform: Shape 856">
                    <a:extLst>
                      <a:ext uri="{FF2B5EF4-FFF2-40B4-BE49-F238E27FC236}">
                        <a16:creationId xmlns:a16="http://schemas.microsoft.com/office/drawing/2014/main" id="{08C4D59F-BC70-5B90-D5CD-55C8A665867D}"/>
                      </a:ext>
                    </a:extLst>
                  </p:cNvPr>
                  <p:cNvSpPr/>
                  <p:nvPr userDrawn="1"/>
                </p:nvSpPr>
                <p:spPr>
                  <a:xfrm>
                    <a:off x="8414048" y="4489770"/>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C3C8D8"/>
                  </a:solidFill>
                  <a:ln w="2339" cap="flat">
                    <a:noFill/>
                    <a:prstDash val="solid"/>
                    <a:miter/>
                  </a:ln>
                </p:spPr>
                <p:txBody>
                  <a:bodyPr rtlCol="0" anchor="ctr"/>
                  <a:lstStyle/>
                  <a:p>
                    <a:endParaRPr lang="en-US" sz="2400"/>
                  </a:p>
                </p:txBody>
              </p:sp>
              <p:sp>
                <p:nvSpPr>
                  <p:cNvPr id="858" name="Freeform: Shape 857">
                    <a:extLst>
                      <a:ext uri="{FF2B5EF4-FFF2-40B4-BE49-F238E27FC236}">
                        <a16:creationId xmlns:a16="http://schemas.microsoft.com/office/drawing/2014/main" id="{6D51AA62-AC32-569D-E67D-2E03CAB8A84F}"/>
                      </a:ext>
                    </a:extLst>
                  </p:cNvPr>
                  <p:cNvSpPr/>
                  <p:nvPr userDrawn="1"/>
                </p:nvSpPr>
                <p:spPr>
                  <a:xfrm>
                    <a:off x="8414586" y="4489910"/>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0"/>
                          <a:pt x="0" y="9407"/>
                          <a:pt x="0" y="21037"/>
                        </a:cubicBezTo>
                        <a:close/>
                      </a:path>
                    </a:pathLst>
                  </a:custGeom>
                  <a:solidFill>
                    <a:srgbClr val="C3C8D8"/>
                  </a:solidFill>
                  <a:ln w="2339" cap="flat">
                    <a:noFill/>
                    <a:prstDash val="solid"/>
                    <a:miter/>
                  </a:ln>
                </p:spPr>
                <p:txBody>
                  <a:bodyPr rtlCol="0" anchor="ctr"/>
                  <a:lstStyle/>
                  <a:p>
                    <a:endParaRPr lang="en-US" sz="2400"/>
                  </a:p>
                </p:txBody>
              </p:sp>
              <p:sp>
                <p:nvSpPr>
                  <p:cNvPr id="859" name="Freeform: Shape 858">
                    <a:extLst>
                      <a:ext uri="{FF2B5EF4-FFF2-40B4-BE49-F238E27FC236}">
                        <a16:creationId xmlns:a16="http://schemas.microsoft.com/office/drawing/2014/main" id="{D904A4AE-4ED8-4764-D11F-DD1FE3F0D3C5}"/>
                      </a:ext>
                    </a:extLst>
                  </p:cNvPr>
                  <p:cNvSpPr/>
                  <p:nvPr userDrawn="1"/>
                </p:nvSpPr>
                <p:spPr>
                  <a:xfrm>
                    <a:off x="8415101" y="449007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23"/>
                          <a:pt x="0" y="9407"/>
                          <a:pt x="0" y="21037"/>
                        </a:cubicBezTo>
                        <a:close/>
                      </a:path>
                    </a:pathLst>
                  </a:custGeom>
                  <a:solidFill>
                    <a:srgbClr val="C3C9D8"/>
                  </a:solidFill>
                  <a:ln w="2339" cap="flat">
                    <a:noFill/>
                    <a:prstDash val="solid"/>
                    <a:miter/>
                  </a:ln>
                </p:spPr>
                <p:txBody>
                  <a:bodyPr rtlCol="0" anchor="ctr"/>
                  <a:lstStyle/>
                  <a:p>
                    <a:endParaRPr lang="en-US" sz="2400"/>
                  </a:p>
                </p:txBody>
              </p:sp>
              <p:sp>
                <p:nvSpPr>
                  <p:cNvPr id="860" name="Freeform: Shape 859">
                    <a:extLst>
                      <a:ext uri="{FF2B5EF4-FFF2-40B4-BE49-F238E27FC236}">
                        <a16:creationId xmlns:a16="http://schemas.microsoft.com/office/drawing/2014/main" id="{45F1FB6D-F422-870A-B5F0-0D89C2B0A539}"/>
                      </a:ext>
                    </a:extLst>
                  </p:cNvPr>
                  <p:cNvSpPr/>
                  <p:nvPr userDrawn="1"/>
                </p:nvSpPr>
                <p:spPr>
                  <a:xfrm>
                    <a:off x="8415615" y="449021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C4C9D8"/>
                  </a:solidFill>
                  <a:ln w="2339" cap="flat">
                    <a:noFill/>
                    <a:prstDash val="solid"/>
                    <a:miter/>
                  </a:ln>
                </p:spPr>
                <p:txBody>
                  <a:bodyPr rtlCol="0" anchor="ctr"/>
                  <a:lstStyle/>
                  <a:p>
                    <a:endParaRPr lang="en-US" sz="2400"/>
                  </a:p>
                </p:txBody>
              </p:sp>
              <p:sp>
                <p:nvSpPr>
                  <p:cNvPr id="861" name="Freeform: Shape 860">
                    <a:extLst>
                      <a:ext uri="{FF2B5EF4-FFF2-40B4-BE49-F238E27FC236}">
                        <a16:creationId xmlns:a16="http://schemas.microsoft.com/office/drawing/2014/main" id="{23B395E6-4835-3B7B-5894-8A63E69E528E}"/>
                      </a:ext>
                    </a:extLst>
                  </p:cNvPr>
                  <p:cNvSpPr/>
                  <p:nvPr userDrawn="1"/>
                </p:nvSpPr>
                <p:spPr>
                  <a:xfrm>
                    <a:off x="8416130" y="4490378"/>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C4C9D8"/>
                  </a:solidFill>
                  <a:ln w="2339" cap="flat">
                    <a:noFill/>
                    <a:prstDash val="solid"/>
                    <a:miter/>
                  </a:ln>
                </p:spPr>
                <p:txBody>
                  <a:bodyPr rtlCol="0" anchor="ctr"/>
                  <a:lstStyle/>
                  <a:p>
                    <a:endParaRPr lang="en-US" sz="2400"/>
                  </a:p>
                </p:txBody>
              </p:sp>
              <p:sp>
                <p:nvSpPr>
                  <p:cNvPr id="862" name="Freeform: Shape 861">
                    <a:extLst>
                      <a:ext uri="{FF2B5EF4-FFF2-40B4-BE49-F238E27FC236}">
                        <a16:creationId xmlns:a16="http://schemas.microsoft.com/office/drawing/2014/main" id="{95BAA7CE-2085-AAB2-A2BE-B6E433DA4AFD}"/>
                      </a:ext>
                    </a:extLst>
                  </p:cNvPr>
                  <p:cNvSpPr/>
                  <p:nvPr userDrawn="1"/>
                </p:nvSpPr>
                <p:spPr>
                  <a:xfrm>
                    <a:off x="8416645" y="4490542"/>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C4CAD9"/>
                  </a:solidFill>
                  <a:ln w="2339" cap="flat">
                    <a:noFill/>
                    <a:prstDash val="solid"/>
                    <a:miter/>
                  </a:ln>
                </p:spPr>
                <p:txBody>
                  <a:bodyPr rtlCol="0" anchor="ctr"/>
                  <a:lstStyle/>
                  <a:p>
                    <a:endParaRPr lang="en-US" sz="2400"/>
                  </a:p>
                </p:txBody>
              </p:sp>
              <p:sp>
                <p:nvSpPr>
                  <p:cNvPr id="863" name="Freeform: Shape 862">
                    <a:extLst>
                      <a:ext uri="{FF2B5EF4-FFF2-40B4-BE49-F238E27FC236}">
                        <a16:creationId xmlns:a16="http://schemas.microsoft.com/office/drawing/2014/main" id="{C10789A2-787A-EBED-C201-C593E8E8696C}"/>
                      </a:ext>
                    </a:extLst>
                  </p:cNvPr>
                  <p:cNvSpPr/>
                  <p:nvPr userDrawn="1"/>
                </p:nvSpPr>
                <p:spPr>
                  <a:xfrm>
                    <a:off x="8417160" y="449070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C5CAD9"/>
                  </a:solidFill>
                  <a:ln w="2339" cap="flat">
                    <a:noFill/>
                    <a:prstDash val="solid"/>
                    <a:miter/>
                  </a:ln>
                </p:spPr>
                <p:txBody>
                  <a:bodyPr rtlCol="0" anchor="ctr"/>
                  <a:lstStyle/>
                  <a:p>
                    <a:endParaRPr lang="en-US" sz="2400"/>
                  </a:p>
                </p:txBody>
              </p:sp>
              <p:sp>
                <p:nvSpPr>
                  <p:cNvPr id="864" name="Freeform: Shape 863">
                    <a:extLst>
                      <a:ext uri="{FF2B5EF4-FFF2-40B4-BE49-F238E27FC236}">
                        <a16:creationId xmlns:a16="http://schemas.microsoft.com/office/drawing/2014/main" id="{4E0B2950-1FAC-CC3B-8457-9E41294E48D6}"/>
                      </a:ext>
                    </a:extLst>
                  </p:cNvPr>
                  <p:cNvSpPr/>
                  <p:nvPr userDrawn="1"/>
                </p:nvSpPr>
                <p:spPr>
                  <a:xfrm>
                    <a:off x="8417675" y="449082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C5CAD9"/>
                  </a:solidFill>
                  <a:ln w="2339" cap="flat">
                    <a:noFill/>
                    <a:prstDash val="solid"/>
                    <a:miter/>
                  </a:ln>
                </p:spPr>
                <p:txBody>
                  <a:bodyPr rtlCol="0" anchor="ctr"/>
                  <a:lstStyle/>
                  <a:p>
                    <a:endParaRPr lang="en-US" sz="2400"/>
                  </a:p>
                </p:txBody>
              </p:sp>
              <p:sp>
                <p:nvSpPr>
                  <p:cNvPr id="865" name="Freeform: Shape 864">
                    <a:extLst>
                      <a:ext uri="{FF2B5EF4-FFF2-40B4-BE49-F238E27FC236}">
                        <a16:creationId xmlns:a16="http://schemas.microsoft.com/office/drawing/2014/main" id="{A7520080-8CBB-862E-85DF-31F98A8D343B}"/>
                      </a:ext>
                    </a:extLst>
                  </p:cNvPr>
                  <p:cNvSpPr/>
                  <p:nvPr userDrawn="1"/>
                </p:nvSpPr>
                <p:spPr>
                  <a:xfrm>
                    <a:off x="8418189" y="449098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C5CAD9"/>
                  </a:solidFill>
                  <a:ln w="2339" cap="flat">
                    <a:noFill/>
                    <a:prstDash val="solid"/>
                    <a:miter/>
                  </a:ln>
                </p:spPr>
                <p:txBody>
                  <a:bodyPr rtlCol="0" anchor="ctr"/>
                  <a:lstStyle/>
                  <a:p>
                    <a:endParaRPr lang="en-US" sz="2400"/>
                  </a:p>
                </p:txBody>
              </p:sp>
              <p:sp>
                <p:nvSpPr>
                  <p:cNvPr id="866" name="Freeform: Shape 865">
                    <a:extLst>
                      <a:ext uri="{FF2B5EF4-FFF2-40B4-BE49-F238E27FC236}">
                        <a16:creationId xmlns:a16="http://schemas.microsoft.com/office/drawing/2014/main" id="{8D26C55F-873B-CB8F-1B11-A53BB444926B}"/>
                      </a:ext>
                    </a:extLst>
                  </p:cNvPr>
                  <p:cNvSpPr/>
                  <p:nvPr userDrawn="1"/>
                </p:nvSpPr>
                <p:spPr>
                  <a:xfrm>
                    <a:off x="8418704" y="449115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C5CBD9"/>
                  </a:solidFill>
                  <a:ln w="2339" cap="flat">
                    <a:noFill/>
                    <a:prstDash val="solid"/>
                    <a:miter/>
                  </a:ln>
                </p:spPr>
                <p:txBody>
                  <a:bodyPr rtlCol="0" anchor="ctr"/>
                  <a:lstStyle/>
                  <a:p>
                    <a:endParaRPr lang="en-US" sz="2400"/>
                  </a:p>
                </p:txBody>
              </p:sp>
              <p:sp>
                <p:nvSpPr>
                  <p:cNvPr id="867" name="Freeform: Shape 866">
                    <a:extLst>
                      <a:ext uri="{FF2B5EF4-FFF2-40B4-BE49-F238E27FC236}">
                        <a16:creationId xmlns:a16="http://schemas.microsoft.com/office/drawing/2014/main" id="{824F8609-66A0-AEFA-FD25-222C8A762E8A}"/>
                      </a:ext>
                    </a:extLst>
                  </p:cNvPr>
                  <p:cNvSpPr/>
                  <p:nvPr userDrawn="1"/>
                </p:nvSpPr>
                <p:spPr>
                  <a:xfrm>
                    <a:off x="8419196" y="449131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6CBDA"/>
                  </a:solidFill>
                  <a:ln w="2339" cap="flat">
                    <a:noFill/>
                    <a:prstDash val="solid"/>
                    <a:miter/>
                  </a:ln>
                </p:spPr>
                <p:txBody>
                  <a:bodyPr rtlCol="0" anchor="ctr"/>
                  <a:lstStyle/>
                  <a:p>
                    <a:endParaRPr lang="en-US" sz="2400"/>
                  </a:p>
                </p:txBody>
              </p:sp>
              <p:sp>
                <p:nvSpPr>
                  <p:cNvPr id="868" name="Freeform: Shape 867">
                    <a:extLst>
                      <a:ext uri="{FF2B5EF4-FFF2-40B4-BE49-F238E27FC236}">
                        <a16:creationId xmlns:a16="http://schemas.microsoft.com/office/drawing/2014/main" id="{D41610E8-20E8-D8BD-F1FE-01A1280B0F90}"/>
                      </a:ext>
                    </a:extLst>
                  </p:cNvPr>
                  <p:cNvSpPr/>
                  <p:nvPr userDrawn="1"/>
                </p:nvSpPr>
                <p:spPr>
                  <a:xfrm>
                    <a:off x="8419710" y="449147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6CBDA"/>
                  </a:solidFill>
                  <a:ln w="2339" cap="flat">
                    <a:noFill/>
                    <a:prstDash val="solid"/>
                    <a:miter/>
                  </a:ln>
                </p:spPr>
                <p:txBody>
                  <a:bodyPr rtlCol="0" anchor="ctr"/>
                  <a:lstStyle/>
                  <a:p>
                    <a:endParaRPr lang="en-US" sz="2400"/>
                  </a:p>
                </p:txBody>
              </p:sp>
              <p:sp>
                <p:nvSpPr>
                  <p:cNvPr id="869" name="Freeform: Shape 868">
                    <a:extLst>
                      <a:ext uri="{FF2B5EF4-FFF2-40B4-BE49-F238E27FC236}">
                        <a16:creationId xmlns:a16="http://schemas.microsoft.com/office/drawing/2014/main" id="{1C33F9D1-29FA-23CF-8615-D71EBC57365E}"/>
                      </a:ext>
                    </a:extLst>
                  </p:cNvPr>
                  <p:cNvSpPr/>
                  <p:nvPr userDrawn="1"/>
                </p:nvSpPr>
                <p:spPr>
                  <a:xfrm>
                    <a:off x="8420225" y="449164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C6CBDA"/>
                  </a:solidFill>
                  <a:ln w="2339" cap="flat">
                    <a:noFill/>
                    <a:prstDash val="solid"/>
                    <a:miter/>
                  </a:ln>
                </p:spPr>
                <p:txBody>
                  <a:bodyPr rtlCol="0" anchor="ctr"/>
                  <a:lstStyle/>
                  <a:p>
                    <a:endParaRPr lang="en-US" sz="2400"/>
                  </a:p>
                </p:txBody>
              </p:sp>
              <p:sp>
                <p:nvSpPr>
                  <p:cNvPr id="870" name="Freeform: Shape 869">
                    <a:extLst>
                      <a:ext uri="{FF2B5EF4-FFF2-40B4-BE49-F238E27FC236}">
                        <a16:creationId xmlns:a16="http://schemas.microsoft.com/office/drawing/2014/main" id="{CB54DB4E-2EB8-780B-4A0D-1984A93BABC3}"/>
                      </a:ext>
                    </a:extLst>
                  </p:cNvPr>
                  <p:cNvSpPr/>
                  <p:nvPr userDrawn="1"/>
                </p:nvSpPr>
                <p:spPr>
                  <a:xfrm>
                    <a:off x="8420717" y="449180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7CCDA"/>
                  </a:solidFill>
                  <a:ln w="2339" cap="flat">
                    <a:noFill/>
                    <a:prstDash val="solid"/>
                    <a:miter/>
                  </a:ln>
                </p:spPr>
                <p:txBody>
                  <a:bodyPr rtlCol="0" anchor="ctr"/>
                  <a:lstStyle/>
                  <a:p>
                    <a:endParaRPr lang="en-US" sz="2400"/>
                  </a:p>
                </p:txBody>
              </p:sp>
              <p:sp>
                <p:nvSpPr>
                  <p:cNvPr id="871" name="Freeform: Shape 870">
                    <a:extLst>
                      <a:ext uri="{FF2B5EF4-FFF2-40B4-BE49-F238E27FC236}">
                        <a16:creationId xmlns:a16="http://schemas.microsoft.com/office/drawing/2014/main" id="{8AEBC39F-77A1-2AF3-D747-089C31353F59}"/>
                      </a:ext>
                    </a:extLst>
                  </p:cNvPr>
                  <p:cNvSpPr/>
                  <p:nvPr userDrawn="1"/>
                </p:nvSpPr>
                <p:spPr>
                  <a:xfrm>
                    <a:off x="8421231" y="449196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C7CCDA"/>
                  </a:solidFill>
                  <a:ln w="2339" cap="flat">
                    <a:noFill/>
                    <a:prstDash val="solid"/>
                    <a:miter/>
                  </a:ln>
                </p:spPr>
                <p:txBody>
                  <a:bodyPr rtlCol="0" anchor="ctr"/>
                  <a:lstStyle/>
                  <a:p>
                    <a:endParaRPr lang="en-US" sz="2400"/>
                  </a:p>
                </p:txBody>
              </p:sp>
              <p:sp>
                <p:nvSpPr>
                  <p:cNvPr id="872" name="Freeform: Shape 871">
                    <a:extLst>
                      <a:ext uri="{FF2B5EF4-FFF2-40B4-BE49-F238E27FC236}">
                        <a16:creationId xmlns:a16="http://schemas.microsoft.com/office/drawing/2014/main" id="{DFBE6E34-0237-0905-D05E-7F72801362CC}"/>
                      </a:ext>
                    </a:extLst>
                  </p:cNvPr>
                  <p:cNvSpPr/>
                  <p:nvPr userDrawn="1"/>
                </p:nvSpPr>
                <p:spPr>
                  <a:xfrm>
                    <a:off x="8421723" y="449215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7CCDB"/>
                  </a:solidFill>
                  <a:ln w="2339" cap="flat">
                    <a:noFill/>
                    <a:prstDash val="solid"/>
                    <a:miter/>
                  </a:ln>
                </p:spPr>
                <p:txBody>
                  <a:bodyPr rtlCol="0" anchor="ctr"/>
                  <a:lstStyle/>
                  <a:p>
                    <a:endParaRPr lang="en-US" sz="2400"/>
                  </a:p>
                </p:txBody>
              </p:sp>
              <p:sp>
                <p:nvSpPr>
                  <p:cNvPr id="873" name="Freeform: Shape 872">
                    <a:extLst>
                      <a:ext uri="{FF2B5EF4-FFF2-40B4-BE49-F238E27FC236}">
                        <a16:creationId xmlns:a16="http://schemas.microsoft.com/office/drawing/2014/main" id="{6462F41C-84A7-90DA-A6B2-1EF25E4E0064}"/>
                      </a:ext>
                    </a:extLst>
                  </p:cNvPr>
                  <p:cNvSpPr/>
                  <p:nvPr userDrawn="1"/>
                </p:nvSpPr>
                <p:spPr>
                  <a:xfrm>
                    <a:off x="8422238" y="449232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8CDDB"/>
                  </a:solidFill>
                  <a:ln w="2339" cap="flat">
                    <a:noFill/>
                    <a:prstDash val="solid"/>
                    <a:miter/>
                  </a:ln>
                </p:spPr>
                <p:txBody>
                  <a:bodyPr rtlCol="0" anchor="ctr"/>
                  <a:lstStyle/>
                  <a:p>
                    <a:endParaRPr lang="en-US" sz="2400"/>
                  </a:p>
                </p:txBody>
              </p:sp>
              <p:sp>
                <p:nvSpPr>
                  <p:cNvPr id="874" name="Freeform: Shape 873">
                    <a:extLst>
                      <a:ext uri="{FF2B5EF4-FFF2-40B4-BE49-F238E27FC236}">
                        <a16:creationId xmlns:a16="http://schemas.microsoft.com/office/drawing/2014/main" id="{27E56B92-D8E3-103B-9228-F9115276E1D8}"/>
                      </a:ext>
                    </a:extLst>
                  </p:cNvPr>
                  <p:cNvSpPr/>
                  <p:nvPr userDrawn="1"/>
                </p:nvSpPr>
                <p:spPr>
                  <a:xfrm>
                    <a:off x="8422729" y="449248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8CDDB"/>
                  </a:solidFill>
                  <a:ln w="2339" cap="flat">
                    <a:noFill/>
                    <a:prstDash val="solid"/>
                    <a:miter/>
                  </a:ln>
                </p:spPr>
                <p:txBody>
                  <a:bodyPr rtlCol="0" anchor="ctr"/>
                  <a:lstStyle/>
                  <a:p>
                    <a:endParaRPr lang="en-US" sz="2400"/>
                  </a:p>
                </p:txBody>
              </p:sp>
              <p:sp>
                <p:nvSpPr>
                  <p:cNvPr id="875" name="Freeform: Shape 874">
                    <a:extLst>
                      <a:ext uri="{FF2B5EF4-FFF2-40B4-BE49-F238E27FC236}">
                        <a16:creationId xmlns:a16="http://schemas.microsoft.com/office/drawing/2014/main" id="{CC052A4A-2E65-D62B-7FE4-8212AC58AC3C}"/>
                      </a:ext>
                    </a:extLst>
                  </p:cNvPr>
                  <p:cNvSpPr/>
                  <p:nvPr userDrawn="1"/>
                </p:nvSpPr>
                <p:spPr>
                  <a:xfrm>
                    <a:off x="8423244" y="449264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54"/>
                          <a:pt x="0" y="21060"/>
                        </a:cubicBezTo>
                        <a:close/>
                      </a:path>
                    </a:pathLst>
                  </a:custGeom>
                  <a:solidFill>
                    <a:srgbClr val="C8CDDB"/>
                  </a:solidFill>
                  <a:ln w="2339" cap="flat">
                    <a:noFill/>
                    <a:prstDash val="solid"/>
                    <a:miter/>
                  </a:ln>
                </p:spPr>
                <p:txBody>
                  <a:bodyPr rtlCol="0" anchor="ctr"/>
                  <a:lstStyle/>
                  <a:p>
                    <a:endParaRPr lang="en-US" sz="2400"/>
                  </a:p>
                </p:txBody>
              </p:sp>
              <p:sp>
                <p:nvSpPr>
                  <p:cNvPr id="876" name="Freeform: Shape 875">
                    <a:extLst>
                      <a:ext uri="{FF2B5EF4-FFF2-40B4-BE49-F238E27FC236}">
                        <a16:creationId xmlns:a16="http://schemas.microsoft.com/office/drawing/2014/main" id="{CC0EF91D-6EE0-7BA4-CC12-C25D05098596}"/>
                      </a:ext>
                    </a:extLst>
                  </p:cNvPr>
                  <p:cNvSpPr/>
                  <p:nvPr userDrawn="1"/>
                </p:nvSpPr>
                <p:spPr>
                  <a:xfrm>
                    <a:off x="8423735" y="449283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C9CDDB"/>
                  </a:solidFill>
                  <a:ln w="2339" cap="flat">
                    <a:noFill/>
                    <a:prstDash val="solid"/>
                    <a:miter/>
                  </a:ln>
                </p:spPr>
                <p:txBody>
                  <a:bodyPr rtlCol="0" anchor="ctr"/>
                  <a:lstStyle/>
                  <a:p>
                    <a:endParaRPr lang="en-US" sz="2400"/>
                  </a:p>
                </p:txBody>
              </p:sp>
              <p:sp>
                <p:nvSpPr>
                  <p:cNvPr id="877" name="Freeform: Shape 876">
                    <a:extLst>
                      <a:ext uri="{FF2B5EF4-FFF2-40B4-BE49-F238E27FC236}">
                        <a16:creationId xmlns:a16="http://schemas.microsoft.com/office/drawing/2014/main" id="{E34E9EFD-90B1-4930-578F-D18C1777D63E}"/>
                      </a:ext>
                    </a:extLst>
                  </p:cNvPr>
                  <p:cNvSpPr/>
                  <p:nvPr userDrawn="1"/>
                </p:nvSpPr>
                <p:spPr>
                  <a:xfrm>
                    <a:off x="8424227" y="449299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9CEDC"/>
                  </a:solidFill>
                  <a:ln w="2339" cap="flat">
                    <a:noFill/>
                    <a:prstDash val="solid"/>
                    <a:miter/>
                  </a:ln>
                </p:spPr>
                <p:txBody>
                  <a:bodyPr rtlCol="0" anchor="ctr"/>
                  <a:lstStyle/>
                  <a:p>
                    <a:endParaRPr lang="en-US" sz="2400"/>
                  </a:p>
                </p:txBody>
              </p:sp>
              <p:sp>
                <p:nvSpPr>
                  <p:cNvPr id="878" name="Freeform: Shape 877">
                    <a:extLst>
                      <a:ext uri="{FF2B5EF4-FFF2-40B4-BE49-F238E27FC236}">
                        <a16:creationId xmlns:a16="http://schemas.microsoft.com/office/drawing/2014/main" id="{3710BC05-9019-8603-904F-09F4D2B99D1F}"/>
                      </a:ext>
                    </a:extLst>
                  </p:cNvPr>
                  <p:cNvSpPr/>
                  <p:nvPr userDrawn="1"/>
                </p:nvSpPr>
                <p:spPr>
                  <a:xfrm>
                    <a:off x="8424718" y="449318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9CEDC"/>
                  </a:solidFill>
                  <a:ln w="2339" cap="flat">
                    <a:noFill/>
                    <a:prstDash val="solid"/>
                    <a:miter/>
                  </a:ln>
                </p:spPr>
                <p:txBody>
                  <a:bodyPr rtlCol="0" anchor="ctr"/>
                  <a:lstStyle/>
                  <a:p>
                    <a:endParaRPr lang="en-US" sz="2400"/>
                  </a:p>
                </p:txBody>
              </p:sp>
              <p:sp>
                <p:nvSpPr>
                  <p:cNvPr id="879" name="Freeform: Shape 878">
                    <a:extLst>
                      <a:ext uri="{FF2B5EF4-FFF2-40B4-BE49-F238E27FC236}">
                        <a16:creationId xmlns:a16="http://schemas.microsoft.com/office/drawing/2014/main" id="{BD230C9C-6882-72EB-739D-45768FD559BC}"/>
                      </a:ext>
                    </a:extLst>
                  </p:cNvPr>
                  <p:cNvSpPr/>
                  <p:nvPr userDrawn="1"/>
                </p:nvSpPr>
                <p:spPr>
                  <a:xfrm>
                    <a:off x="8425209" y="449335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9CEDC"/>
                  </a:solidFill>
                  <a:ln w="2339" cap="flat">
                    <a:noFill/>
                    <a:prstDash val="solid"/>
                    <a:miter/>
                  </a:ln>
                </p:spPr>
                <p:txBody>
                  <a:bodyPr rtlCol="0" anchor="ctr"/>
                  <a:lstStyle/>
                  <a:p>
                    <a:endParaRPr lang="en-US" sz="2400"/>
                  </a:p>
                </p:txBody>
              </p:sp>
              <p:sp>
                <p:nvSpPr>
                  <p:cNvPr id="880" name="Freeform: Shape 879">
                    <a:extLst>
                      <a:ext uri="{FF2B5EF4-FFF2-40B4-BE49-F238E27FC236}">
                        <a16:creationId xmlns:a16="http://schemas.microsoft.com/office/drawing/2014/main" id="{538E637C-7F58-D595-AFC5-294D7062EBFC}"/>
                      </a:ext>
                    </a:extLst>
                  </p:cNvPr>
                  <p:cNvSpPr/>
                  <p:nvPr userDrawn="1"/>
                </p:nvSpPr>
                <p:spPr>
                  <a:xfrm>
                    <a:off x="8425701" y="449353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ACFDC"/>
                  </a:solidFill>
                  <a:ln w="2339" cap="flat">
                    <a:noFill/>
                    <a:prstDash val="solid"/>
                    <a:miter/>
                  </a:ln>
                </p:spPr>
                <p:txBody>
                  <a:bodyPr rtlCol="0" anchor="ctr"/>
                  <a:lstStyle/>
                  <a:p>
                    <a:endParaRPr lang="en-US" sz="2400"/>
                  </a:p>
                </p:txBody>
              </p:sp>
              <p:sp>
                <p:nvSpPr>
                  <p:cNvPr id="881" name="Freeform: Shape 880">
                    <a:extLst>
                      <a:ext uri="{FF2B5EF4-FFF2-40B4-BE49-F238E27FC236}">
                        <a16:creationId xmlns:a16="http://schemas.microsoft.com/office/drawing/2014/main" id="{39C1380E-35A8-FE77-02BD-CBD73EB0B3CD}"/>
                      </a:ext>
                    </a:extLst>
                  </p:cNvPr>
                  <p:cNvSpPr/>
                  <p:nvPr userDrawn="1"/>
                </p:nvSpPr>
                <p:spPr>
                  <a:xfrm>
                    <a:off x="8426192" y="449370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ACFDC"/>
                  </a:solidFill>
                  <a:ln w="2339" cap="flat">
                    <a:noFill/>
                    <a:prstDash val="solid"/>
                    <a:miter/>
                  </a:ln>
                </p:spPr>
                <p:txBody>
                  <a:bodyPr rtlCol="0" anchor="ctr"/>
                  <a:lstStyle/>
                  <a:p>
                    <a:endParaRPr lang="en-US" sz="2400"/>
                  </a:p>
                </p:txBody>
              </p:sp>
              <p:sp>
                <p:nvSpPr>
                  <p:cNvPr id="882" name="Freeform: Shape 881">
                    <a:extLst>
                      <a:ext uri="{FF2B5EF4-FFF2-40B4-BE49-F238E27FC236}">
                        <a16:creationId xmlns:a16="http://schemas.microsoft.com/office/drawing/2014/main" id="{74CAF148-0156-EB79-103E-BBF0671487B9}"/>
                      </a:ext>
                    </a:extLst>
                  </p:cNvPr>
                  <p:cNvSpPr/>
                  <p:nvPr userDrawn="1"/>
                </p:nvSpPr>
                <p:spPr>
                  <a:xfrm>
                    <a:off x="8426684" y="449388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ACFDD"/>
                  </a:solidFill>
                  <a:ln w="2339" cap="flat">
                    <a:noFill/>
                    <a:prstDash val="solid"/>
                    <a:miter/>
                  </a:ln>
                </p:spPr>
                <p:txBody>
                  <a:bodyPr rtlCol="0" anchor="ctr"/>
                  <a:lstStyle/>
                  <a:p>
                    <a:endParaRPr lang="en-US" sz="2400"/>
                  </a:p>
                </p:txBody>
              </p:sp>
              <p:sp>
                <p:nvSpPr>
                  <p:cNvPr id="883" name="Freeform: Shape 882">
                    <a:extLst>
                      <a:ext uri="{FF2B5EF4-FFF2-40B4-BE49-F238E27FC236}">
                        <a16:creationId xmlns:a16="http://schemas.microsoft.com/office/drawing/2014/main" id="{6B805E67-270E-1FAF-F913-8FBE26C012E0}"/>
                      </a:ext>
                    </a:extLst>
                  </p:cNvPr>
                  <p:cNvSpPr/>
                  <p:nvPr userDrawn="1"/>
                </p:nvSpPr>
                <p:spPr>
                  <a:xfrm>
                    <a:off x="8427175" y="449407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BCFDD"/>
                  </a:solidFill>
                  <a:ln w="2339" cap="flat">
                    <a:noFill/>
                    <a:prstDash val="solid"/>
                    <a:miter/>
                  </a:ln>
                </p:spPr>
                <p:txBody>
                  <a:bodyPr rtlCol="0" anchor="ctr"/>
                  <a:lstStyle/>
                  <a:p>
                    <a:endParaRPr lang="en-US" sz="2400"/>
                  </a:p>
                </p:txBody>
              </p:sp>
              <p:sp>
                <p:nvSpPr>
                  <p:cNvPr id="884" name="Freeform: Shape 883">
                    <a:extLst>
                      <a:ext uri="{FF2B5EF4-FFF2-40B4-BE49-F238E27FC236}">
                        <a16:creationId xmlns:a16="http://schemas.microsoft.com/office/drawing/2014/main" id="{CB0B7843-6C1D-DB03-56F8-A72F6CA33C17}"/>
                      </a:ext>
                    </a:extLst>
                  </p:cNvPr>
                  <p:cNvSpPr/>
                  <p:nvPr userDrawn="1"/>
                </p:nvSpPr>
                <p:spPr>
                  <a:xfrm>
                    <a:off x="8427666" y="449423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CBD0DD"/>
                  </a:solidFill>
                  <a:ln w="2339" cap="flat">
                    <a:noFill/>
                    <a:prstDash val="solid"/>
                    <a:miter/>
                  </a:ln>
                </p:spPr>
                <p:txBody>
                  <a:bodyPr rtlCol="0" anchor="ctr"/>
                  <a:lstStyle/>
                  <a:p>
                    <a:endParaRPr lang="en-US" sz="2400"/>
                  </a:p>
                </p:txBody>
              </p:sp>
              <p:sp>
                <p:nvSpPr>
                  <p:cNvPr id="885" name="Freeform: Shape 884">
                    <a:extLst>
                      <a:ext uri="{FF2B5EF4-FFF2-40B4-BE49-F238E27FC236}">
                        <a16:creationId xmlns:a16="http://schemas.microsoft.com/office/drawing/2014/main" id="{A8F563A2-23E5-1A9F-1F3C-70FE0EA8A917}"/>
                      </a:ext>
                    </a:extLst>
                  </p:cNvPr>
                  <p:cNvSpPr/>
                  <p:nvPr userDrawn="1"/>
                </p:nvSpPr>
                <p:spPr>
                  <a:xfrm>
                    <a:off x="8428135" y="449442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BD0DD"/>
                  </a:solidFill>
                  <a:ln w="2339" cap="flat">
                    <a:noFill/>
                    <a:prstDash val="solid"/>
                    <a:miter/>
                  </a:ln>
                </p:spPr>
                <p:txBody>
                  <a:bodyPr rtlCol="0" anchor="ctr"/>
                  <a:lstStyle/>
                  <a:p>
                    <a:endParaRPr lang="en-US" sz="2400"/>
                  </a:p>
                </p:txBody>
              </p:sp>
              <p:sp>
                <p:nvSpPr>
                  <p:cNvPr id="886" name="Freeform: Shape 885">
                    <a:extLst>
                      <a:ext uri="{FF2B5EF4-FFF2-40B4-BE49-F238E27FC236}">
                        <a16:creationId xmlns:a16="http://schemas.microsoft.com/office/drawing/2014/main" id="{DD024ABE-FBFF-96C9-B00B-A4D3D73D02B4}"/>
                      </a:ext>
                    </a:extLst>
                  </p:cNvPr>
                  <p:cNvSpPr/>
                  <p:nvPr userDrawn="1"/>
                </p:nvSpPr>
                <p:spPr>
                  <a:xfrm>
                    <a:off x="8428626" y="449461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CD0DD"/>
                  </a:solidFill>
                  <a:ln w="2339" cap="flat">
                    <a:noFill/>
                    <a:prstDash val="solid"/>
                    <a:miter/>
                  </a:ln>
                </p:spPr>
                <p:txBody>
                  <a:bodyPr rtlCol="0" anchor="ctr"/>
                  <a:lstStyle/>
                  <a:p>
                    <a:endParaRPr lang="en-US" sz="2400"/>
                  </a:p>
                </p:txBody>
              </p:sp>
              <p:sp>
                <p:nvSpPr>
                  <p:cNvPr id="887" name="Freeform: Shape 886">
                    <a:extLst>
                      <a:ext uri="{FF2B5EF4-FFF2-40B4-BE49-F238E27FC236}">
                        <a16:creationId xmlns:a16="http://schemas.microsoft.com/office/drawing/2014/main" id="{CC6109E6-DF2E-4D68-2977-895C494B1021}"/>
                      </a:ext>
                    </a:extLst>
                  </p:cNvPr>
                  <p:cNvSpPr/>
                  <p:nvPr userDrawn="1"/>
                </p:nvSpPr>
                <p:spPr>
                  <a:xfrm>
                    <a:off x="8429117" y="449480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CCD0DE"/>
                  </a:solidFill>
                  <a:ln w="2339" cap="flat">
                    <a:noFill/>
                    <a:prstDash val="solid"/>
                    <a:miter/>
                  </a:ln>
                </p:spPr>
                <p:txBody>
                  <a:bodyPr rtlCol="0" anchor="ctr"/>
                  <a:lstStyle/>
                  <a:p>
                    <a:endParaRPr lang="en-US" sz="2400"/>
                  </a:p>
                </p:txBody>
              </p:sp>
              <p:sp>
                <p:nvSpPr>
                  <p:cNvPr id="888" name="Freeform: Shape 887">
                    <a:extLst>
                      <a:ext uri="{FF2B5EF4-FFF2-40B4-BE49-F238E27FC236}">
                        <a16:creationId xmlns:a16="http://schemas.microsoft.com/office/drawing/2014/main" id="{542F8F32-9BD4-C341-CB0F-2AE02775B79A}"/>
                      </a:ext>
                    </a:extLst>
                  </p:cNvPr>
                  <p:cNvSpPr/>
                  <p:nvPr userDrawn="1"/>
                </p:nvSpPr>
                <p:spPr>
                  <a:xfrm>
                    <a:off x="8429585" y="449498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CD1DE"/>
                  </a:solidFill>
                  <a:ln w="2339" cap="flat">
                    <a:noFill/>
                    <a:prstDash val="solid"/>
                    <a:miter/>
                  </a:ln>
                </p:spPr>
                <p:txBody>
                  <a:bodyPr rtlCol="0" anchor="ctr"/>
                  <a:lstStyle/>
                  <a:p>
                    <a:endParaRPr lang="en-US" sz="2400"/>
                  </a:p>
                </p:txBody>
              </p:sp>
              <p:sp>
                <p:nvSpPr>
                  <p:cNvPr id="889" name="Freeform: Shape 888">
                    <a:extLst>
                      <a:ext uri="{FF2B5EF4-FFF2-40B4-BE49-F238E27FC236}">
                        <a16:creationId xmlns:a16="http://schemas.microsoft.com/office/drawing/2014/main" id="{65554A78-99EF-B443-98B3-9017BC0E5C4C}"/>
                      </a:ext>
                    </a:extLst>
                  </p:cNvPr>
                  <p:cNvSpPr/>
                  <p:nvPr userDrawn="1"/>
                </p:nvSpPr>
                <p:spPr>
                  <a:xfrm>
                    <a:off x="8430077" y="449517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CDD1DE"/>
                  </a:solidFill>
                  <a:ln w="2339" cap="flat">
                    <a:noFill/>
                    <a:prstDash val="solid"/>
                    <a:miter/>
                  </a:ln>
                </p:spPr>
                <p:txBody>
                  <a:bodyPr rtlCol="0" anchor="ctr"/>
                  <a:lstStyle/>
                  <a:p>
                    <a:endParaRPr lang="en-US" sz="2400"/>
                  </a:p>
                </p:txBody>
              </p:sp>
              <p:sp>
                <p:nvSpPr>
                  <p:cNvPr id="890" name="Freeform: Shape 889">
                    <a:extLst>
                      <a:ext uri="{FF2B5EF4-FFF2-40B4-BE49-F238E27FC236}">
                        <a16:creationId xmlns:a16="http://schemas.microsoft.com/office/drawing/2014/main" id="{35E7468F-FF5C-5C67-F77D-452CBA9872D8}"/>
                      </a:ext>
                    </a:extLst>
                  </p:cNvPr>
                  <p:cNvSpPr/>
                  <p:nvPr userDrawn="1"/>
                </p:nvSpPr>
                <p:spPr>
                  <a:xfrm>
                    <a:off x="8430545" y="449533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CDD1DE"/>
                  </a:solidFill>
                  <a:ln w="2339" cap="flat">
                    <a:noFill/>
                    <a:prstDash val="solid"/>
                    <a:miter/>
                  </a:ln>
                </p:spPr>
                <p:txBody>
                  <a:bodyPr rtlCol="0" anchor="ctr"/>
                  <a:lstStyle/>
                  <a:p>
                    <a:endParaRPr lang="en-US" sz="2400"/>
                  </a:p>
                </p:txBody>
              </p:sp>
              <p:sp>
                <p:nvSpPr>
                  <p:cNvPr id="891" name="Freeform: Shape 890">
                    <a:extLst>
                      <a:ext uri="{FF2B5EF4-FFF2-40B4-BE49-F238E27FC236}">
                        <a16:creationId xmlns:a16="http://schemas.microsoft.com/office/drawing/2014/main" id="{47DC11BC-9403-376F-A9F9-972E1A071684}"/>
                      </a:ext>
                    </a:extLst>
                  </p:cNvPr>
                  <p:cNvSpPr/>
                  <p:nvPr userDrawn="1"/>
                </p:nvSpPr>
                <p:spPr>
                  <a:xfrm>
                    <a:off x="8431013" y="449555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DD2DE"/>
                  </a:solidFill>
                  <a:ln w="2339" cap="flat">
                    <a:noFill/>
                    <a:prstDash val="solid"/>
                    <a:miter/>
                  </a:ln>
                </p:spPr>
                <p:txBody>
                  <a:bodyPr rtlCol="0" anchor="ctr"/>
                  <a:lstStyle/>
                  <a:p>
                    <a:endParaRPr lang="en-US" sz="2400"/>
                  </a:p>
                </p:txBody>
              </p:sp>
              <p:sp>
                <p:nvSpPr>
                  <p:cNvPr id="892" name="Freeform: Shape 891">
                    <a:extLst>
                      <a:ext uri="{FF2B5EF4-FFF2-40B4-BE49-F238E27FC236}">
                        <a16:creationId xmlns:a16="http://schemas.microsoft.com/office/drawing/2014/main" id="{CA5CD9E6-BF9D-5FB1-5984-83A65AE7333D}"/>
                      </a:ext>
                    </a:extLst>
                  </p:cNvPr>
                  <p:cNvSpPr/>
                  <p:nvPr userDrawn="1"/>
                </p:nvSpPr>
                <p:spPr>
                  <a:xfrm>
                    <a:off x="8431504" y="449573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CDD2DF"/>
                  </a:solidFill>
                  <a:ln w="2339" cap="flat">
                    <a:noFill/>
                    <a:prstDash val="solid"/>
                    <a:miter/>
                  </a:ln>
                </p:spPr>
                <p:txBody>
                  <a:bodyPr rtlCol="0" anchor="ctr"/>
                  <a:lstStyle/>
                  <a:p>
                    <a:endParaRPr lang="en-US" sz="2400"/>
                  </a:p>
                </p:txBody>
              </p:sp>
              <p:sp>
                <p:nvSpPr>
                  <p:cNvPr id="893" name="Freeform: Shape 892">
                    <a:extLst>
                      <a:ext uri="{FF2B5EF4-FFF2-40B4-BE49-F238E27FC236}">
                        <a16:creationId xmlns:a16="http://schemas.microsoft.com/office/drawing/2014/main" id="{579BCED4-664D-19F1-2359-686FEF494FB6}"/>
                      </a:ext>
                    </a:extLst>
                  </p:cNvPr>
                  <p:cNvSpPr/>
                  <p:nvPr userDrawn="1"/>
                </p:nvSpPr>
                <p:spPr>
                  <a:xfrm>
                    <a:off x="8431972" y="449592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ED2DF"/>
                  </a:solidFill>
                  <a:ln w="2339" cap="flat">
                    <a:noFill/>
                    <a:prstDash val="solid"/>
                    <a:miter/>
                  </a:ln>
                </p:spPr>
                <p:txBody>
                  <a:bodyPr rtlCol="0" anchor="ctr"/>
                  <a:lstStyle/>
                  <a:p>
                    <a:endParaRPr lang="en-US" sz="2400"/>
                  </a:p>
                </p:txBody>
              </p:sp>
              <p:sp>
                <p:nvSpPr>
                  <p:cNvPr id="894" name="Freeform: Shape 893">
                    <a:extLst>
                      <a:ext uri="{FF2B5EF4-FFF2-40B4-BE49-F238E27FC236}">
                        <a16:creationId xmlns:a16="http://schemas.microsoft.com/office/drawing/2014/main" id="{D4D82079-4C9E-EDE7-7BB9-E74E708884FA}"/>
                      </a:ext>
                    </a:extLst>
                  </p:cNvPr>
                  <p:cNvSpPr/>
                  <p:nvPr userDrawn="1"/>
                </p:nvSpPr>
                <p:spPr>
                  <a:xfrm>
                    <a:off x="8432440" y="449611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ED2DF"/>
                  </a:solidFill>
                  <a:ln w="2339" cap="flat">
                    <a:noFill/>
                    <a:prstDash val="solid"/>
                    <a:miter/>
                  </a:ln>
                </p:spPr>
                <p:txBody>
                  <a:bodyPr rtlCol="0" anchor="ctr"/>
                  <a:lstStyle/>
                  <a:p>
                    <a:endParaRPr lang="en-US" sz="2400"/>
                  </a:p>
                </p:txBody>
              </p:sp>
              <p:sp>
                <p:nvSpPr>
                  <p:cNvPr id="895" name="Freeform: Shape 894">
                    <a:extLst>
                      <a:ext uri="{FF2B5EF4-FFF2-40B4-BE49-F238E27FC236}">
                        <a16:creationId xmlns:a16="http://schemas.microsoft.com/office/drawing/2014/main" id="{387BA735-9AE2-4AA9-4CB5-F2FDBA3F6D9C}"/>
                      </a:ext>
                    </a:extLst>
                  </p:cNvPr>
                  <p:cNvSpPr/>
                  <p:nvPr userDrawn="1"/>
                </p:nvSpPr>
                <p:spPr>
                  <a:xfrm>
                    <a:off x="8432908" y="449629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ED3DF"/>
                  </a:solidFill>
                  <a:ln w="2339" cap="flat">
                    <a:noFill/>
                    <a:prstDash val="solid"/>
                    <a:miter/>
                  </a:ln>
                </p:spPr>
                <p:txBody>
                  <a:bodyPr rtlCol="0" anchor="ctr"/>
                  <a:lstStyle/>
                  <a:p>
                    <a:endParaRPr lang="en-US" sz="2400"/>
                  </a:p>
                </p:txBody>
              </p:sp>
              <p:sp>
                <p:nvSpPr>
                  <p:cNvPr id="896" name="Freeform: Shape 895">
                    <a:extLst>
                      <a:ext uri="{FF2B5EF4-FFF2-40B4-BE49-F238E27FC236}">
                        <a16:creationId xmlns:a16="http://schemas.microsoft.com/office/drawing/2014/main" id="{7FAC67CF-5EF6-4AA4-9002-F74A19BC8760}"/>
                      </a:ext>
                    </a:extLst>
                  </p:cNvPr>
                  <p:cNvSpPr/>
                  <p:nvPr userDrawn="1"/>
                </p:nvSpPr>
                <p:spPr>
                  <a:xfrm>
                    <a:off x="8433376" y="449648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FD3DF"/>
                  </a:solidFill>
                  <a:ln w="2339" cap="flat">
                    <a:noFill/>
                    <a:prstDash val="solid"/>
                    <a:miter/>
                  </a:ln>
                </p:spPr>
                <p:txBody>
                  <a:bodyPr rtlCol="0" anchor="ctr"/>
                  <a:lstStyle/>
                  <a:p>
                    <a:endParaRPr lang="en-US" sz="2400"/>
                  </a:p>
                </p:txBody>
              </p:sp>
              <p:sp>
                <p:nvSpPr>
                  <p:cNvPr id="897" name="Freeform: Shape 896">
                    <a:extLst>
                      <a:ext uri="{FF2B5EF4-FFF2-40B4-BE49-F238E27FC236}">
                        <a16:creationId xmlns:a16="http://schemas.microsoft.com/office/drawing/2014/main" id="{D67B2A48-7AFA-5555-2E3A-0DF0078B6A17}"/>
                      </a:ext>
                    </a:extLst>
                  </p:cNvPr>
                  <p:cNvSpPr/>
                  <p:nvPr userDrawn="1"/>
                </p:nvSpPr>
                <p:spPr>
                  <a:xfrm>
                    <a:off x="8433844" y="449667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CFD3E0"/>
                  </a:solidFill>
                  <a:ln w="2339" cap="flat">
                    <a:noFill/>
                    <a:prstDash val="solid"/>
                    <a:miter/>
                  </a:ln>
                </p:spPr>
                <p:txBody>
                  <a:bodyPr rtlCol="0" anchor="ctr"/>
                  <a:lstStyle/>
                  <a:p>
                    <a:endParaRPr lang="en-US" sz="2400"/>
                  </a:p>
                </p:txBody>
              </p:sp>
              <p:sp>
                <p:nvSpPr>
                  <p:cNvPr id="898" name="Freeform: Shape 897">
                    <a:extLst>
                      <a:ext uri="{FF2B5EF4-FFF2-40B4-BE49-F238E27FC236}">
                        <a16:creationId xmlns:a16="http://schemas.microsoft.com/office/drawing/2014/main" id="{44D75258-8BC6-00F0-6360-DF72F2EE3DA8}"/>
                      </a:ext>
                    </a:extLst>
                  </p:cNvPr>
                  <p:cNvSpPr/>
                  <p:nvPr userDrawn="1"/>
                </p:nvSpPr>
                <p:spPr>
                  <a:xfrm>
                    <a:off x="8434312" y="449688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CFD4E0"/>
                  </a:solidFill>
                  <a:ln w="2339" cap="flat">
                    <a:noFill/>
                    <a:prstDash val="solid"/>
                    <a:miter/>
                  </a:ln>
                </p:spPr>
                <p:txBody>
                  <a:bodyPr rtlCol="0" anchor="ctr"/>
                  <a:lstStyle/>
                  <a:p>
                    <a:endParaRPr lang="en-US" sz="2400"/>
                  </a:p>
                </p:txBody>
              </p:sp>
              <p:sp>
                <p:nvSpPr>
                  <p:cNvPr id="899" name="Freeform: Shape 898">
                    <a:extLst>
                      <a:ext uri="{FF2B5EF4-FFF2-40B4-BE49-F238E27FC236}">
                        <a16:creationId xmlns:a16="http://schemas.microsoft.com/office/drawing/2014/main" id="{B497346A-6618-B7A6-4AA1-2920EE7006A2}"/>
                      </a:ext>
                    </a:extLst>
                  </p:cNvPr>
                  <p:cNvSpPr/>
                  <p:nvPr userDrawn="1"/>
                </p:nvSpPr>
                <p:spPr>
                  <a:xfrm>
                    <a:off x="8434780" y="449707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D0D4E0"/>
                  </a:solidFill>
                  <a:ln w="2339" cap="flat">
                    <a:noFill/>
                    <a:prstDash val="solid"/>
                    <a:miter/>
                  </a:ln>
                </p:spPr>
                <p:txBody>
                  <a:bodyPr rtlCol="0" anchor="ctr"/>
                  <a:lstStyle/>
                  <a:p>
                    <a:endParaRPr lang="en-US" sz="2400"/>
                  </a:p>
                </p:txBody>
              </p:sp>
              <p:sp>
                <p:nvSpPr>
                  <p:cNvPr id="900" name="Freeform: Shape 899">
                    <a:extLst>
                      <a:ext uri="{FF2B5EF4-FFF2-40B4-BE49-F238E27FC236}">
                        <a16:creationId xmlns:a16="http://schemas.microsoft.com/office/drawing/2014/main" id="{31BA75B6-AAEE-5A41-E8D6-C6C154FFDFDA}"/>
                      </a:ext>
                    </a:extLst>
                  </p:cNvPr>
                  <p:cNvSpPr/>
                  <p:nvPr userDrawn="1"/>
                </p:nvSpPr>
                <p:spPr>
                  <a:xfrm>
                    <a:off x="8435225" y="449728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0D4E0"/>
                  </a:solidFill>
                  <a:ln w="2339" cap="flat">
                    <a:noFill/>
                    <a:prstDash val="solid"/>
                    <a:miter/>
                  </a:ln>
                </p:spPr>
                <p:txBody>
                  <a:bodyPr rtlCol="0" anchor="ctr"/>
                  <a:lstStyle/>
                  <a:p>
                    <a:endParaRPr lang="en-US" sz="2400"/>
                  </a:p>
                </p:txBody>
              </p:sp>
              <p:sp>
                <p:nvSpPr>
                  <p:cNvPr id="901" name="Freeform: Shape 900">
                    <a:extLst>
                      <a:ext uri="{FF2B5EF4-FFF2-40B4-BE49-F238E27FC236}">
                        <a16:creationId xmlns:a16="http://schemas.microsoft.com/office/drawing/2014/main" id="{E94671A1-D71A-C225-72B4-A7A29B885E82}"/>
                      </a:ext>
                    </a:extLst>
                  </p:cNvPr>
                  <p:cNvSpPr/>
                  <p:nvPr userDrawn="1"/>
                </p:nvSpPr>
                <p:spPr>
                  <a:xfrm>
                    <a:off x="8435693" y="449746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0D4E0"/>
                  </a:solidFill>
                  <a:ln w="2339" cap="flat">
                    <a:noFill/>
                    <a:prstDash val="solid"/>
                    <a:miter/>
                  </a:ln>
                </p:spPr>
                <p:txBody>
                  <a:bodyPr rtlCol="0" anchor="ctr"/>
                  <a:lstStyle/>
                  <a:p>
                    <a:endParaRPr lang="en-US" sz="2400"/>
                  </a:p>
                </p:txBody>
              </p:sp>
              <p:sp>
                <p:nvSpPr>
                  <p:cNvPr id="902" name="Freeform: Shape 901">
                    <a:extLst>
                      <a:ext uri="{FF2B5EF4-FFF2-40B4-BE49-F238E27FC236}">
                        <a16:creationId xmlns:a16="http://schemas.microsoft.com/office/drawing/2014/main" id="{CC79461D-881C-9765-2EEC-DDA5FF5D1131}"/>
                      </a:ext>
                    </a:extLst>
                  </p:cNvPr>
                  <p:cNvSpPr/>
                  <p:nvPr userDrawn="1"/>
                </p:nvSpPr>
                <p:spPr>
                  <a:xfrm>
                    <a:off x="8436137" y="449765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D1D5E1"/>
                  </a:solidFill>
                  <a:ln w="2339" cap="flat">
                    <a:noFill/>
                    <a:prstDash val="solid"/>
                    <a:miter/>
                  </a:ln>
                </p:spPr>
                <p:txBody>
                  <a:bodyPr rtlCol="0" anchor="ctr"/>
                  <a:lstStyle/>
                  <a:p>
                    <a:endParaRPr lang="en-US" sz="2400"/>
                  </a:p>
                </p:txBody>
              </p:sp>
              <p:sp>
                <p:nvSpPr>
                  <p:cNvPr id="903" name="Freeform: Shape 902">
                    <a:extLst>
                      <a:ext uri="{FF2B5EF4-FFF2-40B4-BE49-F238E27FC236}">
                        <a16:creationId xmlns:a16="http://schemas.microsoft.com/office/drawing/2014/main" id="{317140F9-6B32-91D9-0D99-59FBFAA7BAE9}"/>
                      </a:ext>
                    </a:extLst>
                  </p:cNvPr>
                  <p:cNvSpPr/>
                  <p:nvPr userDrawn="1"/>
                </p:nvSpPr>
                <p:spPr>
                  <a:xfrm>
                    <a:off x="8436605" y="449786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1D5E1"/>
                  </a:solidFill>
                  <a:ln w="2339" cap="flat">
                    <a:noFill/>
                    <a:prstDash val="solid"/>
                    <a:miter/>
                  </a:ln>
                </p:spPr>
                <p:txBody>
                  <a:bodyPr rtlCol="0" anchor="ctr"/>
                  <a:lstStyle/>
                  <a:p>
                    <a:endParaRPr lang="en-US" sz="2400"/>
                  </a:p>
                </p:txBody>
              </p:sp>
              <p:sp>
                <p:nvSpPr>
                  <p:cNvPr id="904" name="Freeform: Shape 903">
                    <a:extLst>
                      <a:ext uri="{FF2B5EF4-FFF2-40B4-BE49-F238E27FC236}">
                        <a16:creationId xmlns:a16="http://schemas.microsoft.com/office/drawing/2014/main" id="{88DA5E3F-53B7-1249-B30B-95033805CFE9}"/>
                      </a:ext>
                    </a:extLst>
                  </p:cNvPr>
                  <p:cNvSpPr/>
                  <p:nvPr userDrawn="1"/>
                </p:nvSpPr>
                <p:spPr>
                  <a:xfrm>
                    <a:off x="8437050" y="449807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1D5E1"/>
                  </a:solidFill>
                  <a:ln w="2339" cap="flat">
                    <a:noFill/>
                    <a:prstDash val="solid"/>
                    <a:miter/>
                  </a:ln>
                </p:spPr>
                <p:txBody>
                  <a:bodyPr rtlCol="0" anchor="ctr"/>
                  <a:lstStyle/>
                  <a:p>
                    <a:endParaRPr lang="en-US" sz="2400"/>
                  </a:p>
                </p:txBody>
              </p:sp>
              <p:sp>
                <p:nvSpPr>
                  <p:cNvPr id="905" name="Freeform: Shape 904">
                    <a:extLst>
                      <a:ext uri="{FF2B5EF4-FFF2-40B4-BE49-F238E27FC236}">
                        <a16:creationId xmlns:a16="http://schemas.microsoft.com/office/drawing/2014/main" id="{72BEB366-F796-A016-9FA8-D5AFD8CF8366}"/>
                      </a:ext>
                    </a:extLst>
                  </p:cNvPr>
                  <p:cNvSpPr/>
                  <p:nvPr userDrawn="1"/>
                </p:nvSpPr>
                <p:spPr>
                  <a:xfrm>
                    <a:off x="8437518" y="449826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D1D6E1"/>
                  </a:solidFill>
                  <a:ln w="2339" cap="flat">
                    <a:noFill/>
                    <a:prstDash val="solid"/>
                    <a:miter/>
                  </a:ln>
                </p:spPr>
                <p:txBody>
                  <a:bodyPr rtlCol="0" anchor="ctr"/>
                  <a:lstStyle/>
                  <a:p>
                    <a:endParaRPr lang="en-US" sz="2400"/>
                  </a:p>
                </p:txBody>
              </p:sp>
              <p:sp>
                <p:nvSpPr>
                  <p:cNvPr id="906" name="Freeform: Shape 905">
                    <a:extLst>
                      <a:ext uri="{FF2B5EF4-FFF2-40B4-BE49-F238E27FC236}">
                        <a16:creationId xmlns:a16="http://schemas.microsoft.com/office/drawing/2014/main" id="{E9B09D97-9CC2-C3E5-8F62-495B6CEBE0AA}"/>
                      </a:ext>
                    </a:extLst>
                  </p:cNvPr>
                  <p:cNvSpPr/>
                  <p:nvPr userDrawn="1"/>
                </p:nvSpPr>
                <p:spPr>
                  <a:xfrm>
                    <a:off x="8437963" y="449847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2D6E1"/>
                  </a:solidFill>
                  <a:ln w="2339" cap="flat">
                    <a:noFill/>
                    <a:prstDash val="solid"/>
                    <a:miter/>
                  </a:ln>
                </p:spPr>
                <p:txBody>
                  <a:bodyPr rtlCol="0" anchor="ctr"/>
                  <a:lstStyle/>
                  <a:p>
                    <a:endParaRPr lang="en-US" sz="2400"/>
                  </a:p>
                </p:txBody>
              </p:sp>
              <p:sp>
                <p:nvSpPr>
                  <p:cNvPr id="907" name="Freeform: Shape 906">
                    <a:extLst>
                      <a:ext uri="{FF2B5EF4-FFF2-40B4-BE49-F238E27FC236}">
                        <a16:creationId xmlns:a16="http://schemas.microsoft.com/office/drawing/2014/main" id="{0E67A3BB-2513-210B-6DB5-0674F47CF87B}"/>
                      </a:ext>
                    </a:extLst>
                  </p:cNvPr>
                  <p:cNvSpPr/>
                  <p:nvPr userDrawn="1"/>
                </p:nvSpPr>
                <p:spPr>
                  <a:xfrm>
                    <a:off x="8438407" y="449866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D2D6E2"/>
                  </a:solidFill>
                  <a:ln w="2339" cap="flat">
                    <a:noFill/>
                    <a:prstDash val="solid"/>
                    <a:miter/>
                  </a:ln>
                </p:spPr>
                <p:txBody>
                  <a:bodyPr rtlCol="0" anchor="ctr"/>
                  <a:lstStyle/>
                  <a:p>
                    <a:endParaRPr lang="en-US" sz="2400"/>
                  </a:p>
                </p:txBody>
              </p:sp>
              <p:sp>
                <p:nvSpPr>
                  <p:cNvPr id="908" name="Freeform: Shape 907">
                    <a:extLst>
                      <a:ext uri="{FF2B5EF4-FFF2-40B4-BE49-F238E27FC236}">
                        <a16:creationId xmlns:a16="http://schemas.microsoft.com/office/drawing/2014/main" id="{B5B74263-768D-5B49-4478-F9AA77A19E16}"/>
                      </a:ext>
                    </a:extLst>
                  </p:cNvPr>
                  <p:cNvSpPr/>
                  <p:nvPr userDrawn="1"/>
                </p:nvSpPr>
                <p:spPr>
                  <a:xfrm>
                    <a:off x="8438852" y="449887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D2D6E2"/>
                  </a:solidFill>
                  <a:ln w="2339" cap="flat">
                    <a:noFill/>
                    <a:prstDash val="solid"/>
                    <a:miter/>
                  </a:ln>
                </p:spPr>
                <p:txBody>
                  <a:bodyPr rtlCol="0" anchor="ctr"/>
                  <a:lstStyle/>
                  <a:p>
                    <a:endParaRPr lang="en-US" sz="2400"/>
                  </a:p>
                </p:txBody>
              </p:sp>
              <p:sp>
                <p:nvSpPr>
                  <p:cNvPr id="909" name="Freeform: Shape 908">
                    <a:extLst>
                      <a:ext uri="{FF2B5EF4-FFF2-40B4-BE49-F238E27FC236}">
                        <a16:creationId xmlns:a16="http://schemas.microsoft.com/office/drawing/2014/main" id="{1E26EC0A-849F-F746-1601-7D396621F567}"/>
                      </a:ext>
                    </a:extLst>
                  </p:cNvPr>
                  <p:cNvSpPr/>
                  <p:nvPr userDrawn="1"/>
                </p:nvSpPr>
                <p:spPr>
                  <a:xfrm>
                    <a:off x="8439296" y="449908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3D7E2"/>
                  </a:solidFill>
                  <a:ln w="2339" cap="flat">
                    <a:noFill/>
                    <a:prstDash val="solid"/>
                    <a:miter/>
                  </a:ln>
                </p:spPr>
                <p:txBody>
                  <a:bodyPr rtlCol="0" anchor="ctr"/>
                  <a:lstStyle/>
                  <a:p>
                    <a:endParaRPr lang="en-US" sz="2400"/>
                  </a:p>
                </p:txBody>
              </p:sp>
              <p:sp>
                <p:nvSpPr>
                  <p:cNvPr id="910" name="Freeform: Shape 909">
                    <a:extLst>
                      <a:ext uri="{FF2B5EF4-FFF2-40B4-BE49-F238E27FC236}">
                        <a16:creationId xmlns:a16="http://schemas.microsoft.com/office/drawing/2014/main" id="{3C768C6D-05FE-94FF-E48D-0456AF22F7F4}"/>
                      </a:ext>
                    </a:extLst>
                  </p:cNvPr>
                  <p:cNvSpPr/>
                  <p:nvPr userDrawn="1"/>
                </p:nvSpPr>
                <p:spPr>
                  <a:xfrm>
                    <a:off x="8439741" y="449929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3D7E2"/>
                  </a:solidFill>
                  <a:ln w="2339" cap="flat">
                    <a:noFill/>
                    <a:prstDash val="solid"/>
                    <a:miter/>
                  </a:ln>
                </p:spPr>
                <p:txBody>
                  <a:bodyPr rtlCol="0" anchor="ctr"/>
                  <a:lstStyle/>
                  <a:p>
                    <a:endParaRPr lang="en-US" sz="2400"/>
                  </a:p>
                </p:txBody>
              </p:sp>
              <p:sp>
                <p:nvSpPr>
                  <p:cNvPr id="911" name="Freeform: Shape 910">
                    <a:extLst>
                      <a:ext uri="{FF2B5EF4-FFF2-40B4-BE49-F238E27FC236}">
                        <a16:creationId xmlns:a16="http://schemas.microsoft.com/office/drawing/2014/main" id="{447B57AF-B87E-212A-F453-692C01A3E657}"/>
                      </a:ext>
                    </a:extLst>
                  </p:cNvPr>
                  <p:cNvSpPr/>
                  <p:nvPr userDrawn="1"/>
                </p:nvSpPr>
                <p:spPr>
                  <a:xfrm>
                    <a:off x="8440186" y="449950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3D7E2"/>
                  </a:solidFill>
                  <a:ln w="2339" cap="flat">
                    <a:noFill/>
                    <a:prstDash val="solid"/>
                    <a:miter/>
                  </a:ln>
                </p:spPr>
                <p:txBody>
                  <a:bodyPr rtlCol="0" anchor="ctr"/>
                  <a:lstStyle/>
                  <a:p>
                    <a:endParaRPr lang="en-US" sz="2400"/>
                  </a:p>
                </p:txBody>
              </p:sp>
              <p:sp>
                <p:nvSpPr>
                  <p:cNvPr id="912" name="Freeform: Shape 911">
                    <a:extLst>
                      <a:ext uri="{FF2B5EF4-FFF2-40B4-BE49-F238E27FC236}">
                        <a16:creationId xmlns:a16="http://schemas.microsoft.com/office/drawing/2014/main" id="{09ADDD01-3C1D-4107-B2DD-A6DC75AD7291}"/>
                      </a:ext>
                    </a:extLst>
                  </p:cNvPr>
                  <p:cNvSpPr/>
                  <p:nvPr userDrawn="1"/>
                </p:nvSpPr>
                <p:spPr>
                  <a:xfrm>
                    <a:off x="8440630" y="449971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4D7E3"/>
                  </a:solidFill>
                  <a:ln w="2339" cap="flat">
                    <a:noFill/>
                    <a:prstDash val="solid"/>
                    <a:miter/>
                  </a:ln>
                </p:spPr>
                <p:txBody>
                  <a:bodyPr rtlCol="0" anchor="ctr"/>
                  <a:lstStyle/>
                  <a:p>
                    <a:endParaRPr lang="en-US" sz="2400"/>
                  </a:p>
                </p:txBody>
              </p:sp>
              <p:sp>
                <p:nvSpPr>
                  <p:cNvPr id="913" name="Freeform: Shape 912">
                    <a:extLst>
                      <a:ext uri="{FF2B5EF4-FFF2-40B4-BE49-F238E27FC236}">
                        <a16:creationId xmlns:a16="http://schemas.microsoft.com/office/drawing/2014/main" id="{49ECFA28-6E60-5D66-352C-A373040DFE07}"/>
                      </a:ext>
                    </a:extLst>
                  </p:cNvPr>
                  <p:cNvSpPr/>
                  <p:nvPr userDrawn="1"/>
                </p:nvSpPr>
                <p:spPr>
                  <a:xfrm>
                    <a:off x="8441075" y="449990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54"/>
                          <a:pt x="0" y="21060"/>
                        </a:cubicBezTo>
                        <a:close/>
                      </a:path>
                    </a:pathLst>
                  </a:custGeom>
                  <a:solidFill>
                    <a:srgbClr val="D4D8E3"/>
                  </a:solidFill>
                  <a:ln w="2339" cap="flat">
                    <a:noFill/>
                    <a:prstDash val="solid"/>
                    <a:miter/>
                  </a:ln>
                </p:spPr>
                <p:txBody>
                  <a:bodyPr rtlCol="0" anchor="ctr"/>
                  <a:lstStyle/>
                  <a:p>
                    <a:endParaRPr lang="en-US" sz="2400"/>
                  </a:p>
                </p:txBody>
              </p:sp>
              <p:sp>
                <p:nvSpPr>
                  <p:cNvPr id="914" name="Freeform: Shape 913">
                    <a:extLst>
                      <a:ext uri="{FF2B5EF4-FFF2-40B4-BE49-F238E27FC236}">
                        <a16:creationId xmlns:a16="http://schemas.microsoft.com/office/drawing/2014/main" id="{80E5080D-784F-7A7F-3539-FEBE4F69994E}"/>
                      </a:ext>
                    </a:extLst>
                  </p:cNvPr>
                  <p:cNvSpPr/>
                  <p:nvPr userDrawn="1"/>
                </p:nvSpPr>
                <p:spPr>
                  <a:xfrm>
                    <a:off x="8441496" y="450011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D4D8E3"/>
                  </a:solidFill>
                  <a:ln w="2339" cap="flat">
                    <a:noFill/>
                    <a:prstDash val="solid"/>
                    <a:miter/>
                  </a:ln>
                </p:spPr>
                <p:txBody>
                  <a:bodyPr rtlCol="0" anchor="ctr"/>
                  <a:lstStyle/>
                  <a:p>
                    <a:endParaRPr lang="en-US" sz="2400"/>
                  </a:p>
                </p:txBody>
              </p:sp>
              <p:sp>
                <p:nvSpPr>
                  <p:cNvPr id="915" name="Freeform: Shape 914">
                    <a:extLst>
                      <a:ext uri="{FF2B5EF4-FFF2-40B4-BE49-F238E27FC236}">
                        <a16:creationId xmlns:a16="http://schemas.microsoft.com/office/drawing/2014/main" id="{6AD61782-E667-BCFA-0988-C982F13D7779}"/>
                      </a:ext>
                    </a:extLst>
                  </p:cNvPr>
                  <p:cNvSpPr/>
                  <p:nvPr userDrawn="1"/>
                </p:nvSpPr>
                <p:spPr>
                  <a:xfrm>
                    <a:off x="8441941" y="450032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D4D8E3"/>
                  </a:solidFill>
                  <a:ln w="2339" cap="flat">
                    <a:noFill/>
                    <a:prstDash val="solid"/>
                    <a:miter/>
                  </a:ln>
                </p:spPr>
                <p:txBody>
                  <a:bodyPr rtlCol="0" anchor="ctr"/>
                  <a:lstStyle/>
                  <a:p>
                    <a:endParaRPr lang="en-US" sz="2400"/>
                  </a:p>
                </p:txBody>
              </p:sp>
              <p:sp>
                <p:nvSpPr>
                  <p:cNvPr id="916" name="Freeform: Shape 915">
                    <a:extLst>
                      <a:ext uri="{FF2B5EF4-FFF2-40B4-BE49-F238E27FC236}">
                        <a16:creationId xmlns:a16="http://schemas.microsoft.com/office/drawing/2014/main" id="{5EB87722-1393-AC01-62D4-BE28ED69510D}"/>
                      </a:ext>
                    </a:extLst>
                  </p:cNvPr>
                  <p:cNvSpPr/>
                  <p:nvPr userDrawn="1"/>
                </p:nvSpPr>
                <p:spPr>
                  <a:xfrm>
                    <a:off x="8442362" y="450053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D5D9E3"/>
                  </a:solidFill>
                  <a:ln w="2339" cap="flat">
                    <a:noFill/>
                    <a:prstDash val="solid"/>
                    <a:miter/>
                  </a:ln>
                </p:spPr>
                <p:txBody>
                  <a:bodyPr rtlCol="0" anchor="ctr"/>
                  <a:lstStyle/>
                  <a:p>
                    <a:endParaRPr lang="en-US" sz="2400"/>
                  </a:p>
                </p:txBody>
              </p:sp>
              <p:sp>
                <p:nvSpPr>
                  <p:cNvPr id="917" name="Freeform: Shape 916">
                    <a:extLst>
                      <a:ext uri="{FF2B5EF4-FFF2-40B4-BE49-F238E27FC236}">
                        <a16:creationId xmlns:a16="http://schemas.microsoft.com/office/drawing/2014/main" id="{1005C013-B726-ADCE-325A-4F9091B31183}"/>
                      </a:ext>
                    </a:extLst>
                  </p:cNvPr>
                  <p:cNvSpPr/>
                  <p:nvPr userDrawn="1"/>
                </p:nvSpPr>
                <p:spPr>
                  <a:xfrm>
                    <a:off x="8442806" y="450076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5D9E4"/>
                  </a:solidFill>
                  <a:ln w="2339" cap="flat">
                    <a:noFill/>
                    <a:prstDash val="solid"/>
                    <a:miter/>
                  </a:ln>
                </p:spPr>
                <p:txBody>
                  <a:bodyPr rtlCol="0" anchor="ctr"/>
                  <a:lstStyle/>
                  <a:p>
                    <a:endParaRPr lang="en-US" sz="2400"/>
                  </a:p>
                </p:txBody>
              </p:sp>
              <p:sp>
                <p:nvSpPr>
                  <p:cNvPr id="918" name="Freeform: Shape 917">
                    <a:extLst>
                      <a:ext uri="{FF2B5EF4-FFF2-40B4-BE49-F238E27FC236}">
                        <a16:creationId xmlns:a16="http://schemas.microsoft.com/office/drawing/2014/main" id="{40C6F805-9B2D-383F-D28F-6A41AA579AA0}"/>
                      </a:ext>
                    </a:extLst>
                  </p:cNvPr>
                  <p:cNvSpPr/>
                  <p:nvPr userDrawn="1"/>
                </p:nvSpPr>
                <p:spPr>
                  <a:xfrm>
                    <a:off x="8443228" y="450097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5D9E4"/>
                  </a:solidFill>
                  <a:ln w="2339" cap="flat">
                    <a:noFill/>
                    <a:prstDash val="solid"/>
                    <a:miter/>
                  </a:ln>
                </p:spPr>
                <p:txBody>
                  <a:bodyPr rtlCol="0" anchor="ctr"/>
                  <a:lstStyle/>
                  <a:p>
                    <a:endParaRPr lang="en-US" sz="2400"/>
                  </a:p>
                </p:txBody>
              </p:sp>
              <p:sp>
                <p:nvSpPr>
                  <p:cNvPr id="919" name="Freeform: Shape 918">
                    <a:extLst>
                      <a:ext uri="{FF2B5EF4-FFF2-40B4-BE49-F238E27FC236}">
                        <a16:creationId xmlns:a16="http://schemas.microsoft.com/office/drawing/2014/main" id="{2373CAB1-5F4F-F642-6095-004FB5C3D277}"/>
                      </a:ext>
                    </a:extLst>
                  </p:cNvPr>
                  <p:cNvSpPr/>
                  <p:nvPr userDrawn="1"/>
                </p:nvSpPr>
                <p:spPr>
                  <a:xfrm>
                    <a:off x="8443649" y="450118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6D9E4"/>
                  </a:solidFill>
                  <a:ln w="2339" cap="flat">
                    <a:noFill/>
                    <a:prstDash val="solid"/>
                    <a:miter/>
                  </a:ln>
                </p:spPr>
                <p:txBody>
                  <a:bodyPr rtlCol="0" anchor="ctr"/>
                  <a:lstStyle/>
                  <a:p>
                    <a:endParaRPr lang="en-US" sz="2400"/>
                  </a:p>
                </p:txBody>
              </p:sp>
              <p:sp>
                <p:nvSpPr>
                  <p:cNvPr id="920" name="Freeform: Shape 919">
                    <a:extLst>
                      <a:ext uri="{FF2B5EF4-FFF2-40B4-BE49-F238E27FC236}">
                        <a16:creationId xmlns:a16="http://schemas.microsoft.com/office/drawing/2014/main" id="{57191449-B726-314C-89C2-ACB9DE4D319B}"/>
                      </a:ext>
                    </a:extLst>
                  </p:cNvPr>
                  <p:cNvSpPr/>
                  <p:nvPr userDrawn="1"/>
                </p:nvSpPr>
                <p:spPr>
                  <a:xfrm>
                    <a:off x="8444093" y="450140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6DAE4"/>
                  </a:solidFill>
                  <a:ln w="2339" cap="flat">
                    <a:noFill/>
                    <a:prstDash val="solid"/>
                    <a:miter/>
                  </a:ln>
                </p:spPr>
                <p:txBody>
                  <a:bodyPr rtlCol="0" anchor="ctr"/>
                  <a:lstStyle/>
                  <a:p>
                    <a:endParaRPr lang="en-US" sz="2400"/>
                  </a:p>
                </p:txBody>
              </p:sp>
              <p:sp>
                <p:nvSpPr>
                  <p:cNvPr id="921" name="Freeform: Shape 920">
                    <a:extLst>
                      <a:ext uri="{FF2B5EF4-FFF2-40B4-BE49-F238E27FC236}">
                        <a16:creationId xmlns:a16="http://schemas.microsoft.com/office/drawing/2014/main" id="{76052370-0938-A7DF-AE19-A070DB0EBAA3}"/>
                      </a:ext>
                    </a:extLst>
                  </p:cNvPr>
                  <p:cNvSpPr/>
                  <p:nvPr userDrawn="1"/>
                </p:nvSpPr>
                <p:spPr>
                  <a:xfrm>
                    <a:off x="8444515" y="450161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D6DAE4"/>
                  </a:solidFill>
                  <a:ln w="2339" cap="flat">
                    <a:noFill/>
                    <a:prstDash val="solid"/>
                    <a:miter/>
                  </a:ln>
                </p:spPr>
                <p:txBody>
                  <a:bodyPr rtlCol="0" anchor="ctr"/>
                  <a:lstStyle/>
                  <a:p>
                    <a:endParaRPr lang="en-US" sz="2400"/>
                  </a:p>
                </p:txBody>
              </p:sp>
              <p:sp>
                <p:nvSpPr>
                  <p:cNvPr id="922" name="Freeform: Shape 921">
                    <a:extLst>
                      <a:ext uri="{FF2B5EF4-FFF2-40B4-BE49-F238E27FC236}">
                        <a16:creationId xmlns:a16="http://schemas.microsoft.com/office/drawing/2014/main" id="{F30868A0-E902-DCCC-7DDB-62AE33942AB8}"/>
                      </a:ext>
                    </a:extLst>
                  </p:cNvPr>
                  <p:cNvSpPr/>
                  <p:nvPr userDrawn="1"/>
                </p:nvSpPr>
                <p:spPr>
                  <a:xfrm>
                    <a:off x="8444936" y="450184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7DAE5"/>
                  </a:solidFill>
                  <a:ln w="2339" cap="flat">
                    <a:noFill/>
                    <a:prstDash val="solid"/>
                    <a:miter/>
                  </a:ln>
                </p:spPr>
                <p:txBody>
                  <a:bodyPr rtlCol="0" anchor="ctr"/>
                  <a:lstStyle/>
                  <a:p>
                    <a:endParaRPr lang="en-US" sz="2400"/>
                  </a:p>
                </p:txBody>
              </p:sp>
              <p:sp>
                <p:nvSpPr>
                  <p:cNvPr id="923" name="Freeform: Shape 922">
                    <a:extLst>
                      <a:ext uri="{FF2B5EF4-FFF2-40B4-BE49-F238E27FC236}">
                        <a16:creationId xmlns:a16="http://schemas.microsoft.com/office/drawing/2014/main" id="{DB5C1F4D-C501-B17B-A208-821331D44835}"/>
                      </a:ext>
                    </a:extLst>
                  </p:cNvPr>
                  <p:cNvSpPr/>
                  <p:nvPr userDrawn="1"/>
                </p:nvSpPr>
                <p:spPr>
                  <a:xfrm>
                    <a:off x="8445357" y="450205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7DBE5"/>
                  </a:solidFill>
                  <a:ln w="2339" cap="flat">
                    <a:noFill/>
                    <a:prstDash val="solid"/>
                    <a:miter/>
                  </a:ln>
                </p:spPr>
                <p:txBody>
                  <a:bodyPr rtlCol="0" anchor="ctr"/>
                  <a:lstStyle/>
                  <a:p>
                    <a:endParaRPr lang="en-US" sz="2400"/>
                  </a:p>
                </p:txBody>
              </p:sp>
              <p:sp>
                <p:nvSpPr>
                  <p:cNvPr id="924" name="Freeform: Shape 923">
                    <a:extLst>
                      <a:ext uri="{FF2B5EF4-FFF2-40B4-BE49-F238E27FC236}">
                        <a16:creationId xmlns:a16="http://schemas.microsoft.com/office/drawing/2014/main" id="{E779F81D-7FED-2163-1837-0637B2535894}"/>
                      </a:ext>
                    </a:extLst>
                  </p:cNvPr>
                  <p:cNvSpPr/>
                  <p:nvPr userDrawn="1"/>
                </p:nvSpPr>
                <p:spPr>
                  <a:xfrm>
                    <a:off x="8445778" y="450226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D7DBE5"/>
                  </a:solidFill>
                  <a:ln w="2339" cap="flat">
                    <a:noFill/>
                    <a:prstDash val="solid"/>
                    <a:miter/>
                  </a:ln>
                </p:spPr>
                <p:txBody>
                  <a:bodyPr rtlCol="0" anchor="ctr"/>
                  <a:lstStyle/>
                  <a:p>
                    <a:endParaRPr lang="en-US" sz="2400"/>
                  </a:p>
                </p:txBody>
              </p:sp>
              <p:sp>
                <p:nvSpPr>
                  <p:cNvPr id="925" name="Freeform: Shape 924">
                    <a:extLst>
                      <a:ext uri="{FF2B5EF4-FFF2-40B4-BE49-F238E27FC236}">
                        <a16:creationId xmlns:a16="http://schemas.microsoft.com/office/drawing/2014/main" id="{E2BCB807-1BA6-4869-0612-A672E8EA5D5E}"/>
                      </a:ext>
                    </a:extLst>
                  </p:cNvPr>
                  <p:cNvSpPr/>
                  <p:nvPr userDrawn="1"/>
                </p:nvSpPr>
                <p:spPr>
                  <a:xfrm>
                    <a:off x="8446176" y="450249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8DBE5"/>
                  </a:solidFill>
                  <a:ln w="2339" cap="flat">
                    <a:noFill/>
                    <a:prstDash val="solid"/>
                    <a:miter/>
                  </a:ln>
                </p:spPr>
                <p:txBody>
                  <a:bodyPr rtlCol="0" anchor="ctr"/>
                  <a:lstStyle/>
                  <a:p>
                    <a:endParaRPr lang="en-US" sz="2400"/>
                  </a:p>
                </p:txBody>
              </p:sp>
              <p:sp>
                <p:nvSpPr>
                  <p:cNvPr id="926" name="Freeform: Shape 925">
                    <a:extLst>
                      <a:ext uri="{FF2B5EF4-FFF2-40B4-BE49-F238E27FC236}">
                        <a16:creationId xmlns:a16="http://schemas.microsoft.com/office/drawing/2014/main" id="{9EA56BA2-E5F3-0F75-F497-46C2DD356064}"/>
                      </a:ext>
                    </a:extLst>
                  </p:cNvPr>
                  <p:cNvSpPr/>
                  <p:nvPr userDrawn="1"/>
                </p:nvSpPr>
                <p:spPr>
                  <a:xfrm>
                    <a:off x="8446597" y="450271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8DBE5"/>
                  </a:solidFill>
                  <a:ln w="2339" cap="flat">
                    <a:noFill/>
                    <a:prstDash val="solid"/>
                    <a:miter/>
                  </a:ln>
                </p:spPr>
                <p:txBody>
                  <a:bodyPr rtlCol="0" anchor="ctr"/>
                  <a:lstStyle/>
                  <a:p>
                    <a:endParaRPr lang="en-US" sz="2400"/>
                  </a:p>
                </p:txBody>
              </p:sp>
              <p:sp>
                <p:nvSpPr>
                  <p:cNvPr id="927" name="Freeform: Shape 926">
                    <a:extLst>
                      <a:ext uri="{FF2B5EF4-FFF2-40B4-BE49-F238E27FC236}">
                        <a16:creationId xmlns:a16="http://schemas.microsoft.com/office/drawing/2014/main" id="{97036C6D-8D9E-3305-E783-49717FFA213B}"/>
                      </a:ext>
                    </a:extLst>
                  </p:cNvPr>
                  <p:cNvSpPr/>
                  <p:nvPr userDrawn="1"/>
                </p:nvSpPr>
                <p:spPr>
                  <a:xfrm>
                    <a:off x="8447018" y="450292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54"/>
                          <a:pt x="0" y="21060"/>
                        </a:cubicBezTo>
                        <a:close/>
                      </a:path>
                    </a:pathLst>
                  </a:custGeom>
                  <a:solidFill>
                    <a:srgbClr val="D8DCE6"/>
                  </a:solidFill>
                  <a:ln w="2339" cap="flat">
                    <a:noFill/>
                    <a:prstDash val="solid"/>
                    <a:miter/>
                  </a:ln>
                </p:spPr>
                <p:txBody>
                  <a:bodyPr rtlCol="0" anchor="ctr"/>
                  <a:lstStyle/>
                  <a:p>
                    <a:endParaRPr lang="en-US" sz="2400"/>
                  </a:p>
                </p:txBody>
              </p:sp>
              <p:sp>
                <p:nvSpPr>
                  <p:cNvPr id="928" name="Freeform: Shape 927">
                    <a:extLst>
                      <a:ext uri="{FF2B5EF4-FFF2-40B4-BE49-F238E27FC236}">
                        <a16:creationId xmlns:a16="http://schemas.microsoft.com/office/drawing/2014/main" id="{4F317B40-2457-BB6C-5C25-365080F9665C}"/>
                      </a:ext>
                    </a:extLst>
                  </p:cNvPr>
                  <p:cNvSpPr/>
                  <p:nvPr userDrawn="1"/>
                </p:nvSpPr>
                <p:spPr>
                  <a:xfrm>
                    <a:off x="8447416" y="450315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8DCE6"/>
                  </a:solidFill>
                  <a:ln w="2339" cap="flat">
                    <a:noFill/>
                    <a:prstDash val="solid"/>
                    <a:miter/>
                  </a:ln>
                </p:spPr>
                <p:txBody>
                  <a:bodyPr rtlCol="0" anchor="ctr"/>
                  <a:lstStyle/>
                  <a:p>
                    <a:endParaRPr lang="en-US" sz="2400"/>
                  </a:p>
                </p:txBody>
              </p:sp>
              <p:sp>
                <p:nvSpPr>
                  <p:cNvPr id="929" name="Freeform: Shape 928">
                    <a:extLst>
                      <a:ext uri="{FF2B5EF4-FFF2-40B4-BE49-F238E27FC236}">
                        <a16:creationId xmlns:a16="http://schemas.microsoft.com/office/drawing/2014/main" id="{25527935-2B70-BEF1-97CD-D9C6428FF8A5}"/>
                      </a:ext>
                    </a:extLst>
                  </p:cNvPr>
                  <p:cNvSpPr/>
                  <p:nvPr userDrawn="1"/>
                </p:nvSpPr>
                <p:spPr>
                  <a:xfrm>
                    <a:off x="8447814" y="450338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9DCE6"/>
                  </a:solidFill>
                  <a:ln w="2339" cap="flat">
                    <a:noFill/>
                    <a:prstDash val="solid"/>
                    <a:miter/>
                  </a:ln>
                </p:spPr>
                <p:txBody>
                  <a:bodyPr rtlCol="0" anchor="ctr"/>
                  <a:lstStyle/>
                  <a:p>
                    <a:endParaRPr lang="en-US" sz="2400"/>
                  </a:p>
                </p:txBody>
              </p:sp>
              <p:sp>
                <p:nvSpPr>
                  <p:cNvPr id="930" name="Freeform: Shape 929">
                    <a:extLst>
                      <a:ext uri="{FF2B5EF4-FFF2-40B4-BE49-F238E27FC236}">
                        <a16:creationId xmlns:a16="http://schemas.microsoft.com/office/drawing/2014/main" id="{8848F30F-C4A6-A77C-B721-B630B1BE3DD4}"/>
                      </a:ext>
                    </a:extLst>
                  </p:cNvPr>
                  <p:cNvSpPr/>
                  <p:nvPr userDrawn="1"/>
                </p:nvSpPr>
                <p:spPr>
                  <a:xfrm>
                    <a:off x="8448235" y="450359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9DCE6"/>
                  </a:solidFill>
                  <a:ln w="2339" cap="flat">
                    <a:noFill/>
                    <a:prstDash val="solid"/>
                    <a:miter/>
                  </a:ln>
                </p:spPr>
                <p:txBody>
                  <a:bodyPr rtlCol="0" anchor="ctr"/>
                  <a:lstStyle/>
                  <a:p>
                    <a:endParaRPr lang="en-US" sz="2400"/>
                  </a:p>
                </p:txBody>
              </p:sp>
              <p:sp>
                <p:nvSpPr>
                  <p:cNvPr id="931" name="Freeform: Shape 930">
                    <a:extLst>
                      <a:ext uri="{FF2B5EF4-FFF2-40B4-BE49-F238E27FC236}">
                        <a16:creationId xmlns:a16="http://schemas.microsoft.com/office/drawing/2014/main" id="{E80F882F-B8FA-78D1-C04B-13EAA618CFDA}"/>
                      </a:ext>
                    </a:extLst>
                  </p:cNvPr>
                  <p:cNvSpPr/>
                  <p:nvPr userDrawn="1"/>
                </p:nvSpPr>
                <p:spPr>
                  <a:xfrm>
                    <a:off x="8448633" y="450383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9DDE6"/>
                  </a:solidFill>
                  <a:ln w="2339" cap="flat">
                    <a:noFill/>
                    <a:prstDash val="solid"/>
                    <a:miter/>
                  </a:ln>
                </p:spPr>
                <p:txBody>
                  <a:bodyPr rtlCol="0" anchor="ctr"/>
                  <a:lstStyle/>
                  <a:p>
                    <a:endParaRPr lang="en-US" sz="2400"/>
                  </a:p>
                </p:txBody>
              </p:sp>
              <p:sp>
                <p:nvSpPr>
                  <p:cNvPr id="932" name="Freeform: Shape 931">
                    <a:extLst>
                      <a:ext uri="{FF2B5EF4-FFF2-40B4-BE49-F238E27FC236}">
                        <a16:creationId xmlns:a16="http://schemas.microsoft.com/office/drawing/2014/main" id="{293E4E42-DC25-0318-74A2-41F98837FEAC}"/>
                      </a:ext>
                    </a:extLst>
                  </p:cNvPr>
                  <p:cNvSpPr/>
                  <p:nvPr userDrawn="1"/>
                </p:nvSpPr>
                <p:spPr>
                  <a:xfrm>
                    <a:off x="8449031" y="450404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DADDE7"/>
                  </a:solidFill>
                  <a:ln w="2339" cap="flat">
                    <a:noFill/>
                    <a:prstDash val="solid"/>
                    <a:miter/>
                  </a:ln>
                </p:spPr>
                <p:txBody>
                  <a:bodyPr rtlCol="0" anchor="ctr"/>
                  <a:lstStyle/>
                  <a:p>
                    <a:endParaRPr lang="en-US" sz="2400"/>
                  </a:p>
                </p:txBody>
              </p:sp>
              <p:sp>
                <p:nvSpPr>
                  <p:cNvPr id="933" name="Freeform: Shape 932">
                    <a:extLst>
                      <a:ext uri="{FF2B5EF4-FFF2-40B4-BE49-F238E27FC236}">
                        <a16:creationId xmlns:a16="http://schemas.microsoft.com/office/drawing/2014/main" id="{15F44ECE-47DA-059D-BD49-7F7D9E502194}"/>
                      </a:ext>
                    </a:extLst>
                  </p:cNvPr>
                  <p:cNvSpPr/>
                  <p:nvPr userDrawn="1"/>
                </p:nvSpPr>
                <p:spPr>
                  <a:xfrm>
                    <a:off x="8449429" y="450427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ADDE7"/>
                  </a:solidFill>
                  <a:ln w="2339" cap="flat">
                    <a:noFill/>
                    <a:prstDash val="solid"/>
                    <a:miter/>
                  </a:ln>
                </p:spPr>
                <p:txBody>
                  <a:bodyPr rtlCol="0" anchor="ctr"/>
                  <a:lstStyle/>
                  <a:p>
                    <a:endParaRPr lang="en-US" sz="2400"/>
                  </a:p>
                </p:txBody>
              </p:sp>
              <p:sp>
                <p:nvSpPr>
                  <p:cNvPr id="934" name="Freeform: Shape 933">
                    <a:extLst>
                      <a:ext uri="{FF2B5EF4-FFF2-40B4-BE49-F238E27FC236}">
                        <a16:creationId xmlns:a16="http://schemas.microsoft.com/office/drawing/2014/main" id="{3C7849D3-F813-0624-EAD8-65E6337DE60D}"/>
                      </a:ext>
                    </a:extLst>
                  </p:cNvPr>
                  <p:cNvSpPr/>
                  <p:nvPr userDrawn="1"/>
                </p:nvSpPr>
                <p:spPr>
                  <a:xfrm>
                    <a:off x="8449826" y="450451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ADEE7"/>
                  </a:solidFill>
                  <a:ln w="2339" cap="flat">
                    <a:noFill/>
                    <a:prstDash val="solid"/>
                    <a:miter/>
                  </a:ln>
                </p:spPr>
                <p:txBody>
                  <a:bodyPr rtlCol="0" anchor="ctr"/>
                  <a:lstStyle/>
                  <a:p>
                    <a:endParaRPr lang="en-US" sz="2400"/>
                  </a:p>
                </p:txBody>
              </p:sp>
              <p:sp>
                <p:nvSpPr>
                  <p:cNvPr id="935" name="Freeform: Shape 934">
                    <a:extLst>
                      <a:ext uri="{FF2B5EF4-FFF2-40B4-BE49-F238E27FC236}">
                        <a16:creationId xmlns:a16="http://schemas.microsoft.com/office/drawing/2014/main" id="{62A53650-F6F1-721F-768E-6EE4D2517B4F}"/>
                      </a:ext>
                    </a:extLst>
                  </p:cNvPr>
                  <p:cNvSpPr/>
                  <p:nvPr userDrawn="1"/>
                </p:nvSpPr>
                <p:spPr>
                  <a:xfrm>
                    <a:off x="8450224" y="450474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BDEE7"/>
                  </a:solidFill>
                  <a:ln w="2339" cap="flat">
                    <a:noFill/>
                    <a:prstDash val="solid"/>
                    <a:miter/>
                  </a:ln>
                </p:spPr>
                <p:txBody>
                  <a:bodyPr rtlCol="0" anchor="ctr"/>
                  <a:lstStyle/>
                  <a:p>
                    <a:endParaRPr lang="en-US" sz="2400"/>
                  </a:p>
                </p:txBody>
              </p:sp>
              <p:sp>
                <p:nvSpPr>
                  <p:cNvPr id="936" name="Freeform: Shape 935">
                    <a:extLst>
                      <a:ext uri="{FF2B5EF4-FFF2-40B4-BE49-F238E27FC236}">
                        <a16:creationId xmlns:a16="http://schemas.microsoft.com/office/drawing/2014/main" id="{A9782070-1B2D-3254-46BF-08BA05E18D24}"/>
                      </a:ext>
                    </a:extLst>
                  </p:cNvPr>
                  <p:cNvSpPr/>
                  <p:nvPr userDrawn="1"/>
                </p:nvSpPr>
                <p:spPr>
                  <a:xfrm>
                    <a:off x="8450622" y="450495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DBDEE7"/>
                  </a:solidFill>
                  <a:ln w="2339" cap="flat">
                    <a:noFill/>
                    <a:prstDash val="solid"/>
                    <a:miter/>
                  </a:ln>
                </p:spPr>
                <p:txBody>
                  <a:bodyPr rtlCol="0" anchor="ctr"/>
                  <a:lstStyle/>
                  <a:p>
                    <a:endParaRPr lang="en-US" sz="2400"/>
                  </a:p>
                </p:txBody>
              </p:sp>
              <p:sp>
                <p:nvSpPr>
                  <p:cNvPr id="937" name="Freeform: Shape 936">
                    <a:extLst>
                      <a:ext uri="{FF2B5EF4-FFF2-40B4-BE49-F238E27FC236}">
                        <a16:creationId xmlns:a16="http://schemas.microsoft.com/office/drawing/2014/main" id="{DCA20766-C89C-5A2E-BF11-E5C63EF9226C}"/>
                      </a:ext>
                    </a:extLst>
                  </p:cNvPr>
                  <p:cNvSpPr/>
                  <p:nvPr userDrawn="1"/>
                </p:nvSpPr>
                <p:spPr>
                  <a:xfrm>
                    <a:off x="8451020" y="450519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DBDEE8"/>
                  </a:solidFill>
                  <a:ln w="2339" cap="flat">
                    <a:noFill/>
                    <a:prstDash val="solid"/>
                    <a:miter/>
                  </a:ln>
                </p:spPr>
                <p:txBody>
                  <a:bodyPr rtlCol="0" anchor="ctr"/>
                  <a:lstStyle/>
                  <a:p>
                    <a:endParaRPr lang="en-US" sz="2400"/>
                  </a:p>
                </p:txBody>
              </p:sp>
              <p:sp>
                <p:nvSpPr>
                  <p:cNvPr id="938" name="Freeform: Shape 937">
                    <a:extLst>
                      <a:ext uri="{FF2B5EF4-FFF2-40B4-BE49-F238E27FC236}">
                        <a16:creationId xmlns:a16="http://schemas.microsoft.com/office/drawing/2014/main" id="{DBF41ED7-7EAA-F471-57E7-6D1214663879}"/>
                      </a:ext>
                    </a:extLst>
                  </p:cNvPr>
                  <p:cNvSpPr/>
                  <p:nvPr userDrawn="1"/>
                </p:nvSpPr>
                <p:spPr>
                  <a:xfrm>
                    <a:off x="8451394" y="450542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CDFE8"/>
                  </a:solidFill>
                  <a:ln w="2339" cap="flat">
                    <a:noFill/>
                    <a:prstDash val="solid"/>
                    <a:miter/>
                  </a:ln>
                </p:spPr>
                <p:txBody>
                  <a:bodyPr rtlCol="0" anchor="ctr"/>
                  <a:lstStyle/>
                  <a:p>
                    <a:endParaRPr lang="en-US" sz="2400"/>
                  </a:p>
                </p:txBody>
              </p:sp>
              <p:sp>
                <p:nvSpPr>
                  <p:cNvPr id="939" name="Freeform: Shape 938">
                    <a:extLst>
                      <a:ext uri="{FF2B5EF4-FFF2-40B4-BE49-F238E27FC236}">
                        <a16:creationId xmlns:a16="http://schemas.microsoft.com/office/drawing/2014/main" id="{072AF2B1-3B71-926F-BBAA-40FAE8AB66F4}"/>
                      </a:ext>
                    </a:extLst>
                  </p:cNvPr>
                  <p:cNvSpPr/>
                  <p:nvPr userDrawn="1"/>
                </p:nvSpPr>
                <p:spPr>
                  <a:xfrm>
                    <a:off x="8451792" y="450565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CDFE8"/>
                  </a:solidFill>
                  <a:ln w="2339" cap="flat">
                    <a:noFill/>
                    <a:prstDash val="solid"/>
                    <a:miter/>
                  </a:ln>
                </p:spPr>
                <p:txBody>
                  <a:bodyPr rtlCol="0" anchor="ctr"/>
                  <a:lstStyle/>
                  <a:p>
                    <a:endParaRPr lang="en-US" sz="2400"/>
                  </a:p>
                </p:txBody>
              </p:sp>
              <p:sp>
                <p:nvSpPr>
                  <p:cNvPr id="940" name="Freeform: Shape 939">
                    <a:extLst>
                      <a:ext uri="{FF2B5EF4-FFF2-40B4-BE49-F238E27FC236}">
                        <a16:creationId xmlns:a16="http://schemas.microsoft.com/office/drawing/2014/main" id="{1306D3BC-B9E2-38DC-32E1-5C53F28501E3}"/>
                      </a:ext>
                    </a:extLst>
                  </p:cNvPr>
                  <p:cNvSpPr/>
                  <p:nvPr userDrawn="1"/>
                </p:nvSpPr>
                <p:spPr>
                  <a:xfrm>
                    <a:off x="8452166" y="450589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CDFE8"/>
                  </a:solidFill>
                  <a:ln w="2339" cap="flat">
                    <a:noFill/>
                    <a:prstDash val="solid"/>
                    <a:miter/>
                  </a:ln>
                </p:spPr>
                <p:txBody>
                  <a:bodyPr rtlCol="0" anchor="ctr"/>
                  <a:lstStyle/>
                  <a:p>
                    <a:endParaRPr lang="en-US" sz="2400"/>
                  </a:p>
                </p:txBody>
              </p:sp>
              <p:sp>
                <p:nvSpPr>
                  <p:cNvPr id="941" name="Freeform: Shape 940">
                    <a:extLst>
                      <a:ext uri="{FF2B5EF4-FFF2-40B4-BE49-F238E27FC236}">
                        <a16:creationId xmlns:a16="http://schemas.microsoft.com/office/drawing/2014/main" id="{5D7AA9BD-4577-F62C-36E3-DBB981B288D3}"/>
                      </a:ext>
                    </a:extLst>
                  </p:cNvPr>
                  <p:cNvSpPr/>
                  <p:nvPr userDrawn="1"/>
                </p:nvSpPr>
                <p:spPr>
                  <a:xfrm>
                    <a:off x="8452564" y="450612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CE0E8"/>
                  </a:solidFill>
                  <a:ln w="2339" cap="flat">
                    <a:noFill/>
                    <a:prstDash val="solid"/>
                    <a:miter/>
                  </a:ln>
                </p:spPr>
                <p:txBody>
                  <a:bodyPr rtlCol="0" anchor="ctr"/>
                  <a:lstStyle/>
                  <a:p>
                    <a:endParaRPr lang="en-US" sz="2400"/>
                  </a:p>
                </p:txBody>
              </p:sp>
              <p:sp>
                <p:nvSpPr>
                  <p:cNvPr id="942" name="Freeform: Shape 941">
                    <a:extLst>
                      <a:ext uri="{FF2B5EF4-FFF2-40B4-BE49-F238E27FC236}">
                        <a16:creationId xmlns:a16="http://schemas.microsoft.com/office/drawing/2014/main" id="{9D2CB7A1-4458-EDB0-9A12-6252C04CE48F}"/>
                      </a:ext>
                    </a:extLst>
                  </p:cNvPr>
                  <p:cNvSpPr/>
                  <p:nvPr userDrawn="1"/>
                </p:nvSpPr>
                <p:spPr>
                  <a:xfrm>
                    <a:off x="8452939" y="450636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DE0E9"/>
                  </a:solidFill>
                  <a:ln w="2339" cap="flat">
                    <a:noFill/>
                    <a:prstDash val="solid"/>
                    <a:miter/>
                  </a:ln>
                </p:spPr>
                <p:txBody>
                  <a:bodyPr rtlCol="0" anchor="ctr"/>
                  <a:lstStyle/>
                  <a:p>
                    <a:endParaRPr lang="en-US" sz="2400"/>
                  </a:p>
                </p:txBody>
              </p:sp>
              <p:sp>
                <p:nvSpPr>
                  <p:cNvPr id="943" name="Freeform: Shape 942">
                    <a:extLst>
                      <a:ext uri="{FF2B5EF4-FFF2-40B4-BE49-F238E27FC236}">
                        <a16:creationId xmlns:a16="http://schemas.microsoft.com/office/drawing/2014/main" id="{DAC2492B-AC6A-9D3B-6BD3-2760EDDD1465}"/>
                      </a:ext>
                    </a:extLst>
                  </p:cNvPr>
                  <p:cNvSpPr/>
                  <p:nvPr userDrawn="1"/>
                </p:nvSpPr>
                <p:spPr>
                  <a:xfrm>
                    <a:off x="8453313" y="450659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DE0E9"/>
                  </a:solidFill>
                  <a:ln w="2339" cap="flat">
                    <a:noFill/>
                    <a:prstDash val="solid"/>
                    <a:miter/>
                  </a:ln>
                </p:spPr>
                <p:txBody>
                  <a:bodyPr rtlCol="0" anchor="ctr"/>
                  <a:lstStyle/>
                  <a:p>
                    <a:endParaRPr lang="en-US" sz="2400"/>
                  </a:p>
                </p:txBody>
              </p:sp>
              <p:sp>
                <p:nvSpPr>
                  <p:cNvPr id="944" name="Freeform: Shape 943">
                    <a:extLst>
                      <a:ext uri="{FF2B5EF4-FFF2-40B4-BE49-F238E27FC236}">
                        <a16:creationId xmlns:a16="http://schemas.microsoft.com/office/drawing/2014/main" id="{D31316E1-3209-371E-9AA5-C5FB9A3A30BB}"/>
                      </a:ext>
                    </a:extLst>
                  </p:cNvPr>
                  <p:cNvSpPr/>
                  <p:nvPr userDrawn="1"/>
                </p:nvSpPr>
                <p:spPr>
                  <a:xfrm>
                    <a:off x="8453688" y="450682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DE0E9"/>
                  </a:solidFill>
                  <a:ln w="2339" cap="flat">
                    <a:noFill/>
                    <a:prstDash val="solid"/>
                    <a:miter/>
                  </a:ln>
                </p:spPr>
                <p:txBody>
                  <a:bodyPr rtlCol="0" anchor="ctr"/>
                  <a:lstStyle/>
                  <a:p>
                    <a:endParaRPr lang="en-US" sz="2400"/>
                  </a:p>
                </p:txBody>
              </p:sp>
              <p:sp>
                <p:nvSpPr>
                  <p:cNvPr id="945" name="Freeform: Shape 944">
                    <a:extLst>
                      <a:ext uri="{FF2B5EF4-FFF2-40B4-BE49-F238E27FC236}">
                        <a16:creationId xmlns:a16="http://schemas.microsoft.com/office/drawing/2014/main" id="{FF2DA409-4A25-7A87-89C3-BEBCAE49F852}"/>
                      </a:ext>
                    </a:extLst>
                  </p:cNvPr>
                  <p:cNvSpPr/>
                  <p:nvPr userDrawn="1"/>
                </p:nvSpPr>
                <p:spPr>
                  <a:xfrm>
                    <a:off x="8454062" y="450706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DEE1E9"/>
                  </a:solidFill>
                  <a:ln w="2339" cap="flat">
                    <a:noFill/>
                    <a:prstDash val="solid"/>
                    <a:miter/>
                  </a:ln>
                </p:spPr>
                <p:txBody>
                  <a:bodyPr rtlCol="0" anchor="ctr"/>
                  <a:lstStyle/>
                  <a:p>
                    <a:endParaRPr lang="en-US" sz="2400"/>
                  </a:p>
                </p:txBody>
              </p:sp>
              <p:sp>
                <p:nvSpPr>
                  <p:cNvPr id="946" name="Freeform: Shape 945">
                    <a:extLst>
                      <a:ext uri="{FF2B5EF4-FFF2-40B4-BE49-F238E27FC236}">
                        <a16:creationId xmlns:a16="http://schemas.microsoft.com/office/drawing/2014/main" id="{44CE82E9-E55B-2745-FCFE-0DDAED1D5B41}"/>
                      </a:ext>
                    </a:extLst>
                  </p:cNvPr>
                  <p:cNvSpPr/>
                  <p:nvPr userDrawn="1"/>
                </p:nvSpPr>
                <p:spPr>
                  <a:xfrm>
                    <a:off x="8454436" y="450729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DEE1E9"/>
                  </a:solidFill>
                  <a:ln w="2339" cap="flat">
                    <a:noFill/>
                    <a:prstDash val="solid"/>
                    <a:miter/>
                  </a:ln>
                </p:spPr>
                <p:txBody>
                  <a:bodyPr rtlCol="0" anchor="ctr"/>
                  <a:lstStyle/>
                  <a:p>
                    <a:endParaRPr lang="en-US" sz="2400"/>
                  </a:p>
                </p:txBody>
              </p:sp>
              <p:sp>
                <p:nvSpPr>
                  <p:cNvPr id="947" name="Freeform: Shape 946">
                    <a:extLst>
                      <a:ext uri="{FF2B5EF4-FFF2-40B4-BE49-F238E27FC236}">
                        <a16:creationId xmlns:a16="http://schemas.microsoft.com/office/drawing/2014/main" id="{11340C73-1BE4-6CB2-2E45-DDA38BD59BC1}"/>
                      </a:ext>
                    </a:extLst>
                  </p:cNvPr>
                  <p:cNvSpPr/>
                  <p:nvPr userDrawn="1"/>
                </p:nvSpPr>
                <p:spPr>
                  <a:xfrm>
                    <a:off x="8454811" y="450755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EE1EA"/>
                  </a:solidFill>
                  <a:ln w="2339" cap="flat">
                    <a:noFill/>
                    <a:prstDash val="solid"/>
                    <a:miter/>
                  </a:ln>
                </p:spPr>
                <p:txBody>
                  <a:bodyPr rtlCol="0" anchor="ctr"/>
                  <a:lstStyle/>
                  <a:p>
                    <a:endParaRPr lang="en-US" sz="2400"/>
                  </a:p>
                </p:txBody>
              </p:sp>
              <p:sp>
                <p:nvSpPr>
                  <p:cNvPr id="948" name="Freeform: Shape 947">
                    <a:extLst>
                      <a:ext uri="{FF2B5EF4-FFF2-40B4-BE49-F238E27FC236}">
                        <a16:creationId xmlns:a16="http://schemas.microsoft.com/office/drawing/2014/main" id="{2CE64EAA-C8A1-4027-D7E4-98A6BA6EF860}"/>
                      </a:ext>
                    </a:extLst>
                  </p:cNvPr>
                  <p:cNvSpPr/>
                  <p:nvPr userDrawn="1"/>
                </p:nvSpPr>
                <p:spPr>
                  <a:xfrm>
                    <a:off x="8455162" y="450778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FE1EA"/>
                  </a:solidFill>
                  <a:ln w="2339" cap="flat">
                    <a:noFill/>
                    <a:prstDash val="solid"/>
                    <a:miter/>
                  </a:ln>
                </p:spPr>
                <p:txBody>
                  <a:bodyPr rtlCol="0" anchor="ctr"/>
                  <a:lstStyle/>
                  <a:p>
                    <a:endParaRPr lang="en-US" sz="2400"/>
                  </a:p>
                </p:txBody>
              </p:sp>
              <p:sp>
                <p:nvSpPr>
                  <p:cNvPr id="949" name="Freeform: Shape 948">
                    <a:extLst>
                      <a:ext uri="{FF2B5EF4-FFF2-40B4-BE49-F238E27FC236}">
                        <a16:creationId xmlns:a16="http://schemas.microsoft.com/office/drawing/2014/main" id="{2A023FEF-6EFE-1A52-E554-9E56A2E230A6}"/>
                      </a:ext>
                    </a:extLst>
                  </p:cNvPr>
                  <p:cNvSpPr/>
                  <p:nvPr userDrawn="1"/>
                </p:nvSpPr>
                <p:spPr>
                  <a:xfrm>
                    <a:off x="8455536" y="450802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FE2EA"/>
                  </a:solidFill>
                  <a:ln w="2339" cap="flat">
                    <a:noFill/>
                    <a:prstDash val="solid"/>
                    <a:miter/>
                  </a:ln>
                </p:spPr>
                <p:txBody>
                  <a:bodyPr rtlCol="0" anchor="ctr"/>
                  <a:lstStyle/>
                  <a:p>
                    <a:endParaRPr lang="en-US" sz="2400"/>
                  </a:p>
                </p:txBody>
              </p:sp>
              <p:sp>
                <p:nvSpPr>
                  <p:cNvPr id="950" name="Freeform: Shape 949">
                    <a:extLst>
                      <a:ext uri="{FF2B5EF4-FFF2-40B4-BE49-F238E27FC236}">
                        <a16:creationId xmlns:a16="http://schemas.microsoft.com/office/drawing/2014/main" id="{FDFC78E0-92B0-D66B-D64F-DF37775721A6}"/>
                      </a:ext>
                    </a:extLst>
                  </p:cNvPr>
                  <p:cNvSpPr/>
                  <p:nvPr userDrawn="1"/>
                </p:nvSpPr>
                <p:spPr>
                  <a:xfrm>
                    <a:off x="8455887" y="450825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DFE2EA"/>
                  </a:solidFill>
                  <a:ln w="2339" cap="flat">
                    <a:noFill/>
                    <a:prstDash val="solid"/>
                    <a:miter/>
                  </a:ln>
                </p:spPr>
                <p:txBody>
                  <a:bodyPr rtlCol="0" anchor="ctr"/>
                  <a:lstStyle/>
                  <a:p>
                    <a:endParaRPr lang="en-US" sz="2400"/>
                  </a:p>
                </p:txBody>
              </p:sp>
              <p:sp>
                <p:nvSpPr>
                  <p:cNvPr id="951" name="Freeform: Shape 950">
                    <a:extLst>
                      <a:ext uri="{FF2B5EF4-FFF2-40B4-BE49-F238E27FC236}">
                        <a16:creationId xmlns:a16="http://schemas.microsoft.com/office/drawing/2014/main" id="{BCD7E394-700D-5ACD-E5BD-D3B3EE169BBF}"/>
                      </a:ext>
                    </a:extLst>
                  </p:cNvPr>
                  <p:cNvSpPr/>
                  <p:nvPr userDrawn="1"/>
                </p:nvSpPr>
                <p:spPr>
                  <a:xfrm>
                    <a:off x="8456262" y="450851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FE2EA"/>
                  </a:solidFill>
                  <a:ln w="2339" cap="flat">
                    <a:noFill/>
                    <a:prstDash val="solid"/>
                    <a:miter/>
                  </a:ln>
                </p:spPr>
                <p:txBody>
                  <a:bodyPr rtlCol="0" anchor="ctr"/>
                  <a:lstStyle/>
                  <a:p>
                    <a:endParaRPr lang="en-US" sz="2400"/>
                  </a:p>
                </p:txBody>
              </p:sp>
              <p:sp>
                <p:nvSpPr>
                  <p:cNvPr id="952" name="Freeform: Shape 951">
                    <a:extLst>
                      <a:ext uri="{FF2B5EF4-FFF2-40B4-BE49-F238E27FC236}">
                        <a16:creationId xmlns:a16="http://schemas.microsoft.com/office/drawing/2014/main" id="{FE53081B-25F7-72D8-5C50-FF6C4D8F58B8}"/>
                      </a:ext>
                    </a:extLst>
                  </p:cNvPr>
                  <p:cNvSpPr/>
                  <p:nvPr userDrawn="1"/>
                </p:nvSpPr>
                <p:spPr>
                  <a:xfrm>
                    <a:off x="8456613" y="450874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0E3EB"/>
                  </a:solidFill>
                  <a:ln w="2339" cap="flat">
                    <a:noFill/>
                    <a:prstDash val="solid"/>
                    <a:miter/>
                  </a:ln>
                </p:spPr>
                <p:txBody>
                  <a:bodyPr rtlCol="0" anchor="ctr"/>
                  <a:lstStyle/>
                  <a:p>
                    <a:endParaRPr lang="en-US" sz="2400"/>
                  </a:p>
                </p:txBody>
              </p:sp>
              <p:sp>
                <p:nvSpPr>
                  <p:cNvPr id="953" name="Freeform: Shape 952">
                    <a:extLst>
                      <a:ext uri="{FF2B5EF4-FFF2-40B4-BE49-F238E27FC236}">
                        <a16:creationId xmlns:a16="http://schemas.microsoft.com/office/drawing/2014/main" id="{F7F8A831-E6DA-1DF8-879A-FF4DE40CA74F}"/>
                      </a:ext>
                    </a:extLst>
                  </p:cNvPr>
                  <p:cNvSpPr/>
                  <p:nvPr userDrawn="1"/>
                </p:nvSpPr>
                <p:spPr>
                  <a:xfrm>
                    <a:off x="8456964" y="450898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E0E3EB"/>
                  </a:solidFill>
                  <a:ln w="2339" cap="flat">
                    <a:noFill/>
                    <a:prstDash val="solid"/>
                    <a:miter/>
                  </a:ln>
                </p:spPr>
                <p:txBody>
                  <a:bodyPr rtlCol="0" anchor="ctr"/>
                  <a:lstStyle/>
                  <a:p>
                    <a:endParaRPr lang="en-US" sz="2400"/>
                  </a:p>
                </p:txBody>
              </p:sp>
              <p:sp>
                <p:nvSpPr>
                  <p:cNvPr id="954" name="Freeform: Shape 953">
                    <a:extLst>
                      <a:ext uri="{FF2B5EF4-FFF2-40B4-BE49-F238E27FC236}">
                        <a16:creationId xmlns:a16="http://schemas.microsoft.com/office/drawing/2014/main" id="{CB398E73-E71A-4D81-CA5E-A6BD93D17970}"/>
                      </a:ext>
                    </a:extLst>
                  </p:cNvPr>
                  <p:cNvSpPr/>
                  <p:nvPr userDrawn="1"/>
                </p:nvSpPr>
                <p:spPr>
                  <a:xfrm>
                    <a:off x="8457315" y="450923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0E3EB"/>
                  </a:solidFill>
                  <a:ln w="2339" cap="flat">
                    <a:noFill/>
                    <a:prstDash val="solid"/>
                    <a:miter/>
                  </a:ln>
                </p:spPr>
                <p:txBody>
                  <a:bodyPr rtlCol="0" anchor="ctr"/>
                  <a:lstStyle/>
                  <a:p>
                    <a:endParaRPr lang="en-US" sz="2400"/>
                  </a:p>
                </p:txBody>
              </p:sp>
              <p:sp>
                <p:nvSpPr>
                  <p:cNvPr id="955" name="Freeform: Shape 954">
                    <a:extLst>
                      <a:ext uri="{FF2B5EF4-FFF2-40B4-BE49-F238E27FC236}">
                        <a16:creationId xmlns:a16="http://schemas.microsoft.com/office/drawing/2014/main" id="{4B6ED1E3-D19B-6068-DC9B-4AD028F49208}"/>
                      </a:ext>
                    </a:extLst>
                  </p:cNvPr>
                  <p:cNvSpPr/>
                  <p:nvPr userDrawn="1"/>
                </p:nvSpPr>
                <p:spPr>
                  <a:xfrm>
                    <a:off x="8457666" y="450947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1E3EB"/>
                  </a:solidFill>
                  <a:ln w="2339" cap="flat">
                    <a:noFill/>
                    <a:prstDash val="solid"/>
                    <a:miter/>
                  </a:ln>
                </p:spPr>
                <p:txBody>
                  <a:bodyPr rtlCol="0" anchor="ctr"/>
                  <a:lstStyle/>
                  <a:p>
                    <a:endParaRPr lang="en-US" sz="2400"/>
                  </a:p>
                </p:txBody>
              </p:sp>
              <p:sp>
                <p:nvSpPr>
                  <p:cNvPr id="956" name="Freeform: Shape 955">
                    <a:extLst>
                      <a:ext uri="{FF2B5EF4-FFF2-40B4-BE49-F238E27FC236}">
                        <a16:creationId xmlns:a16="http://schemas.microsoft.com/office/drawing/2014/main" id="{379073DE-B9A8-F322-1DD6-6CE272A2CE75}"/>
                      </a:ext>
                    </a:extLst>
                  </p:cNvPr>
                  <p:cNvSpPr/>
                  <p:nvPr userDrawn="1"/>
                </p:nvSpPr>
                <p:spPr>
                  <a:xfrm>
                    <a:off x="8458017" y="450973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1E4EB"/>
                  </a:solidFill>
                  <a:ln w="2339" cap="flat">
                    <a:noFill/>
                    <a:prstDash val="solid"/>
                    <a:miter/>
                  </a:ln>
                </p:spPr>
                <p:txBody>
                  <a:bodyPr rtlCol="0" anchor="ctr"/>
                  <a:lstStyle/>
                  <a:p>
                    <a:endParaRPr lang="en-US" sz="2400"/>
                  </a:p>
                </p:txBody>
              </p:sp>
              <p:sp>
                <p:nvSpPr>
                  <p:cNvPr id="957" name="Freeform: Shape 956">
                    <a:extLst>
                      <a:ext uri="{FF2B5EF4-FFF2-40B4-BE49-F238E27FC236}">
                        <a16:creationId xmlns:a16="http://schemas.microsoft.com/office/drawing/2014/main" id="{06E77F15-1863-432E-885C-5CE4D5BE55F4}"/>
                      </a:ext>
                    </a:extLst>
                  </p:cNvPr>
                  <p:cNvSpPr/>
                  <p:nvPr userDrawn="1"/>
                </p:nvSpPr>
                <p:spPr>
                  <a:xfrm>
                    <a:off x="8458368" y="450996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E1E4EC"/>
                  </a:solidFill>
                  <a:ln w="2339" cap="flat">
                    <a:noFill/>
                    <a:prstDash val="solid"/>
                    <a:miter/>
                  </a:ln>
                </p:spPr>
                <p:txBody>
                  <a:bodyPr rtlCol="0" anchor="ctr"/>
                  <a:lstStyle/>
                  <a:p>
                    <a:endParaRPr lang="en-US" sz="2400"/>
                  </a:p>
                </p:txBody>
              </p:sp>
              <p:sp>
                <p:nvSpPr>
                  <p:cNvPr id="958" name="Freeform: Shape 957">
                    <a:extLst>
                      <a:ext uri="{FF2B5EF4-FFF2-40B4-BE49-F238E27FC236}">
                        <a16:creationId xmlns:a16="http://schemas.microsoft.com/office/drawing/2014/main" id="{2D603F83-6B8E-1CB4-7693-7D02CA50011A}"/>
                      </a:ext>
                    </a:extLst>
                  </p:cNvPr>
                  <p:cNvSpPr/>
                  <p:nvPr userDrawn="1"/>
                </p:nvSpPr>
                <p:spPr>
                  <a:xfrm>
                    <a:off x="8458719" y="451022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2E4EC"/>
                  </a:solidFill>
                  <a:ln w="2339" cap="flat">
                    <a:noFill/>
                    <a:prstDash val="solid"/>
                    <a:miter/>
                  </a:ln>
                </p:spPr>
                <p:txBody>
                  <a:bodyPr rtlCol="0" anchor="ctr"/>
                  <a:lstStyle/>
                  <a:p>
                    <a:endParaRPr lang="en-US" sz="2400"/>
                  </a:p>
                </p:txBody>
              </p:sp>
              <p:sp>
                <p:nvSpPr>
                  <p:cNvPr id="959" name="Freeform: Shape 958">
                    <a:extLst>
                      <a:ext uri="{FF2B5EF4-FFF2-40B4-BE49-F238E27FC236}">
                        <a16:creationId xmlns:a16="http://schemas.microsoft.com/office/drawing/2014/main" id="{122D61D7-E09F-814C-D8DD-2766EB68C185}"/>
                      </a:ext>
                    </a:extLst>
                  </p:cNvPr>
                  <p:cNvSpPr/>
                  <p:nvPr userDrawn="1"/>
                </p:nvSpPr>
                <p:spPr>
                  <a:xfrm>
                    <a:off x="8459046" y="451047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2E5EC"/>
                  </a:solidFill>
                  <a:ln w="2339" cap="flat">
                    <a:noFill/>
                    <a:prstDash val="solid"/>
                    <a:miter/>
                  </a:ln>
                </p:spPr>
                <p:txBody>
                  <a:bodyPr rtlCol="0" anchor="ctr"/>
                  <a:lstStyle/>
                  <a:p>
                    <a:endParaRPr lang="en-US" sz="2400"/>
                  </a:p>
                </p:txBody>
              </p:sp>
              <p:sp>
                <p:nvSpPr>
                  <p:cNvPr id="960" name="Freeform: Shape 959">
                    <a:extLst>
                      <a:ext uri="{FF2B5EF4-FFF2-40B4-BE49-F238E27FC236}">
                        <a16:creationId xmlns:a16="http://schemas.microsoft.com/office/drawing/2014/main" id="{77FAE8ED-4B03-1AB5-9A73-F94E39D93AA2}"/>
                      </a:ext>
                    </a:extLst>
                  </p:cNvPr>
                  <p:cNvSpPr/>
                  <p:nvPr userDrawn="1"/>
                </p:nvSpPr>
                <p:spPr>
                  <a:xfrm>
                    <a:off x="8459397" y="451071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E2E5EC"/>
                  </a:solidFill>
                  <a:ln w="2339" cap="flat">
                    <a:noFill/>
                    <a:prstDash val="solid"/>
                    <a:miter/>
                  </a:ln>
                </p:spPr>
                <p:txBody>
                  <a:bodyPr rtlCol="0" anchor="ctr"/>
                  <a:lstStyle/>
                  <a:p>
                    <a:endParaRPr lang="en-US" sz="2400"/>
                  </a:p>
                </p:txBody>
              </p:sp>
              <p:sp>
                <p:nvSpPr>
                  <p:cNvPr id="961" name="Freeform: Shape 960">
                    <a:extLst>
                      <a:ext uri="{FF2B5EF4-FFF2-40B4-BE49-F238E27FC236}">
                        <a16:creationId xmlns:a16="http://schemas.microsoft.com/office/drawing/2014/main" id="{0F965DD5-0BD9-A002-59B3-63D65267EC78}"/>
                      </a:ext>
                    </a:extLst>
                  </p:cNvPr>
                  <p:cNvSpPr/>
                  <p:nvPr userDrawn="1"/>
                </p:nvSpPr>
                <p:spPr>
                  <a:xfrm>
                    <a:off x="8459725" y="451097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3E5EC"/>
                  </a:solidFill>
                  <a:ln w="2339" cap="flat">
                    <a:noFill/>
                    <a:prstDash val="solid"/>
                    <a:miter/>
                  </a:ln>
                </p:spPr>
                <p:txBody>
                  <a:bodyPr rtlCol="0" anchor="ctr"/>
                  <a:lstStyle/>
                  <a:p>
                    <a:endParaRPr lang="en-US" sz="2400"/>
                  </a:p>
                </p:txBody>
              </p:sp>
              <p:sp>
                <p:nvSpPr>
                  <p:cNvPr id="962" name="Freeform: Shape 961">
                    <a:extLst>
                      <a:ext uri="{FF2B5EF4-FFF2-40B4-BE49-F238E27FC236}">
                        <a16:creationId xmlns:a16="http://schemas.microsoft.com/office/drawing/2014/main" id="{B1A9ED6F-EB51-AED4-9E0B-57DD98EC0A8B}"/>
                      </a:ext>
                    </a:extLst>
                  </p:cNvPr>
                  <p:cNvSpPr/>
                  <p:nvPr userDrawn="1"/>
                </p:nvSpPr>
                <p:spPr>
                  <a:xfrm>
                    <a:off x="8460052" y="451122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3E5ED"/>
                  </a:solidFill>
                  <a:ln w="2339" cap="flat">
                    <a:noFill/>
                    <a:prstDash val="solid"/>
                    <a:miter/>
                  </a:ln>
                </p:spPr>
                <p:txBody>
                  <a:bodyPr rtlCol="0" anchor="ctr"/>
                  <a:lstStyle/>
                  <a:p>
                    <a:endParaRPr lang="en-US" sz="2400"/>
                  </a:p>
                </p:txBody>
              </p:sp>
              <p:sp>
                <p:nvSpPr>
                  <p:cNvPr id="963" name="Freeform: Shape 962">
                    <a:extLst>
                      <a:ext uri="{FF2B5EF4-FFF2-40B4-BE49-F238E27FC236}">
                        <a16:creationId xmlns:a16="http://schemas.microsoft.com/office/drawing/2014/main" id="{401EB0CC-34C3-8C9D-D20B-F635DBF042E7}"/>
                      </a:ext>
                    </a:extLst>
                  </p:cNvPr>
                  <p:cNvSpPr/>
                  <p:nvPr userDrawn="1"/>
                </p:nvSpPr>
                <p:spPr>
                  <a:xfrm>
                    <a:off x="8460403" y="451146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E3E6ED"/>
                  </a:solidFill>
                  <a:ln w="2339" cap="flat">
                    <a:noFill/>
                    <a:prstDash val="solid"/>
                    <a:miter/>
                  </a:ln>
                </p:spPr>
                <p:txBody>
                  <a:bodyPr rtlCol="0" anchor="ctr"/>
                  <a:lstStyle/>
                  <a:p>
                    <a:endParaRPr lang="en-US" sz="2400"/>
                  </a:p>
                </p:txBody>
              </p:sp>
              <p:sp>
                <p:nvSpPr>
                  <p:cNvPr id="964" name="Freeform: Shape 963">
                    <a:extLst>
                      <a:ext uri="{FF2B5EF4-FFF2-40B4-BE49-F238E27FC236}">
                        <a16:creationId xmlns:a16="http://schemas.microsoft.com/office/drawing/2014/main" id="{0F7E5136-751E-B318-DC64-0521097B537B}"/>
                      </a:ext>
                    </a:extLst>
                  </p:cNvPr>
                  <p:cNvSpPr/>
                  <p:nvPr userDrawn="1"/>
                </p:nvSpPr>
                <p:spPr>
                  <a:xfrm>
                    <a:off x="8460731" y="451171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E3E6ED"/>
                  </a:solidFill>
                  <a:ln w="2339" cap="flat">
                    <a:noFill/>
                    <a:prstDash val="solid"/>
                    <a:miter/>
                  </a:ln>
                </p:spPr>
                <p:txBody>
                  <a:bodyPr rtlCol="0" anchor="ctr"/>
                  <a:lstStyle/>
                  <a:p>
                    <a:endParaRPr lang="en-US" sz="2400"/>
                  </a:p>
                </p:txBody>
              </p:sp>
              <p:sp>
                <p:nvSpPr>
                  <p:cNvPr id="965" name="Freeform: Shape 964">
                    <a:extLst>
                      <a:ext uri="{FF2B5EF4-FFF2-40B4-BE49-F238E27FC236}">
                        <a16:creationId xmlns:a16="http://schemas.microsoft.com/office/drawing/2014/main" id="{6354F34F-7223-69F8-15CB-8F71288BC5CF}"/>
                      </a:ext>
                    </a:extLst>
                  </p:cNvPr>
                  <p:cNvSpPr/>
                  <p:nvPr userDrawn="1"/>
                </p:nvSpPr>
                <p:spPr>
                  <a:xfrm>
                    <a:off x="8461059" y="451197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4E6ED"/>
                  </a:solidFill>
                  <a:ln w="2339" cap="flat">
                    <a:noFill/>
                    <a:prstDash val="solid"/>
                    <a:miter/>
                  </a:ln>
                </p:spPr>
                <p:txBody>
                  <a:bodyPr rtlCol="0" anchor="ctr"/>
                  <a:lstStyle/>
                  <a:p>
                    <a:endParaRPr lang="en-US" sz="2400"/>
                  </a:p>
                </p:txBody>
              </p:sp>
              <p:sp>
                <p:nvSpPr>
                  <p:cNvPr id="966" name="Freeform: Shape 965">
                    <a:extLst>
                      <a:ext uri="{FF2B5EF4-FFF2-40B4-BE49-F238E27FC236}">
                        <a16:creationId xmlns:a16="http://schemas.microsoft.com/office/drawing/2014/main" id="{550007E3-BEE6-4D34-19B8-FD8B34661ADB}"/>
                      </a:ext>
                    </a:extLst>
                  </p:cNvPr>
                  <p:cNvSpPr/>
                  <p:nvPr userDrawn="1"/>
                </p:nvSpPr>
                <p:spPr>
                  <a:xfrm>
                    <a:off x="8461363" y="451223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4E6ED"/>
                  </a:solidFill>
                  <a:ln w="2339" cap="flat">
                    <a:noFill/>
                    <a:prstDash val="solid"/>
                    <a:miter/>
                  </a:ln>
                </p:spPr>
                <p:txBody>
                  <a:bodyPr rtlCol="0" anchor="ctr"/>
                  <a:lstStyle/>
                  <a:p>
                    <a:endParaRPr lang="en-US" sz="2400"/>
                  </a:p>
                </p:txBody>
              </p:sp>
              <p:sp>
                <p:nvSpPr>
                  <p:cNvPr id="967" name="Freeform: Shape 966">
                    <a:extLst>
                      <a:ext uri="{FF2B5EF4-FFF2-40B4-BE49-F238E27FC236}">
                        <a16:creationId xmlns:a16="http://schemas.microsoft.com/office/drawing/2014/main" id="{5D6D1901-C4F3-079C-012F-1F275290BB82}"/>
                      </a:ext>
                    </a:extLst>
                  </p:cNvPr>
                  <p:cNvSpPr/>
                  <p:nvPr userDrawn="1"/>
                </p:nvSpPr>
                <p:spPr>
                  <a:xfrm>
                    <a:off x="8461690" y="451249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4E7EE"/>
                  </a:solidFill>
                  <a:ln w="2339" cap="flat">
                    <a:noFill/>
                    <a:prstDash val="solid"/>
                    <a:miter/>
                  </a:ln>
                </p:spPr>
                <p:txBody>
                  <a:bodyPr rtlCol="0" anchor="ctr"/>
                  <a:lstStyle/>
                  <a:p>
                    <a:endParaRPr lang="en-US" sz="2400"/>
                  </a:p>
                </p:txBody>
              </p:sp>
              <p:sp>
                <p:nvSpPr>
                  <p:cNvPr id="968" name="Freeform: Shape 967">
                    <a:extLst>
                      <a:ext uri="{FF2B5EF4-FFF2-40B4-BE49-F238E27FC236}">
                        <a16:creationId xmlns:a16="http://schemas.microsoft.com/office/drawing/2014/main" id="{99A93F18-9870-F506-72CB-4A277BA45A6F}"/>
                      </a:ext>
                    </a:extLst>
                  </p:cNvPr>
                  <p:cNvSpPr/>
                  <p:nvPr userDrawn="1"/>
                </p:nvSpPr>
                <p:spPr>
                  <a:xfrm>
                    <a:off x="8462018" y="451274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5E7EE"/>
                  </a:solidFill>
                  <a:ln w="2339" cap="flat">
                    <a:noFill/>
                    <a:prstDash val="solid"/>
                    <a:miter/>
                  </a:ln>
                </p:spPr>
                <p:txBody>
                  <a:bodyPr rtlCol="0" anchor="ctr"/>
                  <a:lstStyle/>
                  <a:p>
                    <a:endParaRPr lang="en-US" sz="2400"/>
                  </a:p>
                </p:txBody>
              </p:sp>
              <p:sp>
                <p:nvSpPr>
                  <p:cNvPr id="969" name="Freeform: Shape 968">
                    <a:extLst>
                      <a:ext uri="{FF2B5EF4-FFF2-40B4-BE49-F238E27FC236}">
                        <a16:creationId xmlns:a16="http://schemas.microsoft.com/office/drawing/2014/main" id="{E91C529F-9CAB-246F-2F31-DEA6DA51B1EB}"/>
                      </a:ext>
                    </a:extLst>
                  </p:cNvPr>
                  <p:cNvSpPr/>
                  <p:nvPr userDrawn="1"/>
                </p:nvSpPr>
                <p:spPr>
                  <a:xfrm>
                    <a:off x="8462322" y="451300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5E7EE"/>
                  </a:solidFill>
                  <a:ln w="2339" cap="flat">
                    <a:noFill/>
                    <a:prstDash val="solid"/>
                    <a:miter/>
                  </a:ln>
                </p:spPr>
                <p:txBody>
                  <a:bodyPr rtlCol="0" anchor="ctr"/>
                  <a:lstStyle/>
                  <a:p>
                    <a:endParaRPr lang="en-US" sz="2400"/>
                  </a:p>
                </p:txBody>
              </p:sp>
              <p:sp>
                <p:nvSpPr>
                  <p:cNvPr id="970" name="Freeform: Shape 969">
                    <a:extLst>
                      <a:ext uri="{FF2B5EF4-FFF2-40B4-BE49-F238E27FC236}">
                        <a16:creationId xmlns:a16="http://schemas.microsoft.com/office/drawing/2014/main" id="{09809AC8-6E92-3975-1E36-C2D5347E41FA}"/>
                      </a:ext>
                    </a:extLst>
                  </p:cNvPr>
                  <p:cNvSpPr/>
                  <p:nvPr userDrawn="1"/>
                </p:nvSpPr>
                <p:spPr>
                  <a:xfrm>
                    <a:off x="8462650" y="451326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5E8EE"/>
                  </a:solidFill>
                  <a:ln w="2339" cap="flat">
                    <a:noFill/>
                    <a:prstDash val="solid"/>
                    <a:miter/>
                  </a:ln>
                </p:spPr>
                <p:txBody>
                  <a:bodyPr rtlCol="0" anchor="ctr"/>
                  <a:lstStyle/>
                  <a:p>
                    <a:endParaRPr lang="en-US" sz="2400"/>
                  </a:p>
                </p:txBody>
              </p:sp>
              <p:sp>
                <p:nvSpPr>
                  <p:cNvPr id="971" name="Freeform: Shape 970">
                    <a:extLst>
                      <a:ext uri="{FF2B5EF4-FFF2-40B4-BE49-F238E27FC236}">
                        <a16:creationId xmlns:a16="http://schemas.microsoft.com/office/drawing/2014/main" id="{834C9F74-C980-1DC6-72B9-E2F4C41C8C50}"/>
                      </a:ext>
                    </a:extLst>
                  </p:cNvPr>
                  <p:cNvSpPr/>
                  <p:nvPr userDrawn="1"/>
                </p:nvSpPr>
                <p:spPr>
                  <a:xfrm>
                    <a:off x="8463048" y="451359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6E8EE"/>
                  </a:solidFill>
                  <a:ln w="2339" cap="flat">
                    <a:noFill/>
                    <a:prstDash val="solid"/>
                    <a:miter/>
                  </a:ln>
                </p:spPr>
                <p:txBody>
                  <a:bodyPr rtlCol="0" anchor="ctr"/>
                  <a:lstStyle/>
                  <a:p>
                    <a:endParaRPr lang="en-US" sz="2400"/>
                  </a:p>
                </p:txBody>
              </p:sp>
              <p:sp>
                <p:nvSpPr>
                  <p:cNvPr id="972" name="Freeform: Shape 971">
                    <a:extLst>
                      <a:ext uri="{FF2B5EF4-FFF2-40B4-BE49-F238E27FC236}">
                        <a16:creationId xmlns:a16="http://schemas.microsoft.com/office/drawing/2014/main" id="{D821B8B4-41E2-FC61-7CC5-C9A6CBD65C81}"/>
                      </a:ext>
                    </a:extLst>
                  </p:cNvPr>
                  <p:cNvSpPr/>
                  <p:nvPr userDrawn="1"/>
                </p:nvSpPr>
                <p:spPr>
                  <a:xfrm>
                    <a:off x="8463539" y="451401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6E8EF"/>
                  </a:solidFill>
                  <a:ln w="2339" cap="flat">
                    <a:noFill/>
                    <a:prstDash val="solid"/>
                    <a:miter/>
                  </a:ln>
                </p:spPr>
                <p:txBody>
                  <a:bodyPr rtlCol="0" anchor="ctr"/>
                  <a:lstStyle/>
                  <a:p>
                    <a:endParaRPr lang="en-US" sz="2400"/>
                  </a:p>
                </p:txBody>
              </p:sp>
              <p:sp>
                <p:nvSpPr>
                  <p:cNvPr id="973" name="Freeform: Shape 972">
                    <a:extLst>
                      <a:ext uri="{FF2B5EF4-FFF2-40B4-BE49-F238E27FC236}">
                        <a16:creationId xmlns:a16="http://schemas.microsoft.com/office/drawing/2014/main" id="{14053C4C-81A2-483E-88EE-79AB398AC32B}"/>
                      </a:ext>
                    </a:extLst>
                  </p:cNvPr>
                  <p:cNvSpPr/>
                  <p:nvPr userDrawn="1"/>
                </p:nvSpPr>
                <p:spPr>
                  <a:xfrm>
                    <a:off x="8464030" y="451441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6E8EF"/>
                  </a:solidFill>
                  <a:ln w="2339" cap="flat">
                    <a:noFill/>
                    <a:prstDash val="solid"/>
                    <a:miter/>
                  </a:ln>
                </p:spPr>
                <p:txBody>
                  <a:bodyPr rtlCol="0" anchor="ctr"/>
                  <a:lstStyle/>
                  <a:p>
                    <a:endParaRPr lang="en-US" sz="2400"/>
                  </a:p>
                </p:txBody>
              </p:sp>
              <p:sp>
                <p:nvSpPr>
                  <p:cNvPr id="974" name="Freeform: Shape 973">
                    <a:extLst>
                      <a:ext uri="{FF2B5EF4-FFF2-40B4-BE49-F238E27FC236}">
                        <a16:creationId xmlns:a16="http://schemas.microsoft.com/office/drawing/2014/main" id="{B35AF947-66F8-9A19-2461-984BED40A8E6}"/>
                      </a:ext>
                    </a:extLst>
                  </p:cNvPr>
                  <p:cNvSpPr/>
                  <p:nvPr userDrawn="1"/>
                </p:nvSpPr>
                <p:spPr>
                  <a:xfrm>
                    <a:off x="8464498" y="451480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7E9EF"/>
                  </a:solidFill>
                  <a:ln w="2339" cap="flat">
                    <a:noFill/>
                    <a:prstDash val="solid"/>
                    <a:miter/>
                  </a:ln>
                </p:spPr>
                <p:txBody>
                  <a:bodyPr rtlCol="0" anchor="ctr"/>
                  <a:lstStyle/>
                  <a:p>
                    <a:endParaRPr lang="en-US" sz="2400"/>
                  </a:p>
                </p:txBody>
              </p:sp>
              <p:sp>
                <p:nvSpPr>
                  <p:cNvPr id="975" name="Freeform: Shape 974">
                    <a:extLst>
                      <a:ext uri="{FF2B5EF4-FFF2-40B4-BE49-F238E27FC236}">
                        <a16:creationId xmlns:a16="http://schemas.microsoft.com/office/drawing/2014/main" id="{FF43E442-E477-973B-D47B-AB6A83F8B647}"/>
                      </a:ext>
                    </a:extLst>
                  </p:cNvPr>
                  <p:cNvSpPr/>
                  <p:nvPr userDrawn="1"/>
                </p:nvSpPr>
                <p:spPr>
                  <a:xfrm>
                    <a:off x="8464966" y="451522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7E9EF"/>
                  </a:solidFill>
                  <a:ln w="2339" cap="flat">
                    <a:noFill/>
                    <a:prstDash val="solid"/>
                    <a:miter/>
                  </a:ln>
                </p:spPr>
                <p:txBody>
                  <a:bodyPr rtlCol="0" anchor="ctr"/>
                  <a:lstStyle/>
                  <a:p>
                    <a:endParaRPr lang="en-US" sz="2400"/>
                  </a:p>
                </p:txBody>
              </p:sp>
              <p:sp>
                <p:nvSpPr>
                  <p:cNvPr id="976" name="Freeform: Shape 975">
                    <a:extLst>
                      <a:ext uri="{FF2B5EF4-FFF2-40B4-BE49-F238E27FC236}">
                        <a16:creationId xmlns:a16="http://schemas.microsoft.com/office/drawing/2014/main" id="{34DC1118-46B4-C3E6-BDFC-3CE2AAFA72AA}"/>
                      </a:ext>
                    </a:extLst>
                  </p:cNvPr>
                  <p:cNvSpPr/>
                  <p:nvPr userDrawn="1"/>
                </p:nvSpPr>
                <p:spPr>
                  <a:xfrm>
                    <a:off x="8465434" y="451562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7E9EF"/>
                  </a:solidFill>
                  <a:ln w="2339" cap="flat">
                    <a:noFill/>
                    <a:prstDash val="solid"/>
                    <a:miter/>
                  </a:ln>
                </p:spPr>
                <p:txBody>
                  <a:bodyPr rtlCol="0" anchor="ctr"/>
                  <a:lstStyle/>
                  <a:p>
                    <a:endParaRPr lang="en-US" sz="2400"/>
                  </a:p>
                </p:txBody>
              </p:sp>
              <p:sp>
                <p:nvSpPr>
                  <p:cNvPr id="977" name="Freeform: Shape 976">
                    <a:extLst>
                      <a:ext uri="{FF2B5EF4-FFF2-40B4-BE49-F238E27FC236}">
                        <a16:creationId xmlns:a16="http://schemas.microsoft.com/office/drawing/2014/main" id="{6FFB2309-565E-6DA9-7BED-CCE281F06D2B}"/>
                      </a:ext>
                    </a:extLst>
                  </p:cNvPr>
                  <p:cNvSpPr/>
                  <p:nvPr userDrawn="1"/>
                </p:nvSpPr>
                <p:spPr>
                  <a:xfrm>
                    <a:off x="8465902" y="451604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7EAF0"/>
                  </a:solidFill>
                  <a:ln w="2339" cap="flat">
                    <a:noFill/>
                    <a:prstDash val="solid"/>
                    <a:miter/>
                  </a:ln>
                </p:spPr>
                <p:txBody>
                  <a:bodyPr rtlCol="0" anchor="ctr"/>
                  <a:lstStyle/>
                  <a:p>
                    <a:endParaRPr lang="en-US" sz="2400"/>
                  </a:p>
                </p:txBody>
              </p:sp>
              <p:sp>
                <p:nvSpPr>
                  <p:cNvPr id="978" name="Freeform: Shape 977">
                    <a:extLst>
                      <a:ext uri="{FF2B5EF4-FFF2-40B4-BE49-F238E27FC236}">
                        <a16:creationId xmlns:a16="http://schemas.microsoft.com/office/drawing/2014/main" id="{B2B049B7-F572-CB48-CAB5-14648C0DA6DE}"/>
                      </a:ext>
                    </a:extLst>
                  </p:cNvPr>
                  <p:cNvSpPr/>
                  <p:nvPr userDrawn="1"/>
                </p:nvSpPr>
                <p:spPr>
                  <a:xfrm>
                    <a:off x="8466347" y="451646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8EAF0"/>
                  </a:solidFill>
                  <a:ln w="2339" cap="flat">
                    <a:noFill/>
                    <a:prstDash val="solid"/>
                    <a:miter/>
                  </a:ln>
                </p:spPr>
                <p:txBody>
                  <a:bodyPr rtlCol="0" anchor="ctr"/>
                  <a:lstStyle/>
                  <a:p>
                    <a:endParaRPr lang="en-US" sz="2400"/>
                  </a:p>
                </p:txBody>
              </p:sp>
              <p:sp>
                <p:nvSpPr>
                  <p:cNvPr id="979" name="Freeform: Shape 978">
                    <a:extLst>
                      <a:ext uri="{FF2B5EF4-FFF2-40B4-BE49-F238E27FC236}">
                        <a16:creationId xmlns:a16="http://schemas.microsoft.com/office/drawing/2014/main" id="{FF3F2FFD-8AA3-6538-AD74-4FABB2CF827D}"/>
                      </a:ext>
                    </a:extLst>
                  </p:cNvPr>
                  <p:cNvSpPr/>
                  <p:nvPr userDrawn="1"/>
                </p:nvSpPr>
                <p:spPr>
                  <a:xfrm>
                    <a:off x="8466815" y="451686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8EAF0"/>
                  </a:solidFill>
                  <a:ln w="2339" cap="flat">
                    <a:noFill/>
                    <a:prstDash val="solid"/>
                    <a:miter/>
                  </a:ln>
                </p:spPr>
                <p:txBody>
                  <a:bodyPr rtlCol="0" anchor="ctr"/>
                  <a:lstStyle/>
                  <a:p>
                    <a:endParaRPr lang="en-US" sz="2400"/>
                  </a:p>
                </p:txBody>
              </p:sp>
              <p:sp>
                <p:nvSpPr>
                  <p:cNvPr id="980" name="Freeform: Shape 979">
                    <a:extLst>
                      <a:ext uri="{FF2B5EF4-FFF2-40B4-BE49-F238E27FC236}">
                        <a16:creationId xmlns:a16="http://schemas.microsoft.com/office/drawing/2014/main" id="{8D4115D2-F2C2-EB65-41DD-6FC8DEA836E5}"/>
                      </a:ext>
                    </a:extLst>
                  </p:cNvPr>
                  <p:cNvSpPr/>
                  <p:nvPr userDrawn="1"/>
                </p:nvSpPr>
                <p:spPr>
                  <a:xfrm>
                    <a:off x="8467260" y="451728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8EAF0"/>
                  </a:solidFill>
                  <a:ln w="2339" cap="flat">
                    <a:noFill/>
                    <a:prstDash val="solid"/>
                    <a:miter/>
                  </a:ln>
                </p:spPr>
                <p:txBody>
                  <a:bodyPr rtlCol="0" anchor="ctr"/>
                  <a:lstStyle/>
                  <a:p>
                    <a:endParaRPr lang="en-US" sz="2400"/>
                  </a:p>
                </p:txBody>
              </p:sp>
              <p:sp>
                <p:nvSpPr>
                  <p:cNvPr id="981" name="Freeform: Shape 980">
                    <a:extLst>
                      <a:ext uri="{FF2B5EF4-FFF2-40B4-BE49-F238E27FC236}">
                        <a16:creationId xmlns:a16="http://schemas.microsoft.com/office/drawing/2014/main" id="{05832684-AB76-7ACD-5514-A4744845CC07}"/>
                      </a:ext>
                    </a:extLst>
                  </p:cNvPr>
                  <p:cNvSpPr/>
                  <p:nvPr userDrawn="1"/>
                </p:nvSpPr>
                <p:spPr>
                  <a:xfrm>
                    <a:off x="8467681" y="451768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9EBF0"/>
                  </a:solidFill>
                  <a:ln w="2339" cap="flat">
                    <a:noFill/>
                    <a:prstDash val="solid"/>
                    <a:miter/>
                  </a:ln>
                </p:spPr>
                <p:txBody>
                  <a:bodyPr rtlCol="0" anchor="ctr"/>
                  <a:lstStyle/>
                  <a:p>
                    <a:endParaRPr lang="en-US" sz="2400"/>
                  </a:p>
                </p:txBody>
              </p:sp>
              <p:sp>
                <p:nvSpPr>
                  <p:cNvPr id="982" name="Freeform: Shape 981">
                    <a:extLst>
                      <a:ext uri="{FF2B5EF4-FFF2-40B4-BE49-F238E27FC236}">
                        <a16:creationId xmlns:a16="http://schemas.microsoft.com/office/drawing/2014/main" id="{86051811-2FA5-15BB-8437-0EE3CE35ACF1}"/>
                      </a:ext>
                    </a:extLst>
                  </p:cNvPr>
                  <p:cNvSpPr/>
                  <p:nvPr userDrawn="1"/>
                </p:nvSpPr>
                <p:spPr>
                  <a:xfrm>
                    <a:off x="8468125" y="451810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9EBF1"/>
                  </a:solidFill>
                  <a:ln w="2339" cap="flat">
                    <a:noFill/>
                    <a:prstDash val="solid"/>
                    <a:miter/>
                  </a:ln>
                </p:spPr>
                <p:txBody>
                  <a:bodyPr rtlCol="0" anchor="ctr"/>
                  <a:lstStyle/>
                  <a:p>
                    <a:endParaRPr lang="en-US" sz="2400"/>
                  </a:p>
                </p:txBody>
              </p:sp>
              <p:sp>
                <p:nvSpPr>
                  <p:cNvPr id="983" name="Freeform: Shape 982">
                    <a:extLst>
                      <a:ext uri="{FF2B5EF4-FFF2-40B4-BE49-F238E27FC236}">
                        <a16:creationId xmlns:a16="http://schemas.microsoft.com/office/drawing/2014/main" id="{9CADCE94-3E83-30FC-E90B-72745F846ABC}"/>
                      </a:ext>
                    </a:extLst>
                  </p:cNvPr>
                  <p:cNvSpPr/>
                  <p:nvPr userDrawn="1"/>
                </p:nvSpPr>
                <p:spPr>
                  <a:xfrm>
                    <a:off x="8468547" y="451852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9EBF1"/>
                  </a:solidFill>
                  <a:ln w="2339" cap="flat">
                    <a:noFill/>
                    <a:prstDash val="solid"/>
                    <a:miter/>
                  </a:ln>
                </p:spPr>
                <p:txBody>
                  <a:bodyPr rtlCol="0" anchor="ctr"/>
                  <a:lstStyle/>
                  <a:p>
                    <a:endParaRPr lang="en-US" sz="2400"/>
                  </a:p>
                </p:txBody>
              </p:sp>
              <p:sp>
                <p:nvSpPr>
                  <p:cNvPr id="984" name="Freeform: Shape 983">
                    <a:extLst>
                      <a:ext uri="{FF2B5EF4-FFF2-40B4-BE49-F238E27FC236}">
                        <a16:creationId xmlns:a16="http://schemas.microsoft.com/office/drawing/2014/main" id="{65A4A3FE-903C-7C84-7AF4-5BBFFFCF04AD}"/>
                      </a:ext>
                    </a:extLst>
                  </p:cNvPr>
                  <p:cNvSpPr/>
                  <p:nvPr userDrawn="1"/>
                </p:nvSpPr>
                <p:spPr>
                  <a:xfrm>
                    <a:off x="8468991" y="451892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EAECF1"/>
                  </a:solidFill>
                  <a:ln w="2339" cap="flat">
                    <a:noFill/>
                    <a:prstDash val="solid"/>
                    <a:miter/>
                  </a:ln>
                </p:spPr>
                <p:txBody>
                  <a:bodyPr rtlCol="0" anchor="ctr"/>
                  <a:lstStyle/>
                  <a:p>
                    <a:endParaRPr lang="en-US" sz="2400"/>
                  </a:p>
                </p:txBody>
              </p:sp>
              <p:sp>
                <p:nvSpPr>
                  <p:cNvPr id="985" name="Freeform: Shape 984">
                    <a:extLst>
                      <a:ext uri="{FF2B5EF4-FFF2-40B4-BE49-F238E27FC236}">
                        <a16:creationId xmlns:a16="http://schemas.microsoft.com/office/drawing/2014/main" id="{9D4C6F6C-2E34-6E05-CADF-B0E572BEAC58}"/>
                      </a:ext>
                    </a:extLst>
                  </p:cNvPr>
                  <p:cNvSpPr/>
                  <p:nvPr userDrawn="1"/>
                </p:nvSpPr>
                <p:spPr>
                  <a:xfrm>
                    <a:off x="8469389" y="451934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AECF1"/>
                  </a:solidFill>
                  <a:ln w="2339" cap="flat">
                    <a:noFill/>
                    <a:prstDash val="solid"/>
                    <a:miter/>
                  </a:ln>
                </p:spPr>
                <p:txBody>
                  <a:bodyPr rtlCol="0" anchor="ctr"/>
                  <a:lstStyle/>
                  <a:p>
                    <a:endParaRPr lang="en-US" sz="2400"/>
                  </a:p>
                </p:txBody>
              </p:sp>
              <p:sp>
                <p:nvSpPr>
                  <p:cNvPr id="986" name="Freeform: Shape 985">
                    <a:extLst>
                      <a:ext uri="{FF2B5EF4-FFF2-40B4-BE49-F238E27FC236}">
                        <a16:creationId xmlns:a16="http://schemas.microsoft.com/office/drawing/2014/main" id="{00761C56-F2AE-BC86-AD65-0666FAEC147E}"/>
                      </a:ext>
                    </a:extLst>
                  </p:cNvPr>
                  <p:cNvSpPr/>
                  <p:nvPr userDrawn="1"/>
                </p:nvSpPr>
                <p:spPr>
                  <a:xfrm>
                    <a:off x="8469810" y="451976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AECF1"/>
                  </a:solidFill>
                  <a:ln w="2339" cap="flat">
                    <a:noFill/>
                    <a:prstDash val="solid"/>
                    <a:miter/>
                  </a:ln>
                </p:spPr>
                <p:txBody>
                  <a:bodyPr rtlCol="0" anchor="ctr"/>
                  <a:lstStyle/>
                  <a:p>
                    <a:endParaRPr lang="en-US" sz="2400"/>
                  </a:p>
                </p:txBody>
              </p:sp>
              <p:sp>
                <p:nvSpPr>
                  <p:cNvPr id="987" name="Freeform: Shape 986">
                    <a:extLst>
                      <a:ext uri="{FF2B5EF4-FFF2-40B4-BE49-F238E27FC236}">
                        <a16:creationId xmlns:a16="http://schemas.microsoft.com/office/drawing/2014/main" id="{518A0E7B-BA2B-2C42-68B9-EC8C8AFD8153}"/>
                      </a:ext>
                    </a:extLst>
                  </p:cNvPr>
                  <p:cNvSpPr/>
                  <p:nvPr userDrawn="1"/>
                </p:nvSpPr>
                <p:spPr>
                  <a:xfrm>
                    <a:off x="8470231" y="452016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54"/>
                          <a:pt x="0" y="21060"/>
                        </a:cubicBezTo>
                        <a:close/>
                      </a:path>
                    </a:pathLst>
                  </a:custGeom>
                  <a:solidFill>
                    <a:srgbClr val="EBECF2"/>
                  </a:solidFill>
                  <a:ln w="2339" cap="flat">
                    <a:noFill/>
                    <a:prstDash val="solid"/>
                    <a:miter/>
                  </a:ln>
                </p:spPr>
                <p:txBody>
                  <a:bodyPr rtlCol="0" anchor="ctr"/>
                  <a:lstStyle/>
                  <a:p>
                    <a:endParaRPr lang="en-US" sz="2400"/>
                  </a:p>
                </p:txBody>
              </p:sp>
              <p:sp>
                <p:nvSpPr>
                  <p:cNvPr id="988" name="Freeform: Shape 987">
                    <a:extLst>
                      <a:ext uri="{FF2B5EF4-FFF2-40B4-BE49-F238E27FC236}">
                        <a16:creationId xmlns:a16="http://schemas.microsoft.com/office/drawing/2014/main" id="{6F3B0111-0836-A7C1-C47B-ADFF91444A9F}"/>
                      </a:ext>
                    </a:extLst>
                  </p:cNvPr>
                  <p:cNvSpPr/>
                  <p:nvPr userDrawn="1"/>
                </p:nvSpPr>
                <p:spPr>
                  <a:xfrm>
                    <a:off x="8470629" y="452058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EBEDF2"/>
                  </a:solidFill>
                  <a:ln w="2339" cap="flat">
                    <a:noFill/>
                    <a:prstDash val="solid"/>
                    <a:miter/>
                  </a:ln>
                </p:spPr>
                <p:txBody>
                  <a:bodyPr rtlCol="0" anchor="ctr"/>
                  <a:lstStyle/>
                  <a:p>
                    <a:endParaRPr lang="en-US" sz="2400"/>
                  </a:p>
                </p:txBody>
              </p:sp>
              <p:sp>
                <p:nvSpPr>
                  <p:cNvPr id="989" name="Freeform: Shape 988">
                    <a:extLst>
                      <a:ext uri="{FF2B5EF4-FFF2-40B4-BE49-F238E27FC236}">
                        <a16:creationId xmlns:a16="http://schemas.microsoft.com/office/drawing/2014/main" id="{6E1AB1B9-A8FD-F51F-2307-D15EFCD4FD00}"/>
                      </a:ext>
                    </a:extLst>
                  </p:cNvPr>
                  <p:cNvSpPr/>
                  <p:nvPr userDrawn="1"/>
                </p:nvSpPr>
                <p:spPr>
                  <a:xfrm>
                    <a:off x="8471027" y="452100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BEDF2"/>
                  </a:solidFill>
                  <a:ln w="2339" cap="flat">
                    <a:noFill/>
                    <a:prstDash val="solid"/>
                    <a:miter/>
                  </a:ln>
                </p:spPr>
                <p:txBody>
                  <a:bodyPr rtlCol="0" anchor="ctr"/>
                  <a:lstStyle/>
                  <a:p>
                    <a:endParaRPr lang="en-US" sz="2400"/>
                  </a:p>
                </p:txBody>
              </p:sp>
              <p:sp>
                <p:nvSpPr>
                  <p:cNvPr id="990" name="Freeform: Shape 989">
                    <a:extLst>
                      <a:ext uri="{FF2B5EF4-FFF2-40B4-BE49-F238E27FC236}">
                        <a16:creationId xmlns:a16="http://schemas.microsoft.com/office/drawing/2014/main" id="{37171D42-128F-0BAC-A513-A720466C93DB}"/>
                      </a:ext>
                    </a:extLst>
                  </p:cNvPr>
                  <p:cNvSpPr/>
                  <p:nvPr userDrawn="1"/>
                </p:nvSpPr>
                <p:spPr>
                  <a:xfrm>
                    <a:off x="8471425" y="452143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BEDF2"/>
                  </a:solidFill>
                  <a:ln w="2339" cap="flat">
                    <a:noFill/>
                    <a:prstDash val="solid"/>
                    <a:miter/>
                  </a:ln>
                </p:spPr>
                <p:txBody>
                  <a:bodyPr rtlCol="0" anchor="ctr"/>
                  <a:lstStyle/>
                  <a:p>
                    <a:endParaRPr lang="en-US" sz="2400"/>
                  </a:p>
                </p:txBody>
              </p:sp>
              <p:sp>
                <p:nvSpPr>
                  <p:cNvPr id="991" name="Freeform: Shape 990">
                    <a:extLst>
                      <a:ext uri="{FF2B5EF4-FFF2-40B4-BE49-F238E27FC236}">
                        <a16:creationId xmlns:a16="http://schemas.microsoft.com/office/drawing/2014/main" id="{2886BC51-FF92-0B02-D122-DEFAB5D46534}"/>
                      </a:ext>
                    </a:extLst>
                  </p:cNvPr>
                  <p:cNvSpPr/>
                  <p:nvPr userDrawn="1"/>
                </p:nvSpPr>
                <p:spPr>
                  <a:xfrm>
                    <a:off x="8471799" y="452185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CEDF2"/>
                  </a:solidFill>
                  <a:ln w="2339" cap="flat">
                    <a:noFill/>
                    <a:prstDash val="solid"/>
                    <a:miter/>
                  </a:ln>
                </p:spPr>
                <p:txBody>
                  <a:bodyPr rtlCol="0" anchor="ctr"/>
                  <a:lstStyle/>
                  <a:p>
                    <a:endParaRPr lang="en-US" sz="2400"/>
                  </a:p>
                </p:txBody>
              </p:sp>
              <p:sp>
                <p:nvSpPr>
                  <p:cNvPr id="992" name="Freeform: Shape 991">
                    <a:extLst>
                      <a:ext uri="{FF2B5EF4-FFF2-40B4-BE49-F238E27FC236}">
                        <a16:creationId xmlns:a16="http://schemas.microsoft.com/office/drawing/2014/main" id="{B25B9F55-9B06-C838-CB9A-17892D68FF46}"/>
                      </a:ext>
                    </a:extLst>
                  </p:cNvPr>
                  <p:cNvSpPr/>
                  <p:nvPr userDrawn="1"/>
                </p:nvSpPr>
                <p:spPr>
                  <a:xfrm>
                    <a:off x="8472174" y="452224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CEEF3"/>
                  </a:solidFill>
                  <a:ln w="2339" cap="flat">
                    <a:noFill/>
                    <a:prstDash val="solid"/>
                    <a:miter/>
                  </a:ln>
                </p:spPr>
                <p:txBody>
                  <a:bodyPr rtlCol="0" anchor="ctr"/>
                  <a:lstStyle/>
                  <a:p>
                    <a:endParaRPr lang="en-US" sz="2400"/>
                  </a:p>
                </p:txBody>
              </p:sp>
              <p:sp>
                <p:nvSpPr>
                  <p:cNvPr id="993" name="Freeform: Shape 992">
                    <a:extLst>
                      <a:ext uri="{FF2B5EF4-FFF2-40B4-BE49-F238E27FC236}">
                        <a16:creationId xmlns:a16="http://schemas.microsoft.com/office/drawing/2014/main" id="{35109DEF-86F2-AA41-C230-F679491A0689}"/>
                      </a:ext>
                    </a:extLst>
                  </p:cNvPr>
                  <p:cNvSpPr/>
                  <p:nvPr userDrawn="1"/>
                </p:nvSpPr>
                <p:spPr>
                  <a:xfrm>
                    <a:off x="8472548" y="452267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CEEF3"/>
                  </a:solidFill>
                  <a:ln w="2339" cap="flat">
                    <a:noFill/>
                    <a:prstDash val="solid"/>
                    <a:miter/>
                  </a:ln>
                </p:spPr>
                <p:txBody>
                  <a:bodyPr rtlCol="0" anchor="ctr"/>
                  <a:lstStyle/>
                  <a:p>
                    <a:endParaRPr lang="en-US" sz="2400"/>
                  </a:p>
                </p:txBody>
              </p:sp>
              <p:sp>
                <p:nvSpPr>
                  <p:cNvPr id="994" name="Freeform: Shape 993">
                    <a:extLst>
                      <a:ext uri="{FF2B5EF4-FFF2-40B4-BE49-F238E27FC236}">
                        <a16:creationId xmlns:a16="http://schemas.microsoft.com/office/drawing/2014/main" id="{C89942E3-5AC6-34DD-1D93-C8669D9CB722}"/>
                      </a:ext>
                    </a:extLst>
                  </p:cNvPr>
                  <p:cNvSpPr/>
                  <p:nvPr userDrawn="1"/>
                </p:nvSpPr>
                <p:spPr>
                  <a:xfrm>
                    <a:off x="8472922" y="452309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DEEF3"/>
                  </a:solidFill>
                  <a:ln w="2339" cap="flat">
                    <a:noFill/>
                    <a:prstDash val="solid"/>
                    <a:miter/>
                  </a:ln>
                </p:spPr>
                <p:txBody>
                  <a:bodyPr rtlCol="0" anchor="ctr"/>
                  <a:lstStyle/>
                  <a:p>
                    <a:endParaRPr lang="en-US" sz="2400"/>
                  </a:p>
                </p:txBody>
              </p:sp>
              <p:sp>
                <p:nvSpPr>
                  <p:cNvPr id="995" name="Freeform: Shape 994">
                    <a:extLst>
                      <a:ext uri="{FF2B5EF4-FFF2-40B4-BE49-F238E27FC236}">
                        <a16:creationId xmlns:a16="http://schemas.microsoft.com/office/drawing/2014/main" id="{634A2D78-CD3F-3A46-BF1D-4884AF69780C}"/>
                      </a:ext>
                    </a:extLst>
                  </p:cNvPr>
                  <p:cNvSpPr/>
                  <p:nvPr userDrawn="1"/>
                </p:nvSpPr>
                <p:spPr>
                  <a:xfrm>
                    <a:off x="8473297" y="452351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DEFF3"/>
                  </a:solidFill>
                  <a:ln w="2339" cap="flat">
                    <a:noFill/>
                    <a:prstDash val="solid"/>
                    <a:miter/>
                  </a:ln>
                </p:spPr>
                <p:txBody>
                  <a:bodyPr rtlCol="0" anchor="ctr"/>
                  <a:lstStyle/>
                  <a:p>
                    <a:endParaRPr lang="en-US" sz="2400"/>
                  </a:p>
                </p:txBody>
              </p:sp>
              <p:sp>
                <p:nvSpPr>
                  <p:cNvPr id="996" name="Freeform: Shape 995">
                    <a:extLst>
                      <a:ext uri="{FF2B5EF4-FFF2-40B4-BE49-F238E27FC236}">
                        <a16:creationId xmlns:a16="http://schemas.microsoft.com/office/drawing/2014/main" id="{E1E33894-97B6-3440-416F-F7454B5E97DA}"/>
                      </a:ext>
                    </a:extLst>
                  </p:cNvPr>
                  <p:cNvSpPr/>
                  <p:nvPr userDrawn="1"/>
                </p:nvSpPr>
                <p:spPr>
                  <a:xfrm>
                    <a:off x="8473648" y="452393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DEFF3"/>
                  </a:solidFill>
                  <a:ln w="2339" cap="flat">
                    <a:noFill/>
                    <a:prstDash val="solid"/>
                    <a:miter/>
                  </a:ln>
                </p:spPr>
                <p:txBody>
                  <a:bodyPr rtlCol="0" anchor="ctr"/>
                  <a:lstStyle/>
                  <a:p>
                    <a:endParaRPr lang="en-US" sz="2400"/>
                  </a:p>
                </p:txBody>
              </p:sp>
              <p:sp>
                <p:nvSpPr>
                  <p:cNvPr id="997" name="Freeform: Shape 996">
                    <a:extLst>
                      <a:ext uri="{FF2B5EF4-FFF2-40B4-BE49-F238E27FC236}">
                        <a16:creationId xmlns:a16="http://schemas.microsoft.com/office/drawing/2014/main" id="{803E55E5-F89B-90CE-964B-F5ACF39581BB}"/>
                      </a:ext>
                    </a:extLst>
                  </p:cNvPr>
                  <p:cNvSpPr/>
                  <p:nvPr userDrawn="1"/>
                </p:nvSpPr>
                <p:spPr>
                  <a:xfrm>
                    <a:off x="8474022" y="452435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EEFF4"/>
                  </a:solidFill>
                  <a:ln w="2339" cap="flat">
                    <a:noFill/>
                    <a:prstDash val="solid"/>
                    <a:miter/>
                  </a:ln>
                </p:spPr>
                <p:txBody>
                  <a:bodyPr rtlCol="0" anchor="ctr"/>
                  <a:lstStyle/>
                  <a:p>
                    <a:endParaRPr lang="en-US" sz="2400"/>
                  </a:p>
                </p:txBody>
              </p:sp>
              <p:sp>
                <p:nvSpPr>
                  <p:cNvPr id="998" name="Freeform: Shape 997">
                    <a:extLst>
                      <a:ext uri="{FF2B5EF4-FFF2-40B4-BE49-F238E27FC236}">
                        <a16:creationId xmlns:a16="http://schemas.microsoft.com/office/drawing/2014/main" id="{7E27262C-2E8D-91D8-90E8-DB59C98FF7EF}"/>
                      </a:ext>
                    </a:extLst>
                  </p:cNvPr>
                  <p:cNvSpPr/>
                  <p:nvPr userDrawn="1"/>
                </p:nvSpPr>
                <p:spPr>
                  <a:xfrm>
                    <a:off x="8474373" y="452477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EEFF4"/>
                  </a:solidFill>
                  <a:ln w="2339" cap="flat">
                    <a:noFill/>
                    <a:prstDash val="solid"/>
                    <a:miter/>
                  </a:ln>
                </p:spPr>
                <p:txBody>
                  <a:bodyPr rtlCol="0" anchor="ctr"/>
                  <a:lstStyle/>
                  <a:p>
                    <a:endParaRPr lang="en-US" sz="2400"/>
                  </a:p>
                </p:txBody>
              </p:sp>
              <p:sp>
                <p:nvSpPr>
                  <p:cNvPr id="999" name="Freeform: Shape 998">
                    <a:extLst>
                      <a:ext uri="{FF2B5EF4-FFF2-40B4-BE49-F238E27FC236}">
                        <a16:creationId xmlns:a16="http://schemas.microsoft.com/office/drawing/2014/main" id="{53F57D39-7349-A7A4-1E5C-751B39B1FE8C}"/>
                      </a:ext>
                    </a:extLst>
                  </p:cNvPr>
                  <p:cNvSpPr/>
                  <p:nvPr userDrawn="1"/>
                </p:nvSpPr>
                <p:spPr>
                  <a:xfrm>
                    <a:off x="8474701" y="452519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EF0F4"/>
                  </a:solidFill>
                  <a:ln w="2339" cap="flat">
                    <a:noFill/>
                    <a:prstDash val="solid"/>
                    <a:miter/>
                  </a:ln>
                </p:spPr>
                <p:txBody>
                  <a:bodyPr rtlCol="0" anchor="ctr"/>
                  <a:lstStyle/>
                  <a:p>
                    <a:endParaRPr lang="en-US" sz="2400"/>
                  </a:p>
                </p:txBody>
              </p:sp>
              <p:sp>
                <p:nvSpPr>
                  <p:cNvPr id="1000" name="Freeform: Shape 999">
                    <a:extLst>
                      <a:ext uri="{FF2B5EF4-FFF2-40B4-BE49-F238E27FC236}">
                        <a16:creationId xmlns:a16="http://schemas.microsoft.com/office/drawing/2014/main" id="{AA16B779-32ED-A9DE-8B2A-46C32ABEB7C6}"/>
                      </a:ext>
                    </a:extLst>
                  </p:cNvPr>
                  <p:cNvSpPr/>
                  <p:nvPr userDrawn="1"/>
                </p:nvSpPr>
                <p:spPr>
                  <a:xfrm>
                    <a:off x="8475052" y="452559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EEF0F4"/>
                  </a:solidFill>
                  <a:ln w="2339" cap="flat">
                    <a:noFill/>
                    <a:prstDash val="solid"/>
                    <a:miter/>
                  </a:ln>
                </p:spPr>
                <p:txBody>
                  <a:bodyPr rtlCol="0" anchor="ctr"/>
                  <a:lstStyle/>
                  <a:p>
                    <a:endParaRPr lang="en-US" sz="2400"/>
                  </a:p>
                </p:txBody>
              </p:sp>
              <p:sp>
                <p:nvSpPr>
                  <p:cNvPr id="1001" name="Freeform: Shape 1000">
                    <a:extLst>
                      <a:ext uri="{FF2B5EF4-FFF2-40B4-BE49-F238E27FC236}">
                        <a16:creationId xmlns:a16="http://schemas.microsoft.com/office/drawing/2014/main" id="{7A29F437-EB5A-15CF-8FB3-13A9BD486496}"/>
                      </a:ext>
                    </a:extLst>
                  </p:cNvPr>
                  <p:cNvSpPr/>
                  <p:nvPr userDrawn="1"/>
                </p:nvSpPr>
                <p:spPr>
                  <a:xfrm>
                    <a:off x="8475379" y="452601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FF0F4"/>
                  </a:solidFill>
                  <a:ln w="2339" cap="flat">
                    <a:noFill/>
                    <a:prstDash val="solid"/>
                    <a:miter/>
                  </a:ln>
                </p:spPr>
                <p:txBody>
                  <a:bodyPr rtlCol="0" anchor="ctr"/>
                  <a:lstStyle/>
                  <a:p>
                    <a:endParaRPr lang="en-US" sz="2400"/>
                  </a:p>
                </p:txBody>
              </p:sp>
              <p:sp>
                <p:nvSpPr>
                  <p:cNvPr id="1002" name="Freeform: Shape 1001">
                    <a:extLst>
                      <a:ext uri="{FF2B5EF4-FFF2-40B4-BE49-F238E27FC236}">
                        <a16:creationId xmlns:a16="http://schemas.microsoft.com/office/drawing/2014/main" id="{92322365-5309-A7DC-E89B-F403B3648880}"/>
                      </a:ext>
                    </a:extLst>
                  </p:cNvPr>
                  <p:cNvSpPr/>
                  <p:nvPr userDrawn="1"/>
                </p:nvSpPr>
                <p:spPr>
                  <a:xfrm>
                    <a:off x="8475707" y="452643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FF1F5"/>
                  </a:solidFill>
                  <a:ln w="2339" cap="flat">
                    <a:noFill/>
                    <a:prstDash val="solid"/>
                    <a:miter/>
                  </a:ln>
                </p:spPr>
                <p:txBody>
                  <a:bodyPr rtlCol="0" anchor="ctr"/>
                  <a:lstStyle/>
                  <a:p>
                    <a:endParaRPr lang="en-US" sz="2400"/>
                  </a:p>
                </p:txBody>
              </p:sp>
              <p:sp>
                <p:nvSpPr>
                  <p:cNvPr id="1003" name="Freeform: Shape 1002">
                    <a:extLst>
                      <a:ext uri="{FF2B5EF4-FFF2-40B4-BE49-F238E27FC236}">
                        <a16:creationId xmlns:a16="http://schemas.microsoft.com/office/drawing/2014/main" id="{0C655C0F-222C-D52A-41C1-1540C8A72EDD}"/>
                      </a:ext>
                    </a:extLst>
                  </p:cNvPr>
                  <p:cNvSpPr/>
                  <p:nvPr userDrawn="1"/>
                </p:nvSpPr>
                <p:spPr>
                  <a:xfrm>
                    <a:off x="8476035" y="452685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EFF1F5"/>
                  </a:solidFill>
                  <a:ln w="2339" cap="flat">
                    <a:noFill/>
                    <a:prstDash val="solid"/>
                    <a:miter/>
                  </a:ln>
                </p:spPr>
                <p:txBody>
                  <a:bodyPr rtlCol="0" anchor="ctr"/>
                  <a:lstStyle/>
                  <a:p>
                    <a:endParaRPr lang="en-US" sz="2400"/>
                  </a:p>
                </p:txBody>
              </p:sp>
              <p:sp>
                <p:nvSpPr>
                  <p:cNvPr id="1004" name="Freeform: Shape 1003">
                    <a:extLst>
                      <a:ext uri="{FF2B5EF4-FFF2-40B4-BE49-F238E27FC236}">
                        <a16:creationId xmlns:a16="http://schemas.microsoft.com/office/drawing/2014/main" id="{73E2AC4E-B076-4E38-9D81-2843595494A9}"/>
                      </a:ext>
                    </a:extLst>
                  </p:cNvPr>
                  <p:cNvSpPr/>
                  <p:nvPr userDrawn="1"/>
                </p:nvSpPr>
                <p:spPr>
                  <a:xfrm>
                    <a:off x="8476339" y="452728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F0F1F5"/>
                  </a:solidFill>
                  <a:ln w="2339" cap="flat">
                    <a:noFill/>
                    <a:prstDash val="solid"/>
                    <a:miter/>
                  </a:ln>
                </p:spPr>
                <p:txBody>
                  <a:bodyPr rtlCol="0" anchor="ctr"/>
                  <a:lstStyle/>
                  <a:p>
                    <a:endParaRPr lang="en-US" sz="2400"/>
                  </a:p>
                </p:txBody>
              </p:sp>
              <p:sp>
                <p:nvSpPr>
                  <p:cNvPr id="1005" name="Freeform: Shape 1004">
                    <a:extLst>
                      <a:ext uri="{FF2B5EF4-FFF2-40B4-BE49-F238E27FC236}">
                        <a16:creationId xmlns:a16="http://schemas.microsoft.com/office/drawing/2014/main" id="{F1890255-DC8D-7460-94AD-41DE0CE085C8}"/>
                      </a:ext>
                    </a:extLst>
                  </p:cNvPr>
                  <p:cNvSpPr/>
                  <p:nvPr userDrawn="1"/>
                </p:nvSpPr>
                <p:spPr>
                  <a:xfrm>
                    <a:off x="8476666" y="452770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F0F1F5"/>
                  </a:solidFill>
                  <a:ln w="2339" cap="flat">
                    <a:noFill/>
                    <a:prstDash val="solid"/>
                    <a:miter/>
                  </a:ln>
                </p:spPr>
                <p:txBody>
                  <a:bodyPr rtlCol="0" anchor="ctr"/>
                  <a:lstStyle/>
                  <a:p>
                    <a:endParaRPr lang="en-US" sz="2400"/>
                  </a:p>
                </p:txBody>
              </p:sp>
              <p:sp>
                <p:nvSpPr>
                  <p:cNvPr id="1006" name="Freeform: Shape 1005">
                    <a:extLst>
                      <a:ext uri="{FF2B5EF4-FFF2-40B4-BE49-F238E27FC236}">
                        <a16:creationId xmlns:a16="http://schemas.microsoft.com/office/drawing/2014/main" id="{2256BA44-AE40-6A5E-675E-3A3E6DD48869}"/>
                      </a:ext>
                    </a:extLst>
                  </p:cNvPr>
                  <p:cNvSpPr/>
                  <p:nvPr userDrawn="1"/>
                </p:nvSpPr>
                <p:spPr>
                  <a:xfrm>
                    <a:off x="8476971" y="452812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F0F2F5"/>
                  </a:solidFill>
                  <a:ln w="2339" cap="flat">
                    <a:noFill/>
                    <a:prstDash val="solid"/>
                    <a:miter/>
                  </a:ln>
                </p:spPr>
                <p:txBody>
                  <a:bodyPr rtlCol="0" anchor="ctr"/>
                  <a:lstStyle/>
                  <a:p>
                    <a:endParaRPr lang="en-US" sz="2400"/>
                  </a:p>
                </p:txBody>
              </p:sp>
              <p:sp>
                <p:nvSpPr>
                  <p:cNvPr id="1007" name="Freeform: Shape 1006">
                    <a:extLst>
                      <a:ext uri="{FF2B5EF4-FFF2-40B4-BE49-F238E27FC236}">
                        <a16:creationId xmlns:a16="http://schemas.microsoft.com/office/drawing/2014/main" id="{5968CD59-FAA6-1FE8-11EF-F0F31657996A}"/>
                      </a:ext>
                    </a:extLst>
                  </p:cNvPr>
                  <p:cNvSpPr/>
                  <p:nvPr userDrawn="1"/>
                </p:nvSpPr>
                <p:spPr>
                  <a:xfrm>
                    <a:off x="8477275" y="452854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F1F2F6"/>
                  </a:solidFill>
                  <a:ln w="2339" cap="flat">
                    <a:noFill/>
                    <a:prstDash val="solid"/>
                    <a:miter/>
                  </a:ln>
                </p:spPr>
                <p:txBody>
                  <a:bodyPr rtlCol="0" anchor="ctr"/>
                  <a:lstStyle/>
                  <a:p>
                    <a:endParaRPr lang="en-US" sz="2400"/>
                  </a:p>
                </p:txBody>
              </p:sp>
              <p:sp>
                <p:nvSpPr>
                  <p:cNvPr id="1008" name="Freeform: Shape 1007">
                    <a:extLst>
                      <a:ext uri="{FF2B5EF4-FFF2-40B4-BE49-F238E27FC236}">
                        <a16:creationId xmlns:a16="http://schemas.microsoft.com/office/drawing/2014/main" id="{1E7B1AF8-FC56-A9DB-50E1-D8667CCBE15F}"/>
                      </a:ext>
                    </a:extLst>
                  </p:cNvPr>
                  <p:cNvSpPr/>
                  <p:nvPr userDrawn="1"/>
                </p:nvSpPr>
                <p:spPr>
                  <a:xfrm>
                    <a:off x="8477556" y="452896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F1F2F6"/>
                  </a:solidFill>
                  <a:ln w="2339" cap="flat">
                    <a:noFill/>
                    <a:prstDash val="solid"/>
                    <a:miter/>
                  </a:ln>
                </p:spPr>
                <p:txBody>
                  <a:bodyPr rtlCol="0" anchor="ctr"/>
                  <a:lstStyle/>
                  <a:p>
                    <a:endParaRPr lang="en-US" sz="2400"/>
                  </a:p>
                </p:txBody>
              </p:sp>
              <p:sp>
                <p:nvSpPr>
                  <p:cNvPr id="1009" name="Freeform: Shape 1008">
                    <a:extLst>
                      <a:ext uri="{FF2B5EF4-FFF2-40B4-BE49-F238E27FC236}">
                        <a16:creationId xmlns:a16="http://schemas.microsoft.com/office/drawing/2014/main" id="{C0090264-C4BE-21EB-EBF9-746FC103490D}"/>
                      </a:ext>
                    </a:extLst>
                  </p:cNvPr>
                  <p:cNvSpPr/>
                  <p:nvPr userDrawn="1"/>
                </p:nvSpPr>
                <p:spPr>
                  <a:xfrm>
                    <a:off x="8477860" y="452938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F1F2F6"/>
                  </a:solidFill>
                  <a:ln w="2339" cap="flat">
                    <a:noFill/>
                    <a:prstDash val="solid"/>
                    <a:miter/>
                  </a:ln>
                </p:spPr>
                <p:txBody>
                  <a:bodyPr rtlCol="0" anchor="ctr"/>
                  <a:lstStyle/>
                  <a:p>
                    <a:endParaRPr lang="en-US" sz="2400"/>
                  </a:p>
                </p:txBody>
              </p:sp>
              <p:sp>
                <p:nvSpPr>
                  <p:cNvPr id="1010" name="Freeform: Shape 1009">
                    <a:extLst>
                      <a:ext uri="{FF2B5EF4-FFF2-40B4-BE49-F238E27FC236}">
                        <a16:creationId xmlns:a16="http://schemas.microsoft.com/office/drawing/2014/main" id="{4F1E0506-AAF3-BCBD-9560-2AF29F593D61}"/>
                      </a:ext>
                    </a:extLst>
                  </p:cNvPr>
                  <p:cNvSpPr/>
                  <p:nvPr userDrawn="1"/>
                </p:nvSpPr>
                <p:spPr>
                  <a:xfrm>
                    <a:off x="8478141" y="452980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F2F3F6"/>
                  </a:solidFill>
                  <a:ln w="2339" cap="flat">
                    <a:noFill/>
                    <a:prstDash val="solid"/>
                    <a:miter/>
                  </a:ln>
                </p:spPr>
                <p:txBody>
                  <a:bodyPr rtlCol="0" anchor="ctr"/>
                  <a:lstStyle/>
                  <a:p>
                    <a:endParaRPr lang="en-US" sz="2400"/>
                  </a:p>
                </p:txBody>
              </p:sp>
              <p:sp>
                <p:nvSpPr>
                  <p:cNvPr id="1011" name="Freeform: Shape 1010">
                    <a:extLst>
                      <a:ext uri="{FF2B5EF4-FFF2-40B4-BE49-F238E27FC236}">
                        <a16:creationId xmlns:a16="http://schemas.microsoft.com/office/drawing/2014/main" id="{6057AD43-8685-C74F-41D8-B3220356975B}"/>
                      </a:ext>
                    </a:extLst>
                  </p:cNvPr>
                  <p:cNvSpPr/>
                  <p:nvPr userDrawn="1"/>
                </p:nvSpPr>
                <p:spPr>
                  <a:xfrm>
                    <a:off x="8478421" y="453022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F2F3F6"/>
                  </a:solidFill>
                  <a:ln w="2339" cap="flat">
                    <a:noFill/>
                    <a:prstDash val="solid"/>
                    <a:miter/>
                  </a:ln>
                </p:spPr>
                <p:txBody>
                  <a:bodyPr rtlCol="0" anchor="ctr"/>
                  <a:lstStyle/>
                  <a:p>
                    <a:endParaRPr lang="en-US" sz="2400"/>
                  </a:p>
                </p:txBody>
              </p:sp>
              <p:sp>
                <p:nvSpPr>
                  <p:cNvPr id="1012" name="Freeform: Shape 1011">
                    <a:extLst>
                      <a:ext uri="{FF2B5EF4-FFF2-40B4-BE49-F238E27FC236}">
                        <a16:creationId xmlns:a16="http://schemas.microsoft.com/office/drawing/2014/main" id="{2F3AAF76-6B02-9D46-A2C5-26F115151E6D}"/>
                      </a:ext>
                    </a:extLst>
                  </p:cNvPr>
                  <p:cNvSpPr/>
                  <p:nvPr userDrawn="1"/>
                </p:nvSpPr>
                <p:spPr>
                  <a:xfrm>
                    <a:off x="8478702" y="453065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F2F3F7"/>
                  </a:solidFill>
                  <a:ln w="2339" cap="flat">
                    <a:noFill/>
                    <a:prstDash val="solid"/>
                    <a:miter/>
                  </a:ln>
                </p:spPr>
                <p:txBody>
                  <a:bodyPr rtlCol="0" anchor="ctr"/>
                  <a:lstStyle/>
                  <a:p>
                    <a:endParaRPr lang="en-US" sz="2400"/>
                  </a:p>
                </p:txBody>
              </p:sp>
              <p:sp>
                <p:nvSpPr>
                  <p:cNvPr id="1013" name="Freeform: Shape 1012">
                    <a:extLst>
                      <a:ext uri="{FF2B5EF4-FFF2-40B4-BE49-F238E27FC236}">
                        <a16:creationId xmlns:a16="http://schemas.microsoft.com/office/drawing/2014/main" id="{CFB38B00-BCEF-8FE3-391E-B8B8B8518E01}"/>
                      </a:ext>
                    </a:extLst>
                  </p:cNvPr>
                  <p:cNvSpPr/>
                  <p:nvPr userDrawn="1"/>
                </p:nvSpPr>
                <p:spPr>
                  <a:xfrm>
                    <a:off x="8478960" y="453107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F2F4F7"/>
                  </a:solidFill>
                  <a:ln w="2339" cap="flat">
                    <a:noFill/>
                    <a:prstDash val="solid"/>
                    <a:miter/>
                  </a:ln>
                </p:spPr>
                <p:txBody>
                  <a:bodyPr rtlCol="0" anchor="ctr"/>
                  <a:lstStyle/>
                  <a:p>
                    <a:endParaRPr lang="en-US" sz="2400"/>
                  </a:p>
                </p:txBody>
              </p:sp>
              <p:sp>
                <p:nvSpPr>
                  <p:cNvPr id="1014" name="Freeform: Shape 1013">
                    <a:extLst>
                      <a:ext uri="{FF2B5EF4-FFF2-40B4-BE49-F238E27FC236}">
                        <a16:creationId xmlns:a16="http://schemas.microsoft.com/office/drawing/2014/main" id="{E7DC4977-8064-2143-9139-379073655D97}"/>
                      </a:ext>
                    </a:extLst>
                  </p:cNvPr>
                  <p:cNvSpPr/>
                  <p:nvPr userDrawn="1"/>
                </p:nvSpPr>
                <p:spPr>
                  <a:xfrm>
                    <a:off x="8479217" y="4531492"/>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3F4F7"/>
                  </a:solidFill>
                  <a:ln w="2339" cap="flat">
                    <a:noFill/>
                    <a:prstDash val="solid"/>
                    <a:miter/>
                  </a:ln>
                </p:spPr>
                <p:txBody>
                  <a:bodyPr rtlCol="0" anchor="ctr"/>
                  <a:lstStyle/>
                  <a:p>
                    <a:endParaRPr lang="en-US" sz="2400"/>
                  </a:p>
                </p:txBody>
              </p:sp>
              <p:sp>
                <p:nvSpPr>
                  <p:cNvPr id="1015" name="Freeform: Shape 1014">
                    <a:extLst>
                      <a:ext uri="{FF2B5EF4-FFF2-40B4-BE49-F238E27FC236}">
                        <a16:creationId xmlns:a16="http://schemas.microsoft.com/office/drawing/2014/main" id="{7AF0A378-4BC2-8BDB-14F1-053301CD81CB}"/>
                      </a:ext>
                    </a:extLst>
                  </p:cNvPr>
                  <p:cNvSpPr/>
                  <p:nvPr userDrawn="1"/>
                </p:nvSpPr>
                <p:spPr>
                  <a:xfrm>
                    <a:off x="8479474" y="4531913"/>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3F4F7"/>
                  </a:solidFill>
                  <a:ln w="2339" cap="flat">
                    <a:noFill/>
                    <a:prstDash val="solid"/>
                    <a:miter/>
                  </a:ln>
                </p:spPr>
                <p:txBody>
                  <a:bodyPr rtlCol="0" anchor="ctr"/>
                  <a:lstStyle/>
                  <a:p>
                    <a:endParaRPr lang="en-US" sz="2400"/>
                  </a:p>
                </p:txBody>
              </p:sp>
              <p:sp>
                <p:nvSpPr>
                  <p:cNvPr id="1016" name="Freeform: Shape 1015">
                    <a:extLst>
                      <a:ext uri="{FF2B5EF4-FFF2-40B4-BE49-F238E27FC236}">
                        <a16:creationId xmlns:a16="http://schemas.microsoft.com/office/drawing/2014/main" id="{72602993-EC55-7CFB-4E76-644CE5DC820F}"/>
                      </a:ext>
                    </a:extLst>
                  </p:cNvPr>
                  <p:cNvSpPr/>
                  <p:nvPr userDrawn="1"/>
                </p:nvSpPr>
                <p:spPr>
                  <a:xfrm>
                    <a:off x="8479732" y="4532335"/>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3F4F7"/>
                  </a:solidFill>
                  <a:ln w="2339" cap="flat">
                    <a:noFill/>
                    <a:prstDash val="solid"/>
                    <a:miter/>
                  </a:ln>
                </p:spPr>
                <p:txBody>
                  <a:bodyPr rtlCol="0" anchor="ctr"/>
                  <a:lstStyle/>
                  <a:p>
                    <a:endParaRPr lang="en-US" sz="2400"/>
                  </a:p>
                </p:txBody>
              </p:sp>
              <p:sp>
                <p:nvSpPr>
                  <p:cNvPr id="1017" name="Freeform: Shape 1016">
                    <a:extLst>
                      <a:ext uri="{FF2B5EF4-FFF2-40B4-BE49-F238E27FC236}">
                        <a16:creationId xmlns:a16="http://schemas.microsoft.com/office/drawing/2014/main" id="{EEB2AE66-7618-7591-E673-CFFEAFC5A600}"/>
                      </a:ext>
                    </a:extLst>
                  </p:cNvPr>
                  <p:cNvSpPr/>
                  <p:nvPr userDrawn="1"/>
                </p:nvSpPr>
                <p:spPr>
                  <a:xfrm>
                    <a:off x="8479989" y="4532756"/>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4F5F8"/>
                  </a:solidFill>
                  <a:ln w="2339" cap="flat">
                    <a:noFill/>
                    <a:prstDash val="solid"/>
                    <a:miter/>
                  </a:ln>
                </p:spPr>
                <p:txBody>
                  <a:bodyPr rtlCol="0" anchor="ctr"/>
                  <a:lstStyle/>
                  <a:p>
                    <a:endParaRPr lang="en-US" sz="2400"/>
                  </a:p>
                </p:txBody>
              </p:sp>
              <p:sp>
                <p:nvSpPr>
                  <p:cNvPr id="1018" name="Freeform: Shape 1017">
                    <a:extLst>
                      <a:ext uri="{FF2B5EF4-FFF2-40B4-BE49-F238E27FC236}">
                        <a16:creationId xmlns:a16="http://schemas.microsoft.com/office/drawing/2014/main" id="{E1173CD6-EB15-2B3D-1B7E-0C65EC195965}"/>
                      </a:ext>
                    </a:extLst>
                  </p:cNvPr>
                  <p:cNvSpPr/>
                  <p:nvPr userDrawn="1"/>
                </p:nvSpPr>
                <p:spPr>
                  <a:xfrm>
                    <a:off x="8480223" y="4533177"/>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4F5F8"/>
                  </a:solidFill>
                  <a:ln w="2339" cap="flat">
                    <a:noFill/>
                    <a:prstDash val="solid"/>
                    <a:miter/>
                  </a:ln>
                </p:spPr>
                <p:txBody>
                  <a:bodyPr rtlCol="0" anchor="ctr"/>
                  <a:lstStyle/>
                  <a:p>
                    <a:endParaRPr lang="en-US" sz="2400"/>
                  </a:p>
                </p:txBody>
              </p:sp>
              <p:sp>
                <p:nvSpPr>
                  <p:cNvPr id="1019" name="Freeform: Shape 1018">
                    <a:extLst>
                      <a:ext uri="{FF2B5EF4-FFF2-40B4-BE49-F238E27FC236}">
                        <a16:creationId xmlns:a16="http://schemas.microsoft.com/office/drawing/2014/main" id="{4898CB1A-85E0-02C4-DC08-53801CB9AF47}"/>
                      </a:ext>
                    </a:extLst>
                  </p:cNvPr>
                  <p:cNvSpPr/>
                  <p:nvPr userDrawn="1"/>
                </p:nvSpPr>
                <p:spPr>
                  <a:xfrm>
                    <a:off x="8480457" y="4533598"/>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4F5F8"/>
                  </a:solidFill>
                  <a:ln w="2339" cap="flat">
                    <a:noFill/>
                    <a:prstDash val="solid"/>
                    <a:miter/>
                  </a:ln>
                </p:spPr>
                <p:txBody>
                  <a:bodyPr rtlCol="0" anchor="ctr"/>
                  <a:lstStyle/>
                  <a:p>
                    <a:endParaRPr lang="en-US" sz="2400"/>
                  </a:p>
                </p:txBody>
              </p:sp>
              <p:sp>
                <p:nvSpPr>
                  <p:cNvPr id="1020" name="Freeform: Shape 1019">
                    <a:extLst>
                      <a:ext uri="{FF2B5EF4-FFF2-40B4-BE49-F238E27FC236}">
                        <a16:creationId xmlns:a16="http://schemas.microsoft.com/office/drawing/2014/main" id="{2D9B47B5-7339-96C1-60A1-F06FEF40AC8C}"/>
                      </a:ext>
                    </a:extLst>
                  </p:cNvPr>
                  <p:cNvSpPr/>
                  <p:nvPr userDrawn="1"/>
                </p:nvSpPr>
                <p:spPr>
                  <a:xfrm>
                    <a:off x="8480691" y="4534019"/>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5F6F8"/>
                  </a:solidFill>
                  <a:ln w="2339" cap="flat">
                    <a:noFill/>
                    <a:prstDash val="solid"/>
                    <a:miter/>
                  </a:ln>
                </p:spPr>
                <p:txBody>
                  <a:bodyPr rtlCol="0" anchor="ctr"/>
                  <a:lstStyle/>
                  <a:p>
                    <a:endParaRPr lang="en-US" sz="2400"/>
                  </a:p>
                </p:txBody>
              </p:sp>
              <p:sp>
                <p:nvSpPr>
                  <p:cNvPr id="1021" name="Freeform: Shape 1020">
                    <a:extLst>
                      <a:ext uri="{FF2B5EF4-FFF2-40B4-BE49-F238E27FC236}">
                        <a16:creationId xmlns:a16="http://schemas.microsoft.com/office/drawing/2014/main" id="{0C835746-A124-B3B1-05B2-186ABDAEFBE9}"/>
                      </a:ext>
                    </a:extLst>
                  </p:cNvPr>
                  <p:cNvSpPr/>
                  <p:nvPr userDrawn="1"/>
                </p:nvSpPr>
                <p:spPr>
                  <a:xfrm>
                    <a:off x="8480902" y="4534441"/>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5F6F8"/>
                  </a:solidFill>
                  <a:ln w="2339" cap="flat">
                    <a:noFill/>
                    <a:prstDash val="solid"/>
                    <a:miter/>
                  </a:ln>
                </p:spPr>
                <p:txBody>
                  <a:bodyPr rtlCol="0" anchor="ctr"/>
                  <a:lstStyle/>
                  <a:p>
                    <a:endParaRPr lang="en-US" sz="2400"/>
                  </a:p>
                </p:txBody>
              </p:sp>
              <p:sp>
                <p:nvSpPr>
                  <p:cNvPr id="1022" name="Freeform: Shape 1021">
                    <a:extLst>
                      <a:ext uri="{FF2B5EF4-FFF2-40B4-BE49-F238E27FC236}">
                        <a16:creationId xmlns:a16="http://schemas.microsoft.com/office/drawing/2014/main" id="{857F14D6-564C-10B6-63CF-27EB6EF188EC}"/>
                      </a:ext>
                    </a:extLst>
                  </p:cNvPr>
                  <p:cNvSpPr/>
                  <p:nvPr userDrawn="1"/>
                </p:nvSpPr>
                <p:spPr>
                  <a:xfrm>
                    <a:off x="8481136" y="4534838"/>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23"/>
                          <a:pt x="0" y="9430"/>
                          <a:pt x="0" y="21060"/>
                        </a:cubicBezTo>
                        <a:close/>
                      </a:path>
                    </a:pathLst>
                  </a:custGeom>
                  <a:solidFill>
                    <a:srgbClr val="F5F6F9"/>
                  </a:solidFill>
                  <a:ln w="2339" cap="flat">
                    <a:noFill/>
                    <a:prstDash val="solid"/>
                    <a:miter/>
                  </a:ln>
                </p:spPr>
                <p:txBody>
                  <a:bodyPr rtlCol="0" anchor="ctr"/>
                  <a:lstStyle/>
                  <a:p>
                    <a:endParaRPr lang="en-US" sz="2400"/>
                  </a:p>
                </p:txBody>
              </p:sp>
              <p:sp>
                <p:nvSpPr>
                  <p:cNvPr id="1023" name="Freeform: Shape 1022">
                    <a:extLst>
                      <a:ext uri="{FF2B5EF4-FFF2-40B4-BE49-F238E27FC236}">
                        <a16:creationId xmlns:a16="http://schemas.microsoft.com/office/drawing/2014/main" id="{BFE0AB98-13F2-81DA-2AE7-9EC47A630D85}"/>
                      </a:ext>
                    </a:extLst>
                  </p:cNvPr>
                  <p:cNvSpPr/>
                  <p:nvPr userDrawn="1"/>
                </p:nvSpPr>
                <p:spPr>
                  <a:xfrm>
                    <a:off x="8481346" y="4535260"/>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23"/>
                          <a:pt x="0" y="9430"/>
                          <a:pt x="0" y="21060"/>
                        </a:cubicBezTo>
                        <a:close/>
                      </a:path>
                    </a:pathLst>
                  </a:custGeom>
                  <a:solidFill>
                    <a:srgbClr val="F6F6F9"/>
                  </a:solidFill>
                  <a:ln w="2339" cap="flat">
                    <a:noFill/>
                    <a:prstDash val="solid"/>
                    <a:miter/>
                  </a:ln>
                </p:spPr>
                <p:txBody>
                  <a:bodyPr rtlCol="0" anchor="ctr"/>
                  <a:lstStyle/>
                  <a:p>
                    <a:endParaRPr lang="en-US" sz="2400"/>
                  </a:p>
                </p:txBody>
              </p:sp>
              <p:sp>
                <p:nvSpPr>
                  <p:cNvPr id="1024" name="Freeform: Shape 1023">
                    <a:extLst>
                      <a:ext uri="{FF2B5EF4-FFF2-40B4-BE49-F238E27FC236}">
                        <a16:creationId xmlns:a16="http://schemas.microsoft.com/office/drawing/2014/main" id="{661816D2-B696-F254-6EB3-3E5D1CBAF8D6}"/>
                      </a:ext>
                    </a:extLst>
                  </p:cNvPr>
                  <p:cNvSpPr/>
                  <p:nvPr userDrawn="1"/>
                </p:nvSpPr>
                <p:spPr>
                  <a:xfrm>
                    <a:off x="8481557" y="4535681"/>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23"/>
                          <a:pt x="0" y="9430"/>
                          <a:pt x="0" y="21060"/>
                        </a:cubicBezTo>
                        <a:close/>
                      </a:path>
                    </a:pathLst>
                  </a:custGeom>
                  <a:solidFill>
                    <a:srgbClr val="F6F7F9"/>
                  </a:solidFill>
                  <a:ln w="2339" cap="flat">
                    <a:noFill/>
                    <a:prstDash val="solid"/>
                    <a:miter/>
                  </a:ln>
                </p:spPr>
                <p:txBody>
                  <a:bodyPr rtlCol="0" anchor="ctr"/>
                  <a:lstStyle/>
                  <a:p>
                    <a:endParaRPr lang="en-US" sz="2400"/>
                  </a:p>
                </p:txBody>
              </p:sp>
              <p:sp>
                <p:nvSpPr>
                  <p:cNvPr id="1025" name="Freeform: Shape 1024">
                    <a:extLst>
                      <a:ext uri="{FF2B5EF4-FFF2-40B4-BE49-F238E27FC236}">
                        <a16:creationId xmlns:a16="http://schemas.microsoft.com/office/drawing/2014/main" id="{A23F73A4-F485-08C3-CD4C-792BC0540931}"/>
                      </a:ext>
                    </a:extLst>
                  </p:cNvPr>
                  <p:cNvSpPr/>
                  <p:nvPr userDrawn="1"/>
                </p:nvSpPr>
                <p:spPr>
                  <a:xfrm>
                    <a:off x="8481744" y="4536102"/>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23"/>
                          <a:pt x="0" y="9430"/>
                          <a:pt x="0" y="21060"/>
                        </a:cubicBezTo>
                        <a:close/>
                      </a:path>
                    </a:pathLst>
                  </a:custGeom>
                  <a:solidFill>
                    <a:srgbClr val="F6F7F9"/>
                  </a:solidFill>
                  <a:ln w="2339" cap="flat">
                    <a:noFill/>
                    <a:prstDash val="solid"/>
                    <a:miter/>
                  </a:ln>
                </p:spPr>
                <p:txBody>
                  <a:bodyPr rtlCol="0" anchor="ctr"/>
                  <a:lstStyle/>
                  <a:p>
                    <a:endParaRPr lang="en-US" sz="2400"/>
                  </a:p>
                </p:txBody>
              </p:sp>
              <p:sp>
                <p:nvSpPr>
                  <p:cNvPr id="1026" name="Freeform: Shape 1025">
                    <a:extLst>
                      <a:ext uri="{FF2B5EF4-FFF2-40B4-BE49-F238E27FC236}">
                        <a16:creationId xmlns:a16="http://schemas.microsoft.com/office/drawing/2014/main" id="{0B9E6B97-01A7-2216-977B-8FCA488FD4A7}"/>
                      </a:ext>
                    </a:extLst>
                  </p:cNvPr>
                  <p:cNvSpPr/>
                  <p:nvPr userDrawn="1"/>
                </p:nvSpPr>
                <p:spPr>
                  <a:xfrm>
                    <a:off x="8481955" y="4536523"/>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6F7F9"/>
                  </a:solidFill>
                  <a:ln w="2339" cap="flat">
                    <a:noFill/>
                    <a:prstDash val="solid"/>
                    <a:miter/>
                  </a:ln>
                </p:spPr>
                <p:txBody>
                  <a:bodyPr rtlCol="0" anchor="ctr"/>
                  <a:lstStyle/>
                  <a:p>
                    <a:endParaRPr lang="en-US" sz="2400"/>
                  </a:p>
                </p:txBody>
              </p:sp>
              <p:sp>
                <p:nvSpPr>
                  <p:cNvPr id="1027" name="Freeform: Shape 1026">
                    <a:extLst>
                      <a:ext uri="{FF2B5EF4-FFF2-40B4-BE49-F238E27FC236}">
                        <a16:creationId xmlns:a16="http://schemas.microsoft.com/office/drawing/2014/main" id="{114A18D3-6D63-1B46-5F3D-01BCB11A10BB}"/>
                      </a:ext>
                    </a:extLst>
                  </p:cNvPr>
                  <p:cNvSpPr/>
                  <p:nvPr userDrawn="1"/>
                </p:nvSpPr>
                <p:spPr>
                  <a:xfrm>
                    <a:off x="8482142" y="4536945"/>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7F7FA"/>
                  </a:solidFill>
                  <a:ln w="2339" cap="flat">
                    <a:noFill/>
                    <a:prstDash val="solid"/>
                    <a:miter/>
                  </a:ln>
                </p:spPr>
                <p:txBody>
                  <a:bodyPr rtlCol="0" anchor="ctr"/>
                  <a:lstStyle/>
                  <a:p>
                    <a:endParaRPr lang="en-US" sz="2400"/>
                  </a:p>
                </p:txBody>
              </p:sp>
              <p:sp>
                <p:nvSpPr>
                  <p:cNvPr id="1028" name="Freeform: Shape 1027">
                    <a:extLst>
                      <a:ext uri="{FF2B5EF4-FFF2-40B4-BE49-F238E27FC236}">
                        <a16:creationId xmlns:a16="http://schemas.microsoft.com/office/drawing/2014/main" id="{1C73F6A0-7956-8131-41D9-4C2ED220BE70}"/>
                      </a:ext>
                    </a:extLst>
                  </p:cNvPr>
                  <p:cNvSpPr/>
                  <p:nvPr userDrawn="1"/>
                </p:nvSpPr>
                <p:spPr>
                  <a:xfrm>
                    <a:off x="8482329" y="4537366"/>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7F8FA"/>
                  </a:solidFill>
                  <a:ln w="2339" cap="flat">
                    <a:noFill/>
                    <a:prstDash val="solid"/>
                    <a:miter/>
                  </a:ln>
                </p:spPr>
                <p:txBody>
                  <a:bodyPr rtlCol="0" anchor="ctr"/>
                  <a:lstStyle/>
                  <a:p>
                    <a:endParaRPr lang="en-US" sz="2400"/>
                  </a:p>
                </p:txBody>
              </p:sp>
              <p:sp>
                <p:nvSpPr>
                  <p:cNvPr id="1029" name="Freeform: Shape 1028">
                    <a:extLst>
                      <a:ext uri="{FF2B5EF4-FFF2-40B4-BE49-F238E27FC236}">
                        <a16:creationId xmlns:a16="http://schemas.microsoft.com/office/drawing/2014/main" id="{E4A2461B-D698-3885-6B9E-BC4749561A75}"/>
                      </a:ext>
                    </a:extLst>
                  </p:cNvPr>
                  <p:cNvSpPr/>
                  <p:nvPr userDrawn="1"/>
                </p:nvSpPr>
                <p:spPr>
                  <a:xfrm>
                    <a:off x="8482517" y="4537787"/>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7F8FA"/>
                  </a:solidFill>
                  <a:ln w="2339" cap="flat">
                    <a:noFill/>
                    <a:prstDash val="solid"/>
                    <a:miter/>
                  </a:ln>
                </p:spPr>
                <p:txBody>
                  <a:bodyPr rtlCol="0" anchor="ctr"/>
                  <a:lstStyle/>
                  <a:p>
                    <a:endParaRPr lang="en-US" sz="2400"/>
                  </a:p>
                </p:txBody>
              </p:sp>
              <p:sp>
                <p:nvSpPr>
                  <p:cNvPr id="1030" name="Freeform: Shape 1029">
                    <a:extLst>
                      <a:ext uri="{FF2B5EF4-FFF2-40B4-BE49-F238E27FC236}">
                        <a16:creationId xmlns:a16="http://schemas.microsoft.com/office/drawing/2014/main" id="{8A095D17-AE24-6842-E04B-12118DF94519}"/>
                      </a:ext>
                    </a:extLst>
                  </p:cNvPr>
                  <p:cNvSpPr/>
                  <p:nvPr userDrawn="1"/>
                </p:nvSpPr>
                <p:spPr>
                  <a:xfrm>
                    <a:off x="8482680" y="4538208"/>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8F8FA"/>
                  </a:solidFill>
                  <a:ln w="2339" cap="flat">
                    <a:noFill/>
                    <a:prstDash val="solid"/>
                    <a:miter/>
                  </a:ln>
                </p:spPr>
                <p:txBody>
                  <a:bodyPr rtlCol="0" anchor="ctr"/>
                  <a:lstStyle/>
                  <a:p>
                    <a:endParaRPr lang="en-US" sz="2400"/>
                  </a:p>
                </p:txBody>
              </p:sp>
              <p:sp>
                <p:nvSpPr>
                  <p:cNvPr id="1031" name="Freeform: Shape 1030">
                    <a:extLst>
                      <a:ext uri="{FF2B5EF4-FFF2-40B4-BE49-F238E27FC236}">
                        <a16:creationId xmlns:a16="http://schemas.microsoft.com/office/drawing/2014/main" id="{B2DBE679-E07C-7E35-B3E0-15B48BD9E91D}"/>
                      </a:ext>
                    </a:extLst>
                  </p:cNvPr>
                  <p:cNvSpPr/>
                  <p:nvPr userDrawn="1"/>
                </p:nvSpPr>
                <p:spPr>
                  <a:xfrm>
                    <a:off x="8482844" y="4538629"/>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8F9FA"/>
                  </a:solidFill>
                  <a:ln w="2339" cap="flat">
                    <a:noFill/>
                    <a:prstDash val="solid"/>
                    <a:miter/>
                  </a:ln>
                </p:spPr>
                <p:txBody>
                  <a:bodyPr rtlCol="0" anchor="ctr"/>
                  <a:lstStyle/>
                  <a:p>
                    <a:endParaRPr lang="en-US" sz="2400"/>
                  </a:p>
                </p:txBody>
              </p:sp>
              <p:sp>
                <p:nvSpPr>
                  <p:cNvPr id="1032" name="Freeform: Shape 1031">
                    <a:extLst>
                      <a:ext uri="{FF2B5EF4-FFF2-40B4-BE49-F238E27FC236}">
                        <a16:creationId xmlns:a16="http://schemas.microsoft.com/office/drawing/2014/main" id="{132C602C-93FC-6E37-BEC3-EB062250DA97}"/>
                      </a:ext>
                    </a:extLst>
                  </p:cNvPr>
                  <p:cNvSpPr/>
                  <p:nvPr userDrawn="1"/>
                </p:nvSpPr>
                <p:spPr>
                  <a:xfrm>
                    <a:off x="8483008" y="4539027"/>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23"/>
                          <a:pt x="0" y="9430"/>
                          <a:pt x="0" y="21060"/>
                        </a:cubicBezTo>
                        <a:close/>
                      </a:path>
                    </a:pathLst>
                  </a:custGeom>
                  <a:solidFill>
                    <a:srgbClr val="F8F9FB"/>
                  </a:solidFill>
                  <a:ln w="2339" cap="flat">
                    <a:noFill/>
                    <a:prstDash val="solid"/>
                    <a:miter/>
                  </a:ln>
                </p:spPr>
                <p:txBody>
                  <a:bodyPr rtlCol="0" anchor="ctr"/>
                  <a:lstStyle/>
                  <a:p>
                    <a:endParaRPr lang="en-US" sz="2400"/>
                  </a:p>
                </p:txBody>
              </p:sp>
              <p:sp>
                <p:nvSpPr>
                  <p:cNvPr id="1033" name="Freeform: Shape 1032">
                    <a:extLst>
                      <a:ext uri="{FF2B5EF4-FFF2-40B4-BE49-F238E27FC236}">
                        <a16:creationId xmlns:a16="http://schemas.microsoft.com/office/drawing/2014/main" id="{A6C0DE49-C3BF-2ED7-5D3F-0E428B00B3EC}"/>
                      </a:ext>
                    </a:extLst>
                  </p:cNvPr>
                  <p:cNvSpPr/>
                  <p:nvPr userDrawn="1"/>
                </p:nvSpPr>
                <p:spPr>
                  <a:xfrm>
                    <a:off x="8483172" y="4539448"/>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23"/>
                          <a:pt x="0" y="9430"/>
                          <a:pt x="0" y="21060"/>
                        </a:cubicBezTo>
                        <a:close/>
                      </a:path>
                    </a:pathLst>
                  </a:custGeom>
                  <a:solidFill>
                    <a:srgbClr val="F9F9FB"/>
                  </a:solidFill>
                  <a:ln w="2339" cap="flat">
                    <a:noFill/>
                    <a:prstDash val="solid"/>
                    <a:miter/>
                  </a:ln>
                </p:spPr>
                <p:txBody>
                  <a:bodyPr rtlCol="0" anchor="ctr"/>
                  <a:lstStyle/>
                  <a:p>
                    <a:endParaRPr lang="en-US" sz="2400"/>
                  </a:p>
                </p:txBody>
              </p:sp>
              <p:sp>
                <p:nvSpPr>
                  <p:cNvPr id="1034" name="Freeform: Shape 1033">
                    <a:extLst>
                      <a:ext uri="{FF2B5EF4-FFF2-40B4-BE49-F238E27FC236}">
                        <a16:creationId xmlns:a16="http://schemas.microsoft.com/office/drawing/2014/main" id="{9A76FCDA-FC93-64D2-F59D-61D3D0D67DD4}"/>
                      </a:ext>
                    </a:extLst>
                  </p:cNvPr>
                  <p:cNvSpPr/>
                  <p:nvPr userDrawn="1"/>
                </p:nvSpPr>
                <p:spPr>
                  <a:xfrm>
                    <a:off x="8483312" y="4539870"/>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9F9FB"/>
                  </a:solidFill>
                  <a:ln w="2339" cap="flat">
                    <a:noFill/>
                    <a:prstDash val="solid"/>
                    <a:miter/>
                  </a:ln>
                </p:spPr>
                <p:txBody>
                  <a:bodyPr rtlCol="0" anchor="ctr"/>
                  <a:lstStyle/>
                  <a:p>
                    <a:endParaRPr lang="en-US" sz="2400"/>
                  </a:p>
                </p:txBody>
              </p:sp>
              <p:sp>
                <p:nvSpPr>
                  <p:cNvPr id="1035" name="Freeform: Shape 1034">
                    <a:extLst>
                      <a:ext uri="{FF2B5EF4-FFF2-40B4-BE49-F238E27FC236}">
                        <a16:creationId xmlns:a16="http://schemas.microsoft.com/office/drawing/2014/main" id="{D89E2175-3A74-3602-276B-9C3BD722D1BE}"/>
                      </a:ext>
                    </a:extLst>
                  </p:cNvPr>
                  <p:cNvSpPr/>
                  <p:nvPr userDrawn="1"/>
                </p:nvSpPr>
                <p:spPr>
                  <a:xfrm>
                    <a:off x="8483476" y="4540291"/>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9FAFB"/>
                  </a:solidFill>
                  <a:ln w="2339" cap="flat">
                    <a:noFill/>
                    <a:prstDash val="solid"/>
                    <a:miter/>
                  </a:ln>
                </p:spPr>
                <p:txBody>
                  <a:bodyPr rtlCol="0" anchor="ctr"/>
                  <a:lstStyle/>
                  <a:p>
                    <a:endParaRPr lang="en-US" sz="2400"/>
                  </a:p>
                </p:txBody>
              </p:sp>
              <p:sp>
                <p:nvSpPr>
                  <p:cNvPr id="1036" name="Freeform: Shape 1035">
                    <a:extLst>
                      <a:ext uri="{FF2B5EF4-FFF2-40B4-BE49-F238E27FC236}">
                        <a16:creationId xmlns:a16="http://schemas.microsoft.com/office/drawing/2014/main" id="{78090EA9-C315-9B5F-344B-79CFB2DE2857}"/>
                      </a:ext>
                    </a:extLst>
                  </p:cNvPr>
                  <p:cNvSpPr/>
                  <p:nvPr userDrawn="1"/>
                </p:nvSpPr>
                <p:spPr>
                  <a:xfrm>
                    <a:off x="8483616" y="4540712"/>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9FAFB"/>
                  </a:solidFill>
                  <a:ln w="2339" cap="flat">
                    <a:noFill/>
                    <a:prstDash val="solid"/>
                    <a:miter/>
                  </a:ln>
                </p:spPr>
                <p:txBody>
                  <a:bodyPr rtlCol="0" anchor="ctr"/>
                  <a:lstStyle/>
                  <a:p>
                    <a:endParaRPr lang="en-US" sz="2400"/>
                  </a:p>
                </p:txBody>
              </p:sp>
              <p:sp>
                <p:nvSpPr>
                  <p:cNvPr id="1037" name="Freeform: Shape 1036">
                    <a:extLst>
                      <a:ext uri="{FF2B5EF4-FFF2-40B4-BE49-F238E27FC236}">
                        <a16:creationId xmlns:a16="http://schemas.microsoft.com/office/drawing/2014/main" id="{AE7E52FF-D775-4274-71EF-3745A62F4761}"/>
                      </a:ext>
                    </a:extLst>
                  </p:cNvPr>
                  <p:cNvSpPr/>
                  <p:nvPr userDrawn="1"/>
                </p:nvSpPr>
                <p:spPr>
                  <a:xfrm>
                    <a:off x="8483733" y="4541133"/>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07"/>
                          <a:pt x="0" y="21060"/>
                        </a:cubicBezTo>
                        <a:close/>
                      </a:path>
                    </a:pathLst>
                  </a:custGeom>
                  <a:solidFill>
                    <a:srgbClr val="FAFAFC"/>
                  </a:solidFill>
                  <a:ln w="2339" cap="flat">
                    <a:noFill/>
                    <a:prstDash val="solid"/>
                    <a:miter/>
                  </a:ln>
                </p:spPr>
                <p:txBody>
                  <a:bodyPr rtlCol="0" anchor="ctr"/>
                  <a:lstStyle/>
                  <a:p>
                    <a:endParaRPr lang="en-US" sz="2400"/>
                  </a:p>
                </p:txBody>
              </p:sp>
              <p:sp>
                <p:nvSpPr>
                  <p:cNvPr id="1038" name="Freeform: Shape 1037">
                    <a:extLst>
                      <a:ext uri="{FF2B5EF4-FFF2-40B4-BE49-F238E27FC236}">
                        <a16:creationId xmlns:a16="http://schemas.microsoft.com/office/drawing/2014/main" id="{F4F40BF8-F2BB-18D9-75E3-078ECFD0C7DF}"/>
                      </a:ext>
                    </a:extLst>
                  </p:cNvPr>
                  <p:cNvSpPr/>
                  <p:nvPr userDrawn="1"/>
                </p:nvSpPr>
                <p:spPr>
                  <a:xfrm>
                    <a:off x="8483874" y="4541531"/>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43" y="42097"/>
                          <a:pt x="42074" y="32667"/>
                          <a:pt x="42074" y="21060"/>
                        </a:cubicBezTo>
                        <a:cubicBezTo>
                          <a:pt x="42074" y="9430"/>
                          <a:pt x="32643" y="0"/>
                          <a:pt x="21037" y="0"/>
                        </a:cubicBezTo>
                        <a:cubicBezTo>
                          <a:pt x="9430" y="0"/>
                          <a:pt x="0" y="9430"/>
                          <a:pt x="0" y="21060"/>
                        </a:cubicBezTo>
                        <a:close/>
                      </a:path>
                    </a:pathLst>
                  </a:custGeom>
                  <a:solidFill>
                    <a:srgbClr val="FAFBFC"/>
                  </a:solidFill>
                  <a:ln w="2339" cap="flat">
                    <a:noFill/>
                    <a:prstDash val="solid"/>
                    <a:miter/>
                  </a:ln>
                </p:spPr>
                <p:txBody>
                  <a:bodyPr rtlCol="0" anchor="ctr"/>
                  <a:lstStyle/>
                  <a:p>
                    <a:endParaRPr lang="en-US" sz="2400"/>
                  </a:p>
                </p:txBody>
              </p:sp>
              <p:sp>
                <p:nvSpPr>
                  <p:cNvPr id="1039" name="Freeform: Shape 1038">
                    <a:extLst>
                      <a:ext uri="{FF2B5EF4-FFF2-40B4-BE49-F238E27FC236}">
                        <a16:creationId xmlns:a16="http://schemas.microsoft.com/office/drawing/2014/main" id="{EE9FC523-DD6B-5959-59B9-91024B93EC8F}"/>
                      </a:ext>
                    </a:extLst>
                  </p:cNvPr>
                  <p:cNvSpPr/>
                  <p:nvPr userDrawn="1"/>
                </p:nvSpPr>
                <p:spPr>
                  <a:xfrm>
                    <a:off x="8483991" y="4541952"/>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AFBFC"/>
                  </a:solidFill>
                  <a:ln w="2339" cap="flat">
                    <a:noFill/>
                    <a:prstDash val="solid"/>
                    <a:miter/>
                  </a:ln>
                </p:spPr>
                <p:txBody>
                  <a:bodyPr rtlCol="0" anchor="ctr"/>
                  <a:lstStyle/>
                  <a:p>
                    <a:endParaRPr lang="en-US" sz="2400"/>
                  </a:p>
                </p:txBody>
              </p:sp>
              <p:sp>
                <p:nvSpPr>
                  <p:cNvPr id="1040" name="Freeform: Shape 1039">
                    <a:extLst>
                      <a:ext uri="{FF2B5EF4-FFF2-40B4-BE49-F238E27FC236}">
                        <a16:creationId xmlns:a16="http://schemas.microsoft.com/office/drawing/2014/main" id="{64AAB7FD-306F-7038-8CEA-1FB8CF17DC28}"/>
                      </a:ext>
                    </a:extLst>
                  </p:cNvPr>
                  <p:cNvSpPr/>
                  <p:nvPr userDrawn="1"/>
                </p:nvSpPr>
                <p:spPr>
                  <a:xfrm>
                    <a:off x="8484108" y="4542373"/>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BFBFC"/>
                  </a:solidFill>
                  <a:ln w="2339" cap="flat">
                    <a:noFill/>
                    <a:prstDash val="solid"/>
                    <a:miter/>
                  </a:ln>
                </p:spPr>
                <p:txBody>
                  <a:bodyPr rtlCol="0" anchor="ctr"/>
                  <a:lstStyle/>
                  <a:p>
                    <a:endParaRPr lang="en-US" sz="2400"/>
                  </a:p>
                </p:txBody>
              </p:sp>
              <p:sp>
                <p:nvSpPr>
                  <p:cNvPr id="1041" name="Freeform: Shape 1040">
                    <a:extLst>
                      <a:ext uri="{FF2B5EF4-FFF2-40B4-BE49-F238E27FC236}">
                        <a16:creationId xmlns:a16="http://schemas.microsoft.com/office/drawing/2014/main" id="{FE0D1673-DE8C-A6F6-7586-6099BAC08DD8}"/>
                      </a:ext>
                    </a:extLst>
                  </p:cNvPr>
                  <p:cNvSpPr/>
                  <p:nvPr userDrawn="1"/>
                </p:nvSpPr>
                <p:spPr>
                  <a:xfrm>
                    <a:off x="8484225" y="4542771"/>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23"/>
                          <a:pt x="0" y="9430"/>
                          <a:pt x="0" y="21060"/>
                        </a:cubicBezTo>
                        <a:close/>
                      </a:path>
                    </a:pathLst>
                  </a:custGeom>
                  <a:solidFill>
                    <a:srgbClr val="FBFBFC"/>
                  </a:solidFill>
                  <a:ln w="2339" cap="flat">
                    <a:noFill/>
                    <a:prstDash val="solid"/>
                    <a:miter/>
                  </a:ln>
                </p:spPr>
                <p:txBody>
                  <a:bodyPr rtlCol="0" anchor="ctr"/>
                  <a:lstStyle/>
                  <a:p>
                    <a:endParaRPr lang="en-US" sz="2400"/>
                  </a:p>
                </p:txBody>
              </p:sp>
              <p:sp>
                <p:nvSpPr>
                  <p:cNvPr id="1042" name="Freeform: Shape 1041">
                    <a:extLst>
                      <a:ext uri="{FF2B5EF4-FFF2-40B4-BE49-F238E27FC236}">
                        <a16:creationId xmlns:a16="http://schemas.microsoft.com/office/drawing/2014/main" id="{E1036032-683F-695C-99D0-5F8E37163EEE}"/>
                      </a:ext>
                    </a:extLst>
                  </p:cNvPr>
                  <p:cNvSpPr/>
                  <p:nvPr userDrawn="1"/>
                </p:nvSpPr>
                <p:spPr>
                  <a:xfrm>
                    <a:off x="8484342" y="4543192"/>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BFCFD"/>
                  </a:solidFill>
                  <a:ln w="2339" cap="flat">
                    <a:noFill/>
                    <a:prstDash val="solid"/>
                    <a:miter/>
                  </a:ln>
                </p:spPr>
                <p:txBody>
                  <a:bodyPr rtlCol="0" anchor="ctr"/>
                  <a:lstStyle/>
                  <a:p>
                    <a:endParaRPr lang="en-US" sz="2400"/>
                  </a:p>
                </p:txBody>
              </p:sp>
              <p:sp>
                <p:nvSpPr>
                  <p:cNvPr id="1043" name="Freeform: Shape 1042">
                    <a:extLst>
                      <a:ext uri="{FF2B5EF4-FFF2-40B4-BE49-F238E27FC236}">
                        <a16:creationId xmlns:a16="http://schemas.microsoft.com/office/drawing/2014/main" id="{A46A12DF-4A9D-4DEF-89B3-D774936872C0}"/>
                      </a:ext>
                    </a:extLst>
                  </p:cNvPr>
                  <p:cNvSpPr/>
                  <p:nvPr userDrawn="1"/>
                </p:nvSpPr>
                <p:spPr>
                  <a:xfrm>
                    <a:off x="8484435" y="4543614"/>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CFCFD"/>
                  </a:solidFill>
                  <a:ln w="2339" cap="flat">
                    <a:noFill/>
                    <a:prstDash val="solid"/>
                    <a:miter/>
                  </a:ln>
                </p:spPr>
                <p:txBody>
                  <a:bodyPr rtlCol="0" anchor="ctr"/>
                  <a:lstStyle/>
                  <a:p>
                    <a:endParaRPr lang="en-US" sz="2400"/>
                  </a:p>
                </p:txBody>
              </p:sp>
              <p:sp>
                <p:nvSpPr>
                  <p:cNvPr id="1044" name="Freeform: Shape 1043">
                    <a:extLst>
                      <a:ext uri="{FF2B5EF4-FFF2-40B4-BE49-F238E27FC236}">
                        <a16:creationId xmlns:a16="http://schemas.microsoft.com/office/drawing/2014/main" id="{085A8B0F-B9DA-E8D0-4A41-0DCBA041B7F4}"/>
                      </a:ext>
                    </a:extLst>
                  </p:cNvPr>
                  <p:cNvSpPr/>
                  <p:nvPr userDrawn="1"/>
                </p:nvSpPr>
                <p:spPr>
                  <a:xfrm>
                    <a:off x="8484529" y="4544035"/>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07"/>
                          <a:pt x="0" y="21060"/>
                        </a:cubicBezTo>
                        <a:close/>
                      </a:path>
                    </a:pathLst>
                  </a:custGeom>
                  <a:solidFill>
                    <a:srgbClr val="FCFCFD"/>
                  </a:solidFill>
                  <a:ln w="2339" cap="flat">
                    <a:noFill/>
                    <a:prstDash val="solid"/>
                    <a:miter/>
                  </a:ln>
                </p:spPr>
                <p:txBody>
                  <a:bodyPr rtlCol="0" anchor="ctr"/>
                  <a:lstStyle/>
                  <a:p>
                    <a:endParaRPr lang="en-US" sz="2400"/>
                  </a:p>
                </p:txBody>
              </p:sp>
              <p:sp>
                <p:nvSpPr>
                  <p:cNvPr id="1045" name="Freeform: Shape 1044">
                    <a:extLst>
                      <a:ext uri="{FF2B5EF4-FFF2-40B4-BE49-F238E27FC236}">
                        <a16:creationId xmlns:a16="http://schemas.microsoft.com/office/drawing/2014/main" id="{A2E75AE6-396E-58D4-2D26-EF3A616A0A49}"/>
                      </a:ext>
                    </a:extLst>
                  </p:cNvPr>
                  <p:cNvSpPr/>
                  <p:nvPr userDrawn="1"/>
                </p:nvSpPr>
                <p:spPr>
                  <a:xfrm>
                    <a:off x="8484623" y="4544433"/>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CFCFD"/>
                  </a:solidFill>
                  <a:ln w="2339" cap="flat">
                    <a:noFill/>
                    <a:prstDash val="solid"/>
                    <a:miter/>
                  </a:ln>
                </p:spPr>
                <p:txBody>
                  <a:bodyPr rtlCol="0" anchor="ctr"/>
                  <a:lstStyle/>
                  <a:p>
                    <a:endParaRPr lang="en-US" sz="2400"/>
                  </a:p>
                </p:txBody>
              </p:sp>
              <p:sp>
                <p:nvSpPr>
                  <p:cNvPr id="1046" name="Freeform: Shape 1045">
                    <a:extLst>
                      <a:ext uri="{FF2B5EF4-FFF2-40B4-BE49-F238E27FC236}">
                        <a16:creationId xmlns:a16="http://schemas.microsoft.com/office/drawing/2014/main" id="{598A0DE1-B35D-A068-2A35-A19D659F5F1F}"/>
                      </a:ext>
                    </a:extLst>
                  </p:cNvPr>
                  <p:cNvSpPr/>
                  <p:nvPr userDrawn="1"/>
                </p:nvSpPr>
                <p:spPr>
                  <a:xfrm>
                    <a:off x="8484693" y="4544854"/>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DFDFD"/>
                  </a:solidFill>
                  <a:ln w="2339" cap="flat">
                    <a:noFill/>
                    <a:prstDash val="solid"/>
                    <a:miter/>
                  </a:ln>
                </p:spPr>
                <p:txBody>
                  <a:bodyPr rtlCol="0" anchor="ctr"/>
                  <a:lstStyle/>
                  <a:p>
                    <a:endParaRPr lang="en-US" sz="2400"/>
                  </a:p>
                </p:txBody>
              </p:sp>
              <p:sp>
                <p:nvSpPr>
                  <p:cNvPr id="1047" name="Freeform: Shape 1046">
                    <a:extLst>
                      <a:ext uri="{FF2B5EF4-FFF2-40B4-BE49-F238E27FC236}">
                        <a16:creationId xmlns:a16="http://schemas.microsoft.com/office/drawing/2014/main" id="{1D11496A-795A-EAC2-A8AB-DB711030C42E}"/>
                      </a:ext>
                    </a:extLst>
                  </p:cNvPr>
                  <p:cNvSpPr/>
                  <p:nvPr userDrawn="1"/>
                </p:nvSpPr>
                <p:spPr>
                  <a:xfrm>
                    <a:off x="8484786" y="4545252"/>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23"/>
                          <a:pt x="0" y="9430"/>
                          <a:pt x="0" y="21060"/>
                        </a:cubicBezTo>
                        <a:close/>
                      </a:path>
                    </a:pathLst>
                  </a:custGeom>
                  <a:solidFill>
                    <a:srgbClr val="FDFDFE"/>
                  </a:solidFill>
                  <a:ln w="2339" cap="flat">
                    <a:noFill/>
                    <a:prstDash val="solid"/>
                    <a:miter/>
                  </a:ln>
                </p:spPr>
                <p:txBody>
                  <a:bodyPr rtlCol="0" anchor="ctr"/>
                  <a:lstStyle/>
                  <a:p>
                    <a:endParaRPr lang="en-US" sz="2400"/>
                  </a:p>
                </p:txBody>
              </p:sp>
              <p:sp>
                <p:nvSpPr>
                  <p:cNvPr id="1048" name="Freeform: Shape 1047">
                    <a:extLst>
                      <a:ext uri="{FF2B5EF4-FFF2-40B4-BE49-F238E27FC236}">
                        <a16:creationId xmlns:a16="http://schemas.microsoft.com/office/drawing/2014/main" id="{A5FFE439-5B80-48E1-F50E-353F929095FC}"/>
                      </a:ext>
                    </a:extLst>
                  </p:cNvPr>
                  <p:cNvSpPr/>
                  <p:nvPr userDrawn="1"/>
                </p:nvSpPr>
                <p:spPr>
                  <a:xfrm>
                    <a:off x="8484857" y="4545673"/>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DFDFE"/>
                  </a:solidFill>
                  <a:ln w="2339" cap="flat">
                    <a:noFill/>
                    <a:prstDash val="solid"/>
                    <a:miter/>
                  </a:ln>
                </p:spPr>
                <p:txBody>
                  <a:bodyPr rtlCol="0" anchor="ctr"/>
                  <a:lstStyle/>
                  <a:p>
                    <a:endParaRPr lang="en-US" sz="2400"/>
                  </a:p>
                </p:txBody>
              </p:sp>
              <p:sp>
                <p:nvSpPr>
                  <p:cNvPr id="1049" name="Freeform: Shape 1048">
                    <a:extLst>
                      <a:ext uri="{FF2B5EF4-FFF2-40B4-BE49-F238E27FC236}">
                        <a16:creationId xmlns:a16="http://schemas.microsoft.com/office/drawing/2014/main" id="{09D673C8-416C-AB94-EB6A-AA69DF31EAB7}"/>
                      </a:ext>
                    </a:extLst>
                  </p:cNvPr>
                  <p:cNvSpPr/>
                  <p:nvPr userDrawn="1"/>
                </p:nvSpPr>
                <p:spPr>
                  <a:xfrm>
                    <a:off x="8484927" y="4546071"/>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23"/>
                          <a:pt x="0" y="9430"/>
                          <a:pt x="0" y="21060"/>
                        </a:cubicBezTo>
                        <a:close/>
                      </a:path>
                    </a:pathLst>
                  </a:custGeom>
                  <a:solidFill>
                    <a:srgbClr val="FDFEFE"/>
                  </a:solidFill>
                  <a:ln w="2339" cap="flat">
                    <a:noFill/>
                    <a:prstDash val="solid"/>
                    <a:miter/>
                  </a:ln>
                </p:spPr>
                <p:txBody>
                  <a:bodyPr rtlCol="0" anchor="ctr"/>
                  <a:lstStyle/>
                  <a:p>
                    <a:endParaRPr lang="en-US" sz="2400"/>
                  </a:p>
                </p:txBody>
              </p:sp>
              <p:sp>
                <p:nvSpPr>
                  <p:cNvPr id="1050" name="Freeform: Shape 1049">
                    <a:extLst>
                      <a:ext uri="{FF2B5EF4-FFF2-40B4-BE49-F238E27FC236}">
                        <a16:creationId xmlns:a16="http://schemas.microsoft.com/office/drawing/2014/main" id="{BEA85A0B-430F-B3A1-7D8B-5A75B643F5E1}"/>
                      </a:ext>
                    </a:extLst>
                  </p:cNvPr>
                  <p:cNvSpPr/>
                  <p:nvPr userDrawn="1"/>
                </p:nvSpPr>
                <p:spPr>
                  <a:xfrm>
                    <a:off x="8484974" y="4546492"/>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EFEFE"/>
                  </a:solidFill>
                  <a:ln w="2339" cap="flat">
                    <a:noFill/>
                    <a:prstDash val="solid"/>
                    <a:miter/>
                  </a:ln>
                </p:spPr>
                <p:txBody>
                  <a:bodyPr rtlCol="0" anchor="ctr"/>
                  <a:lstStyle/>
                  <a:p>
                    <a:endParaRPr lang="en-US" sz="2400"/>
                  </a:p>
                </p:txBody>
              </p:sp>
              <p:sp>
                <p:nvSpPr>
                  <p:cNvPr id="1051" name="Freeform: Shape 1050">
                    <a:extLst>
                      <a:ext uri="{FF2B5EF4-FFF2-40B4-BE49-F238E27FC236}">
                        <a16:creationId xmlns:a16="http://schemas.microsoft.com/office/drawing/2014/main" id="{03338342-A788-407E-2F99-A7492328BFC3}"/>
                      </a:ext>
                    </a:extLst>
                  </p:cNvPr>
                  <p:cNvSpPr/>
                  <p:nvPr userDrawn="1"/>
                </p:nvSpPr>
                <p:spPr>
                  <a:xfrm>
                    <a:off x="8485020" y="4546890"/>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23"/>
                          <a:pt x="0" y="9430"/>
                          <a:pt x="0" y="21060"/>
                        </a:cubicBezTo>
                        <a:close/>
                      </a:path>
                    </a:pathLst>
                  </a:custGeom>
                  <a:solidFill>
                    <a:srgbClr val="FEFEFE"/>
                  </a:solidFill>
                  <a:ln w="2339" cap="flat">
                    <a:noFill/>
                    <a:prstDash val="solid"/>
                    <a:miter/>
                  </a:ln>
                </p:spPr>
                <p:txBody>
                  <a:bodyPr rtlCol="0" anchor="ctr"/>
                  <a:lstStyle/>
                  <a:p>
                    <a:endParaRPr lang="en-US" sz="2400"/>
                  </a:p>
                </p:txBody>
              </p:sp>
              <p:sp>
                <p:nvSpPr>
                  <p:cNvPr id="1052" name="Freeform: Shape 1051">
                    <a:extLst>
                      <a:ext uri="{FF2B5EF4-FFF2-40B4-BE49-F238E27FC236}">
                        <a16:creationId xmlns:a16="http://schemas.microsoft.com/office/drawing/2014/main" id="{1AB6A7FD-8D6E-44E0-8BD3-062C050FE93F}"/>
                      </a:ext>
                    </a:extLst>
                  </p:cNvPr>
                  <p:cNvSpPr/>
                  <p:nvPr userDrawn="1"/>
                </p:nvSpPr>
                <p:spPr>
                  <a:xfrm>
                    <a:off x="8485091" y="4547311"/>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EFEFF"/>
                  </a:solidFill>
                  <a:ln w="2339" cap="flat">
                    <a:noFill/>
                    <a:prstDash val="solid"/>
                    <a:miter/>
                  </a:ln>
                </p:spPr>
                <p:txBody>
                  <a:bodyPr rtlCol="0" anchor="ctr"/>
                  <a:lstStyle/>
                  <a:p>
                    <a:endParaRPr lang="en-US" sz="2400"/>
                  </a:p>
                </p:txBody>
              </p:sp>
              <p:sp>
                <p:nvSpPr>
                  <p:cNvPr id="1053" name="Freeform: Shape 1052">
                    <a:extLst>
                      <a:ext uri="{FF2B5EF4-FFF2-40B4-BE49-F238E27FC236}">
                        <a16:creationId xmlns:a16="http://schemas.microsoft.com/office/drawing/2014/main" id="{F4823B96-C72C-CB31-1521-E0959207DB35}"/>
                      </a:ext>
                    </a:extLst>
                  </p:cNvPr>
                  <p:cNvSpPr/>
                  <p:nvPr userDrawn="1"/>
                </p:nvSpPr>
                <p:spPr>
                  <a:xfrm>
                    <a:off x="8485114" y="4547709"/>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23"/>
                          <a:pt x="0" y="9430"/>
                          <a:pt x="0" y="21060"/>
                        </a:cubicBezTo>
                        <a:close/>
                      </a:path>
                    </a:pathLst>
                  </a:custGeom>
                  <a:solidFill>
                    <a:srgbClr val="FFFFFF"/>
                  </a:solidFill>
                  <a:ln w="2339" cap="flat">
                    <a:noFill/>
                    <a:prstDash val="solid"/>
                    <a:miter/>
                  </a:ln>
                </p:spPr>
                <p:txBody>
                  <a:bodyPr rtlCol="0" anchor="ctr"/>
                  <a:lstStyle/>
                  <a:p>
                    <a:endParaRPr lang="en-US" sz="2400"/>
                  </a:p>
                </p:txBody>
              </p:sp>
              <p:sp>
                <p:nvSpPr>
                  <p:cNvPr id="1054" name="Freeform: Shape 1053">
                    <a:extLst>
                      <a:ext uri="{FF2B5EF4-FFF2-40B4-BE49-F238E27FC236}">
                        <a16:creationId xmlns:a16="http://schemas.microsoft.com/office/drawing/2014/main" id="{D6CDB635-67AB-EE73-B5D4-19F456CD65BB}"/>
                      </a:ext>
                    </a:extLst>
                  </p:cNvPr>
                  <p:cNvSpPr/>
                  <p:nvPr userDrawn="1"/>
                </p:nvSpPr>
                <p:spPr>
                  <a:xfrm>
                    <a:off x="8485161" y="4548130"/>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FFFFF"/>
                  </a:solidFill>
                  <a:ln w="2339" cap="flat">
                    <a:noFill/>
                    <a:prstDash val="solid"/>
                    <a:miter/>
                  </a:ln>
                </p:spPr>
                <p:txBody>
                  <a:bodyPr rtlCol="0" anchor="ctr"/>
                  <a:lstStyle/>
                  <a:p>
                    <a:endParaRPr lang="en-US" sz="2400"/>
                  </a:p>
                </p:txBody>
              </p:sp>
            </p:grpSp>
          </p:grpSp>
          <p:grpSp>
            <p:nvGrpSpPr>
              <p:cNvPr id="1055" name="Graphic 4">
                <a:extLst>
                  <a:ext uri="{FF2B5EF4-FFF2-40B4-BE49-F238E27FC236}">
                    <a16:creationId xmlns:a16="http://schemas.microsoft.com/office/drawing/2014/main" id="{0F8243B3-D6DD-AC6A-FAD2-028A34A2E3EC}"/>
                  </a:ext>
                </a:extLst>
              </p:cNvPr>
              <p:cNvGrpSpPr/>
              <p:nvPr userDrawn="1"/>
            </p:nvGrpSpPr>
            <p:grpSpPr>
              <a:xfrm>
                <a:off x="8195243" y="4295826"/>
                <a:ext cx="331785" cy="331794"/>
                <a:chOff x="8195243" y="4295826"/>
                <a:chExt cx="331785" cy="331794"/>
              </a:xfrm>
              <a:solidFill>
                <a:srgbClr val="FFFFFF"/>
              </a:solidFill>
            </p:grpSpPr>
            <p:sp>
              <p:nvSpPr>
                <p:cNvPr id="1056" name="Freeform: Shape 1055">
                  <a:extLst>
                    <a:ext uri="{FF2B5EF4-FFF2-40B4-BE49-F238E27FC236}">
                      <a16:creationId xmlns:a16="http://schemas.microsoft.com/office/drawing/2014/main" id="{81AAC530-DF43-7E52-F528-7EC31E4BFDB1}"/>
                    </a:ext>
                  </a:extLst>
                </p:cNvPr>
                <p:cNvSpPr/>
                <p:nvPr userDrawn="1"/>
              </p:nvSpPr>
              <p:spPr>
                <a:xfrm>
                  <a:off x="8379509" y="4295826"/>
                  <a:ext cx="147519" cy="331794"/>
                </a:xfrm>
                <a:custGeom>
                  <a:avLst/>
                  <a:gdLst>
                    <a:gd name="connsiteX0" fmla="*/ 91612 w 147519"/>
                    <a:gd name="connsiteY0" fmla="*/ 331794 h 331794"/>
                    <a:gd name="connsiteX1" fmla="*/ 87844 w 147519"/>
                    <a:gd name="connsiteY1" fmla="*/ 331654 h 331794"/>
                    <a:gd name="connsiteX2" fmla="*/ 37932 w 147519"/>
                    <a:gd name="connsiteY2" fmla="*/ 301304 h 331794"/>
                    <a:gd name="connsiteX3" fmla="*/ 0 w 147519"/>
                    <a:gd name="connsiteY3" fmla="*/ 165957 h 331794"/>
                    <a:gd name="connsiteX4" fmla="*/ 37932 w 147519"/>
                    <a:gd name="connsiteY4" fmla="*/ 30541 h 331794"/>
                    <a:gd name="connsiteX5" fmla="*/ 87844 w 147519"/>
                    <a:gd name="connsiteY5" fmla="*/ 144 h 331794"/>
                    <a:gd name="connsiteX6" fmla="*/ 130292 w 147519"/>
                    <a:gd name="connsiteY6" fmla="*/ 17226 h 331794"/>
                    <a:gd name="connsiteX7" fmla="*/ 147327 w 147519"/>
                    <a:gd name="connsiteY7" fmla="*/ 60259 h 331794"/>
                    <a:gd name="connsiteX8" fmla="*/ 105909 w 147519"/>
                    <a:gd name="connsiteY8" fmla="*/ 56608 h 331794"/>
                    <a:gd name="connsiteX9" fmla="*/ 100878 w 147519"/>
                    <a:gd name="connsiteY9" fmla="*/ 46616 h 331794"/>
                    <a:gd name="connsiteX10" fmla="*/ 91003 w 147519"/>
                    <a:gd name="connsiteY10" fmla="*/ 41585 h 331794"/>
                    <a:gd name="connsiteX11" fmla="*/ 71113 w 147519"/>
                    <a:gd name="connsiteY11" fmla="*/ 55509 h 331794"/>
                    <a:gd name="connsiteX12" fmla="*/ 70575 w 147519"/>
                    <a:gd name="connsiteY12" fmla="*/ 56211 h 331794"/>
                    <a:gd name="connsiteX13" fmla="*/ 41559 w 147519"/>
                    <a:gd name="connsiteY13" fmla="*/ 165911 h 331794"/>
                    <a:gd name="connsiteX14" fmla="*/ 70575 w 147519"/>
                    <a:gd name="connsiteY14" fmla="*/ 275540 h 331794"/>
                    <a:gd name="connsiteX15" fmla="*/ 71113 w 147519"/>
                    <a:gd name="connsiteY15" fmla="*/ 276242 h 331794"/>
                    <a:gd name="connsiteX16" fmla="*/ 91050 w 147519"/>
                    <a:gd name="connsiteY16" fmla="*/ 290189 h 331794"/>
                    <a:gd name="connsiteX17" fmla="*/ 100878 w 147519"/>
                    <a:gd name="connsiteY17" fmla="*/ 285158 h 331794"/>
                    <a:gd name="connsiteX18" fmla="*/ 105886 w 147519"/>
                    <a:gd name="connsiteY18" fmla="*/ 275166 h 331794"/>
                    <a:gd name="connsiteX19" fmla="*/ 147281 w 147519"/>
                    <a:gd name="connsiteY19" fmla="*/ 271492 h 331794"/>
                    <a:gd name="connsiteX20" fmla="*/ 130245 w 147519"/>
                    <a:gd name="connsiteY20" fmla="*/ 314572 h 331794"/>
                    <a:gd name="connsiteX21" fmla="*/ 91612 w 147519"/>
                    <a:gd name="connsiteY21" fmla="*/ 331794 h 331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7519" h="331794">
                      <a:moveTo>
                        <a:pt x="91612" y="331794"/>
                      </a:moveTo>
                      <a:cubicBezTo>
                        <a:pt x="90301" y="331794"/>
                        <a:pt x="89038" y="331748"/>
                        <a:pt x="87844" y="331654"/>
                      </a:cubicBezTo>
                      <a:cubicBezTo>
                        <a:pt x="60443" y="329571"/>
                        <a:pt x="41231" y="305656"/>
                        <a:pt x="37932" y="301304"/>
                      </a:cubicBezTo>
                      <a:cubicBezTo>
                        <a:pt x="13900" y="271188"/>
                        <a:pt x="94" y="221884"/>
                        <a:pt x="0" y="165957"/>
                      </a:cubicBezTo>
                      <a:cubicBezTo>
                        <a:pt x="94" y="109961"/>
                        <a:pt x="13900" y="60657"/>
                        <a:pt x="37932" y="30541"/>
                      </a:cubicBezTo>
                      <a:cubicBezTo>
                        <a:pt x="41231" y="26141"/>
                        <a:pt x="60443" y="2250"/>
                        <a:pt x="87844" y="144"/>
                      </a:cubicBezTo>
                      <a:cubicBezTo>
                        <a:pt x="98585" y="-675"/>
                        <a:pt x="114684" y="1618"/>
                        <a:pt x="130292" y="17226"/>
                      </a:cubicBezTo>
                      <a:cubicBezTo>
                        <a:pt x="146111" y="33068"/>
                        <a:pt x="148287" y="49378"/>
                        <a:pt x="147327" y="60259"/>
                      </a:cubicBezTo>
                      <a:lnTo>
                        <a:pt x="105909" y="56608"/>
                      </a:lnTo>
                      <a:cubicBezTo>
                        <a:pt x="106026" y="55368"/>
                        <a:pt x="106307" y="52045"/>
                        <a:pt x="100878" y="46616"/>
                      </a:cubicBezTo>
                      <a:cubicBezTo>
                        <a:pt x="95496" y="41258"/>
                        <a:pt x="92220" y="41492"/>
                        <a:pt x="91003" y="41585"/>
                      </a:cubicBezTo>
                      <a:cubicBezTo>
                        <a:pt x="83305" y="42170"/>
                        <a:pt x="73594" y="52139"/>
                        <a:pt x="71113" y="55509"/>
                      </a:cubicBezTo>
                      <a:lnTo>
                        <a:pt x="70575" y="56211"/>
                      </a:lnTo>
                      <a:cubicBezTo>
                        <a:pt x="52744" y="78417"/>
                        <a:pt x="41629" y="120444"/>
                        <a:pt x="41559" y="165911"/>
                      </a:cubicBezTo>
                      <a:cubicBezTo>
                        <a:pt x="41629" y="211307"/>
                        <a:pt x="52744" y="253334"/>
                        <a:pt x="70575" y="275540"/>
                      </a:cubicBezTo>
                      <a:lnTo>
                        <a:pt x="71113" y="276242"/>
                      </a:lnTo>
                      <a:cubicBezTo>
                        <a:pt x="75091" y="281531"/>
                        <a:pt x="84264" y="289697"/>
                        <a:pt x="91050" y="290189"/>
                      </a:cubicBezTo>
                      <a:cubicBezTo>
                        <a:pt x="92267" y="290282"/>
                        <a:pt x="95520" y="290493"/>
                        <a:pt x="100878" y="285158"/>
                      </a:cubicBezTo>
                      <a:cubicBezTo>
                        <a:pt x="106307" y="279729"/>
                        <a:pt x="106003" y="276406"/>
                        <a:pt x="105886" y="275166"/>
                      </a:cubicBezTo>
                      <a:lnTo>
                        <a:pt x="147281" y="271492"/>
                      </a:lnTo>
                      <a:cubicBezTo>
                        <a:pt x="148240" y="282397"/>
                        <a:pt x="146087" y="298730"/>
                        <a:pt x="130245" y="314572"/>
                      </a:cubicBezTo>
                      <a:cubicBezTo>
                        <a:pt x="116416" y="328425"/>
                        <a:pt x="102165" y="331794"/>
                        <a:pt x="91612" y="331794"/>
                      </a:cubicBezTo>
                      <a:close/>
                    </a:path>
                  </a:pathLst>
                </a:custGeom>
                <a:solidFill>
                  <a:srgbClr val="FFFFFF"/>
                </a:solidFill>
                <a:ln w="2339" cap="flat">
                  <a:noFill/>
                  <a:prstDash val="solid"/>
                  <a:miter/>
                </a:ln>
              </p:spPr>
              <p:txBody>
                <a:bodyPr rtlCol="0" anchor="ctr"/>
                <a:lstStyle/>
                <a:p>
                  <a:endParaRPr lang="en-US" sz="2400"/>
                </a:p>
              </p:txBody>
            </p:sp>
            <p:sp>
              <p:nvSpPr>
                <p:cNvPr id="1057" name="Freeform: Shape 1056">
                  <a:extLst>
                    <a:ext uri="{FF2B5EF4-FFF2-40B4-BE49-F238E27FC236}">
                      <a16:creationId xmlns:a16="http://schemas.microsoft.com/office/drawing/2014/main" id="{6B70919E-EE87-8D5A-AAA1-8CAB98B8C6D8}"/>
                    </a:ext>
                  </a:extLst>
                </p:cNvPr>
                <p:cNvSpPr/>
                <p:nvPr userDrawn="1"/>
              </p:nvSpPr>
              <p:spPr>
                <a:xfrm>
                  <a:off x="8195243" y="4295849"/>
                  <a:ext cx="147551" cy="331770"/>
                </a:xfrm>
                <a:custGeom>
                  <a:avLst/>
                  <a:gdLst>
                    <a:gd name="connsiteX0" fmla="*/ 55893 w 147551"/>
                    <a:gd name="connsiteY0" fmla="*/ 331771 h 331770"/>
                    <a:gd name="connsiteX1" fmla="*/ 17235 w 147551"/>
                    <a:gd name="connsiteY1" fmla="*/ 314548 h 331770"/>
                    <a:gd name="connsiteX2" fmla="*/ 200 w 147551"/>
                    <a:gd name="connsiteY2" fmla="*/ 271445 h 331770"/>
                    <a:gd name="connsiteX3" fmla="*/ 41595 w 147551"/>
                    <a:gd name="connsiteY3" fmla="*/ 275143 h 331770"/>
                    <a:gd name="connsiteX4" fmla="*/ 46626 w 147551"/>
                    <a:gd name="connsiteY4" fmla="*/ 285158 h 331770"/>
                    <a:gd name="connsiteX5" fmla="*/ 56501 w 147551"/>
                    <a:gd name="connsiteY5" fmla="*/ 290189 h 331770"/>
                    <a:gd name="connsiteX6" fmla="*/ 76391 w 147551"/>
                    <a:gd name="connsiteY6" fmla="*/ 276266 h 331770"/>
                    <a:gd name="connsiteX7" fmla="*/ 76929 w 147551"/>
                    <a:gd name="connsiteY7" fmla="*/ 275564 h 331770"/>
                    <a:gd name="connsiteX8" fmla="*/ 105945 w 147551"/>
                    <a:gd name="connsiteY8" fmla="*/ 165887 h 331770"/>
                    <a:gd name="connsiteX9" fmla="*/ 76929 w 147551"/>
                    <a:gd name="connsiteY9" fmla="*/ 56257 h 331770"/>
                    <a:gd name="connsiteX10" fmla="*/ 76391 w 147551"/>
                    <a:gd name="connsiteY10" fmla="*/ 55555 h 331770"/>
                    <a:gd name="connsiteX11" fmla="*/ 56454 w 147551"/>
                    <a:gd name="connsiteY11" fmla="*/ 41609 h 331770"/>
                    <a:gd name="connsiteX12" fmla="*/ 46626 w 147551"/>
                    <a:gd name="connsiteY12" fmla="*/ 46640 h 331770"/>
                    <a:gd name="connsiteX13" fmla="*/ 41618 w 147551"/>
                    <a:gd name="connsiteY13" fmla="*/ 56632 h 331770"/>
                    <a:gd name="connsiteX14" fmla="*/ 223 w 147551"/>
                    <a:gd name="connsiteY14" fmla="*/ 60306 h 331770"/>
                    <a:gd name="connsiteX15" fmla="*/ 17259 w 147551"/>
                    <a:gd name="connsiteY15" fmla="*/ 17226 h 331770"/>
                    <a:gd name="connsiteX16" fmla="*/ 59707 w 147551"/>
                    <a:gd name="connsiteY16" fmla="*/ 144 h 331770"/>
                    <a:gd name="connsiteX17" fmla="*/ 109619 w 147551"/>
                    <a:gd name="connsiteY17" fmla="*/ 30517 h 331770"/>
                    <a:gd name="connsiteX18" fmla="*/ 147551 w 147551"/>
                    <a:gd name="connsiteY18" fmla="*/ 165864 h 331770"/>
                    <a:gd name="connsiteX19" fmla="*/ 109619 w 147551"/>
                    <a:gd name="connsiteY19" fmla="*/ 301281 h 331770"/>
                    <a:gd name="connsiteX20" fmla="*/ 59707 w 147551"/>
                    <a:gd name="connsiteY20" fmla="*/ 331654 h 331770"/>
                    <a:gd name="connsiteX21" fmla="*/ 55893 w 147551"/>
                    <a:gd name="connsiteY21" fmla="*/ 331771 h 331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7551" h="331770">
                      <a:moveTo>
                        <a:pt x="55893" y="331771"/>
                      </a:moveTo>
                      <a:cubicBezTo>
                        <a:pt x="45362" y="331771"/>
                        <a:pt x="31112" y="328425"/>
                        <a:pt x="17235" y="314548"/>
                      </a:cubicBezTo>
                      <a:cubicBezTo>
                        <a:pt x="1393" y="298683"/>
                        <a:pt x="-783" y="282350"/>
                        <a:pt x="200" y="271445"/>
                      </a:cubicBezTo>
                      <a:lnTo>
                        <a:pt x="41595" y="275143"/>
                      </a:lnTo>
                      <a:cubicBezTo>
                        <a:pt x="41478" y="276406"/>
                        <a:pt x="41197" y="279729"/>
                        <a:pt x="46626" y="285158"/>
                      </a:cubicBezTo>
                      <a:cubicBezTo>
                        <a:pt x="52008" y="290540"/>
                        <a:pt x="55284" y="290282"/>
                        <a:pt x="56501" y="290189"/>
                      </a:cubicBezTo>
                      <a:cubicBezTo>
                        <a:pt x="64200" y="289604"/>
                        <a:pt x="73911" y="279635"/>
                        <a:pt x="76391" y="276266"/>
                      </a:cubicBezTo>
                      <a:lnTo>
                        <a:pt x="76929" y="275564"/>
                      </a:lnTo>
                      <a:cubicBezTo>
                        <a:pt x="94760" y="253357"/>
                        <a:pt x="105875" y="211330"/>
                        <a:pt x="105945" y="165887"/>
                      </a:cubicBezTo>
                      <a:cubicBezTo>
                        <a:pt x="105875" y="120491"/>
                        <a:pt x="94760" y="78464"/>
                        <a:pt x="76929" y="56257"/>
                      </a:cubicBezTo>
                      <a:lnTo>
                        <a:pt x="76391" y="55555"/>
                      </a:lnTo>
                      <a:cubicBezTo>
                        <a:pt x="72413" y="50267"/>
                        <a:pt x="63240" y="42100"/>
                        <a:pt x="56454" y="41609"/>
                      </a:cubicBezTo>
                      <a:cubicBezTo>
                        <a:pt x="55214" y="41515"/>
                        <a:pt x="51985" y="41305"/>
                        <a:pt x="46626" y="46640"/>
                      </a:cubicBezTo>
                      <a:cubicBezTo>
                        <a:pt x="41197" y="52069"/>
                        <a:pt x="41501" y="55392"/>
                        <a:pt x="41618" y="56632"/>
                      </a:cubicBezTo>
                      <a:lnTo>
                        <a:pt x="223" y="60306"/>
                      </a:lnTo>
                      <a:cubicBezTo>
                        <a:pt x="-736" y="49401"/>
                        <a:pt x="1417" y="33068"/>
                        <a:pt x="17259" y="17226"/>
                      </a:cubicBezTo>
                      <a:cubicBezTo>
                        <a:pt x="32867" y="1618"/>
                        <a:pt x="48966" y="-675"/>
                        <a:pt x="59707" y="144"/>
                      </a:cubicBezTo>
                      <a:cubicBezTo>
                        <a:pt x="87108" y="2226"/>
                        <a:pt x="106320" y="26141"/>
                        <a:pt x="109619" y="30517"/>
                      </a:cubicBezTo>
                      <a:cubicBezTo>
                        <a:pt x="133651" y="60633"/>
                        <a:pt x="147457" y="109937"/>
                        <a:pt x="147551" y="165864"/>
                      </a:cubicBezTo>
                      <a:cubicBezTo>
                        <a:pt x="147457" y="221860"/>
                        <a:pt x="133651" y="271165"/>
                        <a:pt x="109619" y="301281"/>
                      </a:cubicBezTo>
                      <a:cubicBezTo>
                        <a:pt x="106320" y="305656"/>
                        <a:pt x="87085" y="329548"/>
                        <a:pt x="59707" y="331654"/>
                      </a:cubicBezTo>
                      <a:cubicBezTo>
                        <a:pt x="58490" y="331724"/>
                        <a:pt x="57226" y="331771"/>
                        <a:pt x="55893" y="331771"/>
                      </a:cubicBezTo>
                      <a:close/>
                    </a:path>
                  </a:pathLst>
                </a:custGeom>
                <a:solidFill>
                  <a:srgbClr val="FFFFFF"/>
                </a:solidFill>
                <a:ln w="2339" cap="flat">
                  <a:noFill/>
                  <a:prstDash val="solid"/>
                  <a:miter/>
                </a:ln>
              </p:spPr>
              <p:txBody>
                <a:bodyPr rtlCol="0" anchor="ctr"/>
                <a:lstStyle/>
                <a:p>
                  <a:endParaRPr lang="en-US" sz="2400"/>
                </a:p>
              </p:txBody>
            </p:sp>
          </p:grpSp>
        </p:grpSp>
      </p:grpSp>
      <p:sp>
        <p:nvSpPr>
          <p:cNvPr id="7" name="Title 1"/>
          <p:cNvSpPr>
            <a:spLocks noGrp="1"/>
          </p:cNvSpPr>
          <p:nvPr>
            <p:ph type="title" hasCustomPrompt="1"/>
          </p:nvPr>
        </p:nvSpPr>
        <p:spPr>
          <a:xfrm>
            <a:off x="613833" y="505885"/>
            <a:ext cx="5928077" cy="2923116"/>
          </a:xfrm>
          <a:prstGeom prst="rect">
            <a:avLst/>
          </a:prstGeom>
        </p:spPr>
        <p:txBody>
          <a:bodyPr anchor="b">
            <a:noAutofit/>
          </a:bodyPr>
          <a:lstStyle>
            <a:lvl1pPr>
              <a:defRPr sz="5600" b="0">
                <a:solidFill>
                  <a:srgbClr val="FFFFFF"/>
                </a:solidFill>
                <a:latin typeface="Proximus ExtraBold" panose="00000900000000000000" pitchFamily="2" charset="0"/>
              </a:defRPr>
            </a:lvl1pPr>
          </a:lstStyle>
          <a:p>
            <a:r>
              <a:rPr lang="en-US"/>
              <a:t>Click to edit </a:t>
            </a:r>
            <a:br>
              <a:rPr lang="en-US"/>
            </a:br>
            <a:r>
              <a:rPr lang="en-US"/>
              <a:t>presentation title</a:t>
            </a:r>
            <a:endParaRPr lang="nl-BE"/>
          </a:p>
        </p:txBody>
      </p:sp>
      <p:sp>
        <p:nvSpPr>
          <p:cNvPr id="6" name="Subtitle 2">
            <a:extLst>
              <a:ext uri="{FF2B5EF4-FFF2-40B4-BE49-F238E27FC236}">
                <a16:creationId xmlns:a16="http://schemas.microsoft.com/office/drawing/2014/main" id="{56176E85-8408-4B89-A7FD-D33D192C3CE4}"/>
              </a:ext>
            </a:extLst>
          </p:cNvPr>
          <p:cNvSpPr>
            <a:spLocks noGrp="1"/>
          </p:cNvSpPr>
          <p:nvPr>
            <p:ph type="subTitle" idx="1" hasCustomPrompt="1"/>
          </p:nvPr>
        </p:nvSpPr>
        <p:spPr>
          <a:xfrm>
            <a:off x="613834" y="3801466"/>
            <a:ext cx="5482167" cy="1335741"/>
          </a:xfrm>
          <a:prstGeom prst="rect">
            <a:avLst/>
          </a:prstGeom>
        </p:spPr>
        <p:txBody>
          <a:bodyPr/>
          <a:lstStyle>
            <a:lvl1pPr marL="0" indent="0" algn="l">
              <a:lnSpc>
                <a:spcPct val="100000"/>
              </a:lnSpc>
              <a:buNone/>
              <a:defRPr sz="3467">
                <a:solidFill>
                  <a:schemeClr val="tx1"/>
                </a:solidFill>
                <a:latin typeface="Proximus Light" panose="00000500000000000000" pitchFamily="2"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Subtitle</a:t>
            </a:r>
            <a:endParaRPr lang="nl-BE"/>
          </a:p>
        </p:txBody>
      </p:sp>
      <p:sp>
        <p:nvSpPr>
          <p:cNvPr id="1075" name="Picture Placeholder 1074">
            <a:extLst>
              <a:ext uri="{FF2B5EF4-FFF2-40B4-BE49-F238E27FC236}">
                <a16:creationId xmlns:a16="http://schemas.microsoft.com/office/drawing/2014/main" id="{E51534D9-BBA2-4B82-27F2-0EDD9723BC0B}"/>
              </a:ext>
            </a:extLst>
          </p:cNvPr>
          <p:cNvSpPr>
            <a:spLocks noGrp="1"/>
          </p:cNvSpPr>
          <p:nvPr>
            <p:ph type="pic" sz="quarter" idx="10"/>
          </p:nvPr>
        </p:nvSpPr>
        <p:spPr>
          <a:xfrm>
            <a:off x="5763684" y="4"/>
            <a:ext cx="6426200" cy="6857999"/>
          </a:xfrm>
          <a:custGeom>
            <a:avLst/>
            <a:gdLst>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031541 w 4819650"/>
              <a:gd name="connsiteY21" fmla="*/ 4713284 h 5143499"/>
              <a:gd name="connsiteX22" fmla="*/ 4031541 w 4819650"/>
              <a:gd name="connsiteY22" fmla="*/ 4799826 h 5143499"/>
              <a:gd name="connsiteX23" fmla="*/ 4052312 w 4819650"/>
              <a:gd name="connsiteY23" fmla="*/ 4799826 h 5143499"/>
              <a:gd name="connsiteX24" fmla="*/ 4052312 w 4819650"/>
              <a:gd name="connsiteY24" fmla="*/ 4713284 h 5143499"/>
              <a:gd name="connsiteX25" fmla="*/ 3936473 w 4819650"/>
              <a:gd name="connsiteY25" fmla="*/ 4713284 h 5143499"/>
              <a:gd name="connsiteX26" fmla="*/ 3966836 w 4819650"/>
              <a:gd name="connsiteY26" fmla="*/ 4756247 h 5143499"/>
              <a:gd name="connsiteX27" fmla="*/ 3936473 w 4819650"/>
              <a:gd name="connsiteY27" fmla="*/ 4799850 h 5143499"/>
              <a:gd name="connsiteX28" fmla="*/ 3959447 w 4819650"/>
              <a:gd name="connsiteY28" fmla="*/ 4799850 h 5143499"/>
              <a:gd name="connsiteX29" fmla="*/ 3978181 w 4819650"/>
              <a:gd name="connsiteY29" fmla="*/ 4771689 h 5143499"/>
              <a:gd name="connsiteX30" fmla="*/ 3996915 w 4819650"/>
              <a:gd name="connsiteY30" fmla="*/ 4799850 h 5143499"/>
              <a:gd name="connsiteX31" fmla="*/ 4019889 w 4819650"/>
              <a:gd name="connsiteY31" fmla="*/ 4799850 h 5143499"/>
              <a:gd name="connsiteX32" fmla="*/ 3989668 w 4819650"/>
              <a:gd name="connsiteY32" fmla="*/ 4756247 h 5143499"/>
              <a:gd name="connsiteX33" fmla="*/ 4019889 w 4819650"/>
              <a:gd name="connsiteY33" fmla="*/ 4713284 h 5143499"/>
              <a:gd name="connsiteX34" fmla="*/ 3996749 w 4819650"/>
              <a:gd name="connsiteY34" fmla="*/ 4713284 h 5143499"/>
              <a:gd name="connsiteX35" fmla="*/ 3978181 w 4819650"/>
              <a:gd name="connsiteY35" fmla="*/ 4741137 h 5143499"/>
              <a:gd name="connsiteX36" fmla="*/ 3959612 w 4819650"/>
              <a:gd name="connsiteY36" fmla="*/ 4713284 h 5143499"/>
              <a:gd name="connsiteX37" fmla="*/ 4336238 w 4819650"/>
              <a:gd name="connsiteY37" fmla="*/ 4711721 h 5143499"/>
              <a:gd name="connsiteX38" fmla="*/ 4304596 w 4819650"/>
              <a:gd name="connsiteY38" fmla="*/ 4737063 h 5143499"/>
              <a:gd name="connsiteX39" fmla="*/ 4330080 w 4819650"/>
              <a:gd name="connsiteY39" fmla="*/ 4761932 h 5143499"/>
              <a:gd name="connsiteX40" fmla="*/ 4336073 w 4819650"/>
              <a:gd name="connsiteY40" fmla="*/ 4764134 h 5143499"/>
              <a:gd name="connsiteX41" fmla="*/ 4351657 w 4819650"/>
              <a:gd name="connsiteY41" fmla="*/ 4774982 h 5143499"/>
              <a:gd name="connsiteX42" fmla="*/ 4337186 w 4819650"/>
              <a:gd name="connsiteY42" fmla="*/ 4782845 h 5143499"/>
              <a:gd name="connsiteX43" fmla="*/ 4308220 w 4819650"/>
              <a:gd name="connsiteY43" fmla="*/ 4775763 h 5143499"/>
              <a:gd name="connsiteX44" fmla="*/ 4303341 w 4819650"/>
              <a:gd name="connsiteY44" fmla="*/ 4793858 h 5143499"/>
              <a:gd name="connsiteX45" fmla="*/ 4338109 w 4819650"/>
              <a:gd name="connsiteY45" fmla="*/ 4801413 h 5143499"/>
              <a:gd name="connsiteX46" fmla="*/ 4372404 w 4819650"/>
              <a:gd name="connsiteY46" fmla="*/ 4774342 h 5143499"/>
              <a:gd name="connsiteX47" fmla="*/ 4372452 w 4819650"/>
              <a:gd name="connsiteY47" fmla="*/ 4774366 h 5143499"/>
              <a:gd name="connsiteX48" fmla="*/ 4345688 w 4819650"/>
              <a:gd name="connsiteY48" fmla="*/ 4747768 h 5143499"/>
              <a:gd name="connsiteX49" fmla="*/ 4339388 w 4819650"/>
              <a:gd name="connsiteY49" fmla="*/ 4745400 h 5143499"/>
              <a:gd name="connsiteX50" fmla="*/ 4325391 w 4819650"/>
              <a:gd name="connsiteY50" fmla="*/ 4736116 h 5143499"/>
              <a:gd name="connsiteX51" fmla="*/ 4336096 w 4819650"/>
              <a:gd name="connsiteY51" fmla="*/ 4730124 h 5143499"/>
              <a:gd name="connsiteX52" fmla="*/ 4363783 w 4819650"/>
              <a:gd name="connsiteY52" fmla="*/ 4734221 h 5143499"/>
              <a:gd name="connsiteX53" fmla="*/ 4367715 w 4819650"/>
              <a:gd name="connsiteY53" fmla="*/ 4716434 h 5143499"/>
              <a:gd name="connsiteX54" fmla="*/ 4336238 w 4819650"/>
              <a:gd name="connsiteY54" fmla="*/ 4711721 h 5143499"/>
              <a:gd name="connsiteX55" fmla="*/ 4107093 w 4819650"/>
              <a:gd name="connsiteY55" fmla="*/ 4711721 h 5143499"/>
              <a:gd name="connsiteX56" fmla="*/ 4070430 w 4819650"/>
              <a:gd name="connsiteY56" fmla="*/ 4744760 h 5143499"/>
              <a:gd name="connsiteX57" fmla="*/ 4070430 w 4819650"/>
              <a:gd name="connsiteY57" fmla="*/ 4799850 h 5143499"/>
              <a:gd name="connsiteX58" fmla="*/ 4091201 w 4819650"/>
              <a:gd name="connsiteY58" fmla="*/ 4799850 h 5143499"/>
              <a:gd name="connsiteX59" fmla="*/ 4091201 w 4819650"/>
              <a:gd name="connsiteY59" fmla="*/ 4746182 h 5143499"/>
              <a:gd name="connsiteX60" fmla="*/ 4106927 w 4819650"/>
              <a:gd name="connsiteY60" fmla="*/ 4731379 h 5143499"/>
              <a:gd name="connsiteX61" fmla="*/ 4122985 w 4819650"/>
              <a:gd name="connsiteY61" fmla="*/ 4746182 h 5143499"/>
              <a:gd name="connsiteX62" fmla="*/ 4122985 w 4819650"/>
              <a:gd name="connsiteY62" fmla="*/ 4799850 h 5143499"/>
              <a:gd name="connsiteX63" fmla="*/ 4143591 w 4819650"/>
              <a:gd name="connsiteY63" fmla="*/ 4799850 h 5143499"/>
              <a:gd name="connsiteX64" fmla="*/ 4143591 w 4819650"/>
              <a:gd name="connsiteY64" fmla="*/ 4746182 h 5143499"/>
              <a:gd name="connsiteX65" fmla="*/ 4159648 w 4819650"/>
              <a:gd name="connsiteY65" fmla="*/ 4731379 h 5143499"/>
              <a:gd name="connsiteX66" fmla="*/ 4175375 w 4819650"/>
              <a:gd name="connsiteY66" fmla="*/ 4746182 h 5143499"/>
              <a:gd name="connsiteX67" fmla="*/ 4175375 w 4819650"/>
              <a:gd name="connsiteY67" fmla="*/ 4799850 h 5143499"/>
              <a:gd name="connsiteX68" fmla="*/ 4196146 w 4819650"/>
              <a:gd name="connsiteY68" fmla="*/ 4799850 h 5143499"/>
              <a:gd name="connsiteX69" fmla="*/ 4196146 w 4819650"/>
              <a:gd name="connsiteY69" fmla="*/ 4744760 h 5143499"/>
              <a:gd name="connsiteX70" fmla="*/ 4159648 w 4819650"/>
              <a:gd name="connsiteY70" fmla="*/ 4711721 h 5143499"/>
              <a:gd name="connsiteX71" fmla="*/ 4133525 w 4819650"/>
              <a:gd name="connsiteY71" fmla="*/ 4722426 h 5143499"/>
              <a:gd name="connsiteX72" fmla="*/ 4107093 w 4819650"/>
              <a:gd name="connsiteY72" fmla="*/ 4711721 h 5143499"/>
              <a:gd name="connsiteX73" fmla="*/ 3892112 w 4819650"/>
              <a:gd name="connsiteY73" fmla="*/ 4711721 h 5143499"/>
              <a:gd name="connsiteX74" fmla="*/ 3849930 w 4819650"/>
              <a:gd name="connsiteY74" fmla="*/ 4756413 h 5143499"/>
              <a:gd name="connsiteX75" fmla="*/ 3892112 w 4819650"/>
              <a:gd name="connsiteY75" fmla="*/ 4801413 h 5143499"/>
              <a:gd name="connsiteX76" fmla="*/ 3934293 w 4819650"/>
              <a:gd name="connsiteY76" fmla="*/ 4756413 h 5143499"/>
              <a:gd name="connsiteX77" fmla="*/ 3892112 w 4819650"/>
              <a:gd name="connsiteY77" fmla="*/ 4711721 h 5143499"/>
              <a:gd name="connsiteX78" fmla="*/ 3837662 w 4819650"/>
              <a:gd name="connsiteY78" fmla="*/ 4711697 h 5143499"/>
              <a:gd name="connsiteX79" fmla="*/ 3799412 w 4819650"/>
              <a:gd name="connsiteY79" fmla="*/ 4749000 h 5143499"/>
              <a:gd name="connsiteX80" fmla="*/ 3799412 w 4819650"/>
              <a:gd name="connsiteY80" fmla="*/ 4799826 h 5143499"/>
              <a:gd name="connsiteX81" fmla="*/ 3820183 w 4819650"/>
              <a:gd name="connsiteY81" fmla="*/ 4799826 h 5143499"/>
              <a:gd name="connsiteX82" fmla="*/ 3820183 w 4819650"/>
              <a:gd name="connsiteY82" fmla="*/ 4750563 h 5143499"/>
              <a:gd name="connsiteX83" fmla="*/ 3837662 w 4819650"/>
              <a:gd name="connsiteY83" fmla="*/ 4731994 h 5143499"/>
              <a:gd name="connsiteX84" fmla="*/ 3842707 w 4819650"/>
              <a:gd name="connsiteY84" fmla="*/ 4732302 h 5143499"/>
              <a:gd name="connsiteX85" fmla="*/ 3846165 w 4819650"/>
              <a:gd name="connsiteY85" fmla="*/ 4712479 h 5143499"/>
              <a:gd name="connsiteX86" fmla="*/ 3837662 w 4819650"/>
              <a:gd name="connsiteY86" fmla="*/ 4711697 h 5143499"/>
              <a:gd name="connsiteX87" fmla="*/ 3742286 w 4819650"/>
              <a:gd name="connsiteY87" fmla="*/ 4711697 h 5143499"/>
              <a:gd name="connsiteX88" fmla="*/ 3701052 w 4819650"/>
              <a:gd name="connsiteY88" fmla="*/ 4755915 h 5143499"/>
              <a:gd name="connsiteX89" fmla="*/ 3701052 w 4819650"/>
              <a:gd name="connsiteY89" fmla="*/ 4834452 h 5143499"/>
              <a:gd name="connsiteX90" fmla="*/ 3721823 w 4819650"/>
              <a:gd name="connsiteY90" fmla="*/ 4834452 h 5143499"/>
              <a:gd name="connsiteX91" fmla="*/ 3721823 w 4819650"/>
              <a:gd name="connsiteY91" fmla="*/ 4795586 h 5143499"/>
              <a:gd name="connsiteX92" fmla="*/ 3742286 w 4819650"/>
              <a:gd name="connsiteY92" fmla="*/ 4801413 h 5143499"/>
              <a:gd name="connsiteX93" fmla="*/ 3783828 w 4819650"/>
              <a:gd name="connsiteY93" fmla="*/ 4756413 h 5143499"/>
              <a:gd name="connsiteX94" fmla="*/ 3783828 w 4819650"/>
              <a:gd name="connsiteY94" fmla="*/ 4756389 h 5143499"/>
              <a:gd name="connsiteX95" fmla="*/ 3742286 w 4819650"/>
              <a:gd name="connsiteY95" fmla="*/ 4711697 h 5143499"/>
              <a:gd name="connsiteX96" fmla="*/ 3966385 w 4819650"/>
              <a:gd name="connsiteY96" fmla="*/ 4531816 h 5143499"/>
              <a:gd name="connsiteX97" fmla="*/ 3946680 w 4819650"/>
              <a:gd name="connsiteY97" fmla="*/ 4572481 h 5143499"/>
              <a:gd name="connsiteX98" fmla="*/ 3946656 w 4819650"/>
              <a:gd name="connsiteY98" fmla="*/ 4572458 h 5143499"/>
              <a:gd name="connsiteX99" fmla="*/ 3946112 w 4819650"/>
              <a:gd name="connsiteY99" fmla="*/ 4573168 h 5143499"/>
              <a:gd name="connsiteX100" fmla="*/ 3925933 w 4819650"/>
              <a:gd name="connsiteY100" fmla="*/ 4587284 h 5143499"/>
              <a:gd name="connsiteX101" fmla="*/ 3915985 w 4819650"/>
              <a:gd name="connsiteY101" fmla="*/ 4582192 h 5143499"/>
              <a:gd name="connsiteX102" fmla="*/ 3910893 w 4819650"/>
              <a:gd name="connsiteY102" fmla="*/ 4572244 h 5143499"/>
              <a:gd name="connsiteX103" fmla="*/ 3925009 w 4819650"/>
              <a:gd name="connsiteY103" fmla="*/ 4552066 h 5143499"/>
              <a:gd name="connsiteX104" fmla="*/ 3925720 w 4819650"/>
              <a:gd name="connsiteY104" fmla="*/ 4551521 h 5143499"/>
              <a:gd name="connsiteX105" fmla="*/ 3966385 w 4819650"/>
              <a:gd name="connsiteY105" fmla="*/ 4531816 h 5143499"/>
              <a:gd name="connsiteX106" fmla="*/ 4107045 w 4819650"/>
              <a:gd name="connsiteY106" fmla="*/ 4531815 h 5143499"/>
              <a:gd name="connsiteX107" fmla="*/ 4147664 w 4819650"/>
              <a:gd name="connsiteY107" fmla="*/ 4551497 h 5143499"/>
              <a:gd name="connsiteX108" fmla="*/ 4148375 w 4819650"/>
              <a:gd name="connsiteY108" fmla="*/ 4552042 h 5143499"/>
              <a:gd name="connsiteX109" fmla="*/ 4162491 w 4819650"/>
              <a:gd name="connsiteY109" fmla="*/ 4572221 h 5143499"/>
              <a:gd name="connsiteX110" fmla="*/ 4157398 w 4819650"/>
              <a:gd name="connsiteY110" fmla="*/ 4582168 h 5143499"/>
              <a:gd name="connsiteX111" fmla="*/ 4147451 w 4819650"/>
              <a:gd name="connsiteY111" fmla="*/ 4587260 h 5143499"/>
              <a:gd name="connsiteX112" fmla="*/ 4127272 w 4819650"/>
              <a:gd name="connsiteY112" fmla="*/ 4573145 h 5143499"/>
              <a:gd name="connsiteX113" fmla="*/ 4126727 w 4819650"/>
              <a:gd name="connsiteY113" fmla="*/ 4572434 h 5143499"/>
              <a:gd name="connsiteX114" fmla="*/ 4107022 w 4819650"/>
              <a:gd name="connsiteY114" fmla="*/ 4531768 h 5143499"/>
              <a:gd name="connsiteX115" fmla="*/ 4107045 w 4819650"/>
              <a:gd name="connsiteY115" fmla="*/ 4531815 h 5143499"/>
              <a:gd name="connsiteX116" fmla="*/ 4106998 w 4819650"/>
              <a:gd name="connsiteY116" fmla="*/ 4531792 h 5143499"/>
              <a:gd name="connsiteX117" fmla="*/ 4017496 w 4819650"/>
              <a:gd name="connsiteY117" fmla="*/ 4442289 h 5143499"/>
              <a:gd name="connsiteX118" fmla="*/ 4036704 w 4819650"/>
              <a:gd name="connsiteY118" fmla="*/ 4442881 h 5143499"/>
              <a:gd name="connsiteX119" fmla="*/ 4055864 w 4819650"/>
              <a:gd name="connsiteY119" fmla="*/ 4442289 h 5143499"/>
              <a:gd name="connsiteX120" fmla="*/ 4055272 w 4819650"/>
              <a:gd name="connsiteY120" fmla="*/ 4461497 h 5143499"/>
              <a:gd name="connsiteX121" fmla="*/ 4055864 w 4819650"/>
              <a:gd name="connsiteY121" fmla="*/ 4480658 h 5143499"/>
              <a:gd name="connsiteX122" fmla="*/ 4036656 w 4819650"/>
              <a:gd name="connsiteY122" fmla="*/ 4480066 h 5143499"/>
              <a:gd name="connsiteX123" fmla="*/ 4017496 w 4819650"/>
              <a:gd name="connsiteY123" fmla="*/ 4480658 h 5143499"/>
              <a:gd name="connsiteX124" fmla="*/ 4018088 w 4819650"/>
              <a:gd name="connsiteY124" fmla="*/ 4461450 h 5143499"/>
              <a:gd name="connsiteX125" fmla="*/ 4017496 w 4819650"/>
              <a:gd name="connsiteY125" fmla="*/ 4442289 h 5143499"/>
              <a:gd name="connsiteX126" fmla="*/ 3966316 w 4819650"/>
              <a:gd name="connsiteY126" fmla="*/ 4391133 h 5143499"/>
              <a:gd name="connsiteX127" fmla="*/ 3966362 w 4819650"/>
              <a:gd name="connsiteY127" fmla="*/ 4391155 h 5143499"/>
              <a:gd name="connsiteX128" fmla="*/ 3966338 w 4819650"/>
              <a:gd name="connsiteY128" fmla="*/ 4391179 h 5143499"/>
              <a:gd name="connsiteX129" fmla="*/ 3925909 w 4819650"/>
              <a:gd name="connsiteY129" fmla="*/ 4335687 h 5143499"/>
              <a:gd name="connsiteX130" fmla="*/ 3946088 w 4819650"/>
              <a:gd name="connsiteY130" fmla="*/ 4349802 h 5143499"/>
              <a:gd name="connsiteX131" fmla="*/ 3946633 w 4819650"/>
              <a:gd name="connsiteY131" fmla="*/ 4350513 h 5143499"/>
              <a:gd name="connsiteX132" fmla="*/ 3966316 w 4819650"/>
              <a:gd name="connsiteY132" fmla="*/ 4391133 h 5143499"/>
              <a:gd name="connsiteX133" fmla="*/ 3925696 w 4819650"/>
              <a:gd name="connsiteY133" fmla="*/ 4371450 h 5143499"/>
              <a:gd name="connsiteX134" fmla="*/ 3924985 w 4819650"/>
              <a:gd name="connsiteY134" fmla="*/ 4370905 h 5143499"/>
              <a:gd name="connsiteX135" fmla="*/ 3910870 w 4819650"/>
              <a:gd name="connsiteY135" fmla="*/ 4350726 h 5143499"/>
              <a:gd name="connsiteX136" fmla="*/ 3915962 w 4819650"/>
              <a:gd name="connsiteY136" fmla="*/ 4340779 h 5143499"/>
              <a:gd name="connsiteX137" fmla="*/ 3925909 w 4819650"/>
              <a:gd name="connsiteY137" fmla="*/ 4335687 h 5143499"/>
              <a:gd name="connsiteX138" fmla="*/ 4147427 w 4819650"/>
              <a:gd name="connsiteY138" fmla="*/ 4335639 h 5143499"/>
              <a:gd name="connsiteX139" fmla="*/ 4157375 w 4819650"/>
              <a:gd name="connsiteY139" fmla="*/ 4340731 h 5143499"/>
              <a:gd name="connsiteX140" fmla="*/ 4162467 w 4819650"/>
              <a:gd name="connsiteY140" fmla="*/ 4350679 h 5143499"/>
              <a:gd name="connsiteX141" fmla="*/ 4148351 w 4819650"/>
              <a:gd name="connsiteY141" fmla="*/ 4370858 h 5143499"/>
              <a:gd name="connsiteX142" fmla="*/ 4147641 w 4819650"/>
              <a:gd name="connsiteY142" fmla="*/ 4371402 h 5143499"/>
              <a:gd name="connsiteX143" fmla="*/ 4106975 w 4819650"/>
              <a:gd name="connsiteY143" fmla="*/ 4391108 h 5143499"/>
              <a:gd name="connsiteX144" fmla="*/ 4126680 w 4819650"/>
              <a:gd name="connsiteY144" fmla="*/ 4350442 h 5143499"/>
              <a:gd name="connsiteX145" fmla="*/ 4126704 w 4819650"/>
              <a:gd name="connsiteY145" fmla="*/ 4350466 h 5143499"/>
              <a:gd name="connsiteX146" fmla="*/ 4127248 w 4819650"/>
              <a:gd name="connsiteY146" fmla="*/ 4349755 h 5143499"/>
              <a:gd name="connsiteX147" fmla="*/ 4147427 w 4819650"/>
              <a:gd name="connsiteY147" fmla="*/ 4335639 h 5143499"/>
              <a:gd name="connsiteX148" fmla="*/ 3929201 w 4819650"/>
              <a:gd name="connsiteY148" fmla="*/ 4293694 h 5143499"/>
              <a:gd name="connsiteX149" fmla="*/ 3886238 w 4819650"/>
              <a:gd name="connsiteY149" fmla="*/ 4310984 h 5143499"/>
              <a:gd name="connsiteX150" fmla="*/ 3868948 w 4819650"/>
              <a:gd name="connsiteY150" fmla="*/ 4353947 h 5143499"/>
              <a:gd name="connsiteX151" fmla="*/ 3899691 w 4819650"/>
              <a:gd name="connsiteY151" fmla="*/ 4404466 h 5143499"/>
              <a:gd name="connsiteX152" fmla="*/ 3974912 w 4819650"/>
              <a:gd name="connsiteY152" fmla="*/ 4436723 h 5143499"/>
              <a:gd name="connsiteX153" fmla="*/ 3976048 w 4819650"/>
              <a:gd name="connsiteY153" fmla="*/ 4461473 h 5143499"/>
              <a:gd name="connsiteX154" fmla="*/ 3974912 w 4819650"/>
              <a:gd name="connsiteY154" fmla="*/ 4486152 h 5143499"/>
              <a:gd name="connsiteX155" fmla="*/ 3899691 w 4819650"/>
              <a:gd name="connsiteY155" fmla="*/ 4518410 h 5143499"/>
              <a:gd name="connsiteX156" fmla="*/ 3868948 w 4819650"/>
              <a:gd name="connsiteY156" fmla="*/ 4568929 h 5143499"/>
              <a:gd name="connsiteX157" fmla="*/ 3886238 w 4819650"/>
              <a:gd name="connsiteY157" fmla="*/ 4611892 h 5143499"/>
              <a:gd name="connsiteX158" fmla="*/ 3929201 w 4819650"/>
              <a:gd name="connsiteY158" fmla="*/ 4629181 h 5143499"/>
              <a:gd name="connsiteX159" fmla="*/ 3979720 w 4819650"/>
              <a:gd name="connsiteY159" fmla="*/ 4598439 h 5143499"/>
              <a:gd name="connsiteX160" fmla="*/ 4011977 w 4819650"/>
              <a:gd name="connsiteY160" fmla="*/ 4523218 h 5143499"/>
              <a:gd name="connsiteX161" fmla="*/ 4036656 w 4819650"/>
              <a:gd name="connsiteY161" fmla="*/ 4522081 h 5143499"/>
              <a:gd name="connsiteX162" fmla="*/ 4061406 w 4819650"/>
              <a:gd name="connsiteY162" fmla="*/ 4523218 h 5143499"/>
              <a:gd name="connsiteX163" fmla="*/ 4093664 w 4819650"/>
              <a:gd name="connsiteY163" fmla="*/ 4598439 h 5143499"/>
              <a:gd name="connsiteX164" fmla="*/ 4144183 w 4819650"/>
              <a:gd name="connsiteY164" fmla="*/ 4629181 h 5143499"/>
              <a:gd name="connsiteX165" fmla="*/ 4187146 w 4819650"/>
              <a:gd name="connsiteY165" fmla="*/ 4611892 h 5143499"/>
              <a:gd name="connsiteX166" fmla="*/ 4204435 w 4819650"/>
              <a:gd name="connsiteY166" fmla="*/ 4568929 h 5143499"/>
              <a:gd name="connsiteX167" fmla="*/ 4173693 w 4819650"/>
              <a:gd name="connsiteY167" fmla="*/ 4518410 h 5143499"/>
              <a:gd name="connsiteX168" fmla="*/ 4098472 w 4819650"/>
              <a:gd name="connsiteY168" fmla="*/ 4486152 h 5143499"/>
              <a:gd name="connsiteX169" fmla="*/ 4097335 w 4819650"/>
              <a:gd name="connsiteY169" fmla="*/ 4461402 h 5143499"/>
              <a:gd name="connsiteX170" fmla="*/ 4098472 w 4819650"/>
              <a:gd name="connsiteY170" fmla="*/ 4436723 h 5143499"/>
              <a:gd name="connsiteX171" fmla="*/ 4173693 w 4819650"/>
              <a:gd name="connsiteY171" fmla="*/ 4404466 h 5143499"/>
              <a:gd name="connsiteX172" fmla="*/ 4204435 w 4819650"/>
              <a:gd name="connsiteY172" fmla="*/ 4353947 h 5143499"/>
              <a:gd name="connsiteX173" fmla="*/ 4187146 w 4819650"/>
              <a:gd name="connsiteY173" fmla="*/ 4310984 h 5143499"/>
              <a:gd name="connsiteX174" fmla="*/ 4144183 w 4819650"/>
              <a:gd name="connsiteY174" fmla="*/ 4293694 h 5143499"/>
              <a:gd name="connsiteX175" fmla="*/ 4093664 w 4819650"/>
              <a:gd name="connsiteY175" fmla="*/ 4324437 h 5143499"/>
              <a:gd name="connsiteX176" fmla="*/ 4061406 w 4819650"/>
              <a:gd name="connsiteY176" fmla="*/ 4399658 h 5143499"/>
              <a:gd name="connsiteX177" fmla="*/ 4036727 w 4819650"/>
              <a:gd name="connsiteY177" fmla="*/ 4400794 h 5143499"/>
              <a:gd name="connsiteX178" fmla="*/ 4011977 w 4819650"/>
              <a:gd name="connsiteY178" fmla="*/ 4399658 h 5143499"/>
              <a:gd name="connsiteX179" fmla="*/ 3979720 w 4819650"/>
              <a:gd name="connsiteY179" fmla="*/ 4324437 h 5143499"/>
              <a:gd name="connsiteX180" fmla="*/ 3929201 w 4819650"/>
              <a:gd name="connsiteY180" fmla="*/ 4293694 h 5143499"/>
              <a:gd name="connsiteX181" fmla="*/ 2094551 w 4819650"/>
              <a:gd name="connsiteY181" fmla="*/ 0 h 5143499"/>
              <a:gd name="connsiteX182" fmla="*/ 4819650 w 4819650"/>
              <a:gd name="connsiteY182" fmla="*/ 0 h 5143499"/>
              <a:gd name="connsiteX183" fmla="*/ 4819650 w 4819650"/>
              <a:gd name="connsiteY183" fmla="*/ 5143499 h 5143499"/>
              <a:gd name="connsiteX184" fmla="*/ 0 w 4819650"/>
              <a:gd name="connsiteY184" fmla="*/ 5143499 h 5143499"/>
              <a:gd name="connsiteX185" fmla="*/ 0 w 4819650"/>
              <a:gd name="connsiteY185" fmla="*/ 5143498 h 5143499"/>
              <a:gd name="connsiteX186" fmla="*/ 371745 w 4819650"/>
              <a:gd name="connsiteY186" fmla="*/ 5143498 h 5143499"/>
              <a:gd name="connsiteX187" fmla="*/ 1206499 w 4819650"/>
              <a:gd name="connsiteY187" fmla="*/ 1821610 h 5143499"/>
              <a:gd name="connsiteX188" fmla="*/ 2048326 w 4819650"/>
              <a:gd name="connsiteY188" fmla="*/ 58253 h 5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Lst>
            <a:rect l="l" t="t" r="r" b="b"/>
            <a:pathLst>
              <a:path w="4819650" h="5143499">
                <a:moveTo>
                  <a:pt x="3742286" y="4731402"/>
                </a:moveTo>
                <a:cubicBezTo>
                  <a:pt x="3754863" y="4731402"/>
                  <a:pt x="3762891" y="4738792"/>
                  <a:pt x="3762891" y="4756413"/>
                </a:cubicBezTo>
                <a:cubicBezTo>
                  <a:pt x="3762891" y="4774365"/>
                  <a:pt x="3754720" y="4781755"/>
                  <a:pt x="3742286" y="4781755"/>
                </a:cubicBezTo>
                <a:cubicBezTo>
                  <a:pt x="3729852" y="4781755"/>
                  <a:pt x="3721823" y="4774034"/>
                  <a:pt x="3721823" y="4756413"/>
                </a:cubicBezTo>
                <a:cubicBezTo>
                  <a:pt x="3721823" y="4738792"/>
                  <a:pt x="3729710" y="4731402"/>
                  <a:pt x="3742286" y="4731402"/>
                </a:cubicBezTo>
                <a:close/>
                <a:moveTo>
                  <a:pt x="3892112" y="4731379"/>
                </a:moveTo>
                <a:cubicBezTo>
                  <a:pt x="3904380" y="4731379"/>
                  <a:pt x="3913356" y="4738768"/>
                  <a:pt x="3913356" y="4756555"/>
                </a:cubicBezTo>
                <a:cubicBezTo>
                  <a:pt x="3913356" y="4774342"/>
                  <a:pt x="3904546" y="4781732"/>
                  <a:pt x="3892112" y="4781732"/>
                </a:cubicBezTo>
                <a:cubicBezTo>
                  <a:pt x="3879677" y="4781732"/>
                  <a:pt x="3870867" y="4774342"/>
                  <a:pt x="3870867" y="4756555"/>
                </a:cubicBezTo>
                <a:cubicBezTo>
                  <a:pt x="3870867" y="4738768"/>
                  <a:pt x="3879677" y="4731379"/>
                  <a:pt x="3892112" y="4731379"/>
                </a:cubicBezTo>
                <a:close/>
                <a:moveTo>
                  <a:pt x="4212654" y="4713284"/>
                </a:moveTo>
                <a:lnTo>
                  <a:pt x="4212654" y="4762855"/>
                </a:lnTo>
                <a:cubicBezTo>
                  <a:pt x="4212654" y="4788671"/>
                  <a:pt x="4225870" y="4801413"/>
                  <a:pt x="4251378" y="4801413"/>
                </a:cubicBezTo>
                <a:cubicBezTo>
                  <a:pt x="4276886" y="4801413"/>
                  <a:pt x="4290101" y="4788671"/>
                  <a:pt x="4290101" y="4762855"/>
                </a:cubicBezTo>
                <a:lnTo>
                  <a:pt x="4290101" y="4713284"/>
                </a:lnTo>
                <a:lnTo>
                  <a:pt x="4290054" y="4713284"/>
                </a:lnTo>
                <a:lnTo>
                  <a:pt x="4269283" y="4713284"/>
                </a:lnTo>
                <a:lnTo>
                  <a:pt x="4269283" y="4762855"/>
                </a:lnTo>
                <a:cubicBezTo>
                  <a:pt x="4269283" y="4777160"/>
                  <a:pt x="4261254" y="4781731"/>
                  <a:pt x="4251354" y="4781731"/>
                </a:cubicBezTo>
                <a:cubicBezTo>
                  <a:pt x="4241454" y="4781731"/>
                  <a:pt x="4233425" y="4777184"/>
                  <a:pt x="4233425" y="4762855"/>
                </a:cubicBezTo>
                <a:lnTo>
                  <a:pt x="4233425" y="4713284"/>
                </a:lnTo>
                <a:close/>
                <a:moveTo>
                  <a:pt x="4031541" y="4713284"/>
                </a:moveTo>
                <a:lnTo>
                  <a:pt x="4031541" y="4799826"/>
                </a:lnTo>
                <a:lnTo>
                  <a:pt x="4052312" y="4799826"/>
                </a:lnTo>
                <a:lnTo>
                  <a:pt x="4052312" y="4713284"/>
                </a:lnTo>
                <a:close/>
                <a:moveTo>
                  <a:pt x="3936473" y="4713284"/>
                </a:moveTo>
                <a:lnTo>
                  <a:pt x="3966836" y="4756247"/>
                </a:lnTo>
                <a:lnTo>
                  <a:pt x="3936473" y="4799850"/>
                </a:lnTo>
                <a:lnTo>
                  <a:pt x="3959447" y="4799850"/>
                </a:lnTo>
                <a:lnTo>
                  <a:pt x="3978181" y="4771689"/>
                </a:lnTo>
                <a:lnTo>
                  <a:pt x="3996915" y="4799850"/>
                </a:lnTo>
                <a:lnTo>
                  <a:pt x="4019889" y="4799850"/>
                </a:lnTo>
                <a:lnTo>
                  <a:pt x="3989668" y="4756247"/>
                </a:lnTo>
                <a:lnTo>
                  <a:pt x="4019889" y="4713284"/>
                </a:lnTo>
                <a:lnTo>
                  <a:pt x="3996749" y="4713284"/>
                </a:lnTo>
                <a:lnTo>
                  <a:pt x="3978181" y="4741137"/>
                </a:lnTo>
                <a:lnTo>
                  <a:pt x="3959612" y="4713284"/>
                </a:lnTo>
                <a:close/>
                <a:moveTo>
                  <a:pt x="4336238" y="4711721"/>
                </a:moveTo>
                <a:cubicBezTo>
                  <a:pt x="4310565" y="4711721"/>
                  <a:pt x="4304596" y="4724155"/>
                  <a:pt x="4304596" y="4737063"/>
                </a:cubicBezTo>
                <a:cubicBezTo>
                  <a:pt x="4304596" y="4751084"/>
                  <a:pt x="4311986" y="4755489"/>
                  <a:pt x="4330080" y="4761932"/>
                </a:cubicBezTo>
                <a:lnTo>
                  <a:pt x="4336073" y="4764134"/>
                </a:lnTo>
                <a:cubicBezTo>
                  <a:pt x="4346470" y="4767900"/>
                  <a:pt x="4351657" y="4769795"/>
                  <a:pt x="4351657" y="4774982"/>
                </a:cubicBezTo>
                <a:cubicBezTo>
                  <a:pt x="4351657" y="4779529"/>
                  <a:pt x="4346944" y="4782845"/>
                  <a:pt x="4337186" y="4782845"/>
                </a:cubicBezTo>
                <a:cubicBezTo>
                  <a:pt x="4327428" y="4782845"/>
                  <a:pt x="4318144" y="4779860"/>
                  <a:pt x="4308220" y="4775763"/>
                </a:cubicBezTo>
                <a:lnTo>
                  <a:pt x="4303341" y="4793858"/>
                </a:lnTo>
                <a:cubicBezTo>
                  <a:pt x="4312767" y="4798429"/>
                  <a:pt x="4325202" y="4801413"/>
                  <a:pt x="4338109" y="4801413"/>
                </a:cubicBezTo>
                <a:cubicBezTo>
                  <a:pt x="4363901" y="4801413"/>
                  <a:pt x="4372404" y="4789287"/>
                  <a:pt x="4372404" y="4774342"/>
                </a:cubicBezTo>
                <a:lnTo>
                  <a:pt x="4372452" y="4774366"/>
                </a:lnTo>
                <a:cubicBezTo>
                  <a:pt x="4372452" y="4760510"/>
                  <a:pt x="4364730" y="4754684"/>
                  <a:pt x="4345688" y="4747768"/>
                </a:cubicBezTo>
                <a:lnTo>
                  <a:pt x="4339388" y="4745400"/>
                </a:lnTo>
                <a:cubicBezTo>
                  <a:pt x="4328233" y="4741303"/>
                  <a:pt x="4325391" y="4740213"/>
                  <a:pt x="4325391" y="4736116"/>
                </a:cubicBezTo>
                <a:cubicBezTo>
                  <a:pt x="4325391" y="4731687"/>
                  <a:pt x="4328849" y="4730124"/>
                  <a:pt x="4336096" y="4730124"/>
                </a:cubicBezTo>
                <a:cubicBezTo>
                  <a:pt x="4344267" y="4730124"/>
                  <a:pt x="4357175" y="4732492"/>
                  <a:pt x="4363783" y="4734221"/>
                </a:cubicBezTo>
                <a:lnTo>
                  <a:pt x="4367715" y="4716434"/>
                </a:lnTo>
                <a:cubicBezTo>
                  <a:pt x="4361580" y="4714397"/>
                  <a:pt x="4347725" y="4711721"/>
                  <a:pt x="4336238" y="4711721"/>
                </a:cubicBezTo>
                <a:close/>
                <a:moveTo>
                  <a:pt x="4107093" y="4711721"/>
                </a:moveTo>
                <a:cubicBezTo>
                  <a:pt x="4086796" y="4711721"/>
                  <a:pt x="4070430" y="4722734"/>
                  <a:pt x="4070430" y="4744760"/>
                </a:cubicBezTo>
                <a:lnTo>
                  <a:pt x="4070430" y="4799850"/>
                </a:lnTo>
                <a:lnTo>
                  <a:pt x="4091201" y="4799850"/>
                </a:lnTo>
                <a:lnTo>
                  <a:pt x="4091201" y="4746182"/>
                </a:lnTo>
                <a:cubicBezTo>
                  <a:pt x="4091201" y="4737347"/>
                  <a:pt x="4094659" y="4731379"/>
                  <a:pt x="4106927" y="4731379"/>
                </a:cubicBezTo>
                <a:cubicBezTo>
                  <a:pt x="4118106" y="4731379"/>
                  <a:pt x="4122985" y="4736258"/>
                  <a:pt x="4122985" y="4746182"/>
                </a:cubicBezTo>
                <a:lnTo>
                  <a:pt x="4122985" y="4799850"/>
                </a:lnTo>
                <a:lnTo>
                  <a:pt x="4143591" y="4799850"/>
                </a:lnTo>
                <a:lnTo>
                  <a:pt x="4143591" y="4746182"/>
                </a:lnTo>
                <a:cubicBezTo>
                  <a:pt x="4143591" y="4737347"/>
                  <a:pt x="4147214" y="4731379"/>
                  <a:pt x="4159648" y="4731379"/>
                </a:cubicBezTo>
                <a:cubicBezTo>
                  <a:pt x="4170496" y="4731379"/>
                  <a:pt x="4175375" y="4736258"/>
                  <a:pt x="4175375" y="4746182"/>
                </a:cubicBezTo>
                <a:lnTo>
                  <a:pt x="4175375" y="4799850"/>
                </a:lnTo>
                <a:lnTo>
                  <a:pt x="4196146" y="4799850"/>
                </a:lnTo>
                <a:lnTo>
                  <a:pt x="4196146" y="4744760"/>
                </a:lnTo>
                <a:cubicBezTo>
                  <a:pt x="4196146" y="4721171"/>
                  <a:pt x="4178856" y="4711721"/>
                  <a:pt x="4159648" y="4711721"/>
                </a:cubicBezTo>
                <a:cubicBezTo>
                  <a:pt x="4150364" y="4711721"/>
                  <a:pt x="4139659" y="4715653"/>
                  <a:pt x="4133525" y="4722426"/>
                </a:cubicBezTo>
                <a:cubicBezTo>
                  <a:pt x="4126917" y="4715653"/>
                  <a:pt x="4116543" y="4711721"/>
                  <a:pt x="4107093" y="4711721"/>
                </a:cubicBezTo>
                <a:close/>
                <a:moveTo>
                  <a:pt x="3892112" y="4711721"/>
                </a:moveTo>
                <a:cubicBezTo>
                  <a:pt x="3868333" y="4711721"/>
                  <a:pt x="3849930" y="4727305"/>
                  <a:pt x="3849930" y="4756413"/>
                </a:cubicBezTo>
                <a:cubicBezTo>
                  <a:pt x="3849930" y="4785521"/>
                  <a:pt x="3868356" y="4801413"/>
                  <a:pt x="3892112" y="4801413"/>
                </a:cubicBezTo>
                <a:cubicBezTo>
                  <a:pt x="3915891" y="4801413"/>
                  <a:pt x="3934293" y="4785213"/>
                  <a:pt x="3934293" y="4756413"/>
                </a:cubicBezTo>
                <a:cubicBezTo>
                  <a:pt x="3934293" y="4727613"/>
                  <a:pt x="3915891" y="4711721"/>
                  <a:pt x="3892112" y="4711721"/>
                </a:cubicBezTo>
                <a:close/>
                <a:moveTo>
                  <a:pt x="3837662" y="4711697"/>
                </a:moveTo>
                <a:cubicBezTo>
                  <a:pt x="3813267" y="4711697"/>
                  <a:pt x="3799412" y="4727755"/>
                  <a:pt x="3799412" y="4749000"/>
                </a:cubicBezTo>
                <a:lnTo>
                  <a:pt x="3799412" y="4799826"/>
                </a:lnTo>
                <a:lnTo>
                  <a:pt x="3820183" y="4799826"/>
                </a:lnTo>
                <a:lnTo>
                  <a:pt x="3820183" y="4750563"/>
                </a:lnTo>
                <a:cubicBezTo>
                  <a:pt x="3820183" y="4739242"/>
                  <a:pt x="3825701" y="4731994"/>
                  <a:pt x="3837662" y="4731994"/>
                </a:cubicBezTo>
                <a:cubicBezTo>
                  <a:pt x="3839083" y="4731994"/>
                  <a:pt x="3841451" y="4732136"/>
                  <a:pt x="3842707" y="4732302"/>
                </a:cubicBezTo>
                <a:lnTo>
                  <a:pt x="3846165" y="4712479"/>
                </a:lnTo>
                <a:cubicBezTo>
                  <a:pt x="3844909" y="4712171"/>
                  <a:pt x="3841759" y="4711697"/>
                  <a:pt x="3837662" y="4711697"/>
                </a:cubicBezTo>
                <a:close/>
                <a:moveTo>
                  <a:pt x="3742286" y="4711697"/>
                </a:moveTo>
                <a:cubicBezTo>
                  <a:pt x="3718673" y="4711697"/>
                  <a:pt x="3701052" y="4727115"/>
                  <a:pt x="3701052" y="4755915"/>
                </a:cubicBezTo>
                <a:lnTo>
                  <a:pt x="3701052" y="4834452"/>
                </a:lnTo>
                <a:lnTo>
                  <a:pt x="3721823" y="4834452"/>
                </a:lnTo>
                <a:lnTo>
                  <a:pt x="3721823" y="4795586"/>
                </a:lnTo>
                <a:cubicBezTo>
                  <a:pt x="3727649" y="4799518"/>
                  <a:pt x="3734565" y="4801413"/>
                  <a:pt x="3742286" y="4801413"/>
                </a:cubicBezTo>
                <a:cubicBezTo>
                  <a:pt x="3766041" y="4801413"/>
                  <a:pt x="3783828" y="4785379"/>
                  <a:pt x="3783828" y="4756413"/>
                </a:cubicBezTo>
                <a:lnTo>
                  <a:pt x="3783828" y="4756389"/>
                </a:lnTo>
                <a:cubicBezTo>
                  <a:pt x="3783828" y="4727589"/>
                  <a:pt x="3765899" y="4711697"/>
                  <a:pt x="3742286" y="4711697"/>
                </a:cubicBezTo>
                <a:close/>
                <a:moveTo>
                  <a:pt x="3966385" y="4531816"/>
                </a:moveTo>
                <a:cubicBezTo>
                  <a:pt x="3961435" y="4548371"/>
                  <a:pt x="3954733" y="4562439"/>
                  <a:pt x="3946680" y="4572481"/>
                </a:cubicBezTo>
                <a:lnTo>
                  <a:pt x="3946656" y="4572458"/>
                </a:lnTo>
                <a:lnTo>
                  <a:pt x="3946112" y="4573168"/>
                </a:lnTo>
                <a:cubicBezTo>
                  <a:pt x="3942085" y="4578521"/>
                  <a:pt x="3932801" y="4586787"/>
                  <a:pt x="3925933" y="4587284"/>
                </a:cubicBezTo>
                <a:cubicBezTo>
                  <a:pt x="3924677" y="4587379"/>
                  <a:pt x="3921409" y="4587616"/>
                  <a:pt x="3915985" y="4582192"/>
                </a:cubicBezTo>
                <a:cubicBezTo>
                  <a:pt x="3910562" y="4576768"/>
                  <a:pt x="3910798" y="4573476"/>
                  <a:pt x="3910893" y="4572244"/>
                </a:cubicBezTo>
                <a:cubicBezTo>
                  <a:pt x="3911367" y="4565376"/>
                  <a:pt x="3919656" y="4556092"/>
                  <a:pt x="3925009" y="4552066"/>
                </a:cubicBezTo>
                <a:lnTo>
                  <a:pt x="3925720" y="4551521"/>
                </a:lnTo>
                <a:cubicBezTo>
                  <a:pt x="3935762" y="4543468"/>
                  <a:pt x="3949830" y="4536766"/>
                  <a:pt x="3966385" y="4531816"/>
                </a:cubicBezTo>
                <a:close/>
                <a:moveTo>
                  <a:pt x="4107045" y="4531815"/>
                </a:moveTo>
                <a:lnTo>
                  <a:pt x="4147664" y="4551497"/>
                </a:lnTo>
                <a:lnTo>
                  <a:pt x="4148375" y="4552042"/>
                </a:lnTo>
                <a:cubicBezTo>
                  <a:pt x="4153727" y="4556068"/>
                  <a:pt x="4161993" y="4565352"/>
                  <a:pt x="4162491" y="4572221"/>
                </a:cubicBezTo>
                <a:cubicBezTo>
                  <a:pt x="4162585" y="4573476"/>
                  <a:pt x="4162822" y="4576744"/>
                  <a:pt x="4157398" y="4582168"/>
                </a:cubicBezTo>
                <a:cubicBezTo>
                  <a:pt x="4151975" y="4587592"/>
                  <a:pt x="4148683" y="4587355"/>
                  <a:pt x="4147451" y="4587260"/>
                </a:cubicBezTo>
                <a:cubicBezTo>
                  <a:pt x="4140583" y="4586787"/>
                  <a:pt x="4131298" y="4578497"/>
                  <a:pt x="4127272" y="4573145"/>
                </a:cubicBezTo>
                <a:lnTo>
                  <a:pt x="4126727" y="4572434"/>
                </a:lnTo>
                <a:close/>
                <a:moveTo>
                  <a:pt x="4107022" y="4531768"/>
                </a:moveTo>
                <a:lnTo>
                  <a:pt x="4107045" y="4531815"/>
                </a:lnTo>
                <a:lnTo>
                  <a:pt x="4106998" y="4531792"/>
                </a:lnTo>
                <a:close/>
                <a:moveTo>
                  <a:pt x="4017496" y="4442289"/>
                </a:moveTo>
                <a:cubicBezTo>
                  <a:pt x="4023796" y="4442668"/>
                  <a:pt x="4030214" y="4442881"/>
                  <a:pt x="4036704" y="4442881"/>
                </a:cubicBezTo>
                <a:cubicBezTo>
                  <a:pt x="4043193" y="4442881"/>
                  <a:pt x="4049564" y="4442644"/>
                  <a:pt x="4055864" y="4442289"/>
                </a:cubicBezTo>
                <a:cubicBezTo>
                  <a:pt x="4055485" y="4448589"/>
                  <a:pt x="4055272" y="4455008"/>
                  <a:pt x="4055272" y="4461497"/>
                </a:cubicBezTo>
                <a:cubicBezTo>
                  <a:pt x="4055272" y="4467987"/>
                  <a:pt x="4055485" y="4474358"/>
                  <a:pt x="4055864" y="4480658"/>
                </a:cubicBezTo>
                <a:cubicBezTo>
                  <a:pt x="4049564" y="4480279"/>
                  <a:pt x="4043146" y="4480066"/>
                  <a:pt x="4036656" y="4480066"/>
                </a:cubicBezTo>
                <a:cubicBezTo>
                  <a:pt x="4030167" y="4480066"/>
                  <a:pt x="4023796" y="4480302"/>
                  <a:pt x="4017496" y="4480658"/>
                </a:cubicBezTo>
                <a:cubicBezTo>
                  <a:pt x="4017875" y="4474358"/>
                  <a:pt x="4018088" y="4467939"/>
                  <a:pt x="4018088" y="4461450"/>
                </a:cubicBezTo>
                <a:cubicBezTo>
                  <a:pt x="4018088" y="4454960"/>
                  <a:pt x="4017875" y="4448589"/>
                  <a:pt x="4017496" y="4442289"/>
                </a:cubicBezTo>
                <a:close/>
                <a:moveTo>
                  <a:pt x="3966316" y="4391133"/>
                </a:moveTo>
                <a:lnTo>
                  <a:pt x="3966362" y="4391155"/>
                </a:lnTo>
                <a:lnTo>
                  <a:pt x="3966338" y="4391179"/>
                </a:lnTo>
                <a:close/>
                <a:moveTo>
                  <a:pt x="3925909" y="4335687"/>
                </a:moveTo>
                <a:cubicBezTo>
                  <a:pt x="3932777" y="4336160"/>
                  <a:pt x="3942062" y="4344450"/>
                  <a:pt x="3946088" y="4349802"/>
                </a:cubicBezTo>
                <a:lnTo>
                  <a:pt x="3946633" y="4350513"/>
                </a:lnTo>
                <a:lnTo>
                  <a:pt x="3966316" y="4391133"/>
                </a:lnTo>
                <a:lnTo>
                  <a:pt x="3925696" y="4371450"/>
                </a:lnTo>
                <a:lnTo>
                  <a:pt x="3924985" y="4370905"/>
                </a:lnTo>
                <a:cubicBezTo>
                  <a:pt x="3919633" y="4366879"/>
                  <a:pt x="3911367" y="4357594"/>
                  <a:pt x="3910870" y="4350726"/>
                </a:cubicBezTo>
                <a:cubicBezTo>
                  <a:pt x="3910775" y="4349471"/>
                  <a:pt x="3910538" y="4346202"/>
                  <a:pt x="3915962" y="4340779"/>
                </a:cubicBezTo>
                <a:cubicBezTo>
                  <a:pt x="3921385" y="4335355"/>
                  <a:pt x="3924677" y="4335592"/>
                  <a:pt x="3925909" y="4335687"/>
                </a:cubicBezTo>
                <a:close/>
                <a:moveTo>
                  <a:pt x="4147427" y="4335639"/>
                </a:moveTo>
                <a:cubicBezTo>
                  <a:pt x="4148683" y="4335544"/>
                  <a:pt x="4151951" y="4335308"/>
                  <a:pt x="4157375" y="4340731"/>
                </a:cubicBezTo>
                <a:cubicBezTo>
                  <a:pt x="4162798" y="4346155"/>
                  <a:pt x="4162562" y="4349447"/>
                  <a:pt x="4162467" y="4350679"/>
                </a:cubicBezTo>
                <a:cubicBezTo>
                  <a:pt x="4161993" y="4357547"/>
                  <a:pt x="4153704" y="4366831"/>
                  <a:pt x="4148351" y="4370858"/>
                </a:cubicBezTo>
                <a:lnTo>
                  <a:pt x="4147641" y="4371402"/>
                </a:lnTo>
                <a:cubicBezTo>
                  <a:pt x="4137598" y="4379455"/>
                  <a:pt x="4123530" y="4386158"/>
                  <a:pt x="4106975" y="4391108"/>
                </a:cubicBezTo>
                <a:cubicBezTo>
                  <a:pt x="4111925" y="4374552"/>
                  <a:pt x="4118627" y="4360484"/>
                  <a:pt x="4126680" y="4350442"/>
                </a:cubicBezTo>
                <a:lnTo>
                  <a:pt x="4126704" y="4350466"/>
                </a:lnTo>
                <a:lnTo>
                  <a:pt x="4127248" y="4349755"/>
                </a:lnTo>
                <a:cubicBezTo>
                  <a:pt x="4131275" y="4344402"/>
                  <a:pt x="4140559" y="4336137"/>
                  <a:pt x="4147427" y="4335639"/>
                </a:cubicBezTo>
                <a:close/>
                <a:moveTo>
                  <a:pt x="3929201" y="4293694"/>
                </a:moveTo>
                <a:cubicBezTo>
                  <a:pt x="3918330" y="4292866"/>
                  <a:pt x="3902035" y="4295187"/>
                  <a:pt x="3886238" y="4310984"/>
                </a:cubicBezTo>
                <a:cubicBezTo>
                  <a:pt x="3870441" y="4326781"/>
                  <a:pt x="3868120" y="4343076"/>
                  <a:pt x="3868948" y="4353947"/>
                </a:cubicBezTo>
                <a:cubicBezTo>
                  <a:pt x="3871056" y="4381681"/>
                  <a:pt x="3895262" y="4401126"/>
                  <a:pt x="3899691" y="4404466"/>
                </a:cubicBezTo>
                <a:cubicBezTo>
                  <a:pt x="3918425" y="4419410"/>
                  <a:pt x="3944477" y="4430423"/>
                  <a:pt x="3974912" y="4436723"/>
                </a:cubicBezTo>
                <a:cubicBezTo>
                  <a:pt x="3975646" y="4444800"/>
                  <a:pt x="3976048" y="4453066"/>
                  <a:pt x="3976048" y="4461473"/>
                </a:cubicBezTo>
                <a:cubicBezTo>
                  <a:pt x="3976048" y="4469858"/>
                  <a:pt x="3975646" y="4478100"/>
                  <a:pt x="3974912" y="4486152"/>
                </a:cubicBezTo>
                <a:cubicBezTo>
                  <a:pt x="3944477" y="4492476"/>
                  <a:pt x="3918401" y="4503489"/>
                  <a:pt x="3899691" y="4518410"/>
                </a:cubicBezTo>
                <a:cubicBezTo>
                  <a:pt x="3895262" y="4521750"/>
                  <a:pt x="3871080" y="4541218"/>
                  <a:pt x="3868948" y="4568929"/>
                </a:cubicBezTo>
                <a:cubicBezTo>
                  <a:pt x="3868120" y="4579800"/>
                  <a:pt x="3870441" y="4596094"/>
                  <a:pt x="3886238" y="4611892"/>
                </a:cubicBezTo>
                <a:cubicBezTo>
                  <a:pt x="3902035" y="4627689"/>
                  <a:pt x="3918330" y="4630010"/>
                  <a:pt x="3929201" y="4629181"/>
                </a:cubicBezTo>
                <a:cubicBezTo>
                  <a:pt x="3956935" y="4627073"/>
                  <a:pt x="3976380" y="4602868"/>
                  <a:pt x="3979720" y="4598439"/>
                </a:cubicBezTo>
                <a:cubicBezTo>
                  <a:pt x="3994664" y="4579705"/>
                  <a:pt x="4005677" y="4553652"/>
                  <a:pt x="4011977" y="4523218"/>
                </a:cubicBezTo>
                <a:cubicBezTo>
                  <a:pt x="4020030" y="4522484"/>
                  <a:pt x="4028296" y="4522105"/>
                  <a:pt x="4036656" y="4522081"/>
                </a:cubicBezTo>
                <a:cubicBezTo>
                  <a:pt x="4045064" y="4522081"/>
                  <a:pt x="4053330" y="4522484"/>
                  <a:pt x="4061406" y="4523218"/>
                </a:cubicBezTo>
                <a:cubicBezTo>
                  <a:pt x="4067730" y="4553652"/>
                  <a:pt x="4078743" y="4579705"/>
                  <a:pt x="4093664" y="4598439"/>
                </a:cubicBezTo>
                <a:cubicBezTo>
                  <a:pt x="4097004" y="4602868"/>
                  <a:pt x="4116472" y="4627050"/>
                  <a:pt x="4144183" y="4629181"/>
                </a:cubicBezTo>
                <a:cubicBezTo>
                  <a:pt x="4155054" y="4630010"/>
                  <a:pt x="4171348" y="4627689"/>
                  <a:pt x="4187146" y="4611892"/>
                </a:cubicBezTo>
                <a:cubicBezTo>
                  <a:pt x="4202943" y="4596094"/>
                  <a:pt x="4205264" y="4579800"/>
                  <a:pt x="4204435" y="4568929"/>
                </a:cubicBezTo>
                <a:cubicBezTo>
                  <a:pt x="4202327" y="4541194"/>
                  <a:pt x="4178122" y="4521750"/>
                  <a:pt x="4173693" y="4518410"/>
                </a:cubicBezTo>
                <a:cubicBezTo>
                  <a:pt x="4154959" y="4503466"/>
                  <a:pt x="4128906" y="4492452"/>
                  <a:pt x="4098472" y="4486152"/>
                </a:cubicBezTo>
                <a:cubicBezTo>
                  <a:pt x="4097738" y="4478076"/>
                  <a:pt x="4097335" y="4469810"/>
                  <a:pt x="4097335" y="4461402"/>
                </a:cubicBezTo>
                <a:cubicBezTo>
                  <a:pt x="4097335" y="4453018"/>
                  <a:pt x="4097738" y="4444776"/>
                  <a:pt x="4098472" y="4436723"/>
                </a:cubicBezTo>
                <a:cubicBezTo>
                  <a:pt x="4128906" y="4430400"/>
                  <a:pt x="4154983" y="4419387"/>
                  <a:pt x="4173693" y="4404466"/>
                </a:cubicBezTo>
                <a:cubicBezTo>
                  <a:pt x="4178122" y="4401126"/>
                  <a:pt x="4202304" y="4381658"/>
                  <a:pt x="4204435" y="4353947"/>
                </a:cubicBezTo>
                <a:cubicBezTo>
                  <a:pt x="4205264" y="4343076"/>
                  <a:pt x="4202943" y="4326781"/>
                  <a:pt x="4187146" y="4310984"/>
                </a:cubicBezTo>
                <a:cubicBezTo>
                  <a:pt x="4171348" y="4295187"/>
                  <a:pt x="4155054" y="4292866"/>
                  <a:pt x="4144183" y="4293694"/>
                </a:cubicBezTo>
                <a:cubicBezTo>
                  <a:pt x="4116448" y="4295802"/>
                  <a:pt x="4097004" y="4320008"/>
                  <a:pt x="4093664" y="4324437"/>
                </a:cubicBezTo>
                <a:cubicBezTo>
                  <a:pt x="4078720" y="4343171"/>
                  <a:pt x="4067706" y="4369223"/>
                  <a:pt x="4061406" y="4399658"/>
                </a:cubicBezTo>
                <a:cubicBezTo>
                  <a:pt x="4053354" y="4400392"/>
                  <a:pt x="4045088" y="4400771"/>
                  <a:pt x="4036727" y="4400794"/>
                </a:cubicBezTo>
                <a:cubicBezTo>
                  <a:pt x="4028319" y="4400794"/>
                  <a:pt x="4020054" y="4400392"/>
                  <a:pt x="4011977" y="4399658"/>
                </a:cubicBezTo>
                <a:cubicBezTo>
                  <a:pt x="4005654" y="4369223"/>
                  <a:pt x="3994641" y="4343171"/>
                  <a:pt x="3979720" y="4324437"/>
                </a:cubicBezTo>
                <a:cubicBezTo>
                  <a:pt x="3976380" y="4320008"/>
                  <a:pt x="3956912" y="4295826"/>
                  <a:pt x="3929201" y="4293694"/>
                </a:cubicBezTo>
                <a:close/>
                <a:moveTo>
                  <a:pt x="2094551" y="0"/>
                </a:moveTo>
                <a:lnTo>
                  <a:pt x="4819650" y="0"/>
                </a:lnTo>
                <a:lnTo>
                  <a:pt x="4819650" y="5143499"/>
                </a:lnTo>
                <a:lnTo>
                  <a:pt x="0" y="5143499"/>
                </a:lnTo>
                <a:lnTo>
                  <a:pt x="0" y="5143498"/>
                </a:lnTo>
                <a:lnTo>
                  <a:pt x="371745" y="5143498"/>
                </a:lnTo>
                <a:lnTo>
                  <a:pt x="1206499" y="1821610"/>
                </a:lnTo>
                <a:cubicBezTo>
                  <a:pt x="1372079" y="1162691"/>
                  <a:pt x="1663360" y="568520"/>
                  <a:pt x="2048326" y="58253"/>
                </a:cubicBezTo>
                <a:close/>
              </a:path>
            </a:pathLst>
          </a:custGeom>
          <a:solidFill>
            <a:schemeClr val="tx1">
              <a:lumMod val="95000"/>
            </a:schemeClr>
          </a:solidFill>
        </p:spPr>
        <p:txBody>
          <a:bodyPr wrap="square">
            <a:noAutofit/>
          </a:bodyPr>
          <a:lstStyle/>
          <a:p>
            <a:r>
              <a:rPr lang="en-US"/>
              <a:t>Click icon to add picture</a:t>
            </a:r>
          </a:p>
        </p:txBody>
      </p:sp>
      <p:sp>
        <p:nvSpPr>
          <p:cNvPr id="2" name="Date Placeholder 8">
            <a:extLst>
              <a:ext uri="{FF2B5EF4-FFF2-40B4-BE49-F238E27FC236}">
                <a16:creationId xmlns:a16="http://schemas.microsoft.com/office/drawing/2014/main" id="{48D071DB-6F80-7E75-8B06-0E2CA539A6C8}"/>
              </a:ext>
            </a:extLst>
          </p:cNvPr>
          <p:cNvSpPr>
            <a:spLocks noGrp="1"/>
          </p:cNvSpPr>
          <p:nvPr>
            <p:ph type="dt" sz="half" idx="2"/>
          </p:nvPr>
        </p:nvSpPr>
        <p:spPr>
          <a:xfrm>
            <a:off x="613832" y="5760153"/>
            <a:ext cx="2880000" cy="500948"/>
          </a:xfrm>
          <a:prstGeom prst="roundRect">
            <a:avLst>
              <a:gd name="adj" fmla="val 50000"/>
            </a:avLst>
          </a:prstGeom>
          <a:solidFill>
            <a:schemeClr val="tx1"/>
          </a:solidFill>
        </p:spPr>
        <p:txBody>
          <a:bodyPr vert="horz" wrap="none" lIns="72000" tIns="36000" rIns="72000" bIns="36000" rtlCol="0" anchor="ctr">
            <a:noAutofit/>
          </a:bodyPr>
          <a:lstStyle>
            <a:lvl1pPr algn="ctr">
              <a:defRPr sz="1600">
                <a:solidFill>
                  <a:schemeClr val="bg1"/>
                </a:solidFill>
              </a:defRPr>
            </a:lvl1pPr>
          </a:lstStyle>
          <a:p>
            <a:endParaRPr lang="en-US"/>
          </a:p>
        </p:txBody>
      </p:sp>
    </p:spTree>
    <p:extLst>
      <p:ext uri="{BB962C8B-B14F-4D97-AF65-F5344CB8AC3E}">
        <p14:creationId xmlns:p14="http://schemas.microsoft.com/office/powerpoint/2010/main" val="256530466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over - Shape">
    <p:bg>
      <p:bgPr>
        <a:solidFill>
          <a:schemeClr val="bg1"/>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83F3C82D-0141-4635-A4B4-A76F2FD5DEFE}"/>
              </a:ext>
            </a:extLst>
          </p:cNvPr>
          <p:cNvSpPr/>
          <p:nvPr userDrawn="1"/>
        </p:nvSpPr>
        <p:spPr>
          <a:xfrm rot="19718639">
            <a:off x="-1832147" y="-1731232"/>
            <a:ext cx="11568875" cy="7917933"/>
          </a:xfrm>
          <a:custGeom>
            <a:avLst/>
            <a:gdLst>
              <a:gd name="connsiteX0" fmla="*/ 2676442 w 8676656"/>
              <a:gd name="connsiteY0" fmla="*/ 0 h 5938450"/>
              <a:gd name="connsiteX1" fmla="*/ 8676656 w 8676656"/>
              <a:gd name="connsiteY1" fmla="*/ 3656228 h 5938450"/>
              <a:gd name="connsiteX2" fmla="*/ 8640882 w 8676656"/>
              <a:gd name="connsiteY2" fmla="*/ 3795361 h 5938450"/>
              <a:gd name="connsiteX3" fmla="*/ 5727914 w 8676656"/>
              <a:gd name="connsiteY3" fmla="*/ 5938450 h 5938450"/>
              <a:gd name="connsiteX4" fmla="*/ 2537385 w 8676656"/>
              <a:gd name="connsiteY4" fmla="*/ 5938450 h 5938450"/>
              <a:gd name="connsiteX5" fmla="*/ 0 w 8676656"/>
              <a:gd name="connsiteY5" fmla="*/ 4392296 h 5938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76656" h="5938450">
                <a:moveTo>
                  <a:pt x="2676442" y="0"/>
                </a:moveTo>
                <a:lnTo>
                  <a:pt x="8676656" y="3656228"/>
                </a:lnTo>
                <a:lnTo>
                  <a:pt x="8640882" y="3795361"/>
                </a:lnTo>
                <a:cubicBezTo>
                  <a:pt x="8254705" y="5036958"/>
                  <a:pt x="7096587" y="5938450"/>
                  <a:pt x="5727914" y="5938450"/>
                </a:cubicBezTo>
                <a:lnTo>
                  <a:pt x="2537385" y="5938450"/>
                </a:lnTo>
                <a:lnTo>
                  <a:pt x="0" y="4392296"/>
                </a:lnTo>
                <a:close/>
              </a:path>
            </a:pathLst>
          </a:custGeom>
          <a:gradFill flip="none" rotWithShape="1">
            <a:gsLst>
              <a:gs pos="15000">
                <a:schemeClr val="bg1"/>
              </a:gs>
              <a:gs pos="100000">
                <a:schemeClr val="tx2"/>
              </a:gs>
            </a:gsLst>
            <a:lin ang="20400000" scaled="0"/>
            <a:tileRect/>
          </a:gradFill>
          <a:ln>
            <a:noFill/>
          </a:ln>
          <a:effectLst/>
        </p:spPr>
        <p:style>
          <a:lnRef idx="1">
            <a:schemeClr val="accent1"/>
          </a:lnRef>
          <a:fillRef idx="3">
            <a:schemeClr val="accent1"/>
          </a:fillRef>
          <a:effectRef idx="2">
            <a:schemeClr val="accent1"/>
          </a:effectRef>
          <a:fontRef idx="minor">
            <a:schemeClr val="lt1"/>
          </a:fontRef>
        </p:style>
        <p:txBody>
          <a:bodyPr vert="horz" wrap="square" lIns="144000" tIns="144000" rIns="144000" bIns="144000" rtlCol="0" anchor="t" anchorCtr="0">
            <a:noAutofit/>
          </a:bodyPr>
          <a:lstStyle/>
          <a:p>
            <a:pPr algn="ctr" defTabSz="1624517"/>
            <a:endParaRPr lang="en-US" sz="1600" b="1" err="1">
              <a:solidFill>
                <a:schemeClr val="tx1"/>
              </a:solidFill>
              <a:latin typeface="Proximus" panose="00000500000000000000" pitchFamily="2" charset="0"/>
              <a:cs typeface="Proximus"/>
            </a:endParaRPr>
          </a:p>
        </p:txBody>
      </p:sp>
      <p:sp>
        <p:nvSpPr>
          <p:cNvPr id="19" name="Subtitle 2">
            <a:extLst>
              <a:ext uri="{FF2B5EF4-FFF2-40B4-BE49-F238E27FC236}">
                <a16:creationId xmlns:a16="http://schemas.microsoft.com/office/drawing/2014/main" id="{452492B6-602B-45B8-BAD5-0E7699BEEADC}"/>
              </a:ext>
            </a:extLst>
          </p:cNvPr>
          <p:cNvSpPr>
            <a:spLocks noGrp="1"/>
          </p:cNvSpPr>
          <p:nvPr>
            <p:ph type="subTitle" idx="1" hasCustomPrompt="1"/>
          </p:nvPr>
        </p:nvSpPr>
        <p:spPr>
          <a:xfrm>
            <a:off x="613834" y="2624866"/>
            <a:ext cx="10962217" cy="1335741"/>
          </a:xfrm>
          <a:prstGeom prst="rect">
            <a:avLst/>
          </a:prstGeom>
        </p:spPr>
        <p:txBody>
          <a:bodyPr/>
          <a:lstStyle>
            <a:lvl1pPr marL="0" indent="0" algn="l">
              <a:lnSpc>
                <a:spcPct val="100000"/>
              </a:lnSpc>
              <a:buNone/>
              <a:defRPr sz="3467">
                <a:solidFill>
                  <a:schemeClr val="tx1"/>
                </a:solidFill>
                <a:latin typeface="Proximus Light" panose="00000500000000000000" pitchFamily="2"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Subtitle</a:t>
            </a:r>
            <a:endParaRPr lang="nl-BE"/>
          </a:p>
        </p:txBody>
      </p:sp>
      <p:sp>
        <p:nvSpPr>
          <p:cNvPr id="20" name="Title 1">
            <a:extLst>
              <a:ext uri="{FF2B5EF4-FFF2-40B4-BE49-F238E27FC236}">
                <a16:creationId xmlns:a16="http://schemas.microsoft.com/office/drawing/2014/main" id="{73425EBE-5738-4E71-AC4D-14C0269C8B84}"/>
              </a:ext>
            </a:extLst>
          </p:cNvPr>
          <p:cNvSpPr>
            <a:spLocks noGrp="1"/>
          </p:cNvSpPr>
          <p:nvPr>
            <p:ph type="title" hasCustomPrompt="1"/>
          </p:nvPr>
        </p:nvSpPr>
        <p:spPr>
          <a:xfrm>
            <a:off x="613834" y="504000"/>
            <a:ext cx="10962217" cy="1748400"/>
          </a:xfrm>
          <a:prstGeom prst="rect">
            <a:avLst/>
          </a:prstGeom>
        </p:spPr>
        <p:txBody>
          <a:bodyPr anchor="b">
            <a:noAutofit/>
          </a:bodyPr>
          <a:lstStyle>
            <a:lvl1pPr>
              <a:defRPr sz="5600" b="0">
                <a:solidFill>
                  <a:srgbClr val="FFFFFF"/>
                </a:solidFill>
                <a:latin typeface="Proximus ExtraBold" panose="00000900000000000000" pitchFamily="2" charset="0"/>
              </a:defRPr>
            </a:lvl1pPr>
          </a:lstStyle>
          <a:p>
            <a:r>
              <a:rPr lang="en-US"/>
              <a:t>Click to edit </a:t>
            </a:r>
            <a:br>
              <a:rPr lang="en-US"/>
            </a:br>
            <a:r>
              <a:rPr lang="en-US"/>
              <a:t>presentation title</a:t>
            </a:r>
            <a:endParaRPr lang="nl-BE"/>
          </a:p>
        </p:txBody>
      </p:sp>
      <p:pic>
        <p:nvPicPr>
          <p:cNvPr id="8" name="Graphic 7">
            <a:extLst>
              <a:ext uri="{FF2B5EF4-FFF2-40B4-BE49-F238E27FC236}">
                <a16:creationId xmlns:a16="http://schemas.microsoft.com/office/drawing/2014/main" id="{9CCBAF77-BF9E-4AFF-9B5C-97B4B25ECCE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702898" y="5724528"/>
            <a:ext cx="889207" cy="720725"/>
          </a:xfrm>
          <a:prstGeom prst="rect">
            <a:avLst/>
          </a:prstGeom>
        </p:spPr>
      </p:pic>
      <p:sp>
        <p:nvSpPr>
          <p:cNvPr id="3" name="Date Placeholder 8">
            <a:extLst>
              <a:ext uri="{FF2B5EF4-FFF2-40B4-BE49-F238E27FC236}">
                <a16:creationId xmlns:a16="http://schemas.microsoft.com/office/drawing/2014/main" id="{EF6890C5-9B19-1327-FD5B-878F8822825B}"/>
              </a:ext>
            </a:extLst>
          </p:cNvPr>
          <p:cNvSpPr>
            <a:spLocks noGrp="1"/>
          </p:cNvSpPr>
          <p:nvPr>
            <p:ph type="dt" sz="half" idx="2"/>
          </p:nvPr>
        </p:nvSpPr>
        <p:spPr>
          <a:xfrm>
            <a:off x="613832" y="5760153"/>
            <a:ext cx="2880000" cy="500948"/>
          </a:xfrm>
          <a:prstGeom prst="roundRect">
            <a:avLst>
              <a:gd name="adj" fmla="val 50000"/>
            </a:avLst>
          </a:prstGeom>
          <a:solidFill>
            <a:schemeClr val="tx1"/>
          </a:solidFill>
        </p:spPr>
        <p:txBody>
          <a:bodyPr vert="horz" wrap="none" lIns="72000" tIns="36000" rIns="72000" bIns="36000" rtlCol="0" anchor="ctr">
            <a:noAutofit/>
          </a:bodyPr>
          <a:lstStyle>
            <a:lvl1pPr algn="ctr">
              <a:defRPr sz="1600">
                <a:solidFill>
                  <a:schemeClr val="bg1"/>
                </a:solidFill>
              </a:defRPr>
            </a:lvl1pPr>
          </a:lstStyle>
          <a:p>
            <a:endParaRPr lang="en-US"/>
          </a:p>
        </p:txBody>
      </p:sp>
    </p:spTree>
    <p:extLst>
      <p:ext uri="{BB962C8B-B14F-4D97-AF65-F5344CB8AC3E}">
        <p14:creationId xmlns:p14="http://schemas.microsoft.com/office/powerpoint/2010/main" val="2616845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hapter - Dark bg">
    <p:bg>
      <p:bgPr>
        <a:blipFill>
          <a:blip r:embed="rId2"/>
          <a:stretch>
            <a:fillRect/>
          </a:stretch>
        </a:blip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13D3065A-4C50-7720-70A9-DE4226DCCDFB}"/>
              </a:ext>
            </a:extLst>
          </p:cNvPr>
          <p:cNvSpPr>
            <a:spLocks noGrp="1"/>
          </p:cNvSpPr>
          <p:nvPr>
            <p:ph type="body" sz="quarter" idx="10" hasCustomPrompt="1"/>
          </p:nvPr>
        </p:nvSpPr>
        <p:spPr>
          <a:xfrm>
            <a:off x="8787573" y="2"/>
            <a:ext cx="3404427" cy="3464295"/>
          </a:xfrm>
          <a:custGeom>
            <a:avLst/>
            <a:gdLst>
              <a:gd name="connsiteX0" fmla="*/ 974239 w 2553320"/>
              <a:gd name="connsiteY0" fmla="*/ 0 h 2598221"/>
              <a:gd name="connsiteX1" fmla="*/ 2553320 w 2553320"/>
              <a:gd name="connsiteY1" fmla="*/ 0 h 2598221"/>
              <a:gd name="connsiteX2" fmla="*/ 2553320 w 2553320"/>
              <a:gd name="connsiteY2" fmla="*/ 1668884 h 2598221"/>
              <a:gd name="connsiteX3" fmla="*/ 1960321 w 2553320"/>
              <a:gd name="connsiteY3" fmla="*/ 2261883 h 2598221"/>
              <a:gd name="connsiteX4" fmla="*/ 336338 w 2553320"/>
              <a:gd name="connsiteY4" fmla="*/ 2261883 h 2598221"/>
              <a:gd name="connsiteX5" fmla="*/ 336338 w 2553320"/>
              <a:gd name="connsiteY5" fmla="*/ 637901 h 259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3320" h="2598221">
                <a:moveTo>
                  <a:pt x="974239" y="0"/>
                </a:moveTo>
                <a:lnTo>
                  <a:pt x="2553320" y="0"/>
                </a:lnTo>
                <a:lnTo>
                  <a:pt x="2553320" y="1668884"/>
                </a:lnTo>
                <a:lnTo>
                  <a:pt x="1960321" y="2261883"/>
                </a:lnTo>
                <a:cubicBezTo>
                  <a:pt x="1511870" y="2710334"/>
                  <a:pt x="784789" y="2710334"/>
                  <a:pt x="336338" y="2261883"/>
                </a:cubicBezTo>
                <a:cubicBezTo>
                  <a:pt x="-112112" y="1813433"/>
                  <a:pt x="-112112" y="1086352"/>
                  <a:pt x="336338" y="637901"/>
                </a:cubicBezTo>
                <a:close/>
              </a:path>
            </a:pathLst>
          </a:custGeom>
          <a:solidFill>
            <a:schemeClr val="tx1"/>
          </a:solidFill>
        </p:spPr>
        <p:txBody>
          <a:bodyPr wrap="square" anchor="ctr">
            <a:noAutofit/>
          </a:bodyPr>
          <a:lstStyle>
            <a:lvl1pPr marL="0" indent="0" algn="ctr">
              <a:buNone/>
              <a:defRPr sz="9600">
                <a:gradFill>
                  <a:gsLst>
                    <a:gs pos="25000">
                      <a:schemeClr val="bg1"/>
                    </a:gs>
                    <a:gs pos="100000">
                      <a:srgbClr val="D22E67"/>
                    </a:gs>
                  </a:gsLst>
                  <a:lin ang="3000000" scaled="0"/>
                </a:gradFill>
                <a:latin typeface="Proximus ExtraBold" panose="020B0604020202020204" charset="0"/>
              </a:defRPr>
            </a:lvl1pPr>
          </a:lstStyle>
          <a:p>
            <a:pPr lvl="0"/>
            <a:r>
              <a:rPr lang="en-US"/>
              <a:t>xx</a:t>
            </a:r>
          </a:p>
        </p:txBody>
      </p:sp>
      <p:sp>
        <p:nvSpPr>
          <p:cNvPr id="11" name="Title 1">
            <a:extLst>
              <a:ext uri="{FF2B5EF4-FFF2-40B4-BE49-F238E27FC236}">
                <a16:creationId xmlns:a16="http://schemas.microsoft.com/office/drawing/2014/main" id="{A4CB2253-770B-4753-A69C-382181C58DC6}"/>
              </a:ext>
            </a:extLst>
          </p:cNvPr>
          <p:cNvSpPr>
            <a:spLocks noGrp="1"/>
          </p:cNvSpPr>
          <p:nvPr>
            <p:ph type="title" hasCustomPrompt="1"/>
          </p:nvPr>
        </p:nvSpPr>
        <p:spPr>
          <a:xfrm>
            <a:off x="613833" y="504000"/>
            <a:ext cx="7440000" cy="1748400"/>
          </a:xfrm>
          <a:prstGeom prst="rect">
            <a:avLst/>
          </a:prstGeom>
        </p:spPr>
        <p:txBody>
          <a:bodyPr anchor="b">
            <a:noAutofit/>
          </a:bodyPr>
          <a:lstStyle>
            <a:lvl1pPr>
              <a:defRPr sz="48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sp>
        <p:nvSpPr>
          <p:cNvPr id="16" name="Subtitle 2">
            <a:extLst>
              <a:ext uri="{FF2B5EF4-FFF2-40B4-BE49-F238E27FC236}">
                <a16:creationId xmlns:a16="http://schemas.microsoft.com/office/drawing/2014/main" id="{4FF70604-92E8-4B07-AC0F-3DB475239311}"/>
              </a:ext>
            </a:extLst>
          </p:cNvPr>
          <p:cNvSpPr>
            <a:spLocks noGrp="1"/>
          </p:cNvSpPr>
          <p:nvPr>
            <p:ph type="subTitle" idx="1" hasCustomPrompt="1"/>
          </p:nvPr>
        </p:nvSpPr>
        <p:spPr>
          <a:xfrm>
            <a:off x="613833" y="2624866"/>
            <a:ext cx="7440000" cy="1335741"/>
          </a:xfrm>
          <a:prstGeom prst="rect">
            <a:avLst/>
          </a:prstGeom>
        </p:spPr>
        <p:txBody>
          <a:bodyPr/>
          <a:lstStyle>
            <a:lvl1pPr marL="0" indent="0" algn="l">
              <a:lnSpc>
                <a:spcPct val="100000"/>
              </a:lnSpc>
              <a:buNone/>
              <a:defRPr sz="2933">
                <a:solidFill>
                  <a:schemeClr val="tx1"/>
                </a:solidFill>
                <a:latin typeface="Proximus Light" panose="00000500000000000000" pitchFamily="2"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Subtitle</a:t>
            </a:r>
            <a:endParaRPr lang="nl-BE"/>
          </a:p>
        </p:txBody>
      </p:sp>
      <p:pic>
        <p:nvPicPr>
          <p:cNvPr id="6" name="Graphic 5">
            <a:extLst>
              <a:ext uri="{FF2B5EF4-FFF2-40B4-BE49-F238E27FC236}">
                <a16:creationId xmlns:a16="http://schemas.microsoft.com/office/drawing/2014/main" id="{F1D4CE6D-DB6A-415E-9EC1-FDF12573AFE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702898" y="5724528"/>
            <a:ext cx="889207" cy="720725"/>
          </a:xfrm>
          <a:prstGeom prst="rect">
            <a:avLst/>
          </a:prstGeom>
        </p:spPr>
      </p:pic>
    </p:spTree>
    <p:extLst>
      <p:ext uri="{BB962C8B-B14F-4D97-AF65-F5344CB8AC3E}">
        <p14:creationId xmlns:p14="http://schemas.microsoft.com/office/powerpoint/2010/main" val="91630078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hapter - Light bg">
    <p:bg>
      <p:bgPr>
        <a:blipFill>
          <a:blip r:embed="rId2"/>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D1C1F15-39D8-412D-8A63-32C1FD0C45E2}"/>
              </a:ext>
            </a:extLst>
          </p:cNvPr>
          <p:cNvSpPr>
            <a:spLocks noGrp="1"/>
          </p:cNvSpPr>
          <p:nvPr>
            <p:ph type="title" hasCustomPrompt="1"/>
          </p:nvPr>
        </p:nvSpPr>
        <p:spPr>
          <a:xfrm>
            <a:off x="613833" y="496713"/>
            <a:ext cx="7440000" cy="1748400"/>
          </a:xfrm>
          <a:prstGeom prst="rect">
            <a:avLst/>
          </a:prstGeom>
        </p:spPr>
        <p:txBody>
          <a:bodyPr anchor="b">
            <a:noAutofit/>
          </a:bodyPr>
          <a:lstStyle>
            <a:lvl1pPr>
              <a:defRPr sz="4800" b="0">
                <a:solidFill>
                  <a:schemeClr val="bg1"/>
                </a:solidFill>
                <a:latin typeface="Proximus ExtraBold" panose="00000900000000000000" pitchFamily="2" charset="0"/>
              </a:defRPr>
            </a:lvl1pPr>
          </a:lstStyle>
          <a:p>
            <a:r>
              <a:rPr lang="en-US"/>
              <a:t>Click to edit </a:t>
            </a:r>
            <a:br>
              <a:rPr lang="en-US"/>
            </a:br>
            <a:r>
              <a:rPr lang="en-US"/>
              <a:t>chapter title</a:t>
            </a:r>
            <a:endParaRPr lang="nl-BE"/>
          </a:p>
        </p:txBody>
      </p:sp>
      <p:sp>
        <p:nvSpPr>
          <p:cNvPr id="13" name="Subtitle 2">
            <a:extLst>
              <a:ext uri="{FF2B5EF4-FFF2-40B4-BE49-F238E27FC236}">
                <a16:creationId xmlns:a16="http://schemas.microsoft.com/office/drawing/2014/main" id="{97531072-EECB-42CB-876A-D2C8B26FB265}"/>
              </a:ext>
            </a:extLst>
          </p:cNvPr>
          <p:cNvSpPr>
            <a:spLocks noGrp="1"/>
          </p:cNvSpPr>
          <p:nvPr>
            <p:ph type="subTitle" idx="1" hasCustomPrompt="1"/>
          </p:nvPr>
        </p:nvSpPr>
        <p:spPr>
          <a:xfrm>
            <a:off x="613833" y="2624866"/>
            <a:ext cx="7440000" cy="1335741"/>
          </a:xfrm>
          <a:prstGeom prst="rect">
            <a:avLst/>
          </a:prstGeom>
        </p:spPr>
        <p:txBody>
          <a:bodyPr/>
          <a:lstStyle>
            <a:lvl1pPr marL="0" indent="0" algn="l">
              <a:lnSpc>
                <a:spcPct val="100000"/>
              </a:lnSpc>
              <a:buNone/>
              <a:defRPr sz="2933">
                <a:solidFill>
                  <a:schemeClr val="bg1"/>
                </a:solidFill>
                <a:latin typeface="Proximus Light" panose="00000500000000000000" pitchFamily="2"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Subtitle</a:t>
            </a:r>
            <a:endParaRPr lang="nl-BE"/>
          </a:p>
        </p:txBody>
      </p:sp>
      <p:pic>
        <p:nvPicPr>
          <p:cNvPr id="4" name="Graphic 3">
            <a:extLst>
              <a:ext uri="{FF2B5EF4-FFF2-40B4-BE49-F238E27FC236}">
                <a16:creationId xmlns:a16="http://schemas.microsoft.com/office/drawing/2014/main" id="{744C608D-DD01-42D2-828F-3F3AD9E9B4D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691915" y="5705474"/>
            <a:ext cx="912709" cy="739775"/>
          </a:xfrm>
          <a:prstGeom prst="rect">
            <a:avLst/>
          </a:prstGeom>
        </p:spPr>
      </p:pic>
      <p:sp>
        <p:nvSpPr>
          <p:cNvPr id="2" name="Text Placeholder 1">
            <a:extLst>
              <a:ext uri="{FF2B5EF4-FFF2-40B4-BE49-F238E27FC236}">
                <a16:creationId xmlns:a16="http://schemas.microsoft.com/office/drawing/2014/main" id="{2A73750A-6229-3EF4-AA8A-016FC0154B02}"/>
              </a:ext>
            </a:extLst>
          </p:cNvPr>
          <p:cNvSpPr>
            <a:spLocks noGrp="1"/>
          </p:cNvSpPr>
          <p:nvPr>
            <p:ph type="body" sz="quarter" idx="10" hasCustomPrompt="1"/>
          </p:nvPr>
        </p:nvSpPr>
        <p:spPr>
          <a:xfrm>
            <a:off x="8787573" y="2"/>
            <a:ext cx="3404427" cy="3464295"/>
          </a:xfrm>
          <a:custGeom>
            <a:avLst/>
            <a:gdLst>
              <a:gd name="connsiteX0" fmla="*/ 974239 w 2553320"/>
              <a:gd name="connsiteY0" fmla="*/ 0 h 2598221"/>
              <a:gd name="connsiteX1" fmla="*/ 2553320 w 2553320"/>
              <a:gd name="connsiteY1" fmla="*/ 0 h 2598221"/>
              <a:gd name="connsiteX2" fmla="*/ 2553320 w 2553320"/>
              <a:gd name="connsiteY2" fmla="*/ 1668884 h 2598221"/>
              <a:gd name="connsiteX3" fmla="*/ 1960321 w 2553320"/>
              <a:gd name="connsiteY3" fmla="*/ 2261883 h 2598221"/>
              <a:gd name="connsiteX4" fmla="*/ 336338 w 2553320"/>
              <a:gd name="connsiteY4" fmla="*/ 2261883 h 2598221"/>
              <a:gd name="connsiteX5" fmla="*/ 336338 w 2553320"/>
              <a:gd name="connsiteY5" fmla="*/ 637901 h 259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3320" h="2598221">
                <a:moveTo>
                  <a:pt x="974239" y="0"/>
                </a:moveTo>
                <a:lnTo>
                  <a:pt x="2553320" y="0"/>
                </a:lnTo>
                <a:lnTo>
                  <a:pt x="2553320" y="1668884"/>
                </a:lnTo>
                <a:lnTo>
                  <a:pt x="1960321" y="2261883"/>
                </a:lnTo>
                <a:cubicBezTo>
                  <a:pt x="1511870" y="2710334"/>
                  <a:pt x="784789" y="2710334"/>
                  <a:pt x="336338" y="2261883"/>
                </a:cubicBezTo>
                <a:cubicBezTo>
                  <a:pt x="-112112" y="1813433"/>
                  <a:pt x="-112112" y="1086352"/>
                  <a:pt x="336338" y="637901"/>
                </a:cubicBezTo>
                <a:close/>
              </a:path>
            </a:pathLst>
          </a:custGeom>
          <a:gradFill>
            <a:gsLst>
              <a:gs pos="20000">
                <a:schemeClr val="bg1"/>
              </a:gs>
              <a:gs pos="100000">
                <a:srgbClr val="D22E67"/>
              </a:gs>
            </a:gsLst>
            <a:lin ang="7200000" scaled="0"/>
          </a:gradFill>
        </p:spPr>
        <p:txBody>
          <a:bodyPr wrap="square" anchor="ctr">
            <a:noAutofit/>
          </a:bodyPr>
          <a:lstStyle>
            <a:lvl1pPr marL="0" indent="0" algn="ctr">
              <a:buNone/>
              <a:defRPr sz="9600">
                <a:solidFill>
                  <a:schemeClr val="tx1"/>
                </a:solidFill>
                <a:latin typeface="Proximus ExtraBold" panose="020B0604020202020204" charset="0"/>
              </a:defRPr>
            </a:lvl1pPr>
          </a:lstStyle>
          <a:p>
            <a:pPr lvl="0"/>
            <a:r>
              <a:rPr lang="en-US"/>
              <a:t>xx</a:t>
            </a:r>
          </a:p>
        </p:txBody>
      </p:sp>
    </p:spTree>
    <p:extLst>
      <p:ext uri="{BB962C8B-B14F-4D97-AF65-F5344CB8AC3E}">
        <p14:creationId xmlns:p14="http://schemas.microsoft.com/office/powerpoint/2010/main" val="8677327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PXS ADA - title and subtitle - white bg">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3837" y="503769"/>
            <a:ext cx="10962217" cy="533399"/>
          </a:xfrm>
        </p:spPr>
        <p:txBody>
          <a:bodyPr anchor="t"/>
          <a:lstStyle>
            <a:lvl1pPr>
              <a:defRPr b="0">
                <a:solidFill>
                  <a:schemeClr val="bg1"/>
                </a:solidFill>
              </a:defRPr>
            </a:lvl1pPr>
          </a:lstStyle>
          <a:p>
            <a:r>
              <a:rPr lang="en-US"/>
              <a:t>Click to edit slide title</a:t>
            </a:r>
            <a:endParaRPr lang="nl-BE"/>
          </a:p>
        </p:txBody>
      </p:sp>
      <p:sp>
        <p:nvSpPr>
          <p:cNvPr id="6" name="Text Placeholder 5">
            <a:extLst>
              <a:ext uri="{FF2B5EF4-FFF2-40B4-BE49-F238E27FC236}">
                <a16:creationId xmlns:a16="http://schemas.microsoft.com/office/drawing/2014/main" id="{3CFA2924-4BFC-CB4A-33EA-AFA2F3E1085E}"/>
              </a:ext>
            </a:extLst>
          </p:cNvPr>
          <p:cNvSpPr>
            <a:spLocks noGrp="1"/>
          </p:cNvSpPr>
          <p:nvPr>
            <p:ph type="body" sz="quarter" idx="12"/>
          </p:nvPr>
        </p:nvSpPr>
        <p:spPr>
          <a:xfrm>
            <a:off x="624417" y="1138501"/>
            <a:ext cx="10962216" cy="393967"/>
          </a:xfrm>
        </p:spPr>
        <p:txBody>
          <a:bodyPr/>
          <a:lstStyle>
            <a:lvl1pPr>
              <a:defRPr sz="2133" b="1">
                <a:solidFill>
                  <a:schemeClr val="bg1"/>
                </a:solidFill>
                <a:latin typeface="+mn-lt"/>
              </a:defRPr>
            </a:lvl1pPr>
          </a:lstStyle>
          <a:p>
            <a:pPr lvl="0"/>
            <a:r>
              <a:rPr lang="en-US"/>
              <a:t>Click to edit Master text styles</a:t>
            </a:r>
          </a:p>
        </p:txBody>
      </p:sp>
    </p:spTree>
    <p:extLst>
      <p:ext uri="{BB962C8B-B14F-4D97-AF65-F5344CB8AC3E}">
        <p14:creationId xmlns:p14="http://schemas.microsoft.com/office/powerpoint/2010/main" val="2016846750"/>
      </p:ext>
    </p:extLst>
  </p:cSld>
  <p:clrMapOvr>
    <a:masterClrMapping/>
  </p:clrMapOvr>
  <p:extLst>
    <p:ext uri="{DCECCB84-F9BA-43D5-87BE-67443E8EF086}">
      <p15:sldGuideLst xmlns:p15="http://schemas.microsoft.com/office/powerpoint/2012/main">
        <p15:guide id="1" orient="horz" pos="962">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Chapter - Purple">
    <p:bg>
      <p:bgPr>
        <a:solidFill>
          <a:schemeClr val="bg1"/>
        </a:soli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613833" y="2460272"/>
            <a:ext cx="7440000" cy="1335741"/>
          </a:xfrm>
          <a:prstGeom prst="rect">
            <a:avLst/>
          </a:prstGeom>
        </p:spPr>
        <p:txBody>
          <a:bodyPr/>
          <a:lstStyle>
            <a:lvl1pPr marL="0" indent="0" algn="l">
              <a:lnSpc>
                <a:spcPct val="100000"/>
              </a:lnSpc>
              <a:buNone/>
              <a:defRPr sz="2933">
                <a:solidFill>
                  <a:schemeClr val="tx1"/>
                </a:solidFill>
                <a:latin typeface="Proximus Light" panose="00000500000000000000" pitchFamily="2"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613833" y="504000"/>
            <a:ext cx="7440000" cy="1612083"/>
          </a:xfrm>
          <a:prstGeom prst="rect">
            <a:avLst/>
          </a:prstGeom>
        </p:spPr>
        <p:txBody>
          <a:bodyPr anchor="b">
            <a:noAutofit/>
          </a:bodyPr>
          <a:lstStyle>
            <a:lvl1pPr>
              <a:defRPr sz="48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702898" y="5724528"/>
            <a:ext cx="889207" cy="720725"/>
          </a:xfrm>
          <a:prstGeom prst="rect">
            <a:avLst/>
          </a:prstGeom>
        </p:spPr>
      </p:pic>
      <p:sp>
        <p:nvSpPr>
          <p:cNvPr id="2" name="Text Placeholder 1">
            <a:extLst>
              <a:ext uri="{FF2B5EF4-FFF2-40B4-BE49-F238E27FC236}">
                <a16:creationId xmlns:a16="http://schemas.microsoft.com/office/drawing/2014/main" id="{A13ED057-FB00-C414-4716-D43E229D0A38}"/>
              </a:ext>
            </a:extLst>
          </p:cNvPr>
          <p:cNvSpPr>
            <a:spLocks noGrp="1"/>
          </p:cNvSpPr>
          <p:nvPr>
            <p:ph type="body" sz="quarter" idx="10" hasCustomPrompt="1"/>
          </p:nvPr>
        </p:nvSpPr>
        <p:spPr>
          <a:xfrm>
            <a:off x="8787573" y="2"/>
            <a:ext cx="3404427" cy="3464295"/>
          </a:xfrm>
          <a:custGeom>
            <a:avLst/>
            <a:gdLst>
              <a:gd name="connsiteX0" fmla="*/ 974239 w 2553320"/>
              <a:gd name="connsiteY0" fmla="*/ 0 h 2598221"/>
              <a:gd name="connsiteX1" fmla="*/ 2553320 w 2553320"/>
              <a:gd name="connsiteY1" fmla="*/ 0 h 2598221"/>
              <a:gd name="connsiteX2" fmla="*/ 2553320 w 2553320"/>
              <a:gd name="connsiteY2" fmla="*/ 1668884 h 2598221"/>
              <a:gd name="connsiteX3" fmla="*/ 1960321 w 2553320"/>
              <a:gd name="connsiteY3" fmla="*/ 2261883 h 2598221"/>
              <a:gd name="connsiteX4" fmla="*/ 336338 w 2553320"/>
              <a:gd name="connsiteY4" fmla="*/ 2261883 h 2598221"/>
              <a:gd name="connsiteX5" fmla="*/ 336338 w 2553320"/>
              <a:gd name="connsiteY5" fmla="*/ 637901 h 259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3320" h="2598221">
                <a:moveTo>
                  <a:pt x="974239" y="0"/>
                </a:moveTo>
                <a:lnTo>
                  <a:pt x="2553320" y="0"/>
                </a:lnTo>
                <a:lnTo>
                  <a:pt x="2553320" y="1668884"/>
                </a:lnTo>
                <a:lnTo>
                  <a:pt x="1960321" y="2261883"/>
                </a:lnTo>
                <a:cubicBezTo>
                  <a:pt x="1511870" y="2710334"/>
                  <a:pt x="784789" y="2710334"/>
                  <a:pt x="336338" y="2261883"/>
                </a:cubicBezTo>
                <a:cubicBezTo>
                  <a:pt x="-112112" y="1813433"/>
                  <a:pt x="-112112" y="1086352"/>
                  <a:pt x="336338" y="637901"/>
                </a:cubicBezTo>
                <a:close/>
              </a:path>
            </a:pathLst>
          </a:custGeom>
          <a:gradFill>
            <a:gsLst>
              <a:gs pos="20000">
                <a:schemeClr val="bg1"/>
              </a:gs>
              <a:gs pos="100000">
                <a:srgbClr val="D22E67"/>
              </a:gs>
            </a:gsLst>
            <a:lin ang="7200000" scaled="0"/>
          </a:gradFill>
        </p:spPr>
        <p:txBody>
          <a:bodyPr wrap="square" anchor="ctr">
            <a:noAutofit/>
          </a:bodyPr>
          <a:lstStyle>
            <a:lvl1pPr marL="0" indent="0" algn="ctr">
              <a:buNone/>
              <a:defRPr sz="9600">
                <a:solidFill>
                  <a:schemeClr val="tx1"/>
                </a:solidFill>
                <a:latin typeface="Proximus ExtraBold" panose="020B0604020202020204" charset="0"/>
              </a:defRPr>
            </a:lvl1pPr>
          </a:lstStyle>
          <a:p>
            <a:pPr lvl="0"/>
            <a:r>
              <a:rPr lang="en-US"/>
              <a:t>xx</a:t>
            </a:r>
          </a:p>
        </p:txBody>
      </p:sp>
    </p:spTree>
    <p:extLst>
      <p:ext uri="{BB962C8B-B14F-4D97-AF65-F5344CB8AC3E}">
        <p14:creationId xmlns:p14="http://schemas.microsoft.com/office/powerpoint/2010/main" val="367900063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Chapter - Gradient">
    <p:bg>
      <p:bgPr>
        <a:gradFill>
          <a:gsLst>
            <a:gs pos="25000">
              <a:schemeClr val="bg1"/>
            </a:gs>
            <a:gs pos="100000">
              <a:srgbClr val="D22E67"/>
            </a:gs>
          </a:gsLst>
          <a:lin ang="3000000" scaled="0"/>
        </a:gra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613833" y="2460272"/>
            <a:ext cx="7440000" cy="1335741"/>
          </a:xfrm>
          <a:prstGeom prst="rect">
            <a:avLst/>
          </a:prstGeom>
        </p:spPr>
        <p:txBody>
          <a:bodyPr/>
          <a:lstStyle>
            <a:lvl1pPr marL="0" indent="0" algn="l">
              <a:lnSpc>
                <a:spcPct val="100000"/>
              </a:lnSpc>
              <a:buNone/>
              <a:defRPr sz="2933">
                <a:solidFill>
                  <a:schemeClr val="tx1"/>
                </a:solidFill>
                <a:latin typeface="Proximus Light" panose="00000500000000000000" pitchFamily="2"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613833" y="504000"/>
            <a:ext cx="7440000" cy="1612083"/>
          </a:xfrm>
          <a:prstGeom prst="rect">
            <a:avLst/>
          </a:prstGeom>
        </p:spPr>
        <p:txBody>
          <a:bodyPr anchor="b">
            <a:noAutofit/>
          </a:bodyPr>
          <a:lstStyle>
            <a:lvl1pPr>
              <a:defRPr sz="48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702898" y="5724528"/>
            <a:ext cx="889207" cy="720725"/>
          </a:xfrm>
          <a:prstGeom prst="rect">
            <a:avLst/>
          </a:prstGeom>
        </p:spPr>
      </p:pic>
      <p:sp>
        <p:nvSpPr>
          <p:cNvPr id="2" name="Text Placeholder 1">
            <a:extLst>
              <a:ext uri="{FF2B5EF4-FFF2-40B4-BE49-F238E27FC236}">
                <a16:creationId xmlns:a16="http://schemas.microsoft.com/office/drawing/2014/main" id="{A13ED057-FB00-C414-4716-D43E229D0A38}"/>
              </a:ext>
            </a:extLst>
          </p:cNvPr>
          <p:cNvSpPr>
            <a:spLocks noGrp="1"/>
          </p:cNvSpPr>
          <p:nvPr>
            <p:ph type="body" sz="quarter" idx="10" hasCustomPrompt="1"/>
          </p:nvPr>
        </p:nvSpPr>
        <p:spPr>
          <a:xfrm>
            <a:off x="8787573" y="2"/>
            <a:ext cx="3404427" cy="3464295"/>
          </a:xfrm>
          <a:custGeom>
            <a:avLst/>
            <a:gdLst>
              <a:gd name="connsiteX0" fmla="*/ 974239 w 2553320"/>
              <a:gd name="connsiteY0" fmla="*/ 0 h 2598221"/>
              <a:gd name="connsiteX1" fmla="*/ 2553320 w 2553320"/>
              <a:gd name="connsiteY1" fmla="*/ 0 h 2598221"/>
              <a:gd name="connsiteX2" fmla="*/ 2553320 w 2553320"/>
              <a:gd name="connsiteY2" fmla="*/ 1668884 h 2598221"/>
              <a:gd name="connsiteX3" fmla="*/ 1960321 w 2553320"/>
              <a:gd name="connsiteY3" fmla="*/ 2261883 h 2598221"/>
              <a:gd name="connsiteX4" fmla="*/ 336338 w 2553320"/>
              <a:gd name="connsiteY4" fmla="*/ 2261883 h 2598221"/>
              <a:gd name="connsiteX5" fmla="*/ 336338 w 2553320"/>
              <a:gd name="connsiteY5" fmla="*/ 637901 h 259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3320" h="2598221">
                <a:moveTo>
                  <a:pt x="974239" y="0"/>
                </a:moveTo>
                <a:lnTo>
                  <a:pt x="2553320" y="0"/>
                </a:lnTo>
                <a:lnTo>
                  <a:pt x="2553320" y="1668884"/>
                </a:lnTo>
                <a:lnTo>
                  <a:pt x="1960321" y="2261883"/>
                </a:lnTo>
                <a:cubicBezTo>
                  <a:pt x="1511870" y="2710334"/>
                  <a:pt x="784789" y="2710334"/>
                  <a:pt x="336338" y="2261883"/>
                </a:cubicBezTo>
                <a:cubicBezTo>
                  <a:pt x="-112112" y="1813433"/>
                  <a:pt x="-112112" y="1086352"/>
                  <a:pt x="336338" y="637901"/>
                </a:cubicBezTo>
                <a:close/>
              </a:path>
            </a:pathLst>
          </a:custGeom>
          <a:solidFill>
            <a:schemeClr val="tx1"/>
          </a:solidFill>
        </p:spPr>
        <p:txBody>
          <a:bodyPr wrap="square" anchor="ctr">
            <a:noAutofit/>
          </a:bodyPr>
          <a:lstStyle>
            <a:lvl1pPr marL="0" indent="0" algn="ctr">
              <a:buNone/>
              <a:defRPr sz="9600">
                <a:gradFill>
                  <a:gsLst>
                    <a:gs pos="20000">
                      <a:schemeClr val="bg1"/>
                    </a:gs>
                    <a:gs pos="100000">
                      <a:srgbClr val="D22E67"/>
                    </a:gs>
                  </a:gsLst>
                  <a:lin ang="3000000" scaled="0"/>
                </a:gradFill>
                <a:latin typeface="Proximus ExtraBold" panose="020B0604020202020204" charset="0"/>
              </a:defRPr>
            </a:lvl1pPr>
          </a:lstStyle>
          <a:p>
            <a:pPr lvl="0"/>
            <a:r>
              <a:rPr lang="en-US"/>
              <a:t>xx</a:t>
            </a:r>
          </a:p>
        </p:txBody>
      </p:sp>
    </p:spTree>
    <p:extLst>
      <p:ext uri="{BB962C8B-B14F-4D97-AF65-F5344CB8AC3E}">
        <p14:creationId xmlns:p14="http://schemas.microsoft.com/office/powerpoint/2010/main" val="571346109"/>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Chapter - Illustration 1">
    <p:bg>
      <p:bgPr>
        <a:gradFill>
          <a:gsLst>
            <a:gs pos="25000">
              <a:schemeClr val="bg1"/>
            </a:gs>
            <a:gs pos="100000">
              <a:schemeClr val="bg2"/>
            </a:gs>
          </a:gsLst>
          <a:lin ang="3000000" scaled="0"/>
        </a:gra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613833" y="3064344"/>
            <a:ext cx="4673035" cy="1530233"/>
          </a:xfrm>
          <a:prstGeom prst="rect">
            <a:avLst/>
          </a:prstGeom>
        </p:spPr>
        <p:txBody>
          <a:bodyPr/>
          <a:lstStyle>
            <a:lvl1pPr marL="0" indent="0" algn="l">
              <a:lnSpc>
                <a:spcPct val="100000"/>
              </a:lnSpc>
              <a:buNone/>
              <a:defRPr sz="2933">
                <a:solidFill>
                  <a:schemeClr val="tx1"/>
                </a:solidFill>
                <a:latin typeface="Proximus Light" panose="00000500000000000000" pitchFamily="2"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613835" y="505885"/>
            <a:ext cx="6182077" cy="2214271"/>
          </a:xfrm>
          <a:prstGeom prst="rect">
            <a:avLst/>
          </a:prstGeom>
        </p:spPr>
        <p:txBody>
          <a:bodyPr anchor="b">
            <a:noAutofit/>
          </a:bodyPr>
          <a:lstStyle>
            <a:lvl1pPr>
              <a:defRPr sz="48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702898" y="5724528"/>
            <a:ext cx="889207" cy="720725"/>
          </a:xfrm>
          <a:prstGeom prst="rect">
            <a:avLst/>
          </a:prstGeom>
        </p:spPr>
      </p:pic>
      <p:pic>
        <p:nvPicPr>
          <p:cNvPr id="2" name="Graphic 1">
            <a:extLst>
              <a:ext uri="{FF2B5EF4-FFF2-40B4-BE49-F238E27FC236}">
                <a16:creationId xmlns:a16="http://schemas.microsoft.com/office/drawing/2014/main" id="{46333D4F-5D02-DCDE-F7B0-2ECA272BB486}"/>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1" t="-1139" r="5844"/>
          <a:stretch/>
        </p:blipFill>
        <p:spPr>
          <a:xfrm>
            <a:off x="5286868" y="333909"/>
            <a:ext cx="6905133" cy="5750983"/>
          </a:xfrm>
          <a:prstGeom prst="rect">
            <a:avLst/>
          </a:prstGeom>
        </p:spPr>
      </p:pic>
    </p:spTree>
    <p:extLst>
      <p:ext uri="{BB962C8B-B14F-4D97-AF65-F5344CB8AC3E}">
        <p14:creationId xmlns:p14="http://schemas.microsoft.com/office/powerpoint/2010/main" val="2368761333"/>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hapter - Illustration 2">
    <p:bg>
      <p:bgPr>
        <a:gradFill>
          <a:gsLst>
            <a:gs pos="25000">
              <a:schemeClr val="bg1"/>
            </a:gs>
            <a:gs pos="100000">
              <a:srgbClr val="D12E67"/>
            </a:gs>
          </a:gsLst>
          <a:lin ang="3000000" scaled="0"/>
        </a:gradFill>
        <a:effectLst/>
      </p:bgPr>
    </p:bg>
    <p:spTree>
      <p:nvGrpSpPr>
        <p:cNvPr id="1" name=""/>
        <p:cNvGrpSpPr/>
        <p:nvPr/>
      </p:nvGrpSpPr>
      <p:grpSpPr>
        <a:xfrm>
          <a:off x="0" y="0"/>
          <a:ext cx="0" cy="0"/>
          <a:chOff x="0" y="0"/>
          <a:chExt cx="0" cy="0"/>
        </a:xfrm>
      </p:grpSpPr>
      <p:pic>
        <p:nvPicPr>
          <p:cNvPr id="70" name="Graphic 69">
            <a:extLst>
              <a:ext uri="{FF2B5EF4-FFF2-40B4-BE49-F238E27FC236}">
                <a16:creationId xmlns:a16="http://schemas.microsoft.com/office/drawing/2014/main" id="{ADBF8575-D13C-292D-662F-9F9FA797F75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 r="39144" b="15694"/>
          <a:stretch/>
        </p:blipFill>
        <p:spPr>
          <a:xfrm>
            <a:off x="2925234" y="1579034"/>
            <a:ext cx="9266767" cy="5278967"/>
          </a:xfrm>
          <a:prstGeom prst="rect">
            <a:avLst/>
          </a:prstGeom>
        </p:spPr>
      </p:pic>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613833" y="3064344"/>
            <a:ext cx="4673035" cy="1530233"/>
          </a:xfrm>
          <a:prstGeom prst="rect">
            <a:avLst/>
          </a:prstGeom>
        </p:spPr>
        <p:txBody>
          <a:bodyPr/>
          <a:lstStyle>
            <a:lvl1pPr marL="0" indent="0" algn="l">
              <a:lnSpc>
                <a:spcPct val="100000"/>
              </a:lnSpc>
              <a:buNone/>
              <a:defRPr sz="2933">
                <a:solidFill>
                  <a:schemeClr val="tx1"/>
                </a:solidFill>
                <a:latin typeface="Proximus Light" panose="00000500000000000000" pitchFamily="2"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613835" y="505885"/>
            <a:ext cx="6182077" cy="2214271"/>
          </a:xfrm>
          <a:prstGeom prst="rect">
            <a:avLst/>
          </a:prstGeom>
        </p:spPr>
        <p:txBody>
          <a:bodyPr anchor="b">
            <a:noAutofit/>
          </a:bodyPr>
          <a:lstStyle>
            <a:lvl1pPr>
              <a:defRPr sz="48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702898" y="5724528"/>
            <a:ext cx="889207" cy="720725"/>
          </a:xfrm>
          <a:prstGeom prst="rect">
            <a:avLst/>
          </a:prstGeom>
        </p:spPr>
      </p:pic>
    </p:spTree>
    <p:extLst>
      <p:ext uri="{BB962C8B-B14F-4D97-AF65-F5344CB8AC3E}">
        <p14:creationId xmlns:p14="http://schemas.microsoft.com/office/powerpoint/2010/main" val="239916458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Chapter - Illustration 3">
    <p:bg>
      <p:bgPr>
        <a:gradFill>
          <a:gsLst>
            <a:gs pos="25000">
              <a:schemeClr val="bg1"/>
            </a:gs>
            <a:gs pos="100000">
              <a:schemeClr val="accent4"/>
            </a:gs>
          </a:gsLst>
          <a:lin ang="3000000" scaled="0"/>
        </a:gradFill>
        <a:effectLst/>
      </p:bgPr>
    </p:bg>
    <p:spTree>
      <p:nvGrpSpPr>
        <p:cNvPr id="1" name=""/>
        <p:cNvGrpSpPr/>
        <p:nvPr/>
      </p:nvGrpSpPr>
      <p:grpSpPr>
        <a:xfrm>
          <a:off x="0" y="0"/>
          <a:ext cx="0" cy="0"/>
          <a:chOff x="0" y="0"/>
          <a:chExt cx="0" cy="0"/>
        </a:xfrm>
      </p:grpSpPr>
      <p:pic>
        <p:nvPicPr>
          <p:cNvPr id="3" name="Picture 2" descr="Icon&#10;&#10;Description automatically generated">
            <a:extLst>
              <a:ext uri="{FF2B5EF4-FFF2-40B4-BE49-F238E27FC236}">
                <a16:creationId xmlns:a16="http://schemas.microsoft.com/office/drawing/2014/main" id="{10C2C515-BD5B-1EA9-81D6-9F705E41FA66}"/>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7294354" y="343905"/>
            <a:ext cx="4897647" cy="6514096"/>
          </a:xfrm>
          <a:prstGeom prst="rect">
            <a:avLst/>
          </a:prstGeom>
        </p:spPr>
      </p:pic>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613833" y="3064344"/>
            <a:ext cx="6182076" cy="1530233"/>
          </a:xfrm>
          <a:prstGeom prst="rect">
            <a:avLst/>
          </a:prstGeom>
        </p:spPr>
        <p:txBody>
          <a:bodyPr/>
          <a:lstStyle>
            <a:lvl1pPr marL="0" indent="0" algn="l">
              <a:lnSpc>
                <a:spcPct val="100000"/>
              </a:lnSpc>
              <a:buNone/>
              <a:defRPr sz="2933">
                <a:solidFill>
                  <a:schemeClr val="tx1"/>
                </a:solidFill>
                <a:latin typeface="Proximus Light" panose="00000500000000000000" pitchFamily="2"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613835" y="505885"/>
            <a:ext cx="6182077" cy="2214271"/>
          </a:xfrm>
          <a:prstGeom prst="rect">
            <a:avLst/>
          </a:prstGeom>
        </p:spPr>
        <p:txBody>
          <a:bodyPr anchor="b">
            <a:noAutofit/>
          </a:bodyPr>
          <a:lstStyle>
            <a:lvl1pPr>
              <a:defRPr sz="48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702898" y="5724528"/>
            <a:ext cx="889207" cy="720725"/>
          </a:xfrm>
          <a:prstGeom prst="rect">
            <a:avLst/>
          </a:prstGeom>
        </p:spPr>
      </p:pic>
    </p:spTree>
    <p:extLst>
      <p:ext uri="{BB962C8B-B14F-4D97-AF65-F5344CB8AC3E}">
        <p14:creationId xmlns:p14="http://schemas.microsoft.com/office/powerpoint/2010/main" val="3001055884"/>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hapter - Illustration 4">
    <p:bg>
      <p:bgPr>
        <a:gradFill>
          <a:gsLst>
            <a:gs pos="25000">
              <a:schemeClr val="bg1"/>
            </a:gs>
            <a:gs pos="100000">
              <a:srgbClr val="EAC883"/>
            </a:gs>
          </a:gsLst>
          <a:lin ang="3000000" scaled="0"/>
        </a:gra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322754B0-B2D7-9557-F5B0-DF92C09F740E}"/>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9478" b="16358"/>
          <a:stretch/>
        </p:blipFill>
        <p:spPr>
          <a:xfrm>
            <a:off x="6172202" y="742947"/>
            <a:ext cx="6019799" cy="6115053"/>
          </a:xfrm>
          <a:prstGeom prst="rect">
            <a:avLst/>
          </a:prstGeom>
        </p:spPr>
      </p:pic>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613833" y="3064344"/>
            <a:ext cx="5151968" cy="1530233"/>
          </a:xfrm>
          <a:prstGeom prst="rect">
            <a:avLst/>
          </a:prstGeom>
        </p:spPr>
        <p:txBody>
          <a:bodyPr/>
          <a:lstStyle>
            <a:lvl1pPr marL="0" indent="0" algn="l">
              <a:lnSpc>
                <a:spcPct val="100000"/>
              </a:lnSpc>
              <a:buNone/>
              <a:defRPr sz="2933">
                <a:solidFill>
                  <a:schemeClr val="tx1"/>
                </a:solidFill>
                <a:latin typeface="Proximus Light" panose="00000500000000000000" pitchFamily="2"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613835" y="505885"/>
            <a:ext cx="5151967" cy="2214271"/>
          </a:xfrm>
          <a:prstGeom prst="rect">
            <a:avLst/>
          </a:prstGeom>
        </p:spPr>
        <p:txBody>
          <a:bodyPr anchor="b">
            <a:noAutofit/>
          </a:bodyPr>
          <a:lstStyle>
            <a:lvl1pPr>
              <a:defRPr sz="48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702898" y="5724528"/>
            <a:ext cx="889207" cy="720725"/>
          </a:xfrm>
          <a:prstGeom prst="rect">
            <a:avLst/>
          </a:prstGeom>
        </p:spPr>
      </p:pic>
    </p:spTree>
    <p:extLst>
      <p:ext uri="{BB962C8B-B14F-4D97-AF65-F5344CB8AC3E}">
        <p14:creationId xmlns:p14="http://schemas.microsoft.com/office/powerpoint/2010/main" val="387113616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Chapter - Illustration 5">
    <p:bg>
      <p:bgPr>
        <a:gradFill>
          <a:gsLst>
            <a:gs pos="25000">
              <a:schemeClr val="bg1"/>
            </a:gs>
            <a:gs pos="100000">
              <a:schemeClr val="accent4"/>
            </a:gs>
          </a:gsLst>
          <a:lin ang="3000000" scaled="0"/>
        </a:gra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65239C8-7CD4-1BC6-7DEE-6C7FCFAD4C10}"/>
              </a:ext>
            </a:extLst>
          </p:cNvPr>
          <p:cNvPicPr>
            <a:picLocks noChangeAspect="1"/>
          </p:cNvPicPr>
          <p:nvPr userDrawn="1"/>
        </p:nvPicPr>
        <p:blipFill>
          <a:blip r:embed="rId2"/>
          <a:srcRect/>
          <a:stretch/>
        </p:blipFill>
        <p:spPr>
          <a:xfrm>
            <a:off x="618839" y="3889691"/>
            <a:ext cx="10892420" cy="3052147"/>
          </a:xfrm>
          <a:prstGeom prst="rect">
            <a:avLst/>
          </a:prstGeom>
        </p:spPr>
      </p:pic>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613833" y="3064343"/>
            <a:ext cx="6194929" cy="2214271"/>
          </a:xfrm>
          <a:prstGeom prst="rect">
            <a:avLst/>
          </a:prstGeom>
        </p:spPr>
        <p:txBody>
          <a:bodyPr/>
          <a:lstStyle>
            <a:lvl1pPr marL="0" indent="0" algn="l">
              <a:lnSpc>
                <a:spcPct val="100000"/>
              </a:lnSpc>
              <a:buNone/>
              <a:defRPr sz="2933">
                <a:solidFill>
                  <a:schemeClr val="tx1"/>
                </a:solidFill>
                <a:latin typeface="Proximus Light" panose="00000500000000000000" pitchFamily="2"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613834" y="505885"/>
            <a:ext cx="7051321" cy="2214271"/>
          </a:xfrm>
          <a:prstGeom prst="rect">
            <a:avLst/>
          </a:prstGeom>
        </p:spPr>
        <p:txBody>
          <a:bodyPr anchor="b">
            <a:noAutofit/>
          </a:bodyPr>
          <a:lstStyle>
            <a:lvl1pPr>
              <a:defRPr sz="48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702898" y="5724528"/>
            <a:ext cx="889207" cy="720725"/>
          </a:xfrm>
          <a:prstGeom prst="rect">
            <a:avLst/>
          </a:prstGeom>
        </p:spPr>
      </p:pic>
    </p:spTree>
    <p:extLst>
      <p:ext uri="{BB962C8B-B14F-4D97-AF65-F5344CB8AC3E}">
        <p14:creationId xmlns:p14="http://schemas.microsoft.com/office/powerpoint/2010/main" val="194738919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hapter - Illustration 6">
    <p:bg>
      <p:bgPr>
        <a:gradFill>
          <a:gsLst>
            <a:gs pos="25000">
              <a:schemeClr val="bg1"/>
            </a:gs>
            <a:gs pos="100000">
              <a:schemeClr val="accent5"/>
            </a:gs>
          </a:gsLst>
          <a:lin ang="3000000" scaled="0"/>
        </a:gra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BF8378EB-DAE3-4981-AF59-0C39556517E6}"/>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 r="8768" b="5820"/>
          <a:stretch/>
        </p:blipFill>
        <p:spPr>
          <a:xfrm>
            <a:off x="3046829" y="2462401"/>
            <a:ext cx="9145171" cy="4395599"/>
          </a:xfrm>
          <a:prstGeom prst="rect">
            <a:avLst/>
          </a:prstGeom>
        </p:spPr>
      </p:pic>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613834" y="2462401"/>
            <a:ext cx="4381500" cy="2214271"/>
          </a:xfrm>
          <a:prstGeom prst="rect">
            <a:avLst/>
          </a:prstGeom>
        </p:spPr>
        <p:txBody>
          <a:bodyPr/>
          <a:lstStyle>
            <a:lvl1pPr marL="0" indent="0" algn="l">
              <a:lnSpc>
                <a:spcPct val="100000"/>
              </a:lnSpc>
              <a:buNone/>
              <a:defRPr sz="2933">
                <a:solidFill>
                  <a:schemeClr val="tx1"/>
                </a:solidFill>
                <a:latin typeface="Proximus Light" panose="00000500000000000000" pitchFamily="2"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613834" y="505883"/>
            <a:ext cx="10960100" cy="1612800"/>
          </a:xfrm>
          <a:prstGeom prst="rect">
            <a:avLst/>
          </a:prstGeom>
        </p:spPr>
        <p:txBody>
          <a:bodyPr anchor="b">
            <a:noAutofit/>
          </a:bodyPr>
          <a:lstStyle>
            <a:lvl1pPr>
              <a:defRPr sz="48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702898" y="5724528"/>
            <a:ext cx="889207" cy="720725"/>
          </a:xfrm>
          <a:prstGeom prst="rect">
            <a:avLst/>
          </a:prstGeom>
        </p:spPr>
      </p:pic>
    </p:spTree>
    <p:extLst>
      <p:ext uri="{BB962C8B-B14F-4D97-AF65-F5344CB8AC3E}">
        <p14:creationId xmlns:p14="http://schemas.microsoft.com/office/powerpoint/2010/main" val="3291009956"/>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ubchapter - White">
    <p:bg>
      <p:bgPr>
        <a:solidFill>
          <a:schemeClr val="tx1"/>
        </a:soli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613834" y="2460272"/>
            <a:ext cx="8225367" cy="1335741"/>
          </a:xfrm>
          <a:prstGeom prst="rect">
            <a:avLst/>
          </a:prstGeom>
        </p:spPr>
        <p:txBody>
          <a:bodyPr/>
          <a:lstStyle>
            <a:lvl1pPr marL="0" indent="0" algn="l">
              <a:lnSpc>
                <a:spcPct val="100000"/>
              </a:lnSpc>
              <a:buNone/>
              <a:defRPr sz="2667">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613834" y="504000"/>
            <a:ext cx="8225367" cy="1612083"/>
          </a:xfrm>
          <a:prstGeom prst="rect">
            <a:avLst/>
          </a:prstGeom>
        </p:spPr>
        <p:txBody>
          <a:bodyPr anchor="b">
            <a:noAutofit/>
          </a:bodyPr>
          <a:lstStyle>
            <a:lvl1pPr>
              <a:defRPr sz="4267" b="0">
                <a:solidFill>
                  <a:schemeClr val="bg1"/>
                </a:solidFill>
                <a:latin typeface="Proximus Light" panose="020B0604020202020204" charset="0"/>
              </a:defRPr>
            </a:lvl1pPr>
          </a:lstStyle>
          <a:p>
            <a:r>
              <a:rPr lang="en-US"/>
              <a:t>Click to edit </a:t>
            </a:r>
            <a:br>
              <a:rPr lang="en-US"/>
            </a:br>
            <a:r>
              <a:rPr lang="en-US"/>
              <a:t>subchapter title</a:t>
            </a:r>
            <a:endParaRPr lang="nl-BE"/>
          </a:p>
        </p:txBody>
      </p:sp>
      <p:pic>
        <p:nvPicPr>
          <p:cNvPr id="2" name="Graphic 1">
            <a:extLst>
              <a:ext uri="{FF2B5EF4-FFF2-40B4-BE49-F238E27FC236}">
                <a16:creationId xmlns:a16="http://schemas.microsoft.com/office/drawing/2014/main" id="{E679911C-93F9-B87D-B3FA-11770F8ED2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02898" y="5724528"/>
            <a:ext cx="890679" cy="720725"/>
          </a:xfrm>
          <a:prstGeom prst="rect">
            <a:avLst/>
          </a:prstGeom>
        </p:spPr>
      </p:pic>
      <p:sp>
        <p:nvSpPr>
          <p:cNvPr id="3" name="Text Placeholder 2">
            <a:extLst>
              <a:ext uri="{FF2B5EF4-FFF2-40B4-BE49-F238E27FC236}">
                <a16:creationId xmlns:a16="http://schemas.microsoft.com/office/drawing/2014/main" id="{52EFA49A-5254-AD86-1692-AD2FEDB27285}"/>
              </a:ext>
            </a:extLst>
          </p:cNvPr>
          <p:cNvSpPr>
            <a:spLocks noGrp="1"/>
          </p:cNvSpPr>
          <p:nvPr>
            <p:ph type="body" sz="quarter" idx="10" hasCustomPrompt="1"/>
          </p:nvPr>
        </p:nvSpPr>
        <p:spPr>
          <a:xfrm>
            <a:off x="9398000" y="2"/>
            <a:ext cx="2794000" cy="2843133"/>
          </a:xfrm>
          <a:custGeom>
            <a:avLst/>
            <a:gdLst>
              <a:gd name="connsiteX0" fmla="*/ 974239 w 2553320"/>
              <a:gd name="connsiteY0" fmla="*/ 0 h 2598221"/>
              <a:gd name="connsiteX1" fmla="*/ 2553320 w 2553320"/>
              <a:gd name="connsiteY1" fmla="*/ 0 h 2598221"/>
              <a:gd name="connsiteX2" fmla="*/ 2553320 w 2553320"/>
              <a:gd name="connsiteY2" fmla="*/ 1668884 h 2598221"/>
              <a:gd name="connsiteX3" fmla="*/ 1960321 w 2553320"/>
              <a:gd name="connsiteY3" fmla="*/ 2261883 h 2598221"/>
              <a:gd name="connsiteX4" fmla="*/ 336338 w 2553320"/>
              <a:gd name="connsiteY4" fmla="*/ 2261883 h 2598221"/>
              <a:gd name="connsiteX5" fmla="*/ 336338 w 2553320"/>
              <a:gd name="connsiteY5" fmla="*/ 637901 h 259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3320" h="2598221">
                <a:moveTo>
                  <a:pt x="974239" y="0"/>
                </a:moveTo>
                <a:lnTo>
                  <a:pt x="2553320" y="0"/>
                </a:lnTo>
                <a:lnTo>
                  <a:pt x="2553320" y="1668884"/>
                </a:lnTo>
                <a:lnTo>
                  <a:pt x="1960321" y="2261883"/>
                </a:lnTo>
                <a:cubicBezTo>
                  <a:pt x="1511870" y="2710334"/>
                  <a:pt x="784789" y="2710334"/>
                  <a:pt x="336338" y="2261883"/>
                </a:cubicBezTo>
                <a:cubicBezTo>
                  <a:pt x="-112112" y="1813433"/>
                  <a:pt x="-112112" y="1086352"/>
                  <a:pt x="336338" y="637901"/>
                </a:cubicBezTo>
                <a:close/>
              </a:path>
            </a:pathLst>
          </a:custGeom>
          <a:gradFill>
            <a:gsLst>
              <a:gs pos="20000">
                <a:schemeClr val="bg1"/>
              </a:gs>
              <a:gs pos="100000">
                <a:srgbClr val="D22E67"/>
              </a:gs>
            </a:gsLst>
            <a:lin ang="7200000" scaled="0"/>
          </a:gradFill>
        </p:spPr>
        <p:txBody>
          <a:bodyPr wrap="square" anchor="ctr">
            <a:noAutofit/>
          </a:bodyPr>
          <a:lstStyle>
            <a:lvl1pPr marL="0" indent="0" algn="ctr">
              <a:buNone/>
              <a:defRPr sz="8000">
                <a:solidFill>
                  <a:schemeClr val="tx1"/>
                </a:solidFill>
                <a:latin typeface="Proximus Light" panose="020B0604020202020204" charset="0"/>
              </a:defRPr>
            </a:lvl1pPr>
          </a:lstStyle>
          <a:p>
            <a:pPr lvl="0"/>
            <a:r>
              <a:rPr lang="en-US"/>
              <a:t>xx</a:t>
            </a:r>
          </a:p>
        </p:txBody>
      </p:sp>
    </p:spTree>
    <p:extLst>
      <p:ext uri="{BB962C8B-B14F-4D97-AF65-F5344CB8AC3E}">
        <p14:creationId xmlns:p14="http://schemas.microsoft.com/office/powerpoint/2010/main" val="213545995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ontent slide - white bg - bullet men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3837" y="503768"/>
            <a:ext cx="10962217" cy="880123"/>
          </a:xfrm>
          <a:prstGeom prst="rect">
            <a:avLst/>
          </a:prstGeom>
        </p:spPr>
        <p:txBody>
          <a:bodyPr anchor="t"/>
          <a:lstStyle>
            <a:lvl1pPr>
              <a:defRPr b="1"/>
            </a:lvl1pPr>
          </a:lstStyle>
          <a:p>
            <a:r>
              <a:rPr lang="en-US"/>
              <a:t>Click to edit slide title</a:t>
            </a:r>
            <a:endParaRPr lang="nl-BE"/>
          </a:p>
        </p:txBody>
      </p:sp>
      <p:sp>
        <p:nvSpPr>
          <p:cNvPr id="11" name="Text Placeholder 2">
            <a:extLst>
              <a:ext uri="{FF2B5EF4-FFF2-40B4-BE49-F238E27FC236}">
                <a16:creationId xmlns:a16="http://schemas.microsoft.com/office/drawing/2014/main" id="{10193D06-FB5B-42EC-9101-F77EE2C16642}"/>
              </a:ext>
            </a:extLst>
          </p:cNvPr>
          <p:cNvSpPr>
            <a:spLocks noGrp="1"/>
          </p:cNvSpPr>
          <p:nvPr>
            <p:ph idx="1"/>
          </p:nvPr>
        </p:nvSpPr>
        <p:spPr>
          <a:xfrm>
            <a:off x="613835" y="1382400"/>
            <a:ext cx="10962216" cy="4690317"/>
          </a:xfrm>
          <a:prstGeom prst="rect">
            <a:avLst/>
          </a:prstGeom>
        </p:spPr>
        <p:txBody>
          <a:bodyPr vert="horz" lIns="0" tIns="0" rIns="0" bIns="0" numCol="1" spcCol="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Tree>
    <p:extLst>
      <p:ext uri="{BB962C8B-B14F-4D97-AF65-F5344CB8AC3E}">
        <p14:creationId xmlns:p14="http://schemas.microsoft.com/office/powerpoint/2010/main" val="22199921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XS ADA - Agenda table">
    <p:bg>
      <p:bgPr>
        <a:solidFill>
          <a:srgbClr val="03001D"/>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7BD0BCD-052F-D626-5652-5C4FDC56CBD9}"/>
              </a:ext>
              <a:ext uri="{C183D7F6-B498-43B3-948B-1728B52AA6E4}">
                <adec:decorative xmlns:adec="http://schemas.microsoft.com/office/drawing/2017/decorative" val="1"/>
              </a:ext>
            </a:extLst>
          </p:cNvPr>
          <p:cNvPicPr>
            <a:picLocks/>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400" y="1"/>
            <a:ext cx="12192400" cy="6858225"/>
          </a:xfrm>
          <a:prstGeom prst="rect">
            <a:avLst/>
          </a:prstGeom>
        </p:spPr>
      </p:pic>
      <p:sp>
        <p:nvSpPr>
          <p:cNvPr id="2" name="Rectangle 1">
            <a:extLst>
              <a:ext uri="{FF2B5EF4-FFF2-40B4-BE49-F238E27FC236}">
                <a16:creationId xmlns:a16="http://schemas.microsoft.com/office/drawing/2014/main" id="{A3D9D617-5E47-DB8F-04C1-B62D7322FC5B}"/>
              </a:ext>
            </a:extLst>
          </p:cNvPr>
          <p:cNvSpPr/>
          <p:nvPr userDrawn="1"/>
        </p:nvSpPr>
        <p:spPr>
          <a:xfrm>
            <a:off x="-1600" y="1"/>
            <a:ext cx="12193600" cy="6858225"/>
          </a:xfrm>
          <a:prstGeom prst="rect">
            <a:avLst/>
          </a:prstGeom>
          <a:gradFill>
            <a:gsLst>
              <a:gs pos="0">
                <a:srgbClr val="5C2D91"/>
              </a:gs>
              <a:gs pos="60000">
                <a:srgbClr val="5C2D91">
                  <a:alpha val="0"/>
                </a:srgb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2400"/>
          </a:p>
        </p:txBody>
      </p:sp>
      <p:sp>
        <p:nvSpPr>
          <p:cNvPr id="5" name="Table Placeholder 4">
            <a:extLst>
              <a:ext uri="{FF2B5EF4-FFF2-40B4-BE49-F238E27FC236}">
                <a16:creationId xmlns:a16="http://schemas.microsoft.com/office/drawing/2014/main" id="{91FB02AA-1631-D8D3-B0CE-271BB2955B33}"/>
              </a:ext>
            </a:extLst>
          </p:cNvPr>
          <p:cNvSpPr>
            <a:spLocks noGrp="1"/>
          </p:cNvSpPr>
          <p:nvPr>
            <p:ph type="tbl" sz="quarter" idx="10"/>
          </p:nvPr>
        </p:nvSpPr>
        <p:spPr>
          <a:xfrm>
            <a:off x="624418" y="702731"/>
            <a:ext cx="10951636" cy="5653620"/>
          </a:xfrm>
        </p:spPr>
        <p:txBody>
          <a:bodyPr/>
          <a:lstStyle/>
          <a:p>
            <a:r>
              <a:rPr lang="en-US"/>
              <a:t>Click icon to add table</a:t>
            </a:r>
            <a:endParaRPr lang="en-BE"/>
          </a:p>
        </p:txBody>
      </p:sp>
      <p:sp>
        <p:nvSpPr>
          <p:cNvPr id="9" name="Title 1">
            <a:extLst>
              <a:ext uri="{FF2B5EF4-FFF2-40B4-BE49-F238E27FC236}">
                <a16:creationId xmlns:a16="http://schemas.microsoft.com/office/drawing/2014/main" id="{DD02D28E-A598-673E-D76D-967C8033BB31}"/>
              </a:ext>
            </a:extLst>
          </p:cNvPr>
          <p:cNvSpPr>
            <a:spLocks noGrp="1"/>
          </p:cNvSpPr>
          <p:nvPr>
            <p:ph type="title" hasCustomPrompt="1"/>
          </p:nvPr>
        </p:nvSpPr>
        <p:spPr>
          <a:xfrm>
            <a:off x="4622800" y="503767"/>
            <a:ext cx="6953253" cy="880532"/>
          </a:xfrm>
        </p:spPr>
        <p:txBody>
          <a:bodyPr anchor="t"/>
          <a:lstStyle>
            <a:lvl1pPr algn="r">
              <a:defRPr b="0">
                <a:solidFill>
                  <a:schemeClr val="tx1"/>
                </a:solidFill>
              </a:defRPr>
            </a:lvl1pPr>
          </a:lstStyle>
          <a:p>
            <a:r>
              <a:rPr lang="en-US"/>
              <a:t>Edit to add title</a:t>
            </a:r>
            <a:endParaRPr lang="nl-BE"/>
          </a:p>
        </p:txBody>
      </p:sp>
    </p:spTree>
    <p:extLst>
      <p:ext uri="{BB962C8B-B14F-4D97-AF65-F5344CB8AC3E}">
        <p14:creationId xmlns:p14="http://schemas.microsoft.com/office/powerpoint/2010/main" val="28999839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PXS ADA - generic content - white 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b="0">
                <a:solidFill>
                  <a:schemeClr val="bg1"/>
                </a:solidFill>
              </a:defRPr>
            </a:lvl1pPr>
          </a:lstStyle>
          <a:p>
            <a:r>
              <a:rPr lang="en-US"/>
              <a:t>Click to edit slide title</a:t>
            </a:r>
            <a:endParaRPr lang="nl-BE"/>
          </a:p>
        </p:txBody>
      </p:sp>
      <p:sp>
        <p:nvSpPr>
          <p:cNvPr id="11" name="Text Placeholder 2">
            <a:extLst>
              <a:ext uri="{FF2B5EF4-FFF2-40B4-BE49-F238E27FC236}">
                <a16:creationId xmlns:a16="http://schemas.microsoft.com/office/drawing/2014/main" id="{10193D06-FB5B-42EC-9101-F77EE2C16642}"/>
              </a:ext>
            </a:extLst>
          </p:cNvPr>
          <p:cNvSpPr>
            <a:spLocks noGrp="1"/>
          </p:cNvSpPr>
          <p:nvPr>
            <p:ph idx="1"/>
          </p:nvPr>
        </p:nvSpPr>
        <p:spPr>
          <a:xfrm>
            <a:off x="613835" y="1382399"/>
            <a:ext cx="10962216" cy="4878700"/>
          </a:xfrm>
          <a:prstGeom prst="rect">
            <a:avLst/>
          </a:prstGeom>
        </p:spPr>
        <p:txBody>
          <a:bodyPr vert="horz" lIns="0" tIns="0" rIns="0" bIns="0" numCol="1" spcCol="0" rtlCol="0" anchor="t" anchorCtr="0">
            <a:noAutofit/>
          </a:bodyPr>
          <a:lstStyle>
            <a:lvl1pPr>
              <a:defRPr>
                <a:solidFill>
                  <a:schemeClr val="accent6"/>
                </a:solidFill>
              </a:defRPr>
            </a:lvl1pPr>
            <a:lvl2pPr>
              <a:buClr>
                <a:schemeClr val="bg1"/>
              </a:buClr>
              <a:defRPr>
                <a:solidFill>
                  <a:schemeClr val="accent6"/>
                </a:solidFill>
              </a:defRPr>
            </a:lvl2pPr>
            <a:lvl3pPr>
              <a:buClr>
                <a:schemeClr val="bg1"/>
              </a:buClr>
              <a:defRPr>
                <a:solidFill>
                  <a:schemeClr val="accent6"/>
                </a:solidFill>
              </a:defRPr>
            </a:lvl3pPr>
            <a:lvl4pPr>
              <a:buClr>
                <a:schemeClr val="bg1"/>
              </a:buClr>
              <a:defRPr>
                <a:solidFill>
                  <a:schemeClr val="accent6"/>
                </a:solidFill>
              </a:defRPr>
            </a:lvl4pPr>
            <a:lvl5pPr>
              <a:defRPr>
                <a:solidFill>
                  <a:schemeClr val="accent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BE"/>
          </a:p>
        </p:txBody>
      </p:sp>
    </p:spTree>
    <p:extLst>
      <p:ext uri="{BB962C8B-B14F-4D97-AF65-F5344CB8AC3E}">
        <p14:creationId xmlns:p14="http://schemas.microsoft.com/office/powerpoint/2010/main" val="2681930596"/>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Content slide - white bg - Subtitle - bullet men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3837" y="503769"/>
            <a:ext cx="10962217" cy="533399"/>
          </a:xfrm>
          <a:prstGeom prst="rect">
            <a:avLst/>
          </a:prstGeom>
        </p:spPr>
        <p:txBody>
          <a:bodyPr anchor="t"/>
          <a:lstStyle>
            <a:lvl1pPr>
              <a:defRPr b="1"/>
            </a:lvl1pPr>
          </a:lstStyle>
          <a:p>
            <a:r>
              <a:rPr lang="en-US"/>
              <a:t>Click to edit slide title</a:t>
            </a:r>
            <a:endParaRPr lang="nl-BE"/>
          </a:p>
        </p:txBody>
      </p:sp>
      <p:sp>
        <p:nvSpPr>
          <p:cNvPr id="11" name="Text Placeholder 2">
            <a:extLst>
              <a:ext uri="{FF2B5EF4-FFF2-40B4-BE49-F238E27FC236}">
                <a16:creationId xmlns:a16="http://schemas.microsoft.com/office/drawing/2014/main" id="{10193D06-FB5B-42EC-9101-F77EE2C16642}"/>
              </a:ext>
            </a:extLst>
          </p:cNvPr>
          <p:cNvSpPr>
            <a:spLocks noGrp="1"/>
          </p:cNvSpPr>
          <p:nvPr>
            <p:ph idx="1" hasCustomPrompt="1"/>
          </p:nvPr>
        </p:nvSpPr>
        <p:spPr>
          <a:xfrm>
            <a:off x="613835" y="2057400"/>
            <a:ext cx="10962216" cy="4015317"/>
          </a:xfrm>
          <a:prstGeom prst="rect">
            <a:avLst/>
          </a:prstGeom>
        </p:spPr>
        <p:txBody>
          <a:bodyPr vert="horz" lIns="0" tIns="0" rIns="0" bIns="0" numCol="1" spcCol="0" rtlCol="0" anchor="t" anchorCtr="0">
            <a:noAutofit/>
          </a:bodyPr>
          <a:lstStyle>
            <a:lvl2pPr marL="479988" indent="-235194">
              <a:spcBef>
                <a:spcPts val="800"/>
              </a:spcBef>
              <a:defRPr/>
            </a:lvl2pPr>
            <a:lvl3pPr>
              <a:spcBef>
                <a:spcPts val="800"/>
              </a:spcBef>
              <a:defRPr/>
            </a:lvl3pPr>
            <a:lvl4pPr>
              <a:spcBef>
                <a:spcPts val="1600"/>
              </a:spcBef>
              <a:defRPr/>
            </a:lvl4pPr>
            <a:lvl5pPr>
              <a:spcBef>
                <a:spcPts val="24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6" name="Text Placeholder 5">
            <a:extLst>
              <a:ext uri="{FF2B5EF4-FFF2-40B4-BE49-F238E27FC236}">
                <a16:creationId xmlns:a16="http://schemas.microsoft.com/office/drawing/2014/main" id="{3CFA2924-4BFC-CB4A-33EA-AFA2F3E1085E}"/>
              </a:ext>
            </a:extLst>
          </p:cNvPr>
          <p:cNvSpPr>
            <a:spLocks noGrp="1"/>
          </p:cNvSpPr>
          <p:nvPr>
            <p:ph type="body" sz="quarter" idx="12"/>
          </p:nvPr>
        </p:nvSpPr>
        <p:spPr>
          <a:xfrm>
            <a:off x="624417" y="1138501"/>
            <a:ext cx="10962216" cy="393967"/>
          </a:xfrm>
          <a:prstGeom prst="rect">
            <a:avLst/>
          </a:prstGeom>
        </p:spPr>
        <p:txBody>
          <a:bodyPr/>
          <a:lstStyle>
            <a:lvl1pPr marL="0" indent="0">
              <a:buNone/>
              <a:defRPr sz="2133">
                <a:solidFill>
                  <a:schemeClr val="bg1"/>
                </a:solidFill>
                <a:latin typeface="Proximus Light" panose="020B0604020202020204" charset="0"/>
              </a:defRPr>
            </a:lvl1pPr>
          </a:lstStyle>
          <a:p>
            <a:pPr lvl="0"/>
            <a:r>
              <a:rPr lang="en-US"/>
              <a:t>Click to edit Master text styles</a:t>
            </a:r>
          </a:p>
        </p:txBody>
      </p:sp>
    </p:spTree>
    <p:extLst>
      <p:ext uri="{BB962C8B-B14F-4D97-AF65-F5344CB8AC3E}">
        <p14:creationId xmlns:p14="http://schemas.microsoft.com/office/powerpoint/2010/main" val="4042071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ontent slide - white bg -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3837" y="503768"/>
            <a:ext cx="10962217" cy="880123"/>
          </a:xfrm>
          <a:prstGeom prst="rect">
            <a:avLst/>
          </a:prstGeom>
        </p:spPr>
        <p:txBody>
          <a:bodyPr anchor="t"/>
          <a:lstStyle>
            <a:lvl1pPr>
              <a:defRPr b="1"/>
            </a:lvl1pPr>
          </a:lstStyle>
          <a:p>
            <a:r>
              <a:rPr lang="en-US"/>
              <a:t>Click to edit slide title</a:t>
            </a:r>
            <a:endParaRPr lang="nl-BE"/>
          </a:p>
        </p:txBody>
      </p:sp>
    </p:spTree>
    <p:extLst>
      <p:ext uri="{BB962C8B-B14F-4D97-AF65-F5344CB8AC3E}">
        <p14:creationId xmlns:p14="http://schemas.microsoft.com/office/powerpoint/2010/main" val="1448470822"/>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ontent slide - white bg - 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3837" y="503769"/>
            <a:ext cx="10962217" cy="533399"/>
          </a:xfrm>
          <a:prstGeom prst="rect">
            <a:avLst/>
          </a:prstGeom>
        </p:spPr>
        <p:txBody>
          <a:bodyPr anchor="t"/>
          <a:lstStyle>
            <a:lvl1pPr>
              <a:defRPr b="1"/>
            </a:lvl1pPr>
          </a:lstStyle>
          <a:p>
            <a:r>
              <a:rPr lang="en-US"/>
              <a:t>Click to edit slide title</a:t>
            </a:r>
            <a:endParaRPr lang="nl-BE"/>
          </a:p>
        </p:txBody>
      </p:sp>
      <p:sp>
        <p:nvSpPr>
          <p:cNvPr id="6" name="Text Placeholder 5">
            <a:extLst>
              <a:ext uri="{FF2B5EF4-FFF2-40B4-BE49-F238E27FC236}">
                <a16:creationId xmlns:a16="http://schemas.microsoft.com/office/drawing/2014/main" id="{3CFA2924-4BFC-CB4A-33EA-AFA2F3E1085E}"/>
              </a:ext>
            </a:extLst>
          </p:cNvPr>
          <p:cNvSpPr>
            <a:spLocks noGrp="1"/>
          </p:cNvSpPr>
          <p:nvPr>
            <p:ph type="body" sz="quarter" idx="12"/>
          </p:nvPr>
        </p:nvSpPr>
        <p:spPr>
          <a:xfrm>
            <a:off x="624417" y="1138501"/>
            <a:ext cx="10962216" cy="393967"/>
          </a:xfrm>
          <a:prstGeom prst="rect">
            <a:avLst/>
          </a:prstGeom>
        </p:spPr>
        <p:txBody>
          <a:bodyPr/>
          <a:lstStyle>
            <a:lvl1pPr marL="0" indent="0">
              <a:buNone/>
              <a:defRPr sz="2133">
                <a:solidFill>
                  <a:schemeClr val="bg1"/>
                </a:solidFill>
                <a:latin typeface="Proximus Light" panose="020B0604020202020204" charset="0"/>
              </a:defRPr>
            </a:lvl1pPr>
          </a:lstStyle>
          <a:p>
            <a:pPr lvl="0"/>
            <a:r>
              <a:rPr lang="en-US"/>
              <a:t>Click to edit Master text styles</a:t>
            </a:r>
          </a:p>
        </p:txBody>
      </p:sp>
    </p:spTree>
    <p:extLst>
      <p:ext uri="{BB962C8B-B14F-4D97-AF65-F5344CB8AC3E}">
        <p14:creationId xmlns:p14="http://schemas.microsoft.com/office/powerpoint/2010/main" val="134483548"/>
      </p:ext>
    </p:extLst>
  </p:cSld>
  <p:clrMapOvr>
    <a:masterClrMapping/>
  </p:clrMapOvr>
  <p:extLst>
    <p:ext uri="{DCECCB84-F9BA-43D5-87BE-67443E8EF086}">
      <p15:sldGuideLst xmlns:p15="http://schemas.microsoft.com/office/powerpoint/2012/main">
        <p15:guide id="1" orient="horz" pos="962">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ontent slide - colour bg - bullet menu">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3837" y="503768"/>
            <a:ext cx="10962217" cy="880123"/>
          </a:xfrm>
          <a:prstGeom prst="rect">
            <a:avLst/>
          </a:prstGeom>
        </p:spPr>
        <p:txBody>
          <a:bodyPr anchor="t"/>
          <a:lstStyle>
            <a:lvl1pPr>
              <a:defRPr b="1">
                <a:solidFill>
                  <a:schemeClr val="tx1"/>
                </a:solidFill>
              </a:defRPr>
            </a:lvl1pPr>
          </a:lstStyle>
          <a:p>
            <a:r>
              <a:rPr lang="en-US"/>
              <a:t>Click to edit slide title</a:t>
            </a:r>
            <a:endParaRPr lang="nl-BE"/>
          </a:p>
        </p:txBody>
      </p:sp>
      <p:sp>
        <p:nvSpPr>
          <p:cNvPr id="6" name="Text Placeholder 5">
            <a:extLst>
              <a:ext uri="{FF2B5EF4-FFF2-40B4-BE49-F238E27FC236}">
                <a16:creationId xmlns:a16="http://schemas.microsoft.com/office/drawing/2014/main" id="{D62362CE-1A7B-CA66-FD9A-16C348131664}"/>
              </a:ext>
            </a:extLst>
          </p:cNvPr>
          <p:cNvSpPr>
            <a:spLocks noGrp="1"/>
          </p:cNvSpPr>
          <p:nvPr>
            <p:ph type="body" sz="quarter" idx="10"/>
          </p:nvPr>
        </p:nvSpPr>
        <p:spPr>
          <a:xfrm>
            <a:off x="613834" y="1384301"/>
            <a:ext cx="10964333" cy="4688417"/>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6554359"/>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ontent slide - colour bg - Subtitle - bullet menu">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3837" y="503769"/>
            <a:ext cx="10962217" cy="533399"/>
          </a:xfrm>
          <a:prstGeom prst="rect">
            <a:avLst/>
          </a:prstGeom>
        </p:spPr>
        <p:txBody>
          <a:bodyPr anchor="t"/>
          <a:lstStyle>
            <a:lvl1pPr>
              <a:defRPr b="1">
                <a:solidFill>
                  <a:schemeClr val="tx1"/>
                </a:solidFill>
              </a:defRPr>
            </a:lvl1pPr>
          </a:lstStyle>
          <a:p>
            <a:r>
              <a:rPr lang="en-US"/>
              <a:t>Click to edit slide title</a:t>
            </a:r>
            <a:endParaRPr lang="nl-BE"/>
          </a:p>
        </p:txBody>
      </p:sp>
      <p:sp>
        <p:nvSpPr>
          <p:cNvPr id="6" name="Text Placeholder 5">
            <a:extLst>
              <a:ext uri="{FF2B5EF4-FFF2-40B4-BE49-F238E27FC236}">
                <a16:creationId xmlns:a16="http://schemas.microsoft.com/office/drawing/2014/main" id="{3CFA2924-4BFC-CB4A-33EA-AFA2F3E1085E}"/>
              </a:ext>
            </a:extLst>
          </p:cNvPr>
          <p:cNvSpPr>
            <a:spLocks noGrp="1"/>
          </p:cNvSpPr>
          <p:nvPr>
            <p:ph type="body" sz="quarter" idx="12"/>
          </p:nvPr>
        </p:nvSpPr>
        <p:spPr>
          <a:xfrm>
            <a:off x="624417" y="1138501"/>
            <a:ext cx="10962216" cy="393967"/>
          </a:xfrm>
          <a:prstGeom prst="rect">
            <a:avLst/>
          </a:prstGeom>
        </p:spPr>
        <p:txBody>
          <a:bodyPr/>
          <a:lstStyle>
            <a:lvl1pPr marL="0" indent="0">
              <a:buNone/>
              <a:defRPr sz="2133">
                <a:solidFill>
                  <a:schemeClr val="tx1"/>
                </a:solidFill>
                <a:latin typeface="Proximus Light" panose="020B0604020202020204" charset="0"/>
              </a:defRPr>
            </a:lvl1pPr>
          </a:lstStyle>
          <a:p>
            <a:pPr lvl="0"/>
            <a:r>
              <a:rPr lang="en-US"/>
              <a:t>Click to edit Master text styles</a:t>
            </a:r>
          </a:p>
        </p:txBody>
      </p:sp>
      <p:sp>
        <p:nvSpPr>
          <p:cNvPr id="3" name="Text Placeholder 2">
            <a:extLst>
              <a:ext uri="{FF2B5EF4-FFF2-40B4-BE49-F238E27FC236}">
                <a16:creationId xmlns:a16="http://schemas.microsoft.com/office/drawing/2014/main" id="{BA56E9AC-E3FD-B3FD-6B19-4FD87C1EAE48}"/>
              </a:ext>
            </a:extLst>
          </p:cNvPr>
          <p:cNvSpPr>
            <a:spLocks noGrp="1"/>
          </p:cNvSpPr>
          <p:nvPr>
            <p:ph idx="1" hasCustomPrompt="1"/>
          </p:nvPr>
        </p:nvSpPr>
        <p:spPr>
          <a:xfrm>
            <a:off x="613835" y="2057400"/>
            <a:ext cx="10962216" cy="4015317"/>
          </a:xfrm>
          <a:prstGeom prst="rect">
            <a:avLst/>
          </a:prstGeom>
        </p:spPr>
        <p:txBody>
          <a:bodyPr vert="horz" lIns="0" tIns="0" rIns="0" bIns="0" numCol="1" spcCol="0" rtlCol="0" anchor="t" anchorCtr="0">
            <a:noAutofit/>
          </a:bodyPr>
          <a:lstStyle>
            <a:lvl1pPr>
              <a:buClr>
                <a:schemeClr val="tx1"/>
              </a:buClr>
              <a:defRPr>
                <a:solidFill>
                  <a:schemeClr val="tx1"/>
                </a:solidFill>
              </a:defRPr>
            </a:lvl1pPr>
            <a:lvl2pPr marL="479988" indent="-235194">
              <a:spcBef>
                <a:spcPts val="800"/>
              </a:spcBef>
              <a:buClr>
                <a:schemeClr val="tx1"/>
              </a:buClr>
              <a:defRPr>
                <a:solidFill>
                  <a:schemeClr val="tx1"/>
                </a:solidFill>
              </a:defRPr>
            </a:lvl2pPr>
            <a:lvl3pPr>
              <a:spcBef>
                <a:spcPts val="800"/>
              </a:spcBef>
              <a:buClr>
                <a:schemeClr val="tx1"/>
              </a:buClr>
              <a:defRPr>
                <a:solidFill>
                  <a:schemeClr val="tx1"/>
                </a:solidFill>
              </a:defRPr>
            </a:lvl3pPr>
            <a:lvl4pPr>
              <a:spcBef>
                <a:spcPts val="1600"/>
              </a:spcBef>
              <a:buClr>
                <a:schemeClr val="tx1"/>
              </a:buClr>
              <a:defRPr>
                <a:solidFill>
                  <a:schemeClr val="tx1"/>
                </a:solidFill>
              </a:defRPr>
            </a:lvl4pPr>
            <a:lvl5pPr>
              <a:spcBef>
                <a:spcPts val="2400"/>
              </a:spcBef>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BE"/>
          </a:p>
        </p:txBody>
      </p:sp>
    </p:spTree>
    <p:extLst>
      <p:ext uri="{BB962C8B-B14F-4D97-AF65-F5344CB8AC3E}">
        <p14:creationId xmlns:p14="http://schemas.microsoft.com/office/powerpoint/2010/main" val="1154510965"/>
      </p:ext>
    </p:extLst>
  </p:cSld>
  <p:clrMapOvr>
    <a:masterClrMapping/>
  </p:clrMapOvr>
  <p:extLst>
    <p:ext uri="{DCECCB84-F9BA-43D5-87BE-67443E8EF086}">
      <p15:sldGuideLst xmlns:p15="http://schemas.microsoft.com/office/powerpoint/2012/main">
        <p15:guide id="1" orient="horz" pos="962">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ontent slide - colour bg - 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3837" y="503768"/>
            <a:ext cx="10962217" cy="880123"/>
          </a:xfrm>
          <a:prstGeom prst="rect">
            <a:avLst/>
          </a:prstGeom>
        </p:spPr>
        <p:txBody>
          <a:bodyPr anchor="t"/>
          <a:lstStyle>
            <a:lvl1pPr>
              <a:defRPr b="1">
                <a:solidFill>
                  <a:schemeClr val="tx1"/>
                </a:solidFill>
              </a:defRPr>
            </a:lvl1pPr>
          </a:lstStyle>
          <a:p>
            <a:r>
              <a:rPr lang="en-US"/>
              <a:t>Click to edit slide title</a:t>
            </a:r>
            <a:endParaRPr lang="nl-BE"/>
          </a:p>
        </p:txBody>
      </p:sp>
    </p:spTree>
    <p:extLst>
      <p:ext uri="{BB962C8B-B14F-4D97-AF65-F5344CB8AC3E}">
        <p14:creationId xmlns:p14="http://schemas.microsoft.com/office/powerpoint/2010/main" val="193474255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ontent slide - colour bg - Title and sub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3837" y="503769"/>
            <a:ext cx="10962217" cy="533399"/>
          </a:xfrm>
          <a:prstGeom prst="rect">
            <a:avLst/>
          </a:prstGeom>
        </p:spPr>
        <p:txBody>
          <a:bodyPr anchor="t"/>
          <a:lstStyle>
            <a:lvl1pPr>
              <a:defRPr b="1">
                <a:solidFill>
                  <a:schemeClr val="tx1"/>
                </a:solidFill>
              </a:defRPr>
            </a:lvl1pPr>
          </a:lstStyle>
          <a:p>
            <a:r>
              <a:rPr lang="en-US"/>
              <a:t>Click to edit slide title</a:t>
            </a:r>
            <a:endParaRPr lang="nl-BE"/>
          </a:p>
        </p:txBody>
      </p:sp>
      <p:sp>
        <p:nvSpPr>
          <p:cNvPr id="6" name="Text Placeholder 5">
            <a:extLst>
              <a:ext uri="{FF2B5EF4-FFF2-40B4-BE49-F238E27FC236}">
                <a16:creationId xmlns:a16="http://schemas.microsoft.com/office/drawing/2014/main" id="{3CFA2924-4BFC-CB4A-33EA-AFA2F3E1085E}"/>
              </a:ext>
            </a:extLst>
          </p:cNvPr>
          <p:cNvSpPr>
            <a:spLocks noGrp="1"/>
          </p:cNvSpPr>
          <p:nvPr>
            <p:ph type="body" sz="quarter" idx="12"/>
          </p:nvPr>
        </p:nvSpPr>
        <p:spPr>
          <a:xfrm>
            <a:off x="624417" y="1138501"/>
            <a:ext cx="10962216" cy="393967"/>
          </a:xfrm>
          <a:prstGeom prst="rect">
            <a:avLst/>
          </a:prstGeom>
        </p:spPr>
        <p:txBody>
          <a:bodyPr/>
          <a:lstStyle>
            <a:lvl1pPr marL="0" indent="0">
              <a:buNone/>
              <a:defRPr sz="2133">
                <a:solidFill>
                  <a:schemeClr val="tx1"/>
                </a:solidFill>
                <a:latin typeface="Proximus Light" panose="020B0604020202020204" charset="0"/>
              </a:defRPr>
            </a:lvl1pPr>
          </a:lstStyle>
          <a:p>
            <a:pPr lvl="0"/>
            <a:r>
              <a:rPr lang="en-US"/>
              <a:t>Click to edit Master text styles</a:t>
            </a:r>
          </a:p>
        </p:txBody>
      </p:sp>
    </p:spTree>
    <p:extLst>
      <p:ext uri="{BB962C8B-B14F-4D97-AF65-F5344CB8AC3E}">
        <p14:creationId xmlns:p14="http://schemas.microsoft.com/office/powerpoint/2010/main" val="892529246"/>
      </p:ext>
    </p:extLst>
  </p:cSld>
  <p:clrMapOvr>
    <a:masterClrMapping/>
  </p:clrMapOvr>
  <p:extLst>
    <p:ext uri="{DCECCB84-F9BA-43D5-87BE-67443E8EF086}">
      <p15:sldGuideLst xmlns:p15="http://schemas.microsoft.com/office/powerpoint/2012/main">
        <p15:guide id="1" orient="horz" pos="962">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Agenda">
    <p:bg>
      <p:bgPr>
        <a:gradFill>
          <a:gsLst>
            <a:gs pos="25000">
              <a:schemeClr val="bg1"/>
            </a:gs>
            <a:gs pos="100000">
              <a:srgbClr val="D12E67"/>
            </a:gs>
          </a:gsLst>
          <a:lin ang="30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3837" y="503768"/>
            <a:ext cx="2678004" cy="1223432"/>
          </a:xfrm>
          <a:prstGeom prst="rect">
            <a:avLst/>
          </a:prstGeom>
        </p:spPr>
        <p:txBody>
          <a:bodyPr anchor="t"/>
          <a:lstStyle>
            <a:lvl1pPr>
              <a:defRPr b="1">
                <a:solidFill>
                  <a:schemeClr val="tx1"/>
                </a:solidFill>
              </a:defRPr>
            </a:lvl1pPr>
          </a:lstStyle>
          <a:p>
            <a:r>
              <a:rPr lang="en-US"/>
              <a:t>Click to edit slide title</a:t>
            </a:r>
            <a:endParaRPr lang="nl-BE"/>
          </a:p>
        </p:txBody>
      </p:sp>
      <p:sp>
        <p:nvSpPr>
          <p:cNvPr id="3" name="Freeform: Shape 2">
            <a:extLst>
              <a:ext uri="{FF2B5EF4-FFF2-40B4-BE49-F238E27FC236}">
                <a16:creationId xmlns:a16="http://schemas.microsoft.com/office/drawing/2014/main" id="{719802DA-9C6B-5019-6934-ED9FA37D31CC}"/>
              </a:ext>
            </a:extLst>
          </p:cNvPr>
          <p:cNvSpPr/>
          <p:nvPr userDrawn="1"/>
        </p:nvSpPr>
        <p:spPr>
          <a:xfrm>
            <a:off x="2246688" y="-11947"/>
            <a:ext cx="9945313" cy="6869948"/>
          </a:xfrm>
          <a:custGeom>
            <a:avLst/>
            <a:gdLst>
              <a:gd name="connsiteX0" fmla="*/ 2302546 w 9928016"/>
              <a:gd name="connsiteY0" fmla="*/ 0 h 6857999"/>
              <a:gd name="connsiteX1" fmla="*/ 9928016 w 9928016"/>
              <a:gd name="connsiteY1" fmla="*/ 0 h 6857999"/>
              <a:gd name="connsiteX2" fmla="*/ 9928016 w 9928016"/>
              <a:gd name="connsiteY2" fmla="*/ 6857999 h 6857999"/>
              <a:gd name="connsiteX3" fmla="*/ 0 w 9928016"/>
              <a:gd name="connsiteY3" fmla="*/ 6857999 h 6857999"/>
              <a:gd name="connsiteX4" fmla="*/ 1111071 w 9928016"/>
              <a:gd name="connsiteY4" fmla="*/ 2436517 h 6857999"/>
              <a:gd name="connsiteX5" fmla="*/ 2231554 w 9928016"/>
              <a:gd name="connsiteY5" fmla="*/ 89464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28016" h="6857999">
                <a:moveTo>
                  <a:pt x="2302546" y="0"/>
                </a:moveTo>
                <a:lnTo>
                  <a:pt x="9928016" y="0"/>
                </a:lnTo>
                <a:lnTo>
                  <a:pt x="9928016" y="6857999"/>
                </a:lnTo>
                <a:lnTo>
                  <a:pt x="0" y="6857999"/>
                </a:lnTo>
                <a:lnTo>
                  <a:pt x="1111071" y="2436517"/>
                </a:lnTo>
                <a:cubicBezTo>
                  <a:pt x="1331459" y="1559487"/>
                  <a:pt x="1719159" y="768637"/>
                  <a:pt x="2231554" y="89464"/>
                </a:cubicBezTo>
                <a:close/>
              </a:path>
            </a:pathLst>
          </a:cu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vert="horz" wrap="square" lIns="144000" tIns="144000" rIns="144000" bIns="144000" rtlCol="0" anchor="t" anchorCtr="0">
            <a:noAutofit/>
          </a:bodyPr>
          <a:lstStyle/>
          <a:p>
            <a:pPr algn="ctr" defTabSz="1624517"/>
            <a:r>
              <a:rPr lang="en-BE" sz="1600" b="1">
                <a:solidFill>
                  <a:schemeClr val="tx1"/>
                </a:solidFill>
                <a:latin typeface="Proximus" panose="00000500000000000000" pitchFamily="2" charset="0"/>
                <a:cs typeface="Proximus"/>
              </a:rPr>
              <a:t>  </a:t>
            </a:r>
            <a:endParaRPr lang="en-GB" sz="1600" b="1" err="1">
              <a:solidFill>
                <a:schemeClr val="tx1"/>
              </a:solidFill>
              <a:latin typeface="Proximus" panose="00000500000000000000" pitchFamily="2" charset="0"/>
              <a:cs typeface="Proximus"/>
            </a:endParaRPr>
          </a:p>
        </p:txBody>
      </p:sp>
      <p:sp>
        <p:nvSpPr>
          <p:cNvPr id="6" name="Table Placeholder 5">
            <a:extLst>
              <a:ext uri="{FF2B5EF4-FFF2-40B4-BE49-F238E27FC236}">
                <a16:creationId xmlns:a16="http://schemas.microsoft.com/office/drawing/2014/main" id="{50937FAA-8D57-3878-00AC-49FA9EB8DC1C}"/>
              </a:ext>
            </a:extLst>
          </p:cNvPr>
          <p:cNvSpPr>
            <a:spLocks noGrp="1"/>
          </p:cNvSpPr>
          <p:nvPr>
            <p:ph type="tbl" sz="quarter" idx="10"/>
          </p:nvPr>
        </p:nvSpPr>
        <p:spPr>
          <a:xfrm>
            <a:off x="4551680" y="1383890"/>
            <a:ext cx="7015904" cy="4688828"/>
          </a:xfrm>
          <a:prstGeom prst="rect">
            <a:avLst/>
          </a:prstGeom>
        </p:spPr>
        <p:txBody>
          <a:bodyPr/>
          <a:lstStyle/>
          <a:p>
            <a:r>
              <a:rPr lang="en-US"/>
              <a:t>Click icon to add table</a:t>
            </a:r>
          </a:p>
        </p:txBody>
      </p:sp>
    </p:spTree>
    <p:extLst>
      <p:ext uri="{BB962C8B-B14F-4D97-AF65-F5344CB8AC3E}">
        <p14:creationId xmlns:p14="http://schemas.microsoft.com/office/powerpoint/2010/main" val="2963224879"/>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ocks -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a:xfrm>
            <a:off x="613837" y="503768"/>
            <a:ext cx="10962217" cy="880123"/>
          </a:xfrm>
          <a:prstGeom prst="rect">
            <a:avLst/>
          </a:prstGeom>
        </p:spPr>
        <p:txBody>
          <a:bodyPr/>
          <a:lstStyle/>
          <a:p>
            <a:r>
              <a:rPr lang="en-US"/>
              <a:t>Click to edit Master title style</a:t>
            </a:r>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613833" y="1676400"/>
            <a:ext cx="4900789" cy="4584699"/>
          </a:xfrm>
          <a:prstGeom prst="roundRect">
            <a:avLst>
              <a:gd name="adj" fmla="val 3679"/>
            </a:avLst>
          </a:prstGeom>
          <a:solidFill>
            <a:srgbClr val="E6E6E7"/>
          </a:solidFill>
          <a:effectLst/>
        </p:spPr>
        <p:txBody>
          <a:bodyPr lIns="216000" tIns="216000" rIns="216000" bIns="216000"/>
          <a:lstStyle>
            <a:lvl1pPr marL="0" indent="0">
              <a:spcAft>
                <a:spcPts val="800"/>
              </a:spcAft>
              <a:buNone/>
              <a:defRPr sz="2400">
                <a:solidFill>
                  <a:schemeClr val="bg1"/>
                </a:solidFill>
                <a:latin typeface="Proximus Light" panose="020B0604020202020204" charset="0"/>
              </a:defRPr>
            </a:lvl1pPr>
            <a:lvl2pPr marL="235194" indent="-234917">
              <a:defRPr sz="1867"/>
            </a:lvl2pPr>
            <a:lvl3pPr marL="479988">
              <a:defRPr>
                <a:latin typeface="+mn-lt"/>
              </a:defRPr>
            </a:lvl3pPr>
            <a:lvl4pPr marL="715182" indent="-235194">
              <a:spcBef>
                <a:spcPts val="800"/>
              </a:spcBef>
              <a:buFont typeface="Arial" panose="020B0604020202020204" pitchFamily="34" charset="0"/>
              <a:buChar char="•"/>
              <a:defRPr sz="1600">
                <a:latin typeface="Proximus Light" panose="00000400000000000000" pitchFamily="50" charset="0"/>
              </a:defRPr>
            </a:lvl4pPr>
            <a:lvl5pPr>
              <a:spcBef>
                <a:spcPts val="800"/>
              </a:spcBef>
              <a:defRPr sz="18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A4859FEF-708C-918C-2188-2D7CFCDD42BE}"/>
              </a:ext>
            </a:extLst>
          </p:cNvPr>
          <p:cNvSpPr>
            <a:spLocks noGrp="1"/>
          </p:cNvSpPr>
          <p:nvPr>
            <p:ph type="body" sz="quarter" idx="14"/>
          </p:nvPr>
        </p:nvSpPr>
        <p:spPr>
          <a:xfrm>
            <a:off x="6667628" y="1676400"/>
            <a:ext cx="4900789" cy="4584699"/>
          </a:xfrm>
          <a:prstGeom prst="roundRect">
            <a:avLst>
              <a:gd name="adj" fmla="val 3679"/>
            </a:avLst>
          </a:prstGeom>
          <a:solidFill>
            <a:srgbClr val="E6E6E7"/>
          </a:solidFill>
          <a:effectLst/>
        </p:spPr>
        <p:txBody>
          <a:bodyPr lIns="216000" tIns="216000" rIns="216000" bIns="216000"/>
          <a:lstStyle>
            <a:lvl1pPr marL="0" indent="0">
              <a:spcAft>
                <a:spcPts val="800"/>
              </a:spcAft>
              <a:buNone/>
              <a:defRPr sz="2400">
                <a:solidFill>
                  <a:schemeClr val="bg1"/>
                </a:solidFill>
                <a:latin typeface="Proximus Light" panose="020B0604020202020204" charset="0"/>
              </a:defRPr>
            </a:lvl1pPr>
            <a:lvl2pPr marL="235194" indent="-234917">
              <a:defRPr sz="1867"/>
            </a:lvl2pPr>
            <a:lvl3pPr marL="479988">
              <a:defRPr>
                <a:latin typeface="+mn-lt"/>
              </a:defRPr>
            </a:lvl3pPr>
            <a:lvl4pPr marL="715182" indent="-235194">
              <a:spcBef>
                <a:spcPts val="800"/>
              </a:spcBef>
              <a:buFont typeface="Arial" panose="020B0604020202020204" pitchFamily="34" charset="0"/>
              <a:buChar char="•"/>
              <a:defRPr sz="1600">
                <a:latin typeface="Proximus Light" panose="00000400000000000000" pitchFamily="50" charset="0"/>
              </a:defRPr>
            </a:lvl4pPr>
            <a:lvl5pPr>
              <a:spcBef>
                <a:spcPts val="800"/>
              </a:spcBef>
              <a:defRPr sz="18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711822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ocks -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a:xfrm>
            <a:off x="613837" y="503768"/>
            <a:ext cx="10962217" cy="880123"/>
          </a:xfrm>
          <a:prstGeom prst="rect">
            <a:avLst/>
          </a:prstGeom>
        </p:spPr>
        <p:txBody>
          <a:bodyPr/>
          <a:lstStyle/>
          <a:p>
            <a:r>
              <a:rPr lang="en-US"/>
              <a:t>Click to edit Master title style</a:t>
            </a:r>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613833" y="1676400"/>
            <a:ext cx="3360000" cy="4584699"/>
          </a:xfrm>
          <a:prstGeom prst="roundRect">
            <a:avLst>
              <a:gd name="adj" fmla="val 3679"/>
            </a:avLst>
          </a:prstGeom>
          <a:solidFill>
            <a:srgbClr val="E6E6E7"/>
          </a:solidFill>
          <a:effectLst/>
        </p:spPr>
        <p:txBody>
          <a:bodyPr lIns="216000" tIns="216000" rIns="216000" bIns="216000"/>
          <a:lstStyle>
            <a:lvl1pPr marL="0" indent="0">
              <a:spcAft>
                <a:spcPts val="800"/>
              </a:spcAft>
              <a:buNone/>
              <a:defRPr sz="2400">
                <a:solidFill>
                  <a:schemeClr val="bg1"/>
                </a:solidFill>
                <a:latin typeface="Proximus Light" panose="020B0604020202020204" charset="0"/>
              </a:defRPr>
            </a:lvl1pPr>
            <a:lvl2pPr marL="235194" indent="-234917">
              <a:defRPr sz="1867"/>
            </a:lvl2pPr>
            <a:lvl3pPr marL="479988">
              <a:defRPr>
                <a:latin typeface="+mn-lt"/>
              </a:defRPr>
            </a:lvl3pPr>
            <a:lvl4pPr marL="715182" indent="-235194">
              <a:spcBef>
                <a:spcPts val="800"/>
              </a:spcBef>
              <a:buFont typeface="Arial" panose="020B0604020202020204" pitchFamily="34" charset="0"/>
              <a:buChar char="•"/>
              <a:defRPr sz="1600">
                <a:latin typeface="Proximus Light" panose="00000400000000000000" pitchFamily="50" charset="0"/>
              </a:defRPr>
            </a:lvl4pPr>
            <a:lvl5pPr>
              <a:spcBef>
                <a:spcPts val="800"/>
              </a:spcBef>
              <a:defRPr sz="18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26366419-4CB1-22C2-BFEF-A47ACEC91643}"/>
              </a:ext>
            </a:extLst>
          </p:cNvPr>
          <p:cNvSpPr>
            <a:spLocks noGrp="1"/>
          </p:cNvSpPr>
          <p:nvPr>
            <p:ph type="body" sz="quarter" idx="14"/>
          </p:nvPr>
        </p:nvSpPr>
        <p:spPr>
          <a:xfrm>
            <a:off x="4411125" y="1676400"/>
            <a:ext cx="3360000" cy="4584699"/>
          </a:xfrm>
          <a:prstGeom prst="roundRect">
            <a:avLst>
              <a:gd name="adj" fmla="val 3679"/>
            </a:avLst>
          </a:prstGeom>
          <a:solidFill>
            <a:srgbClr val="E6E6E7"/>
          </a:solidFill>
          <a:effectLst/>
        </p:spPr>
        <p:txBody>
          <a:bodyPr lIns="216000" tIns="216000" rIns="216000" bIns="216000"/>
          <a:lstStyle>
            <a:lvl1pPr marL="0" indent="0">
              <a:spcAft>
                <a:spcPts val="800"/>
              </a:spcAft>
              <a:buNone/>
              <a:defRPr sz="2400">
                <a:solidFill>
                  <a:schemeClr val="bg1"/>
                </a:solidFill>
                <a:latin typeface="Proximus Light" panose="020B0604020202020204" charset="0"/>
              </a:defRPr>
            </a:lvl1pPr>
            <a:lvl2pPr marL="235194" indent="-234917">
              <a:defRPr sz="1867"/>
            </a:lvl2pPr>
            <a:lvl3pPr marL="479988">
              <a:defRPr>
                <a:latin typeface="+mn-lt"/>
              </a:defRPr>
            </a:lvl3pPr>
            <a:lvl4pPr marL="715182" indent="-235194">
              <a:spcBef>
                <a:spcPts val="800"/>
              </a:spcBef>
              <a:buFont typeface="Arial" panose="020B0604020202020204" pitchFamily="34" charset="0"/>
              <a:buChar char="•"/>
              <a:defRPr sz="1600">
                <a:latin typeface="Proximus Light" panose="00000400000000000000" pitchFamily="50" charset="0"/>
              </a:defRPr>
            </a:lvl4pPr>
            <a:lvl5pPr>
              <a:spcBef>
                <a:spcPts val="800"/>
              </a:spcBef>
              <a:defRPr sz="18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2498A6E2-70E0-E343-408B-2BDF74C11E13}"/>
              </a:ext>
            </a:extLst>
          </p:cNvPr>
          <p:cNvSpPr>
            <a:spLocks noGrp="1"/>
          </p:cNvSpPr>
          <p:nvPr>
            <p:ph type="body" sz="quarter" idx="15"/>
          </p:nvPr>
        </p:nvSpPr>
        <p:spPr>
          <a:xfrm>
            <a:off x="8208417" y="1676400"/>
            <a:ext cx="3360000" cy="4584699"/>
          </a:xfrm>
          <a:prstGeom prst="roundRect">
            <a:avLst>
              <a:gd name="adj" fmla="val 3679"/>
            </a:avLst>
          </a:prstGeom>
          <a:solidFill>
            <a:srgbClr val="E6E6E7"/>
          </a:solidFill>
          <a:effectLst/>
        </p:spPr>
        <p:txBody>
          <a:bodyPr lIns="216000" tIns="216000" rIns="216000" bIns="216000"/>
          <a:lstStyle>
            <a:lvl1pPr marL="0" indent="0">
              <a:spcAft>
                <a:spcPts val="800"/>
              </a:spcAft>
              <a:buNone/>
              <a:defRPr sz="2400">
                <a:solidFill>
                  <a:schemeClr val="bg1"/>
                </a:solidFill>
                <a:latin typeface="Proximus Light" panose="020B0604020202020204" charset="0"/>
              </a:defRPr>
            </a:lvl1pPr>
            <a:lvl2pPr marL="235194" indent="-234917">
              <a:defRPr sz="1867"/>
            </a:lvl2pPr>
            <a:lvl3pPr marL="479988">
              <a:defRPr>
                <a:latin typeface="+mn-lt"/>
              </a:defRPr>
            </a:lvl3pPr>
            <a:lvl4pPr marL="715182" indent="-235194">
              <a:spcBef>
                <a:spcPts val="800"/>
              </a:spcBef>
              <a:buFont typeface="Arial" panose="020B0604020202020204" pitchFamily="34" charset="0"/>
              <a:buChar char="•"/>
              <a:defRPr sz="1600">
                <a:latin typeface="Proximus Light" panose="00000400000000000000" pitchFamily="50" charset="0"/>
              </a:defRPr>
            </a:lvl4pPr>
            <a:lvl5pPr>
              <a:spcBef>
                <a:spcPts val="800"/>
              </a:spcBef>
              <a:defRPr sz="18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26582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PXS ADA - title, subtitle, content - white bg">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3837" y="503769"/>
            <a:ext cx="10962217" cy="533399"/>
          </a:xfrm>
        </p:spPr>
        <p:txBody>
          <a:bodyPr anchor="t"/>
          <a:lstStyle>
            <a:lvl1pPr>
              <a:defRPr b="0">
                <a:solidFill>
                  <a:schemeClr val="bg1"/>
                </a:solidFill>
              </a:defRPr>
            </a:lvl1pPr>
          </a:lstStyle>
          <a:p>
            <a:r>
              <a:rPr lang="en-US"/>
              <a:t>Click to edit slide title</a:t>
            </a:r>
            <a:endParaRPr lang="nl-BE"/>
          </a:p>
        </p:txBody>
      </p:sp>
      <p:sp>
        <p:nvSpPr>
          <p:cNvPr id="6" name="Text Placeholder 5">
            <a:extLst>
              <a:ext uri="{FF2B5EF4-FFF2-40B4-BE49-F238E27FC236}">
                <a16:creationId xmlns:a16="http://schemas.microsoft.com/office/drawing/2014/main" id="{3CFA2924-4BFC-CB4A-33EA-AFA2F3E1085E}"/>
              </a:ext>
            </a:extLst>
          </p:cNvPr>
          <p:cNvSpPr>
            <a:spLocks noGrp="1"/>
          </p:cNvSpPr>
          <p:nvPr>
            <p:ph type="body" sz="quarter" idx="12"/>
          </p:nvPr>
        </p:nvSpPr>
        <p:spPr>
          <a:xfrm>
            <a:off x="624417" y="1138501"/>
            <a:ext cx="10962216" cy="393967"/>
          </a:xfrm>
        </p:spPr>
        <p:txBody>
          <a:bodyPr/>
          <a:lstStyle>
            <a:lvl1pPr>
              <a:defRPr sz="2133" b="1">
                <a:solidFill>
                  <a:schemeClr val="bg1"/>
                </a:solidFill>
                <a:latin typeface="+mn-lt"/>
              </a:defRPr>
            </a:lvl1pPr>
          </a:lstStyle>
          <a:p>
            <a:pPr lvl="0"/>
            <a:r>
              <a:rPr lang="en-US"/>
              <a:t>Click to edit Master text styles</a:t>
            </a:r>
          </a:p>
        </p:txBody>
      </p:sp>
      <p:sp>
        <p:nvSpPr>
          <p:cNvPr id="3" name="Text Placeholder 2">
            <a:extLst>
              <a:ext uri="{FF2B5EF4-FFF2-40B4-BE49-F238E27FC236}">
                <a16:creationId xmlns:a16="http://schemas.microsoft.com/office/drawing/2014/main" id="{C1395005-C8D9-0B18-9A19-FB3AAEDD8229}"/>
              </a:ext>
            </a:extLst>
          </p:cNvPr>
          <p:cNvSpPr>
            <a:spLocks noGrp="1"/>
          </p:cNvSpPr>
          <p:nvPr>
            <p:ph idx="1"/>
          </p:nvPr>
        </p:nvSpPr>
        <p:spPr>
          <a:xfrm>
            <a:off x="613835" y="2036234"/>
            <a:ext cx="10962216" cy="4224865"/>
          </a:xfrm>
          <a:prstGeom prst="rect">
            <a:avLst/>
          </a:prstGeom>
        </p:spPr>
        <p:txBody>
          <a:bodyPr vert="horz" lIns="0" tIns="0" rIns="0" bIns="0" numCol="1" spcCol="0" rtlCol="0" anchor="t" anchorCtr="0">
            <a:noAutofit/>
          </a:bodyPr>
          <a:lstStyle>
            <a:lvl1pPr>
              <a:defRPr>
                <a:solidFill>
                  <a:schemeClr val="accent6"/>
                </a:solidFill>
              </a:defRPr>
            </a:lvl1pPr>
            <a:lvl2pPr>
              <a:buClr>
                <a:schemeClr val="bg1"/>
              </a:buClr>
              <a:defRPr>
                <a:solidFill>
                  <a:schemeClr val="accent6"/>
                </a:solidFill>
              </a:defRPr>
            </a:lvl2pPr>
            <a:lvl3pPr>
              <a:buClr>
                <a:schemeClr val="bg1"/>
              </a:buClr>
              <a:defRPr>
                <a:solidFill>
                  <a:schemeClr val="accent6"/>
                </a:solidFill>
              </a:defRPr>
            </a:lvl3pPr>
            <a:lvl4pPr>
              <a:buClr>
                <a:schemeClr val="bg1"/>
              </a:buClr>
              <a:defRPr>
                <a:solidFill>
                  <a:schemeClr val="accent6"/>
                </a:solidFill>
              </a:defRPr>
            </a:lvl4pPr>
            <a:lvl5pPr>
              <a:defRPr>
                <a:solidFill>
                  <a:schemeClr val="accent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BE"/>
          </a:p>
        </p:txBody>
      </p:sp>
    </p:spTree>
    <p:extLst>
      <p:ext uri="{BB962C8B-B14F-4D97-AF65-F5344CB8AC3E}">
        <p14:creationId xmlns:p14="http://schemas.microsoft.com/office/powerpoint/2010/main" val="698992671"/>
      </p:ext>
    </p:extLst>
  </p:cSld>
  <p:clrMapOvr>
    <a:masterClrMapping/>
  </p:clrMapOvr>
  <p:extLst>
    <p:ext uri="{DCECCB84-F9BA-43D5-87BE-67443E8EF086}">
      <p15:sldGuideLst xmlns:p15="http://schemas.microsoft.com/office/powerpoint/2012/main">
        <p15:guide id="1" orient="horz" pos="962">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locks -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a:xfrm>
            <a:off x="613837" y="503768"/>
            <a:ext cx="10962217" cy="880123"/>
          </a:xfrm>
          <a:prstGeom prst="rect">
            <a:avLst/>
          </a:prstGeom>
        </p:spPr>
        <p:txBody>
          <a:bodyPr/>
          <a:lstStyle/>
          <a:p>
            <a:r>
              <a:rPr lang="en-US"/>
              <a:t>Click to edit Master title style</a:t>
            </a:r>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613833" y="1676400"/>
            <a:ext cx="2448000" cy="4584699"/>
          </a:xfrm>
          <a:prstGeom prst="roundRect">
            <a:avLst>
              <a:gd name="adj" fmla="val 3679"/>
            </a:avLst>
          </a:prstGeom>
          <a:solidFill>
            <a:srgbClr val="E6E6E7"/>
          </a:solidFill>
          <a:effectLst/>
        </p:spPr>
        <p:txBody>
          <a:bodyPr lIns="144000" tIns="144000" rIns="144000" bIns="144000"/>
          <a:lstStyle>
            <a:lvl1pPr marL="0" indent="0">
              <a:spcAft>
                <a:spcPts val="800"/>
              </a:spcAft>
              <a:buNone/>
              <a:defRPr sz="2133">
                <a:solidFill>
                  <a:schemeClr val="bg1"/>
                </a:solidFill>
                <a:latin typeface="Proximus Light" panose="020B0604020202020204" charset="0"/>
              </a:defRPr>
            </a:lvl1pPr>
            <a:lvl2pPr marL="235194" indent="-234917">
              <a:defRPr sz="1600"/>
            </a:lvl2pPr>
            <a:lvl3pPr marL="479988">
              <a:defRPr sz="1467">
                <a:latin typeface="+mn-lt"/>
              </a:defRPr>
            </a:lvl3pPr>
            <a:lvl4pPr marL="715182" indent="-235194">
              <a:spcBef>
                <a:spcPts val="800"/>
              </a:spcBef>
              <a:buFont typeface="Arial" panose="020B0604020202020204" pitchFamily="34" charset="0"/>
              <a:buChar char="•"/>
              <a:defRPr sz="1467">
                <a:latin typeface="Proximus Light" panose="00000400000000000000" pitchFamily="50" charset="0"/>
              </a:defRPr>
            </a:lvl4pPr>
            <a:lvl5pPr>
              <a:spcBef>
                <a:spcPts val="800"/>
              </a:spcBef>
              <a:defRPr sz="1600">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93504BEB-25CC-71C6-94D9-4580B88D8874}"/>
              </a:ext>
            </a:extLst>
          </p:cNvPr>
          <p:cNvSpPr>
            <a:spLocks noGrp="1"/>
          </p:cNvSpPr>
          <p:nvPr>
            <p:ph type="body" sz="quarter" idx="14"/>
          </p:nvPr>
        </p:nvSpPr>
        <p:spPr>
          <a:xfrm>
            <a:off x="3449361" y="1676400"/>
            <a:ext cx="2448000" cy="4584699"/>
          </a:xfrm>
          <a:prstGeom prst="roundRect">
            <a:avLst>
              <a:gd name="adj" fmla="val 3679"/>
            </a:avLst>
          </a:prstGeom>
          <a:solidFill>
            <a:srgbClr val="E6E6E7"/>
          </a:solidFill>
          <a:effectLst/>
        </p:spPr>
        <p:txBody>
          <a:bodyPr lIns="144000" tIns="144000" rIns="144000" bIns="144000"/>
          <a:lstStyle>
            <a:lvl1pPr marL="0" indent="0">
              <a:spcAft>
                <a:spcPts val="800"/>
              </a:spcAft>
              <a:buNone/>
              <a:defRPr sz="2133">
                <a:solidFill>
                  <a:schemeClr val="bg1"/>
                </a:solidFill>
                <a:latin typeface="Proximus Light" panose="020B0604020202020204" charset="0"/>
              </a:defRPr>
            </a:lvl1pPr>
            <a:lvl2pPr marL="235194" indent="-234917">
              <a:defRPr sz="1600"/>
            </a:lvl2pPr>
            <a:lvl3pPr marL="479988">
              <a:defRPr sz="1467">
                <a:latin typeface="+mn-lt"/>
              </a:defRPr>
            </a:lvl3pPr>
            <a:lvl4pPr marL="715182" indent="-235194">
              <a:spcBef>
                <a:spcPts val="800"/>
              </a:spcBef>
              <a:buFont typeface="Arial" panose="020B0604020202020204" pitchFamily="34" charset="0"/>
              <a:buChar char="•"/>
              <a:defRPr sz="1467">
                <a:latin typeface="Proximus Light" panose="00000400000000000000" pitchFamily="50" charset="0"/>
              </a:defRPr>
            </a:lvl4pPr>
            <a:lvl5pPr>
              <a:spcBef>
                <a:spcPts val="800"/>
              </a:spcBef>
              <a:defRPr sz="1600">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a:extLst>
              <a:ext uri="{FF2B5EF4-FFF2-40B4-BE49-F238E27FC236}">
                <a16:creationId xmlns:a16="http://schemas.microsoft.com/office/drawing/2014/main" id="{4F206338-EBF6-8CB9-F01A-867DA14F0351}"/>
              </a:ext>
            </a:extLst>
          </p:cNvPr>
          <p:cNvSpPr>
            <a:spLocks noGrp="1"/>
          </p:cNvSpPr>
          <p:nvPr>
            <p:ph type="body" sz="quarter" idx="15"/>
          </p:nvPr>
        </p:nvSpPr>
        <p:spPr>
          <a:xfrm>
            <a:off x="6284889" y="1676400"/>
            <a:ext cx="2448000" cy="4584699"/>
          </a:xfrm>
          <a:prstGeom prst="roundRect">
            <a:avLst>
              <a:gd name="adj" fmla="val 3679"/>
            </a:avLst>
          </a:prstGeom>
          <a:solidFill>
            <a:srgbClr val="E6E6E7"/>
          </a:solidFill>
          <a:effectLst/>
        </p:spPr>
        <p:txBody>
          <a:bodyPr lIns="144000" tIns="144000" rIns="144000" bIns="144000"/>
          <a:lstStyle>
            <a:lvl1pPr marL="0" indent="0">
              <a:spcAft>
                <a:spcPts val="800"/>
              </a:spcAft>
              <a:buNone/>
              <a:defRPr sz="2133">
                <a:solidFill>
                  <a:schemeClr val="bg1"/>
                </a:solidFill>
                <a:latin typeface="Proximus Light" panose="020B0604020202020204" charset="0"/>
              </a:defRPr>
            </a:lvl1pPr>
            <a:lvl2pPr marL="235194" indent="-234917">
              <a:defRPr sz="1600"/>
            </a:lvl2pPr>
            <a:lvl3pPr marL="479988">
              <a:defRPr sz="1467">
                <a:latin typeface="+mn-lt"/>
              </a:defRPr>
            </a:lvl3pPr>
            <a:lvl4pPr marL="715182" indent="-235194">
              <a:spcBef>
                <a:spcPts val="800"/>
              </a:spcBef>
              <a:buFont typeface="Arial" panose="020B0604020202020204" pitchFamily="34" charset="0"/>
              <a:buChar char="•"/>
              <a:defRPr sz="1467">
                <a:latin typeface="Proximus Light" panose="00000400000000000000" pitchFamily="50" charset="0"/>
              </a:defRPr>
            </a:lvl4pPr>
            <a:lvl5pPr>
              <a:spcBef>
                <a:spcPts val="800"/>
              </a:spcBef>
              <a:defRPr sz="1600">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361180D9-7334-AE50-3E49-BCC9D03B5E35}"/>
              </a:ext>
            </a:extLst>
          </p:cNvPr>
          <p:cNvSpPr>
            <a:spLocks noGrp="1"/>
          </p:cNvSpPr>
          <p:nvPr>
            <p:ph type="body" sz="quarter" idx="16"/>
          </p:nvPr>
        </p:nvSpPr>
        <p:spPr>
          <a:xfrm>
            <a:off x="9120417" y="1676400"/>
            <a:ext cx="2448000" cy="4584699"/>
          </a:xfrm>
          <a:prstGeom prst="roundRect">
            <a:avLst>
              <a:gd name="adj" fmla="val 3679"/>
            </a:avLst>
          </a:prstGeom>
          <a:solidFill>
            <a:srgbClr val="E6E6E7"/>
          </a:solidFill>
          <a:effectLst/>
        </p:spPr>
        <p:txBody>
          <a:bodyPr lIns="144000" tIns="144000" rIns="144000" bIns="144000"/>
          <a:lstStyle>
            <a:lvl1pPr marL="0" indent="0">
              <a:spcAft>
                <a:spcPts val="800"/>
              </a:spcAft>
              <a:buNone/>
              <a:defRPr sz="2133">
                <a:solidFill>
                  <a:schemeClr val="bg1"/>
                </a:solidFill>
                <a:latin typeface="Proximus Light" panose="020B0604020202020204" charset="0"/>
              </a:defRPr>
            </a:lvl1pPr>
            <a:lvl2pPr marL="235194" indent="-234917">
              <a:defRPr sz="1600"/>
            </a:lvl2pPr>
            <a:lvl3pPr marL="479988">
              <a:defRPr sz="1467">
                <a:latin typeface="+mn-lt"/>
              </a:defRPr>
            </a:lvl3pPr>
            <a:lvl4pPr marL="715182" indent="-235194">
              <a:spcBef>
                <a:spcPts val="800"/>
              </a:spcBef>
              <a:buFont typeface="Arial" panose="020B0604020202020204" pitchFamily="34" charset="0"/>
              <a:buChar char="•"/>
              <a:defRPr sz="1467">
                <a:latin typeface="Proximus Light" panose="00000400000000000000" pitchFamily="50" charset="0"/>
              </a:defRPr>
            </a:lvl4pPr>
            <a:lvl5pPr>
              <a:spcBef>
                <a:spcPts val="800"/>
              </a:spcBef>
              <a:defRPr sz="1600">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2102052"/>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locks -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a:xfrm>
            <a:off x="613837" y="503768"/>
            <a:ext cx="10962217" cy="880123"/>
          </a:xfrm>
          <a:prstGeom prst="rect">
            <a:avLst/>
          </a:prstGeom>
        </p:spPr>
        <p:txBody>
          <a:bodyPr/>
          <a:lstStyle/>
          <a:p>
            <a:r>
              <a:rPr lang="en-US"/>
              <a:t>Click to edit Master title style</a:t>
            </a:r>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613832" y="1676400"/>
            <a:ext cx="3504000" cy="2208000"/>
          </a:xfrm>
          <a:prstGeom prst="roundRect">
            <a:avLst>
              <a:gd name="adj" fmla="val 4957"/>
            </a:avLst>
          </a:prstGeom>
          <a:solidFill>
            <a:srgbClr val="E6E6E7"/>
          </a:solidFill>
          <a:effectLst/>
        </p:spPr>
        <p:txBody>
          <a:bodyPr lIns="144000" tIns="144000" rIns="144000" bIns="144000"/>
          <a:lstStyle>
            <a:lvl1pPr marL="0" indent="0">
              <a:spcBef>
                <a:spcPts val="1067"/>
              </a:spcBef>
              <a:spcAft>
                <a:spcPts val="267"/>
              </a:spcAft>
              <a:buNone/>
              <a:defRPr sz="1867">
                <a:solidFill>
                  <a:schemeClr val="bg1"/>
                </a:solidFill>
                <a:latin typeface="Proximus Light" panose="020B0604020202020204" charset="0"/>
              </a:defRPr>
            </a:lvl1pPr>
            <a:lvl2pPr marL="235194" indent="-234917">
              <a:spcBef>
                <a:spcPts val="267"/>
              </a:spcBef>
              <a:defRPr sz="1467"/>
            </a:lvl2pPr>
            <a:lvl3pPr marL="479988">
              <a:spcBef>
                <a:spcPts val="267"/>
              </a:spcBef>
              <a:defRPr sz="1400">
                <a:latin typeface="+mn-lt"/>
              </a:defRPr>
            </a:lvl3pPr>
            <a:lvl4pPr marL="715182" indent="-235194">
              <a:spcBef>
                <a:spcPts val="267"/>
              </a:spcBef>
              <a:buFont typeface="Arial" panose="020B0604020202020204" pitchFamily="34" charset="0"/>
              <a:buChar char="•"/>
              <a:defRPr sz="1400">
                <a:latin typeface="Proximus Light" panose="00000400000000000000" pitchFamily="50" charset="0"/>
              </a:defRPr>
            </a:lvl4pPr>
            <a:lvl5pPr>
              <a:spcBef>
                <a:spcPts val="267"/>
              </a:spcBef>
              <a:defRPr sz="14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7">
            <a:extLst>
              <a:ext uri="{FF2B5EF4-FFF2-40B4-BE49-F238E27FC236}">
                <a16:creationId xmlns:a16="http://schemas.microsoft.com/office/drawing/2014/main" id="{3A3B5652-B85B-757E-9330-B39C45EFD833}"/>
              </a:ext>
            </a:extLst>
          </p:cNvPr>
          <p:cNvSpPr>
            <a:spLocks noGrp="1"/>
          </p:cNvSpPr>
          <p:nvPr>
            <p:ph type="body" sz="quarter" idx="14"/>
          </p:nvPr>
        </p:nvSpPr>
        <p:spPr>
          <a:xfrm>
            <a:off x="4339125" y="1676400"/>
            <a:ext cx="3504000" cy="2208000"/>
          </a:xfrm>
          <a:prstGeom prst="roundRect">
            <a:avLst>
              <a:gd name="adj" fmla="val 4957"/>
            </a:avLst>
          </a:prstGeom>
          <a:solidFill>
            <a:srgbClr val="E6E6E7"/>
          </a:solidFill>
          <a:effectLst/>
        </p:spPr>
        <p:txBody>
          <a:bodyPr lIns="144000" tIns="144000" rIns="144000" bIns="144000"/>
          <a:lstStyle>
            <a:lvl1pPr marL="0" indent="0">
              <a:spcBef>
                <a:spcPts val="1067"/>
              </a:spcBef>
              <a:spcAft>
                <a:spcPts val="267"/>
              </a:spcAft>
              <a:buNone/>
              <a:defRPr sz="1867">
                <a:solidFill>
                  <a:schemeClr val="bg1"/>
                </a:solidFill>
                <a:latin typeface="Proximus Light" panose="020B0604020202020204" charset="0"/>
              </a:defRPr>
            </a:lvl1pPr>
            <a:lvl2pPr marL="235194" indent="-234917">
              <a:spcBef>
                <a:spcPts val="267"/>
              </a:spcBef>
              <a:defRPr sz="1467"/>
            </a:lvl2pPr>
            <a:lvl3pPr marL="479988">
              <a:spcBef>
                <a:spcPts val="267"/>
              </a:spcBef>
              <a:defRPr sz="1400">
                <a:latin typeface="+mn-lt"/>
              </a:defRPr>
            </a:lvl3pPr>
            <a:lvl4pPr marL="715182" indent="-235194">
              <a:spcBef>
                <a:spcPts val="267"/>
              </a:spcBef>
              <a:buFont typeface="Arial" panose="020B0604020202020204" pitchFamily="34" charset="0"/>
              <a:buChar char="•"/>
              <a:defRPr sz="1400">
                <a:latin typeface="Proximus Light" panose="00000400000000000000" pitchFamily="50" charset="0"/>
              </a:defRPr>
            </a:lvl4pPr>
            <a:lvl5pPr>
              <a:spcBef>
                <a:spcPts val="267"/>
              </a:spcBef>
              <a:defRPr sz="14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7">
            <a:extLst>
              <a:ext uri="{FF2B5EF4-FFF2-40B4-BE49-F238E27FC236}">
                <a16:creationId xmlns:a16="http://schemas.microsoft.com/office/drawing/2014/main" id="{53F67889-29D2-56A1-49EE-EC1B0F73688E}"/>
              </a:ext>
            </a:extLst>
          </p:cNvPr>
          <p:cNvSpPr>
            <a:spLocks noGrp="1"/>
          </p:cNvSpPr>
          <p:nvPr>
            <p:ph type="body" sz="quarter" idx="15"/>
          </p:nvPr>
        </p:nvSpPr>
        <p:spPr>
          <a:xfrm>
            <a:off x="8064417" y="1676400"/>
            <a:ext cx="3504000" cy="2208000"/>
          </a:xfrm>
          <a:prstGeom prst="roundRect">
            <a:avLst>
              <a:gd name="adj" fmla="val 4957"/>
            </a:avLst>
          </a:prstGeom>
          <a:solidFill>
            <a:srgbClr val="E6E6E7"/>
          </a:solidFill>
          <a:effectLst/>
        </p:spPr>
        <p:txBody>
          <a:bodyPr lIns="144000" tIns="144000" rIns="144000" bIns="144000"/>
          <a:lstStyle>
            <a:lvl1pPr marL="0" indent="0">
              <a:spcBef>
                <a:spcPts val="1067"/>
              </a:spcBef>
              <a:spcAft>
                <a:spcPts val="267"/>
              </a:spcAft>
              <a:buNone/>
              <a:defRPr sz="1867">
                <a:solidFill>
                  <a:schemeClr val="bg1"/>
                </a:solidFill>
                <a:latin typeface="Proximus Light" panose="020B0604020202020204" charset="0"/>
              </a:defRPr>
            </a:lvl1pPr>
            <a:lvl2pPr marL="235194" indent="-234917">
              <a:spcBef>
                <a:spcPts val="267"/>
              </a:spcBef>
              <a:defRPr sz="1467"/>
            </a:lvl2pPr>
            <a:lvl3pPr marL="479988">
              <a:spcBef>
                <a:spcPts val="267"/>
              </a:spcBef>
              <a:defRPr sz="1400">
                <a:latin typeface="+mn-lt"/>
              </a:defRPr>
            </a:lvl3pPr>
            <a:lvl4pPr marL="715182" indent="-235194">
              <a:spcBef>
                <a:spcPts val="267"/>
              </a:spcBef>
              <a:buFont typeface="Arial" panose="020B0604020202020204" pitchFamily="34" charset="0"/>
              <a:buChar char="•"/>
              <a:defRPr sz="1400">
                <a:latin typeface="Proximus Light" panose="00000400000000000000" pitchFamily="50" charset="0"/>
              </a:defRPr>
            </a:lvl4pPr>
            <a:lvl5pPr>
              <a:spcBef>
                <a:spcPts val="267"/>
              </a:spcBef>
              <a:defRPr sz="14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7">
            <a:extLst>
              <a:ext uri="{FF2B5EF4-FFF2-40B4-BE49-F238E27FC236}">
                <a16:creationId xmlns:a16="http://schemas.microsoft.com/office/drawing/2014/main" id="{CAE41158-A608-39EA-5CF4-2BE0BBB08300}"/>
              </a:ext>
            </a:extLst>
          </p:cNvPr>
          <p:cNvSpPr>
            <a:spLocks noGrp="1"/>
          </p:cNvSpPr>
          <p:nvPr>
            <p:ph type="body" sz="quarter" idx="16"/>
          </p:nvPr>
        </p:nvSpPr>
        <p:spPr>
          <a:xfrm>
            <a:off x="613832" y="4053100"/>
            <a:ext cx="3504000" cy="2208000"/>
          </a:xfrm>
          <a:prstGeom prst="roundRect">
            <a:avLst>
              <a:gd name="adj" fmla="val 4957"/>
            </a:avLst>
          </a:prstGeom>
          <a:solidFill>
            <a:srgbClr val="E6E6E7"/>
          </a:solidFill>
          <a:effectLst/>
        </p:spPr>
        <p:txBody>
          <a:bodyPr lIns="144000" tIns="144000" rIns="144000" bIns="144000"/>
          <a:lstStyle>
            <a:lvl1pPr marL="0" indent="0">
              <a:spcBef>
                <a:spcPts val="1067"/>
              </a:spcBef>
              <a:spcAft>
                <a:spcPts val="267"/>
              </a:spcAft>
              <a:buNone/>
              <a:defRPr sz="1867">
                <a:solidFill>
                  <a:schemeClr val="bg1"/>
                </a:solidFill>
                <a:latin typeface="Proximus Light" panose="020B0604020202020204" charset="0"/>
              </a:defRPr>
            </a:lvl1pPr>
            <a:lvl2pPr marL="235194" indent="-234917">
              <a:spcBef>
                <a:spcPts val="267"/>
              </a:spcBef>
              <a:defRPr sz="1467"/>
            </a:lvl2pPr>
            <a:lvl3pPr marL="479988">
              <a:spcBef>
                <a:spcPts val="267"/>
              </a:spcBef>
              <a:defRPr sz="1400">
                <a:latin typeface="+mn-lt"/>
              </a:defRPr>
            </a:lvl3pPr>
            <a:lvl4pPr marL="715182" indent="-235194">
              <a:spcBef>
                <a:spcPts val="267"/>
              </a:spcBef>
              <a:buFont typeface="Arial" panose="020B0604020202020204" pitchFamily="34" charset="0"/>
              <a:buChar char="•"/>
              <a:defRPr sz="1400">
                <a:latin typeface="Proximus Light" panose="00000400000000000000" pitchFamily="50" charset="0"/>
              </a:defRPr>
            </a:lvl4pPr>
            <a:lvl5pPr>
              <a:spcBef>
                <a:spcPts val="267"/>
              </a:spcBef>
              <a:defRPr sz="14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7">
            <a:extLst>
              <a:ext uri="{FF2B5EF4-FFF2-40B4-BE49-F238E27FC236}">
                <a16:creationId xmlns:a16="http://schemas.microsoft.com/office/drawing/2014/main" id="{627C1256-05EF-332A-1823-7C684DE76AAE}"/>
              </a:ext>
            </a:extLst>
          </p:cNvPr>
          <p:cNvSpPr>
            <a:spLocks noGrp="1"/>
          </p:cNvSpPr>
          <p:nvPr>
            <p:ph type="body" sz="quarter" idx="17"/>
          </p:nvPr>
        </p:nvSpPr>
        <p:spPr>
          <a:xfrm>
            <a:off x="4339125" y="4053100"/>
            <a:ext cx="3504000" cy="2208000"/>
          </a:xfrm>
          <a:prstGeom prst="roundRect">
            <a:avLst>
              <a:gd name="adj" fmla="val 4957"/>
            </a:avLst>
          </a:prstGeom>
          <a:solidFill>
            <a:srgbClr val="E6E6E7"/>
          </a:solidFill>
          <a:effectLst/>
        </p:spPr>
        <p:txBody>
          <a:bodyPr lIns="144000" tIns="144000" rIns="144000" bIns="144000"/>
          <a:lstStyle>
            <a:lvl1pPr marL="0" indent="0">
              <a:spcBef>
                <a:spcPts val="1067"/>
              </a:spcBef>
              <a:spcAft>
                <a:spcPts val="267"/>
              </a:spcAft>
              <a:buNone/>
              <a:defRPr sz="1867">
                <a:solidFill>
                  <a:schemeClr val="bg1"/>
                </a:solidFill>
                <a:latin typeface="Proximus Light" panose="020B0604020202020204" charset="0"/>
              </a:defRPr>
            </a:lvl1pPr>
            <a:lvl2pPr marL="235194" indent="-234917">
              <a:spcBef>
                <a:spcPts val="267"/>
              </a:spcBef>
              <a:defRPr sz="1467"/>
            </a:lvl2pPr>
            <a:lvl3pPr marL="479988">
              <a:spcBef>
                <a:spcPts val="267"/>
              </a:spcBef>
              <a:defRPr sz="1400">
                <a:latin typeface="+mn-lt"/>
              </a:defRPr>
            </a:lvl3pPr>
            <a:lvl4pPr marL="715182" indent="-235194">
              <a:spcBef>
                <a:spcPts val="267"/>
              </a:spcBef>
              <a:buFont typeface="Arial" panose="020B0604020202020204" pitchFamily="34" charset="0"/>
              <a:buChar char="•"/>
              <a:defRPr sz="1400">
                <a:latin typeface="Proximus Light" panose="00000400000000000000" pitchFamily="50" charset="0"/>
              </a:defRPr>
            </a:lvl4pPr>
            <a:lvl5pPr>
              <a:spcBef>
                <a:spcPts val="267"/>
              </a:spcBef>
              <a:defRPr sz="14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7">
            <a:extLst>
              <a:ext uri="{FF2B5EF4-FFF2-40B4-BE49-F238E27FC236}">
                <a16:creationId xmlns:a16="http://schemas.microsoft.com/office/drawing/2014/main" id="{E2D9A6BC-8C8F-88D8-5A9A-B16C1057CAF1}"/>
              </a:ext>
            </a:extLst>
          </p:cNvPr>
          <p:cNvSpPr>
            <a:spLocks noGrp="1"/>
          </p:cNvSpPr>
          <p:nvPr>
            <p:ph type="body" sz="quarter" idx="18"/>
          </p:nvPr>
        </p:nvSpPr>
        <p:spPr>
          <a:xfrm>
            <a:off x="8064417" y="4053100"/>
            <a:ext cx="3504000" cy="2208000"/>
          </a:xfrm>
          <a:prstGeom prst="roundRect">
            <a:avLst>
              <a:gd name="adj" fmla="val 4957"/>
            </a:avLst>
          </a:prstGeom>
          <a:solidFill>
            <a:srgbClr val="E6E6E7"/>
          </a:solidFill>
          <a:effectLst/>
        </p:spPr>
        <p:txBody>
          <a:bodyPr lIns="144000" tIns="144000" rIns="144000" bIns="144000"/>
          <a:lstStyle>
            <a:lvl1pPr marL="0" indent="0">
              <a:spcBef>
                <a:spcPts val="1067"/>
              </a:spcBef>
              <a:spcAft>
                <a:spcPts val="267"/>
              </a:spcAft>
              <a:buNone/>
              <a:defRPr sz="1867">
                <a:solidFill>
                  <a:schemeClr val="bg1"/>
                </a:solidFill>
                <a:latin typeface="Proximus Light" panose="020B0604020202020204" charset="0"/>
              </a:defRPr>
            </a:lvl1pPr>
            <a:lvl2pPr marL="235194" indent="-234917">
              <a:spcBef>
                <a:spcPts val="267"/>
              </a:spcBef>
              <a:defRPr sz="1467"/>
            </a:lvl2pPr>
            <a:lvl3pPr marL="479988">
              <a:spcBef>
                <a:spcPts val="267"/>
              </a:spcBef>
              <a:defRPr sz="1400">
                <a:latin typeface="+mn-lt"/>
              </a:defRPr>
            </a:lvl3pPr>
            <a:lvl4pPr marL="715182" indent="-235194">
              <a:spcBef>
                <a:spcPts val="267"/>
              </a:spcBef>
              <a:buFont typeface="Arial" panose="020B0604020202020204" pitchFamily="34" charset="0"/>
              <a:buChar char="•"/>
              <a:defRPr sz="1400">
                <a:latin typeface="Proximus Light" panose="00000400000000000000" pitchFamily="50" charset="0"/>
              </a:defRPr>
            </a:lvl4pPr>
            <a:lvl5pPr>
              <a:spcBef>
                <a:spcPts val="267"/>
              </a:spcBef>
              <a:defRPr sz="14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5797599"/>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locks - 3 - Gradi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a:xfrm>
            <a:off x="613837" y="503768"/>
            <a:ext cx="10962217" cy="880123"/>
          </a:xfrm>
          <a:prstGeom prst="rect">
            <a:avLst/>
          </a:prstGeom>
        </p:spPr>
        <p:txBody>
          <a:bodyPr/>
          <a:lstStyle/>
          <a:p>
            <a:r>
              <a:rPr lang="en-US"/>
              <a:t>Click to edit Master title style</a:t>
            </a:r>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613833" y="1676400"/>
            <a:ext cx="3360000" cy="4584699"/>
          </a:xfrm>
          <a:prstGeom prst="roundRect">
            <a:avLst>
              <a:gd name="adj" fmla="val 3679"/>
            </a:avLst>
          </a:prstGeom>
          <a:gradFill>
            <a:gsLst>
              <a:gs pos="69000">
                <a:schemeClr val="bg1"/>
              </a:gs>
              <a:gs pos="0">
                <a:srgbClr val="A82E76"/>
              </a:gs>
            </a:gsLst>
            <a:lin ang="16200000" scaled="1"/>
          </a:gradFill>
          <a:effectLst/>
        </p:spPr>
        <p:txBody>
          <a:bodyPr lIns="216000" tIns="216000" rIns="216000" bIns="216000"/>
          <a:lstStyle>
            <a:lvl1pPr marL="0" indent="0">
              <a:spcAft>
                <a:spcPts val="800"/>
              </a:spcAft>
              <a:buNone/>
              <a:defRPr sz="2400">
                <a:solidFill>
                  <a:schemeClr val="tx1"/>
                </a:solidFill>
                <a:latin typeface="Proximus Light" panose="020B0604020202020204" charset="0"/>
              </a:defRPr>
            </a:lvl1pPr>
            <a:lvl2pPr marL="235194" indent="-234917">
              <a:buClr>
                <a:schemeClr val="tx1"/>
              </a:buClr>
              <a:defRPr sz="1867">
                <a:solidFill>
                  <a:schemeClr val="tx1"/>
                </a:solidFill>
              </a:defRPr>
            </a:lvl2pPr>
            <a:lvl3pPr marL="479988">
              <a:buClr>
                <a:schemeClr val="tx1"/>
              </a:buClr>
              <a:defRPr>
                <a:solidFill>
                  <a:schemeClr val="tx1"/>
                </a:solidFill>
                <a:latin typeface="+mn-lt"/>
              </a:defRPr>
            </a:lvl3pPr>
            <a:lvl4pPr marL="715182" indent="-235194">
              <a:spcBef>
                <a:spcPts val="800"/>
              </a:spcBef>
              <a:buClr>
                <a:schemeClr val="tx1"/>
              </a:buClr>
              <a:buFont typeface="Arial" panose="020B0604020202020204" pitchFamily="34" charset="0"/>
              <a:buChar char="•"/>
              <a:defRPr sz="1600">
                <a:solidFill>
                  <a:schemeClr val="tx1"/>
                </a:solidFill>
                <a:latin typeface="Proximus Light" panose="00000400000000000000" pitchFamily="50" charset="0"/>
              </a:defRPr>
            </a:lvl4pPr>
            <a:lvl5pPr>
              <a:spcBef>
                <a:spcPts val="800"/>
              </a:spcBef>
              <a:defRPr sz="1867">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26366419-4CB1-22C2-BFEF-A47ACEC91643}"/>
              </a:ext>
            </a:extLst>
          </p:cNvPr>
          <p:cNvSpPr>
            <a:spLocks noGrp="1"/>
          </p:cNvSpPr>
          <p:nvPr>
            <p:ph type="body" sz="quarter" idx="14"/>
          </p:nvPr>
        </p:nvSpPr>
        <p:spPr>
          <a:xfrm>
            <a:off x="4411125" y="1676400"/>
            <a:ext cx="3360000" cy="4584699"/>
          </a:xfrm>
          <a:prstGeom prst="roundRect">
            <a:avLst>
              <a:gd name="adj" fmla="val 3679"/>
            </a:avLst>
          </a:prstGeom>
          <a:gradFill>
            <a:gsLst>
              <a:gs pos="69000">
                <a:schemeClr val="bg1"/>
              </a:gs>
              <a:gs pos="0">
                <a:srgbClr val="A82E76"/>
              </a:gs>
            </a:gsLst>
            <a:lin ang="16200000" scaled="1"/>
          </a:gradFill>
          <a:effectLst/>
        </p:spPr>
        <p:txBody>
          <a:bodyPr lIns="216000" tIns="216000" rIns="216000" bIns="216000"/>
          <a:lstStyle>
            <a:lvl1pPr marL="0" indent="0">
              <a:spcAft>
                <a:spcPts val="800"/>
              </a:spcAft>
              <a:buNone/>
              <a:defRPr sz="2400">
                <a:solidFill>
                  <a:schemeClr val="tx1"/>
                </a:solidFill>
                <a:latin typeface="Proximus Light" panose="020B0604020202020204" charset="0"/>
              </a:defRPr>
            </a:lvl1pPr>
            <a:lvl2pPr marL="235194" indent="-234917">
              <a:buClr>
                <a:schemeClr val="tx1"/>
              </a:buClr>
              <a:defRPr sz="1867">
                <a:solidFill>
                  <a:schemeClr val="tx1"/>
                </a:solidFill>
              </a:defRPr>
            </a:lvl2pPr>
            <a:lvl3pPr marL="479988">
              <a:buClr>
                <a:schemeClr val="tx1"/>
              </a:buClr>
              <a:defRPr>
                <a:solidFill>
                  <a:schemeClr val="tx1"/>
                </a:solidFill>
                <a:latin typeface="+mn-lt"/>
              </a:defRPr>
            </a:lvl3pPr>
            <a:lvl4pPr marL="715182" indent="-235194">
              <a:spcBef>
                <a:spcPts val="800"/>
              </a:spcBef>
              <a:buClr>
                <a:schemeClr val="tx1"/>
              </a:buClr>
              <a:buFont typeface="Arial" panose="020B0604020202020204" pitchFamily="34" charset="0"/>
              <a:buChar char="•"/>
              <a:defRPr sz="1600">
                <a:solidFill>
                  <a:schemeClr val="tx1"/>
                </a:solidFill>
                <a:latin typeface="Proximus Light" panose="00000400000000000000" pitchFamily="50" charset="0"/>
              </a:defRPr>
            </a:lvl4pPr>
            <a:lvl5pPr>
              <a:spcBef>
                <a:spcPts val="800"/>
              </a:spcBef>
              <a:defRPr sz="1867">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2498A6E2-70E0-E343-408B-2BDF74C11E13}"/>
              </a:ext>
            </a:extLst>
          </p:cNvPr>
          <p:cNvSpPr>
            <a:spLocks noGrp="1"/>
          </p:cNvSpPr>
          <p:nvPr>
            <p:ph type="body" sz="quarter" idx="15"/>
          </p:nvPr>
        </p:nvSpPr>
        <p:spPr>
          <a:xfrm>
            <a:off x="8208417" y="1676400"/>
            <a:ext cx="3360000" cy="4584699"/>
          </a:xfrm>
          <a:prstGeom prst="roundRect">
            <a:avLst>
              <a:gd name="adj" fmla="val 3679"/>
            </a:avLst>
          </a:prstGeom>
          <a:gradFill>
            <a:gsLst>
              <a:gs pos="69000">
                <a:schemeClr val="bg1"/>
              </a:gs>
              <a:gs pos="0">
                <a:srgbClr val="A82E76"/>
              </a:gs>
            </a:gsLst>
            <a:lin ang="16200000" scaled="1"/>
          </a:gradFill>
          <a:effectLst/>
        </p:spPr>
        <p:txBody>
          <a:bodyPr lIns="216000" tIns="216000" rIns="216000" bIns="216000"/>
          <a:lstStyle>
            <a:lvl1pPr marL="0" indent="0">
              <a:spcAft>
                <a:spcPts val="800"/>
              </a:spcAft>
              <a:buNone/>
              <a:defRPr sz="2400">
                <a:solidFill>
                  <a:schemeClr val="tx1"/>
                </a:solidFill>
                <a:latin typeface="Proximus Light" panose="020B0604020202020204" charset="0"/>
              </a:defRPr>
            </a:lvl1pPr>
            <a:lvl2pPr marL="235194" indent="-234917">
              <a:buClr>
                <a:schemeClr val="tx1"/>
              </a:buClr>
              <a:defRPr sz="1867">
                <a:solidFill>
                  <a:schemeClr val="tx1"/>
                </a:solidFill>
              </a:defRPr>
            </a:lvl2pPr>
            <a:lvl3pPr marL="479988">
              <a:buClr>
                <a:schemeClr val="tx1"/>
              </a:buClr>
              <a:defRPr>
                <a:solidFill>
                  <a:schemeClr val="tx1"/>
                </a:solidFill>
                <a:latin typeface="+mn-lt"/>
              </a:defRPr>
            </a:lvl3pPr>
            <a:lvl4pPr marL="715182" indent="-235194">
              <a:spcBef>
                <a:spcPts val="800"/>
              </a:spcBef>
              <a:buClr>
                <a:schemeClr val="tx1"/>
              </a:buClr>
              <a:buFont typeface="Arial" panose="020B0604020202020204" pitchFamily="34" charset="0"/>
              <a:buChar char="•"/>
              <a:defRPr sz="1600">
                <a:solidFill>
                  <a:schemeClr val="tx1"/>
                </a:solidFill>
                <a:latin typeface="Proximus Light" panose="00000400000000000000" pitchFamily="50" charset="0"/>
              </a:defRPr>
            </a:lvl4pPr>
            <a:lvl5pPr>
              <a:spcBef>
                <a:spcPts val="800"/>
              </a:spcBef>
              <a:defRPr sz="1867">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255621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Blocks - 3 - Gradient Background">
    <p:bg>
      <p:bgPr>
        <a:gradFill>
          <a:gsLst>
            <a:gs pos="25000">
              <a:schemeClr val="bg1"/>
            </a:gs>
            <a:gs pos="100000">
              <a:srgbClr val="D22E67"/>
            </a:gs>
          </a:gsLst>
          <a:lin ang="3000000" scaled="0"/>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a:xfrm>
            <a:off x="613837" y="503768"/>
            <a:ext cx="10962217" cy="880123"/>
          </a:xfrm>
          <a:prstGeom prst="rect">
            <a:avLst/>
          </a:prstGeom>
        </p:spPr>
        <p:txBody>
          <a:bodyPr/>
          <a:lstStyle>
            <a:lvl1pPr>
              <a:defRPr>
                <a:solidFill>
                  <a:schemeClr val="tx1"/>
                </a:solidFill>
              </a:defRPr>
            </a:lvl1pPr>
          </a:lstStyle>
          <a:p>
            <a:r>
              <a:rPr lang="en-US"/>
              <a:t>Click to edit Master title style</a:t>
            </a:r>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613833" y="1676400"/>
            <a:ext cx="3360000" cy="4584699"/>
          </a:xfrm>
          <a:prstGeom prst="roundRect">
            <a:avLst>
              <a:gd name="adj" fmla="val 3679"/>
            </a:avLst>
          </a:prstGeom>
          <a:solidFill>
            <a:schemeClr val="tx1"/>
          </a:solidFill>
          <a:effectLst/>
        </p:spPr>
        <p:txBody>
          <a:bodyPr lIns="216000" tIns="216000" rIns="216000" bIns="216000"/>
          <a:lstStyle>
            <a:lvl1pPr marL="0" indent="0">
              <a:spcAft>
                <a:spcPts val="800"/>
              </a:spcAft>
              <a:buNone/>
              <a:defRPr sz="2400">
                <a:solidFill>
                  <a:schemeClr val="bg1"/>
                </a:solidFill>
                <a:latin typeface="Proximus Light" panose="020B0604020202020204" charset="0"/>
              </a:defRPr>
            </a:lvl1pPr>
            <a:lvl2pPr marL="235194" indent="-234917">
              <a:defRPr sz="1867"/>
            </a:lvl2pPr>
            <a:lvl3pPr marL="479988">
              <a:defRPr>
                <a:latin typeface="+mn-lt"/>
              </a:defRPr>
            </a:lvl3pPr>
            <a:lvl4pPr marL="715182" indent="-235194">
              <a:spcBef>
                <a:spcPts val="800"/>
              </a:spcBef>
              <a:buFont typeface="Arial" panose="020B0604020202020204" pitchFamily="34" charset="0"/>
              <a:buChar char="•"/>
              <a:defRPr sz="1600">
                <a:latin typeface="Proximus Light" panose="00000400000000000000" pitchFamily="50" charset="0"/>
              </a:defRPr>
            </a:lvl4pPr>
            <a:lvl5pPr>
              <a:spcBef>
                <a:spcPts val="800"/>
              </a:spcBef>
              <a:defRPr sz="18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26366419-4CB1-22C2-BFEF-A47ACEC91643}"/>
              </a:ext>
            </a:extLst>
          </p:cNvPr>
          <p:cNvSpPr>
            <a:spLocks noGrp="1"/>
          </p:cNvSpPr>
          <p:nvPr>
            <p:ph type="body" sz="quarter" idx="14"/>
          </p:nvPr>
        </p:nvSpPr>
        <p:spPr>
          <a:xfrm>
            <a:off x="4411125" y="1676400"/>
            <a:ext cx="3360000" cy="4584699"/>
          </a:xfrm>
          <a:prstGeom prst="roundRect">
            <a:avLst>
              <a:gd name="adj" fmla="val 3679"/>
            </a:avLst>
          </a:prstGeom>
          <a:solidFill>
            <a:schemeClr val="tx1"/>
          </a:solidFill>
          <a:effectLst/>
        </p:spPr>
        <p:txBody>
          <a:bodyPr lIns="216000" tIns="216000" rIns="216000" bIns="216000"/>
          <a:lstStyle>
            <a:lvl1pPr marL="0" indent="0">
              <a:spcAft>
                <a:spcPts val="800"/>
              </a:spcAft>
              <a:buNone/>
              <a:defRPr sz="2400">
                <a:solidFill>
                  <a:schemeClr val="bg1"/>
                </a:solidFill>
                <a:latin typeface="Proximus Light" panose="020B0604020202020204" charset="0"/>
              </a:defRPr>
            </a:lvl1pPr>
            <a:lvl2pPr marL="235194" indent="-234917">
              <a:defRPr sz="1867"/>
            </a:lvl2pPr>
            <a:lvl3pPr marL="479988">
              <a:defRPr>
                <a:latin typeface="+mn-lt"/>
              </a:defRPr>
            </a:lvl3pPr>
            <a:lvl4pPr marL="715182" indent="-235194">
              <a:spcBef>
                <a:spcPts val="800"/>
              </a:spcBef>
              <a:buFont typeface="Arial" panose="020B0604020202020204" pitchFamily="34" charset="0"/>
              <a:buChar char="•"/>
              <a:defRPr sz="1600">
                <a:latin typeface="Proximus Light" panose="00000400000000000000" pitchFamily="50" charset="0"/>
              </a:defRPr>
            </a:lvl4pPr>
            <a:lvl5pPr>
              <a:spcBef>
                <a:spcPts val="800"/>
              </a:spcBef>
              <a:defRPr sz="18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2498A6E2-70E0-E343-408B-2BDF74C11E13}"/>
              </a:ext>
            </a:extLst>
          </p:cNvPr>
          <p:cNvSpPr>
            <a:spLocks noGrp="1"/>
          </p:cNvSpPr>
          <p:nvPr>
            <p:ph type="body" sz="quarter" idx="15"/>
          </p:nvPr>
        </p:nvSpPr>
        <p:spPr>
          <a:xfrm>
            <a:off x="8208417" y="1676400"/>
            <a:ext cx="3360000" cy="4584699"/>
          </a:xfrm>
          <a:prstGeom prst="roundRect">
            <a:avLst>
              <a:gd name="adj" fmla="val 3679"/>
            </a:avLst>
          </a:prstGeom>
          <a:solidFill>
            <a:schemeClr val="tx1"/>
          </a:solidFill>
          <a:effectLst/>
        </p:spPr>
        <p:txBody>
          <a:bodyPr lIns="216000" tIns="216000" rIns="216000" bIns="216000"/>
          <a:lstStyle>
            <a:lvl1pPr marL="0" indent="0">
              <a:spcAft>
                <a:spcPts val="800"/>
              </a:spcAft>
              <a:buNone/>
              <a:defRPr sz="2400">
                <a:solidFill>
                  <a:schemeClr val="bg1"/>
                </a:solidFill>
                <a:latin typeface="Proximus Light" panose="020B0604020202020204" charset="0"/>
              </a:defRPr>
            </a:lvl1pPr>
            <a:lvl2pPr marL="235194" indent="-234917">
              <a:defRPr sz="1867"/>
            </a:lvl2pPr>
            <a:lvl3pPr marL="479988">
              <a:defRPr>
                <a:latin typeface="+mn-lt"/>
              </a:defRPr>
            </a:lvl3pPr>
            <a:lvl4pPr marL="715182" indent="-235194">
              <a:spcBef>
                <a:spcPts val="800"/>
              </a:spcBef>
              <a:buFont typeface="Arial" panose="020B0604020202020204" pitchFamily="34" charset="0"/>
              <a:buChar char="•"/>
              <a:defRPr sz="1600">
                <a:latin typeface="Proximus Light" panose="00000400000000000000" pitchFamily="50" charset="0"/>
              </a:defRPr>
            </a:lvl4pPr>
            <a:lvl5pPr>
              <a:spcBef>
                <a:spcPts val="800"/>
              </a:spcBef>
              <a:defRPr sz="18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878188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Content slide - Image right">
    <p:spTree>
      <p:nvGrpSpPr>
        <p:cNvPr id="1" name=""/>
        <p:cNvGrpSpPr/>
        <p:nvPr/>
      </p:nvGrpSpPr>
      <p:grpSpPr>
        <a:xfrm>
          <a:off x="0" y="0"/>
          <a:ext cx="0" cy="0"/>
          <a:chOff x="0" y="0"/>
          <a:chExt cx="0" cy="0"/>
        </a:xfrm>
      </p:grpSpPr>
      <p:sp>
        <p:nvSpPr>
          <p:cNvPr id="10" name="Picture Placeholder 4"/>
          <p:cNvSpPr>
            <a:spLocks noGrp="1"/>
          </p:cNvSpPr>
          <p:nvPr>
            <p:ph type="pic" sz="quarter" idx="15" hasCustomPrompt="1"/>
          </p:nvPr>
        </p:nvSpPr>
        <p:spPr>
          <a:xfrm>
            <a:off x="6586676" y="0"/>
            <a:ext cx="5616000" cy="6858000"/>
          </a:xfrm>
          <a:prstGeom prst="rect">
            <a:avLst/>
          </a:prstGeom>
          <a:blipFill>
            <a:blip r:embed="rId2"/>
            <a:tile tx="0" ty="69850" sx="100000" sy="100000" flip="none" algn="ctr"/>
          </a:blipFill>
        </p:spPr>
        <p:txBody>
          <a:bodyPr anchor="ctr"/>
          <a:lstStyle>
            <a:lvl1pPr marL="0" indent="0" algn="ctr">
              <a:lnSpc>
                <a:spcPct val="100000"/>
              </a:lnSpc>
              <a:buNone/>
              <a:defRPr baseline="0">
                <a:latin typeface="Proximus" panose="00000500000000000000" pitchFamily="2" charset="0"/>
              </a:defRPr>
            </a:lvl1pPr>
          </a:lstStyle>
          <a:p>
            <a:r>
              <a:rPr lang="en-GB"/>
              <a:t>Click icon to change picture</a:t>
            </a:r>
          </a:p>
        </p:txBody>
      </p:sp>
      <p:sp>
        <p:nvSpPr>
          <p:cNvPr id="2" name="Title 1"/>
          <p:cNvSpPr>
            <a:spLocks noGrp="1"/>
          </p:cNvSpPr>
          <p:nvPr>
            <p:ph type="title" hasCustomPrompt="1"/>
          </p:nvPr>
        </p:nvSpPr>
        <p:spPr>
          <a:xfrm>
            <a:off x="613838" y="503768"/>
            <a:ext cx="5264789" cy="1411200"/>
          </a:xfrm>
          <a:prstGeom prst="rect">
            <a:avLst/>
          </a:prstGeom>
        </p:spPr>
        <p:txBody>
          <a:bodyPr/>
          <a:lstStyle>
            <a:lvl1pPr>
              <a:defRPr b="1">
                <a:solidFill>
                  <a:schemeClr val="bg1"/>
                </a:solidFill>
                <a:latin typeface="Proximus" panose="00000500000000000000" pitchFamily="2" charset="0"/>
              </a:defRPr>
            </a:lvl1pPr>
          </a:lstStyle>
          <a:p>
            <a:r>
              <a:rPr lang="en-US"/>
              <a:t>Click to edit slide title</a:t>
            </a:r>
            <a:endParaRPr lang="nl-BE"/>
          </a:p>
        </p:txBody>
      </p:sp>
      <p:sp>
        <p:nvSpPr>
          <p:cNvPr id="5" name="Text Placeholder 4">
            <a:extLst>
              <a:ext uri="{FF2B5EF4-FFF2-40B4-BE49-F238E27FC236}">
                <a16:creationId xmlns:a16="http://schemas.microsoft.com/office/drawing/2014/main" id="{92B82360-6E03-CB5A-DE23-8C03DE7AFF22}"/>
              </a:ext>
            </a:extLst>
          </p:cNvPr>
          <p:cNvSpPr>
            <a:spLocks noGrp="1"/>
          </p:cNvSpPr>
          <p:nvPr>
            <p:ph type="body" sz="quarter" idx="18"/>
          </p:nvPr>
        </p:nvSpPr>
        <p:spPr>
          <a:xfrm>
            <a:off x="613834" y="2135999"/>
            <a:ext cx="5264151" cy="41251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3765898"/>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ontent slide - Image left">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0BDA83C3-91B0-900B-BC21-475B0DD60759}"/>
              </a:ext>
            </a:extLst>
          </p:cNvPr>
          <p:cNvSpPr>
            <a:spLocks noGrp="1"/>
          </p:cNvSpPr>
          <p:nvPr>
            <p:ph type="pic" sz="quarter" idx="19" hasCustomPrompt="1"/>
          </p:nvPr>
        </p:nvSpPr>
        <p:spPr>
          <a:xfrm>
            <a:off x="1" y="0"/>
            <a:ext cx="6588428" cy="6858000"/>
          </a:xfrm>
          <a:prstGeom prst="rect">
            <a:avLst/>
          </a:prstGeom>
          <a:blipFill>
            <a:blip r:embed="rId2"/>
            <a:tile tx="0" ty="69850" sx="100000" sy="100000" flip="none" algn="ctr"/>
          </a:blipFill>
        </p:spPr>
        <p:txBody>
          <a:bodyPr anchor="ctr"/>
          <a:lstStyle>
            <a:lvl1pPr marL="0" indent="0" algn="ctr">
              <a:lnSpc>
                <a:spcPct val="100000"/>
              </a:lnSpc>
              <a:buNone/>
              <a:defRPr baseline="0">
                <a:latin typeface="Proximus" panose="00000500000000000000" pitchFamily="2" charset="0"/>
              </a:defRPr>
            </a:lvl1pPr>
          </a:lstStyle>
          <a:p>
            <a:r>
              <a:rPr lang="en-GB"/>
              <a:t>Click icon to change picture</a:t>
            </a:r>
          </a:p>
        </p:txBody>
      </p:sp>
      <p:sp>
        <p:nvSpPr>
          <p:cNvPr id="2" name="Title 1"/>
          <p:cNvSpPr>
            <a:spLocks noGrp="1"/>
          </p:cNvSpPr>
          <p:nvPr>
            <p:ph type="title" hasCustomPrompt="1"/>
          </p:nvPr>
        </p:nvSpPr>
        <p:spPr>
          <a:xfrm>
            <a:off x="7247489" y="503767"/>
            <a:ext cx="4320928" cy="1409743"/>
          </a:xfrm>
          <a:prstGeom prst="rect">
            <a:avLst/>
          </a:prstGeom>
        </p:spPr>
        <p:txBody>
          <a:bodyPr/>
          <a:lstStyle>
            <a:lvl1pPr>
              <a:defRPr b="1">
                <a:solidFill>
                  <a:schemeClr val="bg1"/>
                </a:solidFill>
                <a:latin typeface="Proximus" panose="00000500000000000000" pitchFamily="2" charset="0"/>
              </a:defRPr>
            </a:lvl1pPr>
          </a:lstStyle>
          <a:p>
            <a:r>
              <a:rPr lang="en-US"/>
              <a:t>Click to edit slide title</a:t>
            </a:r>
            <a:endParaRPr lang="nl-BE"/>
          </a:p>
        </p:txBody>
      </p:sp>
      <p:sp>
        <p:nvSpPr>
          <p:cNvPr id="5" name="Text Placeholder 4">
            <a:extLst>
              <a:ext uri="{FF2B5EF4-FFF2-40B4-BE49-F238E27FC236}">
                <a16:creationId xmlns:a16="http://schemas.microsoft.com/office/drawing/2014/main" id="{92B82360-6E03-CB5A-DE23-8C03DE7AFF22}"/>
              </a:ext>
            </a:extLst>
          </p:cNvPr>
          <p:cNvSpPr>
            <a:spLocks noGrp="1"/>
          </p:cNvSpPr>
          <p:nvPr>
            <p:ph type="body" sz="quarter" idx="18"/>
          </p:nvPr>
        </p:nvSpPr>
        <p:spPr>
          <a:xfrm>
            <a:off x="7247467" y="2133599"/>
            <a:ext cx="4320404" cy="4127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8377713"/>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Content slide - Full image">
    <p:bg>
      <p:bgPr>
        <a:solidFill>
          <a:schemeClr val="tx1"/>
        </a:solidFill>
        <a:effectLst/>
      </p:bgPr>
    </p:bg>
    <p:spTree>
      <p:nvGrpSpPr>
        <p:cNvPr id="1" name=""/>
        <p:cNvGrpSpPr/>
        <p:nvPr/>
      </p:nvGrpSpPr>
      <p:grpSpPr>
        <a:xfrm>
          <a:off x="0" y="0"/>
          <a:ext cx="0" cy="0"/>
          <a:chOff x="0" y="0"/>
          <a:chExt cx="0" cy="0"/>
        </a:xfrm>
      </p:grpSpPr>
      <p:sp>
        <p:nvSpPr>
          <p:cNvPr id="9" name="Picture Placeholder 4"/>
          <p:cNvSpPr>
            <a:spLocks noGrp="1"/>
          </p:cNvSpPr>
          <p:nvPr>
            <p:ph type="pic" sz="quarter" idx="15" hasCustomPrompt="1"/>
          </p:nvPr>
        </p:nvSpPr>
        <p:spPr>
          <a:xfrm>
            <a:off x="0" y="1"/>
            <a:ext cx="12192000" cy="6864625"/>
          </a:xfrm>
          <a:prstGeom prst="rect">
            <a:avLst/>
          </a:prstGeom>
          <a:blipFill dpi="0" rotWithShape="1">
            <a:blip r:embed="rId2"/>
            <a:srcRect/>
            <a:tile tx="0" ty="69850" sx="100000" sy="100000" flip="none" algn="ctr"/>
          </a:blipFill>
        </p:spPr>
        <p:txBody>
          <a:bodyPr anchor="ctr"/>
          <a:lstStyle>
            <a:lvl1pPr marL="0" indent="0" algn="ctr">
              <a:lnSpc>
                <a:spcPct val="100000"/>
              </a:lnSpc>
              <a:buNone/>
              <a:defRPr baseline="0">
                <a:noFill/>
                <a:latin typeface="Proximus" panose="00000500000000000000" pitchFamily="2" charset="0"/>
              </a:defRPr>
            </a:lvl1pPr>
          </a:lstStyle>
          <a:p>
            <a:r>
              <a:rPr lang="en-GB"/>
              <a:t>Click icon to change picture</a:t>
            </a:r>
          </a:p>
        </p:txBody>
      </p:sp>
      <p:sp>
        <p:nvSpPr>
          <p:cNvPr id="2" name="Title 1"/>
          <p:cNvSpPr>
            <a:spLocks noGrp="1"/>
          </p:cNvSpPr>
          <p:nvPr>
            <p:ph type="title" hasCustomPrompt="1"/>
          </p:nvPr>
        </p:nvSpPr>
        <p:spPr>
          <a:xfrm>
            <a:off x="613837" y="503768"/>
            <a:ext cx="10962217" cy="880123"/>
          </a:xfrm>
          <a:prstGeom prst="rect">
            <a:avLst/>
          </a:prstGeom>
        </p:spPr>
        <p:txBody>
          <a:bodyPr/>
          <a:lstStyle>
            <a:lvl1pPr>
              <a:defRPr b="1">
                <a:solidFill>
                  <a:schemeClr val="bg1"/>
                </a:solidFill>
                <a:latin typeface="Proximus" panose="00000500000000000000" pitchFamily="2" charset="0"/>
              </a:defRPr>
            </a:lvl1pPr>
          </a:lstStyle>
          <a:p>
            <a:r>
              <a:rPr lang="en-US"/>
              <a:t>Click to edit slide title</a:t>
            </a:r>
            <a:endParaRPr lang="nl-BE"/>
          </a:p>
        </p:txBody>
      </p:sp>
    </p:spTree>
    <p:extLst>
      <p:ext uri="{BB962C8B-B14F-4D97-AF65-F5344CB8AC3E}">
        <p14:creationId xmlns:p14="http://schemas.microsoft.com/office/powerpoint/2010/main" val="834002270"/>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gradFill>
          <a:gsLst>
            <a:gs pos="25000">
              <a:schemeClr val="bg1"/>
            </a:gs>
            <a:gs pos="100000">
              <a:srgbClr val="D12E67"/>
            </a:gs>
          </a:gsLst>
          <a:lin ang="3000000" scaled="0"/>
        </a:gra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A4627669-EBE6-429E-B1FA-C8D75FC5EB99}"/>
              </a:ext>
            </a:extLst>
          </p:cNvPr>
          <p:cNvSpPr txBox="1"/>
          <p:nvPr userDrawn="1"/>
        </p:nvSpPr>
        <p:spPr>
          <a:xfrm>
            <a:off x="613833" y="1383691"/>
            <a:ext cx="10990456" cy="861775"/>
          </a:xfrm>
          <a:prstGeom prst="rect">
            <a:avLst/>
          </a:prstGeom>
        </p:spPr>
        <p:txBody>
          <a:bodyPr vert="horz" lIns="0" tIns="0" rIns="0" bIns="0" rtlCol="0" anchor="b" anchorCtr="0">
            <a:normAutofit/>
          </a:bodyPr>
          <a:lstStyle>
            <a:lvl1pPr defTabSz="914287">
              <a:spcBef>
                <a:spcPct val="0"/>
              </a:spcBef>
              <a:buNone/>
              <a:defRPr sz="4200" b="0" i="0">
                <a:solidFill>
                  <a:srgbClr val="FFFFFF"/>
                </a:solidFill>
                <a:latin typeface="Proximus ExtraBold" panose="00000900000000000000" pitchFamily="2" charset="0"/>
                <a:ea typeface="+mj-ea"/>
                <a:cs typeface="Proximus" panose="00000500000000000000" pitchFamily="2" charset="0"/>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BE" sz="5600"/>
              <a:t>T</a:t>
            </a:r>
            <a:r>
              <a:rPr lang="en-US" sz="5600"/>
              <a:t>h</a:t>
            </a:r>
            <a:r>
              <a:rPr lang="en-BE" sz="5600"/>
              <a:t>a</a:t>
            </a:r>
            <a:r>
              <a:rPr lang="en-US" sz="5600"/>
              <a:t>n</a:t>
            </a:r>
            <a:r>
              <a:rPr lang="en-BE" sz="5600"/>
              <a:t>k </a:t>
            </a:r>
            <a:r>
              <a:rPr lang="en-US" sz="5600"/>
              <a:t>Y</a:t>
            </a:r>
            <a:r>
              <a:rPr lang="en-BE" sz="5600"/>
              <a:t>o</a:t>
            </a:r>
            <a:r>
              <a:rPr lang="en-US" sz="5600"/>
              <a:t>u</a:t>
            </a:r>
          </a:p>
        </p:txBody>
      </p:sp>
      <p:sp>
        <p:nvSpPr>
          <p:cNvPr id="9" name="TextBox 8">
            <a:extLst>
              <a:ext uri="{FF2B5EF4-FFF2-40B4-BE49-F238E27FC236}">
                <a16:creationId xmlns:a16="http://schemas.microsoft.com/office/drawing/2014/main" id="{C1327079-BB69-4AA7-AE65-44FE269F5EF2}"/>
              </a:ext>
            </a:extLst>
          </p:cNvPr>
          <p:cNvSpPr txBox="1"/>
          <p:nvPr userDrawn="1"/>
        </p:nvSpPr>
        <p:spPr>
          <a:xfrm>
            <a:off x="613833" y="5033936"/>
            <a:ext cx="10962219" cy="357229"/>
          </a:xfrm>
          <a:prstGeom prst="rect">
            <a:avLst/>
          </a:prstGeom>
        </p:spPr>
        <p:txBody>
          <a:bodyPr vert="horz" lIns="0" tIns="0" rIns="0" bIns="0" numCol="1" spcCol="0" rtlCol="0" anchor="t" anchorCtr="0">
            <a:noAutofit/>
          </a:bodyPr>
          <a:lstStyle>
            <a:lvl1pPr lvl="0" indent="0" defTabSz="914287">
              <a:lnSpc>
                <a:spcPts val="2200"/>
              </a:lnSpc>
              <a:spcBef>
                <a:spcPts val="0"/>
              </a:spcBef>
              <a:spcAft>
                <a:spcPts val="1100"/>
              </a:spcAft>
              <a:buClr>
                <a:schemeClr val="tx2"/>
              </a:buClr>
              <a:buSzPct val="100000"/>
              <a:buFont typeface="Arial" panose="020B0604020202020204" pitchFamily="34" charset="0"/>
              <a:buNone/>
              <a:tabLst/>
              <a:defRPr sz="1800">
                <a:latin typeface="Proximus" panose="00000500000000000000" pitchFamily="2" charset="0"/>
              </a:defRPr>
            </a:lvl1pPr>
            <a:lvl2pPr marL="358730" indent="-176192" defTabSz="914287">
              <a:spcBef>
                <a:spcPts val="0"/>
              </a:spcBef>
              <a:spcAft>
                <a:spcPts val="1100"/>
              </a:spcAft>
              <a:buClr>
                <a:schemeClr val="bg1"/>
              </a:buClr>
              <a:buSzPct val="100000"/>
              <a:buFont typeface="Arial" panose="020B0604020202020204" pitchFamily="34" charset="0"/>
              <a:buChar char="•"/>
              <a:tabLst/>
              <a:defRPr sz="1800">
                <a:solidFill>
                  <a:schemeClr val="bg1"/>
                </a:solidFill>
                <a:latin typeface="Proximus" panose="00000500000000000000" pitchFamily="2" charset="0"/>
              </a:defRPr>
            </a:lvl2pPr>
            <a:lvl3pPr marL="536507" indent="-177779" defTabSz="914287">
              <a:spcBef>
                <a:spcPts val="0"/>
              </a:spcBef>
              <a:spcAft>
                <a:spcPts val="1100"/>
              </a:spcAft>
              <a:buClr>
                <a:schemeClr val="bg1"/>
              </a:buClr>
              <a:buSzPct val="100000"/>
              <a:buFont typeface="Arial" panose="020B0604020202020204" pitchFamily="34" charset="0"/>
              <a:buChar char="•"/>
              <a:tabLst/>
              <a:defRPr sz="1600">
                <a:solidFill>
                  <a:schemeClr val="bg1"/>
                </a:solidFill>
                <a:latin typeface="Proximus" panose="00000500000000000000" pitchFamily="2" charset="0"/>
              </a:defRPr>
            </a:lvl3pPr>
            <a:lvl4pPr marL="712699" indent="-176192" defTabSz="914287">
              <a:spcBef>
                <a:spcPts val="0"/>
              </a:spcBef>
              <a:spcAft>
                <a:spcPts val="1100"/>
              </a:spcAft>
              <a:buClr>
                <a:schemeClr val="bg1"/>
              </a:buClr>
              <a:buSzPct val="100000"/>
              <a:buFont typeface="Arial" panose="020B0604020202020204" pitchFamily="34" charset="0"/>
              <a:buChar char="•"/>
              <a:tabLst/>
              <a:defRPr sz="1400">
                <a:solidFill>
                  <a:schemeClr val="bg1"/>
                </a:solidFill>
                <a:latin typeface="Proximus" panose="00000500000000000000" pitchFamily="2" charset="0"/>
              </a:defRPr>
            </a:lvl4pPr>
            <a:lvl5pPr marL="888889" indent="-176192" defTabSz="914287">
              <a:spcBef>
                <a:spcPts val="0"/>
              </a:spcBef>
              <a:spcAft>
                <a:spcPts val="1100"/>
              </a:spcAft>
              <a:buClr>
                <a:schemeClr val="bg1"/>
              </a:buClr>
              <a:buSzPct val="100000"/>
              <a:buFont typeface="Arial" panose="020B0604020202020204" pitchFamily="34" charset="0"/>
              <a:buChar char="•"/>
              <a:tabLst/>
              <a:defRPr sz="1200">
                <a:solidFill>
                  <a:schemeClr val="bg1"/>
                </a:solidFill>
                <a:latin typeface="Proximus" panose="00000500000000000000" pitchFamily="2" charset="0"/>
              </a:defRPr>
            </a:lvl5pPr>
            <a:lvl6pPr marL="2514286" indent="-228572" defTabSz="914287">
              <a:spcBef>
                <a:spcPct val="20000"/>
              </a:spcBef>
              <a:buFont typeface="Arial" panose="020B0604020202020204" pitchFamily="34" charset="0"/>
              <a:buChar char="•"/>
              <a:defRPr sz="2000"/>
            </a:lvl6pPr>
            <a:lvl7pPr marL="2971429" indent="-228572" defTabSz="914287">
              <a:spcBef>
                <a:spcPct val="20000"/>
              </a:spcBef>
              <a:buFont typeface="Arial" panose="020B0604020202020204" pitchFamily="34" charset="0"/>
              <a:buChar char="•"/>
              <a:defRPr sz="2000"/>
            </a:lvl7pPr>
            <a:lvl8pPr marL="3428572" indent="-228572" defTabSz="914287">
              <a:spcBef>
                <a:spcPct val="20000"/>
              </a:spcBef>
              <a:buFont typeface="Arial" panose="020B0604020202020204" pitchFamily="34" charset="0"/>
              <a:buChar char="•"/>
              <a:defRPr sz="2000"/>
            </a:lvl8pPr>
            <a:lvl9pPr marL="3885715" indent="-228572" defTabSz="914287">
              <a:spcBef>
                <a:spcPct val="20000"/>
              </a:spcBef>
              <a:buFont typeface="Arial" panose="020B0604020202020204" pitchFamily="34" charset="0"/>
              <a:buChar char="•"/>
              <a:defRPr sz="2000"/>
            </a:lvl9pPr>
          </a:lstStyle>
          <a:p>
            <a:pPr lvl="0"/>
            <a:r>
              <a:rPr lang="en-US" sz="2400"/>
              <a:t>More info?</a:t>
            </a:r>
          </a:p>
        </p:txBody>
      </p:sp>
      <p:sp>
        <p:nvSpPr>
          <p:cNvPr id="10" name="Text Placeholder 13">
            <a:extLst>
              <a:ext uri="{FF2B5EF4-FFF2-40B4-BE49-F238E27FC236}">
                <a16:creationId xmlns:a16="http://schemas.microsoft.com/office/drawing/2014/main" id="{8372C999-9A28-4AA4-991B-7FBAC93D34FF}"/>
              </a:ext>
            </a:extLst>
          </p:cNvPr>
          <p:cNvSpPr>
            <a:spLocks noGrp="1"/>
          </p:cNvSpPr>
          <p:nvPr>
            <p:ph type="body" sz="quarter" idx="10" hasCustomPrompt="1"/>
          </p:nvPr>
        </p:nvSpPr>
        <p:spPr>
          <a:xfrm>
            <a:off x="586318" y="5473700"/>
            <a:ext cx="11017249" cy="357717"/>
          </a:xfrm>
          <a:prstGeom prst="rect">
            <a:avLst/>
          </a:prstGeom>
          <a:noFill/>
        </p:spPr>
        <p:txBody>
          <a:bodyPr/>
          <a:lstStyle>
            <a:lvl1pPr marL="0" indent="0">
              <a:buNone/>
              <a:defRPr>
                <a:solidFill>
                  <a:schemeClr val="tx1"/>
                </a:solidFill>
              </a:defRPr>
            </a:lvl1pPr>
          </a:lstStyle>
          <a:p>
            <a:pPr lvl="0"/>
            <a:r>
              <a:rPr lang="en-US"/>
              <a:t>firstname.lastname@proximus.com</a:t>
            </a:r>
          </a:p>
        </p:txBody>
      </p:sp>
      <p:pic>
        <p:nvPicPr>
          <p:cNvPr id="11" name="Graphic 10">
            <a:extLst>
              <a:ext uri="{FF2B5EF4-FFF2-40B4-BE49-F238E27FC236}">
                <a16:creationId xmlns:a16="http://schemas.microsoft.com/office/drawing/2014/main" id="{6DE3DAB3-B0CE-47F8-80EF-9E05EC59DA2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702898" y="5724528"/>
            <a:ext cx="889207" cy="720725"/>
          </a:xfrm>
          <a:prstGeom prst="rect">
            <a:avLst/>
          </a:prstGeom>
        </p:spPr>
      </p:pic>
    </p:spTree>
    <p:extLst>
      <p:ext uri="{BB962C8B-B14F-4D97-AF65-F5344CB8AC3E}">
        <p14:creationId xmlns:p14="http://schemas.microsoft.com/office/powerpoint/2010/main" val="2109303980"/>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6884282"/>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67199778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Proximus" panose="00000500000000000000" pitchFamily="2" charset="0"/>
              <a:ea typeface="+mj-ea"/>
              <a:cs typeface="+mj-cs"/>
              <a:sym typeface="Proximus" panose="00000500000000000000" pitchFamily="2" charset="0"/>
            </a:endParaRPr>
          </a:p>
        </p:txBody>
      </p:sp>
      <p:pic>
        <p:nvPicPr>
          <p:cNvPr id="3" name="Rectangle 1">
            <a:extLst>
              <a:ext uri="{FF2B5EF4-FFF2-40B4-BE49-F238E27FC236}">
                <a16:creationId xmlns:a16="http://schemas.microsoft.com/office/drawing/2014/main" id="{09192EDB-401A-4C4C-B20A-53F7CB54512A}"/>
              </a:ext>
            </a:extLst>
          </p:cNvPr>
          <p:cNvPicPr>
            <a:picLocks noChangeAspect="1"/>
          </p:cNvPicPr>
          <p:nvPr userDrawn="1"/>
        </p:nvPicPr>
        <p:blipFill>
          <a:blip r:embed="rId9"/>
          <a:stretch>
            <a:fillRect/>
          </a:stretch>
        </p:blipFill>
        <p:spPr bwMode="ltGray">
          <a:xfrm>
            <a:off x="0" y="0"/>
            <a:ext cx="12192000" cy="6858000"/>
          </a:xfrm>
          <a:prstGeom prst="rect">
            <a:avLst/>
          </a:prstGeom>
        </p:spPr>
      </p:pic>
      <p:sp>
        <p:nvSpPr>
          <p:cNvPr id="12" name="Documenttype">
            <a:extLst>
              <a:ext uri="{FF2B5EF4-FFF2-40B4-BE49-F238E27FC236}">
                <a16:creationId xmlns:a16="http://schemas.microsoft.com/office/drawing/2014/main" id="{310C2865-0002-4D04-9A08-A7507916E0DD}"/>
              </a:ext>
            </a:extLst>
          </p:cNvPr>
          <p:cNvSpPr>
            <a:spLocks noGrp="1"/>
          </p:cNvSpPr>
          <p:nvPr>
            <p:ph type="body" sz="quarter" idx="13" hasCustomPrompt="1"/>
            <p:custDataLst>
              <p:tags r:id="rId3"/>
            </p:custDataLst>
          </p:nvPr>
        </p:nvSpPr>
        <p:spPr bwMode="ltGray">
          <a:xfrm>
            <a:off x="550801" y="4151410"/>
            <a:ext cx="6712459" cy="215444"/>
          </a:xfrm>
          <a:prstGeom prst="rect">
            <a:avLst/>
          </a:prstGeom>
        </p:spPr>
        <p:txBody>
          <a:bodyPr wrap="square">
            <a:spAutoFit/>
          </a:bodyPr>
          <a:lstStyle>
            <a:lvl1pPr>
              <a:buNone/>
              <a:defRPr sz="1400">
                <a:solidFill>
                  <a:schemeClr val="bg1"/>
                </a:solidFill>
              </a:defRPr>
            </a:lvl1pPr>
            <a:lvl2pPr marL="115885" indent="0">
              <a:buNone/>
              <a:defRPr>
                <a:solidFill>
                  <a:schemeClr val="bg1"/>
                </a:solidFill>
              </a:defRPr>
            </a:lvl2pPr>
            <a:lvl3pPr marL="466332" indent="0">
              <a:buNone/>
              <a:defRPr>
                <a:solidFill>
                  <a:schemeClr val="bg1"/>
                </a:solidFill>
              </a:defRPr>
            </a:lvl3pPr>
            <a:lvl4pPr marL="813796" indent="0">
              <a:buNone/>
              <a:defRPr>
                <a:solidFill>
                  <a:schemeClr val="bg1"/>
                </a:solidFill>
              </a:defRPr>
            </a:lvl4pPr>
            <a:lvl5pPr marL="1161259" indent="0">
              <a:buNone/>
              <a:defRPr>
                <a:solidFill>
                  <a:schemeClr val="bg1"/>
                </a:solidFill>
              </a:defRPr>
            </a:lvl5pPr>
          </a:lstStyle>
          <a:p>
            <a:pPr lvl="0"/>
            <a:r>
              <a:rPr lang="en-US"/>
              <a:t>Edit date or title/role</a:t>
            </a:r>
          </a:p>
        </p:txBody>
      </p:sp>
      <p:sp>
        <p:nvSpPr>
          <p:cNvPr id="13" name="Subtitle">
            <a:extLst>
              <a:ext uri="{FF2B5EF4-FFF2-40B4-BE49-F238E27FC236}">
                <a16:creationId xmlns:a16="http://schemas.microsoft.com/office/drawing/2014/main" id="{E7172286-520A-4D85-AC04-C8D9C6A46AFE}"/>
              </a:ext>
            </a:extLst>
          </p:cNvPr>
          <p:cNvSpPr>
            <a:spLocks noGrp="1"/>
          </p:cNvSpPr>
          <p:nvPr>
            <p:ph type="subTitle" idx="1"/>
            <p:custDataLst>
              <p:tags r:id="rId4"/>
            </p:custDataLst>
          </p:nvPr>
        </p:nvSpPr>
        <p:spPr bwMode="ltGray">
          <a:xfrm>
            <a:off x="551941" y="3513537"/>
            <a:ext cx="6712459" cy="307777"/>
          </a:xfrm>
          <a:prstGeom prst="rect">
            <a:avLst/>
          </a:prstGeom>
        </p:spPr>
        <p:txBody>
          <a:bodyPr wrap="square">
            <a:spAutoFit/>
          </a:bodyPr>
          <a:lstStyle>
            <a:lvl1pPr marL="0" indent="0" algn="l">
              <a:buNone/>
              <a:defRPr sz="2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US"/>
          </a:p>
        </p:txBody>
      </p:sp>
      <p:sp>
        <p:nvSpPr>
          <p:cNvPr id="14" name="Title">
            <a:extLst>
              <a:ext uri="{FF2B5EF4-FFF2-40B4-BE49-F238E27FC236}">
                <a16:creationId xmlns:a16="http://schemas.microsoft.com/office/drawing/2014/main" id="{0F432B6E-6ADC-479A-8A53-39454CDC7D93}"/>
              </a:ext>
            </a:extLst>
          </p:cNvPr>
          <p:cNvSpPr>
            <a:spLocks noGrp="1"/>
          </p:cNvSpPr>
          <p:nvPr>
            <p:ph type="title"/>
            <p:custDataLst>
              <p:tags r:id="rId5"/>
            </p:custDataLst>
          </p:nvPr>
        </p:nvSpPr>
        <p:spPr bwMode="ltGray">
          <a:xfrm>
            <a:off x="551942" y="475006"/>
            <a:ext cx="8249159" cy="677108"/>
          </a:xfrm>
          <a:prstGeom prst="rect">
            <a:avLst/>
          </a:prstGeom>
        </p:spPr>
        <p:txBody>
          <a:bodyPr wrap="square" anchor="t">
            <a:spAutoFit/>
          </a:bodyPr>
          <a:lstStyle>
            <a:lvl1pPr>
              <a:defRPr sz="4400" baseline="0">
                <a:ln w="6350" cap="flat">
                  <a:noFill/>
                  <a:miter lim="800000"/>
                </a:ln>
                <a:solidFill>
                  <a:schemeClr val="bg1"/>
                </a:solidFill>
              </a:defRPr>
            </a:lvl1pPr>
          </a:lstStyle>
          <a:p>
            <a:r>
              <a:rPr lang="en-GB"/>
              <a:t>Click to edit Master title style</a:t>
            </a:r>
            <a:endParaRPr lang="en-US"/>
          </a:p>
        </p:txBody>
      </p:sp>
      <p:pic>
        <p:nvPicPr>
          <p:cNvPr id="8" name="Graphic 7">
            <a:extLst>
              <a:ext uri="{FF2B5EF4-FFF2-40B4-BE49-F238E27FC236}">
                <a16:creationId xmlns:a16="http://schemas.microsoft.com/office/drawing/2014/main" id="{9CFA9FD9-AD7A-4745-A83C-9C8A8EDF8936}"/>
              </a:ext>
            </a:extLst>
          </p:cNvPr>
          <p:cNvPicPr>
            <a:picLocks noChangeAspect="1"/>
          </p:cNvPicPr>
          <p:nvPr userDrawn="1"/>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bwMode="ltGray">
          <a:xfrm>
            <a:off x="9414741" y="6062069"/>
            <a:ext cx="2257617" cy="491131"/>
          </a:xfrm>
          <a:prstGeom prst="rect">
            <a:avLst/>
          </a:prstGeom>
        </p:spPr>
      </p:pic>
    </p:spTree>
    <p:extLst>
      <p:ext uri="{BB962C8B-B14F-4D97-AF65-F5344CB8AC3E}">
        <p14:creationId xmlns:p14="http://schemas.microsoft.com/office/powerpoint/2010/main" val="1487924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XS ADA - speaker picture">
    <p:bg>
      <p:bgPr>
        <a:solidFill>
          <a:srgbClr val="03001D"/>
        </a:solidFill>
        <a:effectLst/>
      </p:bgPr>
    </p:bg>
    <p:spTree>
      <p:nvGrpSpPr>
        <p:cNvPr id="1" name=""/>
        <p:cNvGrpSpPr/>
        <p:nvPr/>
      </p:nvGrpSpPr>
      <p:grpSpPr>
        <a:xfrm>
          <a:off x="0" y="0"/>
          <a:ext cx="0" cy="0"/>
          <a:chOff x="0" y="0"/>
          <a:chExt cx="0" cy="0"/>
        </a:xfrm>
      </p:grpSpPr>
      <p:pic>
        <p:nvPicPr>
          <p:cNvPr id="3" name="Picture 2" descr="A purple background with white dots&#10;&#10;Description automatically generated">
            <a:extLst>
              <a:ext uri="{FF2B5EF4-FFF2-40B4-BE49-F238E27FC236}">
                <a16:creationId xmlns:a16="http://schemas.microsoft.com/office/drawing/2014/main" id="{6590447C-C22F-49E3-0FE0-0FC642A0226F}"/>
              </a:ext>
            </a:extLst>
          </p:cNvPr>
          <p:cNvPicPr>
            <a:picLocks noGrp="1" noRot="1" noChangeAspect="1" noMove="1" noResize="1" noEditPoints="1" noAdjustHandles="1" noChangeArrowheads="1" noChangeShapeType="1" noCrop="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4" name="Rectangle 3">
            <a:extLst>
              <a:ext uri="{FF2B5EF4-FFF2-40B4-BE49-F238E27FC236}">
                <a16:creationId xmlns:a16="http://schemas.microsoft.com/office/drawing/2014/main" id="{F74083F6-321D-A6DB-8B44-1E19883E8E65}"/>
              </a:ext>
            </a:extLst>
          </p:cNvPr>
          <p:cNvSpPr/>
          <p:nvPr userDrawn="1"/>
        </p:nvSpPr>
        <p:spPr>
          <a:xfrm>
            <a:off x="-1600" y="1"/>
            <a:ext cx="12193600" cy="6858225"/>
          </a:xfrm>
          <a:prstGeom prst="rect">
            <a:avLst/>
          </a:prstGeom>
          <a:gradFill>
            <a:gsLst>
              <a:gs pos="0">
                <a:srgbClr val="5C2D91"/>
              </a:gs>
              <a:gs pos="60000">
                <a:srgbClr val="5C2D91">
                  <a:alpha val="0"/>
                </a:srgb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2400"/>
          </a:p>
        </p:txBody>
      </p:sp>
      <p:sp>
        <p:nvSpPr>
          <p:cNvPr id="2" name="Title 1"/>
          <p:cNvSpPr>
            <a:spLocks noGrp="1"/>
          </p:cNvSpPr>
          <p:nvPr>
            <p:ph type="title" hasCustomPrompt="1"/>
          </p:nvPr>
        </p:nvSpPr>
        <p:spPr>
          <a:xfrm>
            <a:off x="624417" y="1460501"/>
            <a:ext cx="5319800" cy="2247899"/>
          </a:xfrm>
        </p:spPr>
        <p:txBody>
          <a:bodyPr anchor="b"/>
          <a:lstStyle>
            <a:lvl1pPr>
              <a:defRPr b="0">
                <a:solidFill>
                  <a:schemeClr val="tx1"/>
                </a:solidFill>
              </a:defRPr>
            </a:lvl1pPr>
          </a:lstStyle>
          <a:p>
            <a:r>
              <a:rPr lang="en-US"/>
              <a:t>Click to edit </a:t>
            </a:r>
            <a:r>
              <a:rPr lang="en-BE"/>
              <a:t>speaker name</a:t>
            </a:r>
            <a:endParaRPr lang="nl-BE"/>
          </a:p>
        </p:txBody>
      </p:sp>
      <p:sp>
        <p:nvSpPr>
          <p:cNvPr id="11" name="Text Placeholder 2">
            <a:extLst>
              <a:ext uri="{FF2B5EF4-FFF2-40B4-BE49-F238E27FC236}">
                <a16:creationId xmlns:a16="http://schemas.microsoft.com/office/drawing/2014/main" id="{10193D06-FB5B-42EC-9101-F77EE2C16642}"/>
              </a:ext>
            </a:extLst>
          </p:cNvPr>
          <p:cNvSpPr>
            <a:spLocks noGrp="1"/>
          </p:cNvSpPr>
          <p:nvPr>
            <p:ph idx="1" hasCustomPrompt="1"/>
          </p:nvPr>
        </p:nvSpPr>
        <p:spPr>
          <a:xfrm>
            <a:off x="624415" y="3898900"/>
            <a:ext cx="5014385" cy="1625601"/>
          </a:xfrm>
          <a:prstGeom prst="rect">
            <a:avLst/>
          </a:prstGeom>
        </p:spPr>
        <p:txBody>
          <a:bodyPr vert="horz" lIns="0" tIns="0" rIns="0" bIns="0" numCol="1" spcCol="0" rtlCol="0" anchor="t" anchorCtr="0">
            <a:noAutofit/>
          </a:bodyPr>
          <a:lstStyle>
            <a:lvl1pPr>
              <a:lnSpc>
                <a:spcPct val="100000"/>
              </a:lnSpc>
              <a:spcAft>
                <a:spcPts val="800"/>
              </a:spcAft>
              <a:defRPr sz="2133">
                <a:solidFill>
                  <a:schemeClr val="accent1"/>
                </a:solidFill>
                <a:latin typeface="Proximus Bold" panose="00000800000000000000" pitchFamily="2" charset="0"/>
              </a:defRPr>
            </a:lvl1pPr>
            <a:lvl2pPr>
              <a:lnSpc>
                <a:spcPct val="100000"/>
              </a:lnSpc>
              <a:spcAft>
                <a:spcPts val="800"/>
              </a:spcAft>
              <a:buClr>
                <a:schemeClr val="tx1"/>
              </a:buClr>
              <a:defRPr>
                <a:solidFill>
                  <a:schemeClr val="tx1"/>
                </a:solidFill>
              </a:defRPr>
            </a:lvl2pPr>
            <a:lvl3pPr>
              <a:lnSpc>
                <a:spcPct val="100000"/>
              </a:lnSpc>
              <a:spcAft>
                <a:spcPts val="800"/>
              </a:spcAft>
              <a:buClr>
                <a:schemeClr val="tx1"/>
              </a:buClr>
              <a:defRPr>
                <a:solidFill>
                  <a:schemeClr val="tx1"/>
                </a:solidFill>
              </a:defRPr>
            </a:lvl3pPr>
            <a:lvl4pPr>
              <a:lnSpc>
                <a:spcPct val="100000"/>
              </a:lnSpc>
              <a:spcAft>
                <a:spcPts val="800"/>
              </a:spcAft>
              <a:buClr>
                <a:schemeClr val="tx1"/>
              </a:buClr>
              <a:defRPr>
                <a:solidFill>
                  <a:schemeClr val="tx1"/>
                </a:solidFill>
              </a:defRPr>
            </a:lvl4pPr>
            <a:lvl5pPr>
              <a:lnSpc>
                <a:spcPct val="100000"/>
              </a:lnSpc>
              <a:spcAft>
                <a:spcPts val="800"/>
              </a:spcAft>
              <a:buClr>
                <a:schemeClr val="tx1"/>
              </a:buClr>
              <a:defRPr>
                <a:solidFill>
                  <a:schemeClr val="tx1"/>
                </a:solidFill>
              </a:defRPr>
            </a:lvl5pPr>
          </a:lstStyle>
          <a:p>
            <a:pPr lvl="0"/>
            <a:r>
              <a:rPr lang="en-US"/>
              <a:t>Click to edit </a:t>
            </a:r>
            <a:r>
              <a:rPr lang="en-BE"/>
              <a:t>speaker’s function</a:t>
            </a:r>
            <a:endParaRPr lang="nl-BE"/>
          </a:p>
        </p:txBody>
      </p:sp>
      <p:sp>
        <p:nvSpPr>
          <p:cNvPr id="8" name="Picture Placeholder 7">
            <a:extLst>
              <a:ext uri="{FF2B5EF4-FFF2-40B4-BE49-F238E27FC236}">
                <a16:creationId xmlns:a16="http://schemas.microsoft.com/office/drawing/2014/main" id="{F27BDFAB-7120-E886-08CB-DC364297965A}"/>
              </a:ext>
            </a:extLst>
          </p:cNvPr>
          <p:cNvSpPr>
            <a:spLocks noGrp="1"/>
          </p:cNvSpPr>
          <p:nvPr>
            <p:ph type="pic" sz="quarter" idx="14" hasCustomPrompt="1"/>
          </p:nvPr>
        </p:nvSpPr>
        <p:spPr>
          <a:xfrm>
            <a:off x="5778889" y="2"/>
            <a:ext cx="6413113" cy="6857999"/>
          </a:xfrm>
          <a:custGeom>
            <a:avLst/>
            <a:gdLst>
              <a:gd name="connsiteX0" fmla="*/ 0 w 4809835"/>
              <a:gd name="connsiteY0" fmla="*/ 0 h 5143499"/>
              <a:gd name="connsiteX1" fmla="*/ 4809835 w 4809835"/>
              <a:gd name="connsiteY1" fmla="*/ 0 h 5143499"/>
              <a:gd name="connsiteX2" fmla="*/ 4809835 w 4809835"/>
              <a:gd name="connsiteY2" fmla="*/ 5143499 h 5143499"/>
              <a:gd name="connsiteX3" fmla="*/ 7068 w 4809835"/>
              <a:gd name="connsiteY3" fmla="*/ 5143499 h 5143499"/>
              <a:gd name="connsiteX4" fmla="*/ 61530 w 4809835"/>
              <a:gd name="connsiteY4" fmla="*/ 5007432 h 5143499"/>
              <a:gd name="connsiteX5" fmla="*/ 471951 w 4809835"/>
              <a:gd name="connsiteY5" fmla="*/ 2580557 h 5143499"/>
              <a:gd name="connsiteX6" fmla="*/ 200 w 4809835"/>
              <a:gd name="connsiteY6" fmla="*/ 452 h 5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9835" h="5143499">
                <a:moveTo>
                  <a:pt x="0" y="0"/>
                </a:moveTo>
                <a:lnTo>
                  <a:pt x="4809835" y="0"/>
                </a:lnTo>
                <a:lnTo>
                  <a:pt x="4809835" y="5143499"/>
                </a:lnTo>
                <a:lnTo>
                  <a:pt x="7068" y="5143499"/>
                </a:lnTo>
                <a:lnTo>
                  <a:pt x="61530" y="5007432"/>
                </a:lnTo>
                <a:cubicBezTo>
                  <a:pt x="319301" y="4330689"/>
                  <a:pt x="471951" y="3490624"/>
                  <a:pt x="471951" y="2580557"/>
                </a:cubicBezTo>
                <a:cubicBezTo>
                  <a:pt x="471951" y="1600485"/>
                  <a:pt x="294913" y="701599"/>
                  <a:pt x="200" y="452"/>
                </a:cubicBezTo>
                <a:close/>
              </a:path>
            </a:pathLst>
          </a:custGeom>
          <a:solidFill>
            <a:schemeClr val="tx1">
              <a:lumMod val="50000"/>
            </a:schemeClr>
          </a:solidFill>
        </p:spPr>
        <p:txBody>
          <a:bodyPr wrap="square" anchor="ctr">
            <a:noAutofit/>
          </a:bodyPr>
          <a:lstStyle>
            <a:lvl1pPr algn="ctr">
              <a:defRPr>
                <a:solidFill>
                  <a:schemeClr val="tx1"/>
                </a:solidFill>
              </a:defRPr>
            </a:lvl1pPr>
          </a:lstStyle>
          <a:p>
            <a:pPr marL="0" marR="0" lvl="0" indent="0" algn="ctr" defTabSz="1219019" rtl="0" eaLnBrk="1" fontAlgn="auto" latinLnBrk="0" hangingPunct="1">
              <a:lnSpc>
                <a:spcPts val="2933"/>
              </a:lnSpc>
              <a:spcBef>
                <a:spcPts val="0"/>
              </a:spcBef>
              <a:spcAft>
                <a:spcPts val="1600"/>
              </a:spcAft>
              <a:buClr>
                <a:schemeClr val="bg1"/>
              </a:buClr>
              <a:buSzPct val="100000"/>
              <a:buFont typeface="Arial" panose="020B0604020202020204" pitchFamily="34" charset="0"/>
              <a:buNone/>
              <a:tabLst/>
              <a:defRPr/>
            </a:pPr>
            <a:r>
              <a:rPr lang="en-BE"/>
              <a:t>Replace with picture            </a:t>
            </a:r>
          </a:p>
        </p:txBody>
      </p:sp>
    </p:spTree>
    <p:extLst>
      <p:ext uri="{BB962C8B-B14F-4D97-AF65-F5344CB8AC3E}">
        <p14:creationId xmlns:p14="http://schemas.microsoft.com/office/powerpoint/2010/main" val="46260047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obj">
  <p:cSld name="Content slide - white bg - text im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latin typeface="Proximus" panose="00000500000000000000" pitchFamily="2" charset="0"/>
              </a:defRPr>
            </a:lvl1pPr>
          </a:lstStyle>
          <a:p>
            <a:r>
              <a:rPr lang="en-US"/>
              <a:t>Click to edit slide title</a:t>
            </a:r>
            <a:endParaRPr lang="nl-BE"/>
          </a:p>
        </p:txBody>
      </p:sp>
      <p:sp>
        <p:nvSpPr>
          <p:cNvPr id="3" name="Content Placeholder 2"/>
          <p:cNvSpPr>
            <a:spLocks noGrp="1"/>
          </p:cNvSpPr>
          <p:nvPr>
            <p:ph idx="1"/>
          </p:nvPr>
        </p:nvSpPr>
        <p:spPr>
          <a:xfrm>
            <a:off x="613840" y="1384303"/>
            <a:ext cx="10962217" cy="4677832"/>
          </a:xfrm>
          <a:noFill/>
        </p:spPr>
        <p:txBody>
          <a:bodyPr/>
          <a:lstStyle>
            <a:lvl1pPr marL="0" indent="0">
              <a:buClr>
                <a:schemeClr val="bg1"/>
              </a:buClr>
              <a:buFont typeface="Wingdings" panose="05000000000000000000" pitchFamily="2" charset="2"/>
              <a:buNone/>
              <a:tabLst/>
              <a:defRPr>
                <a:latin typeface="Proximus" panose="00000500000000000000" pitchFamily="2" charset="0"/>
              </a:defRPr>
            </a:lvl1pPr>
            <a:lvl5pPr>
              <a:defRPr sz="1867"/>
            </a:lvl5pPr>
          </a:lstStyle>
          <a:p>
            <a:pPr lvl="0"/>
            <a:r>
              <a:rPr lang="en-US"/>
              <a:t>Edit Master text styles</a:t>
            </a:r>
          </a:p>
        </p:txBody>
      </p:sp>
      <p:sp>
        <p:nvSpPr>
          <p:cNvPr id="6" name="Slide Number Placeholder 9">
            <a:extLst>
              <a:ext uri="{FF2B5EF4-FFF2-40B4-BE49-F238E27FC236}">
                <a16:creationId xmlns:a16="http://schemas.microsoft.com/office/drawing/2014/main" id="{FF42A271-7DBC-4097-A917-B5B8AC02CE7E}"/>
              </a:ext>
            </a:extLst>
          </p:cNvPr>
          <p:cNvSpPr>
            <a:spLocks noGrp="1"/>
          </p:cNvSpPr>
          <p:nvPr>
            <p:ph type="sldNum" sz="quarter" idx="4"/>
          </p:nvPr>
        </p:nvSpPr>
        <p:spPr>
          <a:xfrm>
            <a:off x="10944004" y="6672000"/>
            <a:ext cx="624417" cy="96000"/>
          </a:xfrm>
          <a:prstGeom prst="rect">
            <a:avLst/>
          </a:prstGeom>
        </p:spPr>
        <p:txBody>
          <a:bodyPr lIns="0" tIns="0" rIns="0" bIns="0" anchor="b"/>
          <a:lstStyle>
            <a:lvl1pPr algn="r">
              <a:defRPr sz="800">
                <a:solidFill>
                  <a:schemeClr val="bg1"/>
                </a:solidFill>
                <a:latin typeface="Proximus" panose="00000500000000000000" pitchFamily="2" charset="0"/>
              </a:defRPr>
            </a:lvl1pPr>
          </a:lstStyle>
          <a:p>
            <a:fld id="{AF458780-3DEA-4093-8A6E-7C0E406A36AD}" type="slidenum">
              <a:rPr lang="nl-BE" smtClean="0"/>
              <a:pPr/>
              <a:t>‹#›</a:t>
            </a:fld>
            <a:endParaRPr lang="nl-BE"/>
          </a:p>
        </p:txBody>
      </p:sp>
    </p:spTree>
    <p:extLst>
      <p:ext uri="{BB962C8B-B14F-4D97-AF65-F5344CB8AC3E}">
        <p14:creationId xmlns:p14="http://schemas.microsoft.com/office/powerpoint/2010/main" val="613773278"/>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79834B9-5EE0-9062-BCCF-0F9BC6AA77BA}"/>
              </a:ext>
            </a:extLst>
          </p:cNvPr>
          <p:cNvSpPr>
            <a:spLocks noGrp="1"/>
          </p:cNvSpPr>
          <p:nvPr>
            <p:ph type="dt" sz="half" idx="10"/>
          </p:nvPr>
        </p:nvSpPr>
        <p:spPr/>
        <p:txBody>
          <a:bodyPr/>
          <a:lstStyle/>
          <a:p>
            <a:fld id="{495BE047-AB4B-40A4-B796-83DD273F2A1B}" type="datetimeFigureOut">
              <a:rPr lang="en-BE" smtClean="0"/>
              <a:t>10/03/2026</a:t>
            </a:fld>
            <a:endParaRPr lang="en-BE"/>
          </a:p>
        </p:txBody>
      </p:sp>
      <p:sp>
        <p:nvSpPr>
          <p:cNvPr id="3" name="Footer Placeholder 2">
            <a:extLst>
              <a:ext uri="{FF2B5EF4-FFF2-40B4-BE49-F238E27FC236}">
                <a16:creationId xmlns:a16="http://schemas.microsoft.com/office/drawing/2014/main" id="{1BC5495C-35AB-C85C-8301-6E127D5B87A1}"/>
              </a:ext>
            </a:extLst>
          </p:cNvPr>
          <p:cNvSpPr>
            <a:spLocks noGrp="1"/>
          </p:cNvSpPr>
          <p:nvPr>
            <p:ph type="ftr" sz="quarter" idx="11"/>
          </p:nvPr>
        </p:nvSpPr>
        <p:spPr/>
        <p:txBody>
          <a:bodyPr/>
          <a:lstStyle/>
          <a:p>
            <a:endParaRPr lang="en-BE"/>
          </a:p>
        </p:txBody>
      </p:sp>
      <p:sp>
        <p:nvSpPr>
          <p:cNvPr id="4" name="Slide Number Placeholder 3">
            <a:extLst>
              <a:ext uri="{FF2B5EF4-FFF2-40B4-BE49-F238E27FC236}">
                <a16:creationId xmlns:a16="http://schemas.microsoft.com/office/drawing/2014/main" id="{40FFF782-4D66-12AF-E52C-2D0CF26609C3}"/>
              </a:ext>
            </a:extLst>
          </p:cNvPr>
          <p:cNvSpPr>
            <a:spLocks noGrp="1"/>
          </p:cNvSpPr>
          <p:nvPr>
            <p:ph type="sldNum" sz="quarter" idx="12"/>
          </p:nvPr>
        </p:nvSpPr>
        <p:spPr/>
        <p:txBody>
          <a:bodyPr/>
          <a:lstStyle/>
          <a:p>
            <a:fld id="{F6047D5E-ECE0-4D40-84CA-F025A405C189}" type="slidenum">
              <a:rPr lang="en-BE" smtClean="0"/>
              <a:t>‹#›</a:t>
            </a:fld>
            <a:endParaRPr lang="en-BE"/>
          </a:p>
        </p:txBody>
      </p:sp>
    </p:spTree>
    <p:extLst>
      <p:ext uri="{BB962C8B-B14F-4D97-AF65-F5344CB8AC3E}">
        <p14:creationId xmlns:p14="http://schemas.microsoft.com/office/powerpoint/2010/main" val="2495642548"/>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cSld name="Cover - Gradient">
    <p:bg>
      <p:bgPr>
        <a:solidFill>
          <a:srgbClr val="F3F4F7"/>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644DD4E-5DBB-4E9E-32FC-04C3EE109263}"/>
              </a:ext>
            </a:extLst>
          </p:cNvPr>
          <p:cNvGraphicFramePr>
            <a:graphicFrameLocks noChangeAspect="1"/>
          </p:cNvGraphicFramePr>
          <p:nvPr>
            <p:custDataLst>
              <p:tags r:id="rId1"/>
            </p:custDataLst>
            <p:extLst>
              <p:ext uri="{D42A27DB-BD31-4B8C-83A1-F6EECF244321}">
                <p14:modId xmlns:p14="http://schemas.microsoft.com/office/powerpoint/2010/main" val="2755772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think-cell data - do not delete" hidden="1">
                        <a:extLst>
                          <a:ext uri="{FF2B5EF4-FFF2-40B4-BE49-F238E27FC236}">
                            <a16:creationId xmlns:a16="http://schemas.microsoft.com/office/drawing/2014/main" id="{7644DD4E-5DBB-4E9E-32FC-04C3EE1092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a:xfrm>
            <a:off x="613834" y="504000"/>
            <a:ext cx="10962217" cy="1748400"/>
          </a:xfrm>
        </p:spPr>
        <p:txBody>
          <a:bodyPr vert="horz" anchor="b">
            <a:noAutofit/>
          </a:bodyPr>
          <a:lstStyle>
            <a:lvl1pPr rtl="0">
              <a:defRPr sz="5600" b="0">
                <a:solidFill>
                  <a:srgbClr val="282233"/>
                </a:solidFill>
                <a:latin typeface="Proximus ExtraBold" panose="00000900000000000000" pitchFamily="2" charset="0"/>
              </a:defRPr>
            </a:lvl1pPr>
          </a:lstStyle>
          <a:p>
            <a:r>
              <a:rPr lang="en-GB"/>
              <a:t>Click to edit </a:t>
            </a:r>
            <a:br>
              <a:rPr lang="en-GB"/>
            </a:br>
            <a:r>
              <a:rPr lang="en-GB"/>
              <a:t>presentation title</a:t>
            </a:r>
          </a:p>
        </p:txBody>
      </p:sp>
      <p:sp>
        <p:nvSpPr>
          <p:cNvPr id="6" name="Subtitle 2">
            <a:extLst>
              <a:ext uri="{FF2B5EF4-FFF2-40B4-BE49-F238E27FC236}">
                <a16:creationId xmlns:a16="http://schemas.microsoft.com/office/drawing/2014/main" id="{56176E85-8408-4B89-A7FD-D33D192C3CE4}"/>
              </a:ext>
            </a:extLst>
          </p:cNvPr>
          <p:cNvSpPr>
            <a:spLocks noGrp="1"/>
          </p:cNvSpPr>
          <p:nvPr>
            <p:ph type="subTitle" idx="1" hasCustomPrompt="1"/>
          </p:nvPr>
        </p:nvSpPr>
        <p:spPr>
          <a:xfrm>
            <a:off x="613834" y="2624866"/>
            <a:ext cx="10962217" cy="1335741"/>
          </a:xfrm>
        </p:spPr>
        <p:txBody>
          <a:bodyPr/>
          <a:lstStyle>
            <a:lvl1pPr marL="0" indent="0" algn="l" rtl="0">
              <a:lnSpc>
                <a:spcPct val="100000"/>
              </a:lnSpc>
              <a:buNone/>
              <a:defRPr sz="3467">
                <a:solidFill>
                  <a:srgbClr val="282233"/>
                </a:solidFill>
                <a:latin typeface="Proximus Light" panose="00000500000000000000" pitchFamily="2"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Subtitle</a:t>
            </a:r>
          </a:p>
        </p:txBody>
      </p:sp>
      <p:sp>
        <p:nvSpPr>
          <p:cNvPr id="3" name="Date Placeholder 8">
            <a:extLst>
              <a:ext uri="{FF2B5EF4-FFF2-40B4-BE49-F238E27FC236}">
                <a16:creationId xmlns:a16="http://schemas.microsoft.com/office/drawing/2014/main" id="{C6D253A4-9E71-17BB-14ED-6271A75930B9}"/>
              </a:ext>
            </a:extLst>
          </p:cNvPr>
          <p:cNvSpPr>
            <a:spLocks noGrp="1"/>
          </p:cNvSpPr>
          <p:nvPr>
            <p:ph type="dt" sz="half" idx="2"/>
          </p:nvPr>
        </p:nvSpPr>
        <p:spPr>
          <a:xfrm>
            <a:off x="613834" y="5821863"/>
            <a:ext cx="204560" cy="377528"/>
          </a:xfrm>
          <a:prstGeom prst="roundRect">
            <a:avLst>
              <a:gd name="adj" fmla="val 50000"/>
            </a:avLst>
          </a:prstGeom>
          <a:solidFill>
            <a:schemeClr val="tx1"/>
          </a:solidFill>
        </p:spPr>
        <p:txBody>
          <a:bodyPr vert="horz" wrap="none" lIns="72000" tIns="36000" rIns="72000" bIns="36000" rtlCol="0" anchor="ctr">
            <a:spAutoFit/>
          </a:bodyPr>
          <a:lstStyle>
            <a:lvl1pPr algn="l" rtl="0">
              <a:defRPr sz="1600">
                <a:solidFill>
                  <a:srgbClr val="282233"/>
                </a:solidFill>
              </a:defRPr>
            </a:lvl1pPr>
          </a:lstStyle>
          <a:p>
            <a:endParaRPr lang="en-GB"/>
          </a:p>
        </p:txBody>
      </p:sp>
    </p:spTree>
    <p:extLst>
      <p:ext uri="{BB962C8B-B14F-4D97-AF65-F5344CB8AC3E}">
        <p14:creationId xmlns:p14="http://schemas.microsoft.com/office/powerpoint/2010/main" val="1627473196"/>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p:cSld name="Bold strategic - empty">
    <p:bg>
      <p:bgPr>
        <a:solidFill>
          <a:schemeClr val="tx1">
            <a:lumMod val="95000"/>
          </a:schemeClr>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D5F87E9-B136-D82E-08BD-6D46900AC004}"/>
              </a:ext>
            </a:extLst>
          </p:cNvPr>
          <p:cNvGraphicFramePr>
            <a:graphicFrameLocks noChangeAspect="1"/>
          </p:cNvGraphicFramePr>
          <p:nvPr>
            <p:custDataLst>
              <p:tags r:id="rId1"/>
            </p:custDataLst>
            <p:extLst>
              <p:ext uri="{D42A27DB-BD31-4B8C-83A1-F6EECF244321}">
                <p14:modId xmlns:p14="http://schemas.microsoft.com/office/powerpoint/2010/main" val="3494298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5" name="think-cell data - do not delete" hidden="1">
                        <a:extLst>
                          <a:ext uri="{FF2B5EF4-FFF2-40B4-BE49-F238E27FC236}">
                            <a16:creationId xmlns:a16="http://schemas.microsoft.com/office/drawing/2014/main" id="{0D5F87E9-B136-D82E-08BD-6D46900AC0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5530A783-4115-39E7-E9A9-B3783DF43A82}"/>
              </a:ext>
            </a:extLst>
          </p:cNvPr>
          <p:cNvSpPr txBox="1">
            <a:spLocks noGrp="1" noRot="1" noMove="1" noResize="1" noEditPoints="1" noAdjustHandles="1" noChangeArrowheads="1" noChangeShapeType="1"/>
          </p:cNvSpPr>
          <p:nvPr/>
        </p:nvSpPr>
        <p:spPr>
          <a:xfrm>
            <a:off x="3048778" y="6641881"/>
            <a:ext cx="6097554" cy="215444"/>
          </a:xfrm>
          <a:prstGeom prst="rect">
            <a:avLst/>
          </a:prstGeom>
          <a:noFill/>
        </p:spPr>
        <p:txBody>
          <a:bodyPr wrap="square">
            <a:spAutoFit/>
          </a:bodyPr>
          <a:lstStyle/>
          <a:p>
            <a:pPr algn="ctr" rtl="0">
              <a:spcBef>
                <a:spcPts val="0"/>
              </a:spcBef>
              <a:spcAft>
                <a:spcPts val="0"/>
              </a:spcAft>
            </a:pPr>
            <a:r>
              <a:rPr lang="en-GB" sz="800">
                <a:solidFill>
                  <a:srgbClr val="737373"/>
                </a:solidFill>
                <a:latin typeface="Calibri" panose="020F0502020204030204" pitchFamily="34" charset="0"/>
              </a:rPr>
              <a:t>Confidential - Not for you? Notify the sender and delete. See more on https://www.proximus.com/confidentiality</a:t>
            </a:r>
          </a:p>
        </p:txBody>
      </p:sp>
      <p:sp>
        <p:nvSpPr>
          <p:cNvPr id="4" name="Slide Number Placeholder 4">
            <a:extLst>
              <a:ext uri="{FF2B5EF4-FFF2-40B4-BE49-F238E27FC236}">
                <a16:creationId xmlns:a16="http://schemas.microsoft.com/office/drawing/2014/main" id="{F959E759-CE97-975E-5ECD-64C37114E083}"/>
              </a:ext>
            </a:extLst>
          </p:cNvPr>
          <p:cNvSpPr txBox="1">
            <a:spLocks/>
          </p:cNvSpPr>
          <p:nvPr/>
        </p:nvSpPr>
        <p:spPr>
          <a:xfrm>
            <a:off x="6803924" y="0"/>
            <a:ext cx="5182760" cy="280459"/>
          </a:xfrm>
          <a:prstGeom prst="rect">
            <a:avLst/>
          </a:prstGeom>
        </p:spPr>
        <p:txBody>
          <a:bodyPr lIns="0" tIns="0" rIns="0" bIns="0" anchor="b"/>
          <a:lstStyle>
            <a:defPPr>
              <a:defRPr lang="en-US"/>
            </a:defPPr>
            <a:lvl1pPr marL="0" algn="r" defTabSz="544125" rtl="0" eaLnBrk="1" latinLnBrk="0" hangingPunct="1">
              <a:defRPr sz="800" kern="1200">
                <a:solidFill>
                  <a:schemeClr val="bg1"/>
                </a:solidFill>
                <a:latin typeface="Proximus" panose="00000500000000000000" pitchFamily="2" charset="0"/>
                <a:ea typeface="+mn-ea"/>
                <a:cs typeface="+mn-cs"/>
              </a:defRPr>
            </a:lvl1pPr>
            <a:lvl2pPr marL="544125" algn="l" defTabSz="544125" rtl="0" eaLnBrk="1" latinLnBrk="0" hangingPunct="1">
              <a:defRPr sz="2160" kern="1200">
                <a:solidFill>
                  <a:schemeClr val="tx1"/>
                </a:solidFill>
                <a:latin typeface="+mn-lt"/>
                <a:ea typeface="+mn-ea"/>
                <a:cs typeface="+mn-cs"/>
              </a:defRPr>
            </a:lvl2pPr>
            <a:lvl3pPr marL="1088251" algn="l" defTabSz="544125" rtl="0" eaLnBrk="1" latinLnBrk="0" hangingPunct="1">
              <a:defRPr sz="2160" kern="1200">
                <a:solidFill>
                  <a:schemeClr val="tx1"/>
                </a:solidFill>
                <a:latin typeface="+mn-lt"/>
                <a:ea typeface="+mn-ea"/>
                <a:cs typeface="+mn-cs"/>
              </a:defRPr>
            </a:lvl3pPr>
            <a:lvl4pPr marL="1632378" algn="l" defTabSz="544125" rtl="0" eaLnBrk="1" latinLnBrk="0" hangingPunct="1">
              <a:defRPr sz="2160" kern="1200">
                <a:solidFill>
                  <a:schemeClr val="tx1"/>
                </a:solidFill>
                <a:latin typeface="+mn-lt"/>
                <a:ea typeface="+mn-ea"/>
                <a:cs typeface="+mn-cs"/>
              </a:defRPr>
            </a:lvl4pPr>
            <a:lvl5pPr marL="2176504" algn="l" defTabSz="544125" rtl="0" eaLnBrk="1" latinLnBrk="0" hangingPunct="1">
              <a:defRPr sz="2160" kern="1200">
                <a:solidFill>
                  <a:schemeClr val="tx1"/>
                </a:solidFill>
                <a:latin typeface="+mn-lt"/>
                <a:ea typeface="+mn-ea"/>
                <a:cs typeface="+mn-cs"/>
              </a:defRPr>
            </a:lvl5pPr>
            <a:lvl6pPr marL="2720629" algn="l" defTabSz="544125" rtl="0" eaLnBrk="1" latinLnBrk="0" hangingPunct="1">
              <a:defRPr sz="2160" kern="1200">
                <a:solidFill>
                  <a:schemeClr val="tx1"/>
                </a:solidFill>
                <a:latin typeface="+mn-lt"/>
                <a:ea typeface="+mn-ea"/>
                <a:cs typeface="+mn-cs"/>
              </a:defRPr>
            </a:lvl6pPr>
            <a:lvl7pPr marL="3264757" algn="l" defTabSz="544125" rtl="0" eaLnBrk="1" latinLnBrk="0" hangingPunct="1">
              <a:defRPr sz="2160" kern="1200">
                <a:solidFill>
                  <a:schemeClr val="tx1"/>
                </a:solidFill>
                <a:latin typeface="+mn-lt"/>
                <a:ea typeface="+mn-ea"/>
                <a:cs typeface="+mn-cs"/>
              </a:defRPr>
            </a:lvl7pPr>
            <a:lvl8pPr marL="3808879" algn="l" defTabSz="544125" rtl="0" eaLnBrk="1" latinLnBrk="0" hangingPunct="1">
              <a:defRPr sz="2160" kern="1200">
                <a:solidFill>
                  <a:schemeClr val="tx1"/>
                </a:solidFill>
                <a:latin typeface="+mn-lt"/>
                <a:ea typeface="+mn-ea"/>
                <a:cs typeface="+mn-cs"/>
              </a:defRPr>
            </a:lvl8pPr>
            <a:lvl9pPr marL="4353007" algn="l" defTabSz="544125" rtl="0" eaLnBrk="1" latinLnBrk="0" hangingPunct="1">
              <a:defRPr sz="2160" kern="1200">
                <a:solidFill>
                  <a:schemeClr val="tx1"/>
                </a:solidFill>
                <a:latin typeface="+mn-lt"/>
                <a:ea typeface="+mn-ea"/>
                <a:cs typeface="+mn-cs"/>
              </a:defRPr>
            </a:lvl9pPr>
          </a:lstStyle>
          <a:p>
            <a:pPr marL="0" marR="0" lvl="0" indent="0" algn="r" defTabSz="544125" rtl="0" eaLnBrk="1" fontAlgn="auto" latinLnBrk="0" hangingPunct="1">
              <a:lnSpc>
                <a:spcPct val="100000"/>
              </a:lnSpc>
              <a:spcBef>
                <a:spcPts val="0"/>
              </a:spcBef>
              <a:spcAft>
                <a:spcPts val="0"/>
              </a:spcAft>
              <a:buClrTx/>
              <a:buSzTx/>
              <a:buFontTx/>
              <a:buNone/>
              <a:tabLst/>
              <a:defRPr/>
            </a:pPr>
            <a:fld id="{AF458780-3DEA-4093-8A6E-7C0E406A36AD}" type="slidenum">
              <a:rPr kumimoji="0" lang="en-GB" sz="900" b="0" i="0" u="none" strike="noStrike" kern="1200" cap="none" spc="0" normalizeH="0" baseline="0" noProof="0" smtClean="0">
                <a:ln>
                  <a:noFill/>
                </a:ln>
                <a:solidFill>
                  <a:srgbClr val="000000">
                    <a:alpha val="70000"/>
                  </a:srgbClr>
                </a:solidFill>
                <a:effectLst/>
                <a:uLnTx/>
                <a:uFillTx/>
                <a:latin typeface="Proximus" panose="00000500000000000000" pitchFamily="2" charset="0"/>
                <a:ea typeface="+mn-ea"/>
                <a:cs typeface="+mn-cs"/>
              </a:rPr>
              <a:pPr marL="0" marR="0" lvl="0" indent="0" algn="r" defTabSz="544125" rtl="0" eaLnBrk="1" fontAlgn="auto" latinLnBrk="0" hangingPunct="1">
                <a:lnSpc>
                  <a:spcPct val="100000"/>
                </a:lnSpc>
                <a:spcBef>
                  <a:spcPts val="0"/>
                </a:spcBef>
                <a:spcAft>
                  <a:spcPts val="0"/>
                </a:spcAft>
                <a:buClrTx/>
                <a:buSzTx/>
                <a:buFontTx/>
                <a:buNone/>
                <a:tabLst/>
                <a:defRPr/>
              </a:pPr>
              <a:t>‹#›</a:t>
            </a:fld>
            <a:endParaRPr kumimoji="0" lang="en-GB" sz="900" b="0" i="0" u="none" strike="noStrike" kern="1200" cap="none" spc="0" normalizeH="0" baseline="0" noProof="0">
              <a:ln>
                <a:noFill/>
              </a:ln>
              <a:solidFill>
                <a:srgbClr val="000000">
                  <a:alpha val="70000"/>
                </a:srgbClr>
              </a:solidFill>
              <a:effectLst/>
              <a:uLnTx/>
              <a:uFillTx/>
              <a:latin typeface="Proximus" panose="00000500000000000000" pitchFamily="2" charset="0"/>
              <a:ea typeface="+mn-ea"/>
              <a:cs typeface="+mn-cs"/>
            </a:endParaRPr>
          </a:p>
        </p:txBody>
      </p:sp>
      <p:sp>
        <p:nvSpPr>
          <p:cNvPr id="11" name="Text Placeholder 10">
            <a:extLst>
              <a:ext uri="{FF2B5EF4-FFF2-40B4-BE49-F238E27FC236}">
                <a16:creationId xmlns:a16="http://schemas.microsoft.com/office/drawing/2014/main" id="{9345C777-8015-48A4-360B-4E03E1A02133}"/>
              </a:ext>
            </a:extLst>
          </p:cNvPr>
          <p:cNvSpPr>
            <a:spLocks noGrp="1"/>
          </p:cNvSpPr>
          <p:nvPr>
            <p:ph type="body" sz="quarter" idx="11" hasCustomPrompt="1"/>
          </p:nvPr>
        </p:nvSpPr>
        <p:spPr>
          <a:xfrm>
            <a:off x="656983" y="6421036"/>
            <a:ext cx="11091600" cy="200055"/>
          </a:xfrm>
          <a:prstGeom prst="rect">
            <a:avLst/>
          </a:prstGeom>
        </p:spPr>
        <p:txBody>
          <a:bodyPr lIns="0" tIns="0" rIns="0" bIns="0" anchor="b"/>
          <a:lstStyle>
            <a:lvl1pPr rtl="0">
              <a:defRPr sz="900">
                <a:solidFill>
                  <a:schemeClr val="tx1">
                    <a:lumMod val="50000"/>
                  </a:schemeClr>
                </a:solidFill>
              </a:defRPr>
            </a:lvl1pPr>
          </a:lstStyle>
          <a:p>
            <a:pPr lvl="0"/>
            <a:r>
              <a:rPr lang="en-GB"/>
              <a:t>Click to add note</a:t>
            </a:r>
          </a:p>
        </p:txBody>
      </p:sp>
      <p:sp>
        <p:nvSpPr>
          <p:cNvPr id="7" name="Title 6">
            <a:extLst>
              <a:ext uri="{FF2B5EF4-FFF2-40B4-BE49-F238E27FC236}">
                <a16:creationId xmlns:a16="http://schemas.microsoft.com/office/drawing/2014/main" id="{C1303694-288A-C283-6E0A-84FB9CCB73CB}"/>
              </a:ext>
            </a:extLst>
          </p:cNvPr>
          <p:cNvSpPr>
            <a:spLocks noGrp="1"/>
          </p:cNvSpPr>
          <p:nvPr>
            <p:ph type="title"/>
          </p:nvPr>
        </p:nvSpPr>
        <p:spPr/>
        <p:txBody>
          <a:bodyPr vert="horz"/>
          <a:lstStyle>
            <a:lvl1pPr rtl="0">
              <a:defRPr/>
            </a:lvl1pPr>
          </a:lstStyle>
          <a:p>
            <a:r>
              <a:rPr lang="en-GB"/>
              <a:t>Click to edit Master title style</a:t>
            </a:r>
          </a:p>
        </p:txBody>
      </p:sp>
    </p:spTree>
    <p:extLst>
      <p:ext uri="{BB962C8B-B14F-4D97-AF65-F5344CB8AC3E}">
        <p14:creationId xmlns:p14="http://schemas.microsoft.com/office/powerpoint/2010/main" val="226450783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1_Cover - Gradient">
    <p:bg>
      <p:bgPr>
        <a:solidFill>
          <a:srgbClr val="282233"/>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9002DAA-E93D-6477-6DA8-C242A67F64E2}"/>
              </a:ext>
            </a:extLst>
          </p:cNvPr>
          <p:cNvGraphicFramePr>
            <a:graphicFrameLocks noChangeAspect="1"/>
          </p:cNvGraphicFramePr>
          <p:nvPr>
            <p:custDataLst>
              <p:tags r:id="rId1"/>
            </p:custDataLst>
            <p:extLst>
              <p:ext uri="{D42A27DB-BD31-4B8C-83A1-F6EECF244321}">
                <p14:modId xmlns:p14="http://schemas.microsoft.com/office/powerpoint/2010/main" val="175483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think-cell data - do not delete" hidden="1">
                        <a:extLst>
                          <a:ext uri="{FF2B5EF4-FFF2-40B4-BE49-F238E27FC236}">
                            <a16:creationId xmlns:a16="http://schemas.microsoft.com/office/drawing/2014/main" id="{59002DAA-E93D-6477-6DA8-C242A67F64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a:xfrm>
            <a:off x="613834" y="504000"/>
            <a:ext cx="10962217" cy="1748400"/>
          </a:xfrm>
        </p:spPr>
        <p:txBody>
          <a:bodyPr vert="horz" anchor="b">
            <a:noAutofit/>
          </a:bodyPr>
          <a:lstStyle>
            <a:lvl1pPr rtl="0">
              <a:defRPr sz="5600" b="0">
                <a:solidFill>
                  <a:srgbClr val="FFFFFF"/>
                </a:solidFill>
                <a:latin typeface="Proximus ExtraBold" panose="00000900000000000000" pitchFamily="2" charset="0"/>
              </a:defRPr>
            </a:lvl1pPr>
          </a:lstStyle>
          <a:p>
            <a:r>
              <a:rPr lang="en-GB"/>
              <a:t>Click to edit </a:t>
            </a:r>
            <a:br>
              <a:rPr lang="en-GB"/>
            </a:br>
            <a:r>
              <a:rPr lang="en-GB"/>
              <a:t>presentation title</a:t>
            </a:r>
          </a:p>
        </p:txBody>
      </p:sp>
      <p:sp>
        <p:nvSpPr>
          <p:cNvPr id="6" name="Subtitle 2">
            <a:extLst>
              <a:ext uri="{FF2B5EF4-FFF2-40B4-BE49-F238E27FC236}">
                <a16:creationId xmlns:a16="http://schemas.microsoft.com/office/drawing/2014/main" id="{56176E85-8408-4B89-A7FD-D33D192C3CE4}"/>
              </a:ext>
            </a:extLst>
          </p:cNvPr>
          <p:cNvSpPr>
            <a:spLocks noGrp="1"/>
          </p:cNvSpPr>
          <p:nvPr>
            <p:ph type="subTitle" idx="1" hasCustomPrompt="1"/>
          </p:nvPr>
        </p:nvSpPr>
        <p:spPr>
          <a:xfrm>
            <a:off x="613834" y="2624866"/>
            <a:ext cx="10962217" cy="1335741"/>
          </a:xfrm>
        </p:spPr>
        <p:txBody>
          <a:bodyPr/>
          <a:lstStyle>
            <a:lvl1pPr marL="0" indent="0" algn="l" rtl="0">
              <a:lnSpc>
                <a:spcPct val="100000"/>
              </a:lnSpc>
              <a:buNone/>
              <a:defRPr sz="3467">
                <a:solidFill>
                  <a:schemeClr val="tx1"/>
                </a:solidFill>
                <a:latin typeface="Proximus Light" panose="00000500000000000000" pitchFamily="2"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Subtitle</a:t>
            </a:r>
          </a:p>
        </p:txBody>
      </p:sp>
      <p:sp>
        <p:nvSpPr>
          <p:cNvPr id="3" name="Date Placeholder 8">
            <a:extLst>
              <a:ext uri="{FF2B5EF4-FFF2-40B4-BE49-F238E27FC236}">
                <a16:creationId xmlns:a16="http://schemas.microsoft.com/office/drawing/2014/main" id="{C6D253A4-9E71-17BB-14ED-6271A75930B9}"/>
              </a:ext>
            </a:extLst>
          </p:cNvPr>
          <p:cNvSpPr>
            <a:spLocks noGrp="1"/>
          </p:cNvSpPr>
          <p:nvPr>
            <p:ph type="dt" sz="half" idx="2"/>
          </p:nvPr>
        </p:nvSpPr>
        <p:spPr>
          <a:xfrm>
            <a:off x="613834" y="5821863"/>
            <a:ext cx="204560" cy="377528"/>
          </a:xfrm>
          <a:prstGeom prst="roundRect">
            <a:avLst>
              <a:gd name="adj" fmla="val 50000"/>
            </a:avLst>
          </a:prstGeom>
          <a:solidFill>
            <a:schemeClr val="tx1"/>
          </a:solidFill>
        </p:spPr>
        <p:txBody>
          <a:bodyPr vert="horz" wrap="none" lIns="72000" tIns="36000" rIns="72000" bIns="36000" rtlCol="0" anchor="ctr">
            <a:spAutoFit/>
          </a:bodyPr>
          <a:lstStyle>
            <a:lvl1pPr algn="l" rtl="0">
              <a:defRPr sz="1600">
                <a:solidFill>
                  <a:srgbClr val="282233"/>
                </a:solidFill>
              </a:defRPr>
            </a:lvl1pPr>
          </a:lstStyle>
          <a:p>
            <a:endParaRPr lang="en-GB"/>
          </a:p>
        </p:txBody>
      </p:sp>
    </p:spTree>
    <p:extLst>
      <p:ext uri="{BB962C8B-B14F-4D97-AF65-F5344CB8AC3E}">
        <p14:creationId xmlns:p14="http://schemas.microsoft.com/office/powerpoint/2010/main" val="264572445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XS ADA - generic content - ornament 1">
    <p:spTree>
      <p:nvGrpSpPr>
        <p:cNvPr id="1" name=""/>
        <p:cNvGrpSpPr/>
        <p:nvPr/>
      </p:nvGrpSpPr>
      <p:grpSpPr>
        <a:xfrm>
          <a:off x="0" y="0"/>
          <a:ext cx="0" cy="0"/>
          <a:chOff x="0" y="0"/>
          <a:chExt cx="0" cy="0"/>
        </a:xfrm>
      </p:grpSpPr>
      <p:pic>
        <p:nvPicPr>
          <p:cNvPr id="3" name="Picture 2" descr="A purple and pink lights&#10;&#10;Description automatically generated with medium confidence">
            <a:extLst>
              <a:ext uri="{FF2B5EF4-FFF2-40B4-BE49-F238E27FC236}">
                <a16:creationId xmlns:a16="http://schemas.microsoft.com/office/drawing/2014/main" id="{F9972677-CB14-4D57-CF2B-45D6D3FED0C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44583" y="0"/>
            <a:ext cx="6858000" cy="6858000"/>
          </a:xfrm>
          <a:prstGeom prst="rect">
            <a:avLst/>
          </a:prstGeom>
        </p:spPr>
      </p:pic>
      <p:sp>
        <p:nvSpPr>
          <p:cNvPr id="2" name="Title 1"/>
          <p:cNvSpPr>
            <a:spLocks noGrp="1"/>
          </p:cNvSpPr>
          <p:nvPr>
            <p:ph type="title" hasCustomPrompt="1"/>
          </p:nvPr>
        </p:nvSpPr>
        <p:spPr>
          <a:xfrm>
            <a:off x="613836" y="503768"/>
            <a:ext cx="7996800" cy="880123"/>
          </a:xfrm>
        </p:spPr>
        <p:txBody>
          <a:bodyPr anchor="t"/>
          <a:lstStyle>
            <a:lvl1pPr>
              <a:defRPr b="0"/>
            </a:lvl1pPr>
          </a:lstStyle>
          <a:p>
            <a:r>
              <a:rPr lang="en-US"/>
              <a:t>Click to edit slide title</a:t>
            </a:r>
            <a:endParaRPr lang="nl-BE"/>
          </a:p>
        </p:txBody>
      </p:sp>
      <p:sp>
        <p:nvSpPr>
          <p:cNvPr id="11" name="Text Placeholder 2">
            <a:extLst>
              <a:ext uri="{FF2B5EF4-FFF2-40B4-BE49-F238E27FC236}">
                <a16:creationId xmlns:a16="http://schemas.microsoft.com/office/drawing/2014/main" id="{10193D06-FB5B-42EC-9101-F77EE2C16642}"/>
              </a:ext>
            </a:extLst>
          </p:cNvPr>
          <p:cNvSpPr>
            <a:spLocks noGrp="1"/>
          </p:cNvSpPr>
          <p:nvPr>
            <p:ph idx="1" hasCustomPrompt="1"/>
          </p:nvPr>
        </p:nvSpPr>
        <p:spPr>
          <a:xfrm>
            <a:off x="613835" y="1382399"/>
            <a:ext cx="7996800" cy="4878700"/>
          </a:xfrm>
          <a:prstGeom prst="rect">
            <a:avLst/>
          </a:prstGeom>
        </p:spPr>
        <p:txBody>
          <a:bodyPr vert="horz" lIns="0" tIns="0" rIns="0" bIns="0" numCol="1" spcCol="0" rtlCol="0" anchor="ctr"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BE"/>
          </a:p>
        </p:txBody>
      </p:sp>
    </p:spTree>
    <p:extLst>
      <p:ext uri="{BB962C8B-B14F-4D97-AF65-F5344CB8AC3E}">
        <p14:creationId xmlns:p14="http://schemas.microsoft.com/office/powerpoint/2010/main" val="311249094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XS ADA - generic content - ornament 2">
    <p:spTree>
      <p:nvGrpSpPr>
        <p:cNvPr id="1" name=""/>
        <p:cNvGrpSpPr/>
        <p:nvPr/>
      </p:nvGrpSpPr>
      <p:grpSpPr>
        <a:xfrm>
          <a:off x="0" y="0"/>
          <a:ext cx="0" cy="0"/>
          <a:chOff x="0" y="0"/>
          <a:chExt cx="0" cy="0"/>
        </a:xfrm>
      </p:grpSpPr>
      <p:pic>
        <p:nvPicPr>
          <p:cNvPr id="6" name="Picture 5" descr="A purple and blue lights&#10;&#10;Description automatically generated">
            <a:extLst>
              <a:ext uri="{FF2B5EF4-FFF2-40B4-BE49-F238E27FC236}">
                <a16:creationId xmlns:a16="http://schemas.microsoft.com/office/drawing/2014/main" id="{E67DE441-60F4-A65E-AF2D-985F1827639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25250" b="555"/>
          <a:stretch>
            <a:fillRect/>
          </a:stretch>
        </p:blipFill>
        <p:spPr>
          <a:xfrm rot="20569024">
            <a:off x="6186154" y="-1063230"/>
            <a:ext cx="6835093" cy="8522519"/>
          </a:xfrm>
          <a:custGeom>
            <a:avLst/>
            <a:gdLst>
              <a:gd name="connsiteX0" fmla="*/ 346757 w 5126320"/>
              <a:gd name="connsiteY0" fmla="*/ 0 h 6391889"/>
              <a:gd name="connsiteX1" fmla="*/ 5126320 w 5126320"/>
              <a:gd name="connsiteY1" fmla="*/ 1477962 h 6391889"/>
              <a:gd name="connsiteX2" fmla="*/ 3606810 w 5126320"/>
              <a:gd name="connsiteY2" fmla="*/ 6391889 h 6391889"/>
              <a:gd name="connsiteX3" fmla="*/ 0 w 5126320"/>
              <a:gd name="connsiteY3" fmla="*/ 5276572 h 6391889"/>
              <a:gd name="connsiteX4" fmla="*/ 0 w 5126320"/>
              <a:gd name="connsiteY4" fmla="*/ 0 h 6391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6320" h="6391889">
                <a:moveTo>
                  <a:pt x="346757" y="0"/>
                </a:moveTo>
                <a:lnTo>
                  <a:pt x="5126320" y="1477962"/>
                </a:lnTo>
                <a:lnTo>
                  <a:pt x="3606810" y="6391889"/>
                </a:lnTo>
                <a:lnTo>
                  <a:pt x="0" y="5276572"/>
                </a:lnTo>
                <a:lnTo>
                  <a:pt x="0" y="0"/>
                </a:lnTo>
                <a:close/>
              </a:path>
            </a:pathLst>
          </a:custGeom>
        </p:spPr>
      </p:pic>
      <p:sp>
        <p:nvSpPr>
          <p:cNvPr id="2" name="Title 1"/>
          <p:cNvSpPr>
            <a:spLocks noGrp="1"/>
          </p:cNvSpPr>
          <p:nvPr>
            <p:ph type="title" hasCustomPrompt="1"/>
          </p:nvPr>
        </p:nvSpPr>
        <p:spPr>
          <a:xfrm>
            <a:off x="613836" y="503768"/>
            <a:ext cx="7996800" cy="880123"/>
          </a:xfrm>
        </p:spPr>
        <p:txBody>
          <a:bodyPr anchor="t"/>
          <a:lstStyle>
            <a:lvl1pPr>
              <a:defRPr b="0"/>
            </a:lvl1pPr>
          </a:lstStyle>
          <a:p>
            <a:r>
              <a:rPr lang="en-US"/>
              <a:t>Click to edit slide title</a:t>
            </a:r>
            <a:endParaRPr lang="nl-BE"/>
          </a:p>
        </p:txBody>
      </p:sp>
      <p:sp>
        <p:nvSpPr>
          <p:cNvPr id="11" name="Text Placeholder 2">
            <a:extLst>
              <a:ext uri="{FF2B5EF4-FFF2-40B4-BE49-F238E27FC236}">
                <a16:creationId xmlns:a16="http://schemas.microsoft.com/office/drawing/2014/main" id="{10193D06-FB5B-42EC-9101-F77EE2C16642}"/>
              </a:ext>
            </a:extLst>
          </p:cNvPr>
          <p:cNvSpPr>
            <a:spLocks noGrp="1"/>
          </p:cNvSpPr>
          <p:nvPr>
            <p:ph idx="1" hasCustomPrompt="1"/>
          </p:nvPr>
        </p:nvSpPr>
        <p:spPr>
          <a:xfrm>
            <a:off x="613835" y="1382399"/>
            <a:ext cx="7996800" cy="4878700"/>
          </a:xfrm>
          <a:prstGeom prst="rect">
            <a:avLst/>
          </a:prstGeom>
        </p:spPr>
        <p:txBody>
          <a:bodyPr vert="horz" lIns="0" tIns="0" rIns="0" bIns="0" numCol="1" spcCol="0" rtlCol="0" anchor="ctr"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BE"/>
          </a:p>
        </p:txBody>
      </p:sp>
    </p:spTree>
    <p:extLst>
      <p:ext uri="{BB962C8B-B14F-4D97-AF65-F5344CB8AC3E}">
        <p14:creationId xmlns:p14="http://schemas.microsoft.com/office/powerpoint/2010/main" val="41889634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XS ADA - generic content - ornament 3">
    <p:spTree>
      <p:nvGrpSpPr>
        <p:cNvPr id="1" name=""/>
        <p:cNvGrpSpPr/>
        <p:nvPr/>
      </p:nvGrpSpPr>
      <p:grpSpPr>
        <a:xfrm>
          <a:off x="0" y="0"/>
          <a:ext cx="0" cy="0"/>
          <a:chOff x="0" y="0"/>
          <a:chExt cx="0" cy="0"/>
        </a:xfrm>
      </p:grpSpPr>
      <p:pic>
        <p:nvPicPr>
          <p:cNvPr id="8" name="Picture 7" descr="A purple and blue lights&#10;&#10;Description automatically generated">
            <a:extLst>
              <a:ext uri="{FF2B5EF4-FFF2-40B4-BE49-F238E27FC236}">
                <a16:creationId xmlns:a16="http://schemas.microsoft.com/office/drawing/2014/main" id="{D9EE08EC-9A4F-773C-43C9-846F608A6FD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8197" b="2044"/>
          <a:stretch>
            <a:fillRect/>
          </a:stretch>
        </p:blipFill>
        <p:spPr>
          <a:xfrm rot="19505794">
            <a:off x="5369093" y="-625614"/>
            <a:ext cx="8394376" cy="8394916"/>
          </a:xfrm>
          <a:custGeom>
            <a:avLst/>
            <a:gdLst>
              <a:gd name="connsiteX0" fmla="*/ 3317545 w 6295782"/>
              <a:gd name="connsiteY0" fmla="*/ 0 h 6296187"/>
              <a:gd name="connsiteX1" fmla="*/ 6295782 w 6295782"/>
              <a:gd name="connsiteY1" fmla="*/ 2077913 h 6296187"/>
              <a:gd name="connsiteX2" fmla="*/ 3352697 w 6295782"/>
              <a:gd name="connsiteY2" fmla="*/ 6296187 h 6296187"/>
              <a:gd name="connsiteX3" fmla="*/ 0 w 6295782"/>
              <a:gd name="connsiteY3" fmla="*/ 3957015 h 6296187"/>
              <a:gd name="connsiteX4" fmla="*/ 0 w 6295782"/>
              <a:gd name="connsiteY4" fmla="*/ 0 h 6296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5782" h="6296187">
                <a:moveTo>
                  <a:pt x="3317545" y="0"/>
                </a:moveTo>
                <a:lnTo>
                  <a:pt x="6295782" y="2077913"/>
                </a:lnTo>
                <a:lnTo>
                  <a:pt x="3352697" y="6296187"/>
                </a:lnTo>
                <a:lnTo>
                  <a:pt x="0" y="3957015"/>
                </a:lnTo>
                <a:lnTo>
                  <a:pt x="0" y="0"/>
                </a:lnTo>
                <a:close/>
              </a:path>
            </a:pathLst>
          </a:custGeom>
        </p:spPr>
      </p:pic>
      <p:sp>
        <p:nvSpPr>
          <p:cNvPr id="2" name="Title 1"/>
          <p:cNvSpPr>
            <a:spLocks noGrp="1"/>
          </p:cNvSpPr>
          <p:nvPr>
            <p:ph type="title" hasCustomPrompt="1"/>
          </p:nvPr>
        </p:nvSpPr>
        <p:spPr>
          <a:xfrm>
            <a:off x="613836" y="503768"/>
            <a:ext cx="7996800" cy="880123"/>
          </a:xfrm>
        </p:spPr>
        <p:txBody>
          <a:bodyPr anchor="t"/>
          <a:lstStyle>
            <a:lvl1pPr>
              <a:defRPr b="0"/>
            </a:lvl1pPr>
          </a:lstStyle>
          <a:p>
            <a:r>
              <a:rPr lang="en-US"/>
              <a:t>Click to edit slide title</a:t>
            </a:r>
            <a:endParaRPr lang="nl-BE"/>
          </a:p>
        </p:txBody>
      </p:sp>
      <p:sp>
        <p:nvSpPr>
          <p:cNvPr id="11" name="Text Placeholder 2">
            <a:extLst>
              <a:ext uri="{FF2B5EF4-FFF2-40B4-BE49-F238E27FC236}">
                <a16:creationId xmlns:a16="http://schemas.microsoft.com/office/drawing/2014/main" id="{10193D06-FB5B-42EC-9101-F77EE2C16642}"/>
              </a:ext>
            </a:extLst>
          </p:cNvPr>
          <p:cNvSpPr>
            <a:spLocks noGrp="1"/>
          </p:cNvSpPr>
          <p:nvPr>
            <p:ph idx="1" hasCustomPrompt="1"/>
          </p:nvPr>
        </p:nvSpPr>
        <p:spPr>
          <a:xfrm>
            <a:off x="613835" y="1382399"/>
            <a:ext cx="7996800" cy="4878700"/>
          </a:xfrm>
          <a:prstGeom prst="rect">
            <a:avLst/>
          </a:prstGeom>
        </p:spPr>
        <p:txBody>
          <a:bodyPr vert="horz" lIns="0" tIns="0" rIns="0" bIns="0" numCol="1" spcCol="0" rtlCol="0" anchor="ctr"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BE"/>
          </a:p>
        </p:txBody>
      </p:sp>
    </p:spTree>
    <p:extLst>
      <p:ext uri="{BB962C8B-B14F-4D97-AF65-F5344CB8AC3E}">
        <p14:creationId xmlns:p14="http://schemas.microsoft.com/office/powerpoint/2010/main" val="40376173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XS ADA - content slide picture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3836" y="503768"/>
            <a:ext cx="4987200" cy="880123"/>
          </a:xfrm>
        </p:spPr>
        <p:txBody>
          <a:bodyPr anchor="t"/>
          <a:lstStyle>
            <a:lvl1pPr>
              <a:defRPr b="0"/>
            </a:lvl1pPr>
          </a:lstStyle>
          <a:p>
            <a:r>
              <a:rPr lang="en-US"/>
              <a:t>Click to edit slide title</a:t>
            </a:r>
            <a:endParaRPr lang="nl-BE"/>
          </a:p>
        </p:txBody>
      </p:sp>
      <p:sp>
        <p:nvSpPr>
          <p:cNvPr id="11" name="Text Placeholder 2">
            <a:extLst>
              <a:ext uri="{FF2B5EF4-FFF2-40B4-BE49-F238E27FC236}">
                <a16:creationId xmlns:a16="http://schemas.microsoft.com/office/drawing/2014/main" id="{10193D06-FB5B-42EC-9101-F77EE2C16642}"/>
              </a:ext>
            </a:extLst>
          </p:cNvPr>
          <p:cNvSpPr>
            <a:spLocks noGrp="1"/>
          </p:cNvSpPr>
          <p:nvPr>
            <p:ph idx="1" hasCustomPrompt="1"/>
          </p:nvPr>
        </p:nvSpPr>
        <p:spPr>
          <a:xfrm>
            <a:off x="613835" y="1382399"/>
            <a:ext cx="4987200" cy="4878700"/>
          </a:xfrm>
          <a:prstGeom prst="rect">
            <a:avLst/>
          </a:prstGeom>
        </p:spPr>
        <p:txBody>
          <a:bodyPr vert="horz" lIns="0" tIns="0" rIns="0" bIns="0" numCol="1" spcCol="0" rtlCol="0" anchor="ctr"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Picture Placeholder 10">
            <a:extLst>
              <a:ext uri="{FF2B5EF4-FFF2-40B4-BE49-F238E27FC236}">
                <a16:creationId xmlns:a16="http://schemas.microsoft.com/office/drawing/2014/main" id="{F4359A6A-B58F-4443-8235-D328AA330749}"/>
              </a:ext>
            </a:extLst>
          </p:cNvPr>
          <p:cNvSpPr>
            <a:spLocks noGrp="1"/>
          </p:cNvSpPr>
          <p:nvPr>
            <p:ph type="pic" sz="quarter" idx="12" hasCustomPrompt="1"/>
          </p:nvPr>
        </p:nvSpPr>
        <p:spPr>
          <a:xfrm>
            <a:off x="5778889" y="2"/>
            <a:ext cx="6413113" cy="6857999"/>
          </a:xfrm>
          <a:custGeom>
            <a:avLst/>
            <a:gdLst>
              <a:gd name="connsiteX0" fmla="*/ 0 w 4809835"/>
              <a:gd name="connsiteY0" fmla="*/ 0 h 5143499"/>
              <a:gd name="connsiteX1" fmla="*/ 4809835 w 4809835"/>
              <a:gd name="connsiteY1" fmla="*/ 0 h 5143499"/>
              <a:gd name="connsiteX2" fmla="*/ 4809835 w 4809835"/>
              <a:gd name="connsiteY2" fmla="*/ 5143499 h 5143499"/>
              <a:gd name="connsiteX3" fmla="*/ 7068 w 4809835"/>
              <a:gd name="connsiteY3" fmla="*/ 5143499 h 5143499"/>
              <a:gd name="connsiteX4" fmla="*/ 61530 w 4809835"/>
              <a:gd name="connsiteY4" fmla="*/ 5007432 h 5143499"/>
              <a:gd name="connsiteX5" fmla="*/ 471951 w 4809835"/>
              <a:gd name="connsiteY5" fmla="*/ 2580557 h 5143499"/>
              <a:gd name="connsiteX6" fmla="*/ 200 w 4809835"/>
              <a:gd name="connsiteY6" fmla="*/ 452 h 5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9835" h="5143499">
                <a:moveTo>
                  <a:pt x="0" y="0"/>
                </a:moveTo>
                <a:lnTo>
                  <a:pt x="4809835" y="0"/>
                </a:lnTo>
                <a:lnTo>
                  <a:pt x="4809835" y="5143499"/>
                </a:lnTo>
                <a:lnTo>
                  <a:pt x="7068" y="5143499"/>
                </a:lnTo>
                <a:lnTo>
                  <a:pt x="61530" y="5007432"/>
                </a:lnTo>
                <a:cubicBezTo>
                  <a:pt x="319301" y="4330689"/>
                  <a:pt x="471951" y="3490624"/>
                  <a:pt x="471951" y="2580557"/>
                </a:cubicBezTo>
                <a:cubicBezTo>
                  <a:pt x="471951" y="1600485"/>
                  <a:pt x="294913" y="701599"/>
                  <a:pt x="200" y="452"/>
                </a:cubicBezTo>
                <a:close/>
              </a:path>
            </a:pathLst>
          </a:custGeom>
          <a:solidFill>
            <a:schemeClr val="tx1">
              <a:lumMod val="50000"/>
            </a:schemeClr>
          </a:solidFill>
        </p:spPr>
        <p:txBody>
          <a:bodyPr wrap="square" anchor="ctr">
            <a:noAutofit/>
          </a:bodyPr>
          <a:lstStyle>
            <a:lvl1pPr algn="ctr">
              <a:defRPr>
                <a:solidFill>
                  <a:schemeClr val="tx1"/>
                </a:solidFill>
              </a:defRPr>
            </a:lvl1pPr>
          </a:lstStyle>
          <a:p>
            <a:pPr marL="0" marR="0" lvl="0" indent="0" algn="ctr" defTabSz="1219019" rtl="0" eaLnBrk="1" fontAlgn="auto" latinLnBrk="0" hangingPunct="1">
              <a:lnSpc>
                <a:spcPts val="2933"/>
              </a:lnSpc>
              <a:spcBef>
                <a:spcPts val="0"/>
              </a:spcBef>
              <a:spcAft>
                <a:spcPts val="1600"/>
              </a:spcAft>
              <a:buClr>
                <a:schemeClr val="bg1"/>
              </a:buClr>
              <a:buSzPct val="100000"/>
              <a:buFont typeface="Arial" panose="020B0604020202020204" pitchFamily="34" charset="0"/>
              <a:buNone/>
              <a:tabLst/>
              <a:defRPr/>
            </a:pPr>
            <a:r>
              <a:rPr lang="en-BE"/>
              <a:t>Replace with picture            </a:t>
            </a:r>
          </a:p>
        </p:txBody>
      </p:sp>
    </p:spTree>
    <p:extLst>
      <p:ext uri="{BB962C8B-B14F-4D97-AF65-F5344CB8AC3E}">
        <p14:creationId xmlns:p14="http://schemas.microsoft.com/office/powerpoint/2010/main" val="12578427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XS ADA - content slide picture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86733" y="503768"/>
            <a:ext cx="4987200" cy="880123"/>
          </a:xfrm>
        </p:spPr>
        <p:txBody>
          <a:bodyPr anchor="t"/>
          <a:lstStyle>
            <a:lvl1pPr>
              <a:defRPr b="0"/>
            </a:lvl1pPr>
          </a:lstStyle>
          <a:p>
            <a:r>
              <a:rPr lang="en-US"/>
              <a:t>Click to edit slide title</a:t>
            </a:r>
            <a:endParaRPr lang="nl-BE"/>
          </a:p>
        </p:txBody>
      </p:sp>
      <p:sp>
        <p:nvSpPr>
          <p:cNvPr id="11" name="Text Placeholder 2">
            <a:extLst>
              <a:ext uri="{FF2B5EF4-FFF2-40B4-BE49-F238E27FC236}">
                <a16:creationId xmlns:a16="http://schemas.microsoft.com/office/drawing/2014/main" id="{10193D06-FB5B-42EC-9101-F77EE2C16642}"/>
              </a:ext>
            </a:extLst>
          </p:cNvPr>
          <p:cNvSpPr>
            <a:spLocks noGrp="1"/>
          </p:cNvSpPr>
          <p:nvPr>
            <p:ph idx="1" hasCustomPrompt="1"/>
          </p:nvPr>
        </p:nvSpPr>
        <p:spPr>
          <a:xfrm>
            <a:off x="6586732" y="1382399"/>
            <a:ext cx="4987200" cy="4878700"/>
          </a:xfrm>
          <a:prstGeom prst="rect">
            <a:avLst/>
          </a:prstGeom>
        </p:spPr>
        <p:txBody>
          <a:bodyPr vert="horz" lIns="0" tIns="0" rIns="0" bIns="0" numCol="1" spcCol="0" rtlCol="0" anchor="ctr"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3" name="Picture Placeholder 7">
            <a:extLst>
              <a:ext uri="{FF2B5EF4-FFF2-40B4-BE49-F238E27FC236}">
                <a16:creationId xmlns:a16="http://schemas.microsoft.com/office/drawing/2014/main" id="{3B5ECCDB-1FE3-FEB0-FA52-A9EEDFCB7BE2}"/>
              </a:ext>
            </a:extLst>
          </p:cNvPr>
          <p:cNvSpPr>
            <a:spLocks noGrp="1"/>
          </p:cNvSpPr>
          <p:nvPr>
            <p:ph type="pic" sz="quarter" idx="14" hasCustomPrompt="1"/>
          </p:nvPr>
        </p:nvSpPr>
        <p:spPr>
          <a:xfrm>
            <a:off x="-1599" y="2"/>
            <a:ext cx="6413113" cy="6857999"/>
          </a:xfrm>
          <a:custGeom>
            <a:avLst/>
            <a:gdLst>
              <a:gd name="connsiteX0" fmla="*/ 0 w 4809835"/>
              <a:gd name="connsiteY0" fmla="*/ 0 h 5143499"/>
              <a:gd name="connsiteX1" fmla="*/ 4802767 w 4809835"/>
              <a:gd name="connsiteY1" fmla="*/ 0 h 5143499"/>
              <a:gd name="connsiteX2" fmla="*/ 4748305 w 4809835"/>
              <a:gd name="connsiteY2" fmla="*/ 136067 h 5143499"/>
              <a:gd name="connsiteX3" fmla="*/ 4337884 w 4809835"/>
              <a:gd name="connsiteY3" fmla="*/ 2562942 h 5143499"/>
              <a:gd name="connsiteX4" fmla="*/ 4809635 w 4809835"/>
              <a:gd name="connsiteY4" fmla="*/ 5143047 h 5143499"/>
              <a:gd name="connsiteX5" fmla="*/ 4809835 w 4809835"/>
              <a:gd name="connsiteY5" fmla="*/ 5143499 h 5143499"/>
              <a:gd name="connsiteX6" fmla="*/ 0 w 4809835"/>
              <a:gd name="connsiteY6" fmla="*/ 5143499 h 5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9835" h="5143499">
                <a:moveTo>
                  <a:pt x="0" y="0"/>
                </a:moveTo>
                <a:lnTo>
                  <a:pt x="4802767" y="0"/>
                </a:lnTo>
                <a:lnTo>
                  <a:pt x="4748305" y="136067"/>
                </a:lnTo>
                <a:cubicBezTo>
                  <a:pt x="4490534" y="812810"/>
                  <a:pt x="4337884" y="1652875"/>
                  <a:pt x="4337884" y="2562942"/>
                </a:cubicBezTo>
                <a:cubicBezTo>
                  <a:pt x="4337884" y="3543014"/>
                  <a:pt x="4514922" y="4441900"/>
                  <a:pt x="4809635" y="5143047"/>
                </a:cubicBezTo>
                <a:lnTo>
                  <a:pt x="4809835" y="5143499"/>
                </a:lnTo>
                <a:lnTo>
                  <a:pt x="0" y="5143499"/>
                </a:lnTo>
                <a:close/>
              </a:path>
            </a:pathLst>
          </a:custGeom>
          <a:solidFill>
            <a:schemeClr val="tx1">
              <a:lumMod val="50000"/>
            </a:schemeClr>
          </a:solidFill>
        </p:spPr>
        <p:txBody>
          <a:bodyPr wrap="square" anchor="ctr">
            <a:noAutofit/>
          </a:bodyPr>
          <a:lstStyle>
            <a:lvl1pPr algn="ctr">
              <a:defRPr>
                <a:solidFill>
                  <a:schemeClr val="tx1"/>
                </a:solidFill>
              </a:defRPr>
            </a:lvl1pPr>
          </a:lstStyle>
          <a:p>
            <a:pPr marL="0" marR="0" lvl="0" indent="0" algn="ctr" defTabSz="1219019" rtl="0" eaLnBrk="1" fontAlgn="auto" latinLnBrk="0" hangingPunct="1">
              <a:lnSpc>
                <a:spcPts val="2933"/>
              </a:lnSpc>
              <a:spcBef>
                <a:spcPts val="0"/>
              </a:spcBef>
              <a:spcAft>
                <a:spcPts val="1600"/>
              </a:spcAft>
              <a:buClr>
                <a:schemeClr val="bg1"/>
              </a:buClr>
              <a:buSzPct val="100000"/>
              <a:buFont typeface="Arial" panose="020B0604020202020204" pitchFamily="34" charset="0"/>
              <a:buNone/>
              <a:tabLst/>
              <a:defRPr/>
            </a:pPr>
            <a:r>
              <a:rPr lang="en-BE"/>
              <a:t>Replace with picture            </a:t>
            </a:r>
          </a:p>
        </p:txBody>
      </p:sp>
    </p:spTree>
    <p:extLst>
      <p:ext uri="{BB962C8B-B14F-4D97-AF65-F5344CB8AC3E}">
        <p14:creationId xmlns:p14="http://schemas.microsoft.com/office/powerpoint/2010/main" val="52653110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XS ADA - message slide picture right">
    <p:bg>
      <p:bgPr>
        <a:solidFill>
          <a:srgbClr val="03001D"/>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3A22912-EB49-A028-41BB-912A13682930}"/>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400" y="1"/>
            <a:ext cx="12192400" cy="6858225"/>
          </a:xfrm>
          <a:prstGeom prst="rect">
            <a:avLst/>
          </a:prstGeom>
        </p:spPr>
      </p:pic>
      <p:sp>
        <p:nvSpPr>
          <p:cNvPr id="2" name="Rectangle 1">
            <a:extLst>
              <a:ext uri="{FF2B5EF4-FFF2-40B4-BE49-F238E27FC236}">
                <a16:creationId xmlns:a16="http://schemas.microsoft.com/office/drawing/2014/main" id="{F2A4F92A-2D41-7515-265D-AB8E07A7F263}"/>
              </a:ext>
            </a:extLst>
          </p:cNvPr>
          <p:cNvSpPr/>
          <p:nvPr userDrawn="1"/>
        </p:nvSpPr>
        <p:spPr>
          <a:xfrm>
            <a:off x="-1600" y="1"/>
            <a:ext cx="12193600" cy="6858225"/>
          </a:xfrm>
          <a:prstGeom prst="rect">
            <a:avLst/>
          </a:prstGeom>
          <a:gradFill>
            <a:gsLst>
              <a:gs pos="0">
                <a:srgbClr val="5C2D91"/>
              </a:gs>
              <a:gs pos="60000">
                <a:srgbClr val="5C2D91">
                  <a:alpha val="0"/>
                </a:srgb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2400"/>
          </a:p>
        </p:txBody>
      </p:sp>
      <p:sp>
        <p:nvSpPr>
          <p:cNvPr id="11" name="Picture Placeholder 10">
            <a:extLst>
              <a:ext uri="{FF2B5EF4-FFF2-40B4-BE49-F238E27FC236}">
                <a16:creationId xmlns:a16="http://schemas.microsoft.com/office/drawing/2014/main" id="{CC17DBD6-2DBA-E181-E5D3-2E70DDE01D40}"/>
              </a:ext>
            </a:extLst>
          </p:cNvPr>
          <p:cNvSpPr>
            <a:spLocks noGrp="1"/>
          </p:cNvSpPr>
          <p:nvPr>
            <p:ph type="pic" sz="quarter" idx="12" hasCustomPrompt="1"/>
          </p:nvPr>
        </p:nvSpPr>
        <p:spPr>
          <a:xfrm>
            <a:off x="5778889" y="2"/>
            <a:ext cx="6413113" cy="6857999"/>
          </a:xfrm>
          <a:custGeom>
            <a:avLst/>
            <a:gdLst>
              <a:gd name="connsiteX0" fmla="*/ 0 w 4809835"/>
              <a:gd name="connsiteY0" fmla="*/ 0 h 5143499"/>
              <a:gd name="connsiteX1" fmla="*/ 4809835 w 4809835"/>
              <a:gd name="connsiteY1" fmla="*/ 0 h 5143499"/>
              <a:gd name="connsiteX2" fmla="*/ 4809835 w 4809835"/>
              <a:gd name="connsiteY2" fmla="*/ 5143499 h 5143499"/>
              <a:gd name="connsiteX3" fmla="*/ 7068 w 4809835"/>
              <a:gd name="connsiteY3" fmla="*/ 5143499 h 5143499"/>
              <a:gd name="connsiteX4" fmla="*/ 61530 w 4809835"/>
              <a:gd name="connsiteY4" fmla="*/ 5007432 h 5143499"/>
              <a:gd name="connsiteX5" fmla="*/ 471951 w 4809835"/>
              <a:gd name="connsiteY5" fmla="*/ 2580557 h 5143499"/>
              <a:gd name="connsiteX6" fmla="*/ 200 w 4809835"/>
              <a:gd name="connsiteY6" fmla="*/ 452 h 5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9835" h="5143499">
                <a:moveTo>
                  <a:pt x="0" y="0"/>
                </a:moveTo>
                <a:lnTo>
                  <a:pt x="4809835" y="0"/>
                </a:lnTo>
                <a:lnTo>
                  <a:pt x="4809835" y="5143499"/>
                </a:lnTo>
                <a:lnTo>
                  <a:pt x="7068" y="5143499"/>
                </a:lnTo>
                <a:lnTo>
                  <a:pt x="61530" y="5007432"/>
                </a:lnTo>
                <a:cubicBezTo>
                  <a:pt x="319301" y="4330689"/>
                  <a:pt x="471951" y="3490624"/>
                  <a:pt x="471951" y="2580557"/>
                </a:cubicBezTo>
                <a:cubicBezTo>
                  <a:pt x="471951" y="1600485"/>
                  <a:pt x="294913" y="701599"/>
                  <a:pt x="200" y="452"/>
                </a:cubicBezTo>
                <a:close/>
              </a:path>
            </a:pathLst>
          </a:custGeom>
          <a:solidFill>
            <a:schemeClr val="tx1">
              <a:lumMod val="50000"/>
            </a:schemeClr>
          </a:solidFill>
        </p:spPr>
        <p:txBody>
          <a:bodyPr wrap="square" anchor="ctr">
            <a:noAutofit/>
          </a:bodyPr>
          <a:lstStyle>
            <a:lvl1pPr algn="ctr">
              <a:defRPr>
                <a:solidFill>
                  <a:schemeClr val="tx1"/>
                </a:solidFill>
              </a:defRPr>
            </a:lvl1pPr>
          </a:lstStyle>
          <a:p>
            <a:pPr marL="0" marR="0" lvl="0" indent="0" algn="ctr" defTabSz="1219019" rtl="0" eaLnBrk="1" fontAlgn="auto" latinLnBrk="0" hangingPunct="1">
              <a:lnSpc>
                <a:spcPts val="2933"/>
              </a:lnSpc>
              <a:spcBef>
                <a:spcPts val="0"/>
              </a:spcBef>
              <a:spcAft>
                <a:spcPts val="1600"/>
              </a:spcAft>
              <a:buClr>
                <a:schemeClr val="bg1"/>
              </a:buClr>
              <a:buSzPct val="100000"/>
              <a:buFont typeface="Arial" panose="020B0604020202020204" pitchFamily="34" charset="0"/>
              <a:buNone/>
              <a:tabLst/>
              <a:defRPr/>
            </a:pPr>
            <a:r>
              <a:rPr lang="en-BE"/>
              <a:t>Replace with picture            </a:t>
            </a:r>
          </a:p>
        </p:txBody>
      </p:sp>
      <p:sp>
        <p:nvSpPr>
          <p:cNvPr id="5" name="Text Placeholder 2">
            <a:extLst>
              <a:ext uri="{FF2B5EF4-FFF2-40B4-BE49-F238E27FC236}">
                <a16:creationId xmlns:a16="http://schemas.microsoft.com/office/drawing/2014/main" id="{87CB0FC5-51FA-930C-FC86-5F4F7C173913}"/>
              </a:ext>
            </a:extLst>
          </p:cNvPr>
          <p:cNvSpPr>
            <a:spLocks noGrp="1"/>
          </p:cNvSpPr>
          <p:nvPr>
            <p:ph idx="1" hasCustomPrompt="1"/>
          </p:nvPr>
        </p:nvSpPr>
        <p:spPr>
          <a:xfrm>
            <a:off x="625167" y="501651"/>
            <a:ext cx="5020351" cy="5854700"/>
          </a:xfrm>
          <a:prstGeom prst="rect">
            <a:avLst/>
          </a:prstGeom>
        </p:spPr>
        <p:txBody>
          <a:bodyPr vert="horz" lIns="0" tIns="0" rIns="0" bIns="0" numCol="1" spcCol="0" rtlCol="0" anchor="ctr" anchorCtr="0">
            <a:noAutofit/>
          </a:bodyPr>
          <a:lstStyle>
            <a:lvl1pPr marL="0" indent="0">
              <a:lnSpc>
                <a:spcPct val="100000"/>
              </a:lnSpc>
              <a:spcAft>
                <a:spcPts val="800"/>
              </a:spcAft>
              <a:buClr>
                <a:schemeClr val="bg1"/>
              </a:buClr>
              <a:buFont typeface="Arial" panose="020B0604020202020204" pitchFamily="34" charset="0"/>
              <a:buNone/>
              <a:defRPr sz="3200">
                <a:solidFill>
                  <a:schemeClr val="tx1"/>
                </a:solidFill>
                <a:latin typeface="Proximus Light" panose="00000500000000000000" pitchFamily="2" charset="0"/>
              </a:defRPr>
            </a:lvl1pPr>
            <a:lvl2pPr marL="243378" indent="0">
              <a:lnSpc>
                <a:spcPct val="100000"/>
              </a:lnSpc>
              <a:spcAft>
                <a:spcPts val="800"/>
              </a:spcAft>
              <a:buNone/>
              <a:defRPr>
                <a:solidFill>
                  <a:schemeClr val="tx1"/>
                </a:solidFill>
              </a:defRPr>
            </a:lvl2pPr>
            <a:lvl3pPr>
              <a:lnSpc>
                <a:spcPct val="100000"/>
              </a:lnSpc>
              <a:spcAft>
                <a:spcPts val="800"/>
              </a:spcAft>
              <a:defRPr>
                <a:solidFill>
                  <a:schemeClr val="tx1"/>
                </a:solidFill>
              </a:defRPr>
            </a:lvl3pPr>
            <a:lvl4pPr>
              <a:lnSpc>
                <a:spcPct val="100000"/>
              </a:lnSpc>
              <a:spcAft>
                <a:spcPts val="800"/>
              </a:spcAft>
              <a:defRPr>
                <a:solidFill>
                  <a:schemeClr val="tx1"/>
                </a:solidFill>
              </a:defRPr>
            </a:lvl4pPr>
            <a:lvl5pPr>
              <a:lnSpc>
                <a:spcPct val="100000"/>
              </a:lnSpc>
              <a:spcAft>
                <a:spcPts val="800"/>
              </a:spcAft>
              <a:defRPr>
                <a:solidFill>
                  <a:schemeClr val="tx1"/>
                </a:solidFill>
              </a:defRPr>
            </a:lvl5pPr>
          </a:lstStyle>
          <a:p>
            <a:pPr lvl="0"/>
            <a:r>
              <a:rPr lang="en-US"/>
              <a:t>Edit Master text styles</a:t>
            </a:r>
          </a:p>
        </p:txBody>
      </p:sp>
    </p:spTree>
    <p:extLst>
      <p:ext uri="{BB962C8B-B14F-4D97-AF65-F5344CB8AC3E}">
        <p14:creationId xmlns:p14="http://schemas.microsoft.com/office/powerpoint/2010/main" val="21396007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XS ADA - message slide picture left">
    <p:bg>
      <p:bgPr>
        <a:solidFill>
          <a:srgbClr val="03001D"/>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7DAFAB9-BD8A-B10A-162E-8963B21AD615}"/>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400" y="1"/>
            <a:ext cx="12192400" cy="6858225"/>
          </a:xfrm>
          <a:prstGeom prst="rect">
            <a:avLst/>
          </a:prstGeom>
        </p:spPr>
      </p:pic>
      <p:sp>
        <p:nvSpPr>
          <p:cNvPr id="4" name="Rectangle 3">
            <a:extLst>
              <a:ext uri="{FF2B5EF4-FFF2-40B4-BE49-F238E27FC236}">
                <a16:creationId xmlns:a16="http://schemas.microsoft.com/office/drawing/2014/main" id="{539071E4-9841-F0DB-F522-392314DFDE23}"/>
              </a:ext>
            </a:extLst>
          </p:cNvPr>
          <p:cNvSpPr/>
          <p:nvPr userDrawn="1"/>
        </p:nvSpPr>
        <p:spPr>
          <a:xfrm>
            <a:off x="-1600" y="1"/>
            <a:ext cx="12193600" cy="6858225"/>
          </a:xfrm>
          <a:prstGeom prst="rect">
            <a:avLst/>
          </a:prstGeom>
          <a:gradFill>
            <a:gsLst>
              <a:gs pos="0">
                <a:srgbClr val="5C2D91"/>
              </a:gs>
              <a:gs pos="60000">
                <a:srgbClr val="5C2D91">
                  <a:alpha val="0"/>
                </a:srgb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2400"/>
          </a:p>
        </p:txBody>
      </p:sp>
      <p:sp>
        <p:nvSpPr>
          <p:cNvPr id="11" name="Text Placeholder 2">
            <a:extLst>
              <a:ext uri="{FF2B5EF4-FFF2-40B4-BE49-F238E27FC236}">
                <a16:creationId xmlns:a16="http://schemas.microsoft.com/office/drawing/2014/main" id="{10193D06-FB5B-42EC-9101-F77EE2C16642}"/>
              </a:ext>
            </a:extLst>
          </p:cNvPr>
          <p:cNvSpPr>
            <a:spLocks noGrp="1"/>
          </p:cNvSpPr>
          <p:nvPr>
            <p:ph idx="1" hasCustomPrompt="1"/>
          </p:nvPr>
        </p:nvSpPr>
        <p:spPr>
          <a:xfrm>
            <a:off x="6555699" y="501651"/>
            <a:ext cx="5020351" cy="5854700"/>
          </a:xfrm>
          <a:prstGeom prst="rect">
            <a:avLst/>
          </a:prstGeom>
        </p:spPr>
        <p:txBody>
          <a:bodyPr vert="horz" lIns="0" tIns="0" rIns="0" bIns="0" numCol="1" spcCol="0" rtlCol="0" anchor="ctr" anchorCtr="0">
            <a:noAutofit/>
          </a:bodyPr>
          <a:lstStyle>
            <a:lvl1pPr marL="0" indent="0">
              <a:lnSpc>
                <a:spcPct val="100000"/>
              </a:lnSpc>
              <a:spcAft>
                <a:spcPts val="800"/>
              </a:spcAft>
              <a:buClr>
                <a:schemeClr val="bg1"/>
              </a:buClr>
              <a:buFont typeface="Arial" panose="020B0604020202020204" pitchFamily="34" charset="0"/>
              <a:buNone/>
              <a:defRPr sz="3200">
                <a:solidFill>
                  <a:schemeClr val="tx1"/>
                </a:solidFill>
                <a:latin typeface="Proximus Light" panose="00000500000000000000" pitchFamily="2" charset="0"/>
              </a:defRPr>
            </a:lvl1pPr>
            <a:lvl2pPr marL="243378" indent="0">
              <a:lnSpc>
                <a:spcPct val="100000"/>
              </a:lnSpc>
              <a:spcAft>
                <a:spcPts val="800"/>
              </a:spcAft>
              <a:buNone/>
              <a:defRPr>
                <a:solidFill>
                  <a:schemeClr val="tx1"/>
                </a:solidFill>
              </a:defRPr>
            </a:lvl2pPr>
            <a:lvl3pPr>
              <a:lnSpc>
                <a:spcPct val="100000"/>
              </a:lnSpc>
              <a:spcAft>
                <a:spcPts val="800"/>
              </a:spcAft>
              <a:defRPr>
                <a:solidFill>
                  <a:schemeClr val="tx1"/>
                </a:solidFill>
              </a:defRPr>
            </a:lvl3pPr>
            <a:lvl4pPr>
              <a:lnSpc>
                <a:spcPct val="100000"/>
              </a:lnSpc>
              <a:spcAft>
                <a:spcPts val="800"/>
              </a:spcAft>
              <a:defRPr>
                <a:solidFill>
                  <a:schemeClr val="tx1"/>
                </a:solidFill>
              </a:defRPr>
            </a:lvl4pPr>
            <a:lvl5pPr>
              <a:lnSpc>
                <a:spcPct val="100000"/>
              </a:lnSpc>
              <a:spcAft>
                <a:spcPts val="800"/>
              </a:spcAft>
              <a:defRPr>
                <a:solidFill>
                  <a:schemeClr val="tx1"/>
                </a:solidFill>
              </a:defRPr>
            </a:lvl5pPr>
          </a:lstStyle>
          <a:p>
            <a:pPr lvl="0"/>
            <a:r>
              <a:rPr lang="en-US"/>
              <a:t>Edit Master text styles</a:t>
            </a:r>
          </a:p>
        </p:txBody>
      </p:sp>
      <p:sp>
        <p:nvSpPr>
          <p:cNvPr id="5" name="Picture Placeholder 4">
            <a:extLst>
              <a:ext uri="{FF2B5EF4-FFF2-40B4-BE49-F238E27FC236}">
                <a16:creationId xmlns:a16="http://schemas.microsoft.com/office/drawing/2014/main" id="{4F7A90C3-DFC2-0FE0-0A8E-67A9B32FDCE0}"/>
              </a:ext>
            </a:extLst>
          </p:cNvPr>
          <p:cNvSpPr>
            <a:spLocks noGrp="1"/>
          </p:cNvSpPr>
          <p:nvPr>
            <p:ph type="pic" sz="quarter" idx="14" hasCustomPrompt="1"/>
          </p:nvPr>
        </p:nvSpPr>
        <p:spPr>
          <a:xfrm>
            <a:off x="-1599" y="2"/>
            <a:ext cx="6413113" cy="6857999"/>
          </a:xfrm>
          <a:custGeom>
            <a:avLst/>
            <a:gdLst>
              <a:gd name="connsiteX0" fmla="*/ 0 w 4809835"/>
              <a:gd name="connsiteY0" fmla="*/ 0 h 5143499"/>
              <a:gd name="connsiteX1" fmla="*/ 4802767 w 4809835"/>
              <a:gd name="connsiteY1" fmla="*/ 0 h 5143499"/>
              <a:gd name="connsiteX2" fmla="*/ 4748305 w 4809835"/>
              <a:gd name="connsiteY2" fmla="*/ 136067 h 5143499"/>
              <a:gd name="connsiteX3" fmla="*/ 4337884 w 4809835"/>
              <a:gd name="connsiteY3" fmla="*/ 2562942 h 5143499"/>
              <a:gd name="connsiteX4" fmla="*/ 4809635 w 4809835"/>
              <a:gd name="connsiteY4" fmla="*/ 5143047 h 5143499"/>
              <a:gd name="connsiteX5" fmla="*/ 4809835 w 4809835"/>
              <a:gd name="connsiteY5" fmla="*/ 5143499 h 5143499"/>
              <a:gd name="connsiteX6" fmla="*/ 0 w 4809835"/>
              <a:gd name="connsiteY6" fmla="*/ 5143499 h 5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9835" h="5143499">
                <a:moveTo>
                  <a:pt x="0" y="0"/>
                </a:moveTo>
                <a:lnTo>
                  <a:pt x="4802767" y="0"/>
                </a:lnTo>
                <a:lnTo>
                  <a:pt x="4748305" y="136067"/>
                </a:lnTo>
                <a:cubicBezTo>
                  <a:pt x="4490534" y="812810"/>
                  <a:pt x="4337884" y="1652875"/>
                  <a:pt x="4337884" y="2562942"/>
                </a:cubicBezTo>
                <a:cubicBezTo>
                  <a:pt x="4337884" y="3543014"/>
                  <a:pt x="4514922" y="4441900"/>
                  <a:pt x="4809635" y="5143047"/>
                </a:cubicBezTo>
                <a:lnTo>
                  <a:pt x="4809835" y="5143499"/>
                </a:lnTo>
                <a:lnTo>
                  <a:pt x="0" y="5143499"/>
                </a:lnTo>
                <a:close/>
              </a:path>
            </a:pathLst>
          </a:custGeom>
          <a:solidFill>
            <a:schemeClr val="tx1">
              <a:lumMod val="50000"/>
            </a:schemeClr>
          </a:solidFill>
        </p:spPr>
        <p:txBody>
          <a:bodyPr wrap="square" anchor="ctr">
            <a:noAutofit/>
          </a:bodyPr>
          <a:lstStyle>
            <a:lvl1pPr algn="ctr">
              <a:defRPr>
                <a:solidFill>
                  <a:schemeClr val="tx1"/>
                </a:solidFill>
              </a:defRPr>
            </a:lvl1pPr>
          </a:lstStyle>
          <a:p>
            <a:pPr marL="0" marR="0" lvl="0" indent="0" algn="ctr" defTabSz="1219019" rtl="0" eaLnBrk="1" fontAlgn="auto" latinLnBrk="0" hangingPunct="1">
              <a:lnSpc>
                <a:spcPts val="2933"/>
              </a:lnSpc>
              <a:spcBef>
                <a:spcPts val="0"/>
              </a:spcBef>
              <a:spcAft>
                <a:spcPts val="1600"/>
              </a:spcAft>
              <a:buClr>
                <a:schemeClr val="bg1"/>
              </a:buClr>
              <a:buSzPct val="100000"/>
              <a:buFont typeface="Arial" panose="020B0604020202020204" pitchFamily="34" charset="0"/>
              <a:buNone/>
              <a:tabLst/>
              <a:defRPr/>
            </a:pPr>
            <a:r>
              <a:rPr lang="en-BE"/>
              <a:t>Replace with picture            </a:t>
            </a:r>
          </a:p>
        </p:txBody>
      </p:sp>
    </p:spTree>
    <p:extLst>
      <p:ext uri="{BB962C8B-B14F-4D97-AF65-F5344CB8AC3E}">
        <p14:creationId xmlns:p14="http://schemas.microsoft.com/office/powerpoint/2010/main" val="9780592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XS ADA - Agenda table - bg2">
    <p:bg>
      <p:bgPr>
        <a:solidFill>
          <a:srgbClr val="03001D"/>
        </a:solid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349C7CF3-6065-75D1-AF8A-A081EA3BB9BB}"/>
              </a:ext>
            </a:extLst>
          </p:cNvPr>
          <p:cNvGrpSpPr/>
          <p:nvPr userDrawn="1"/>
        </p:nvGrpSpPr>
        <p:grpSpPr>
          <a:xfrm>
            <a:off x="-1600" y="1"/>
            <a:ext cx="12193600" cy="6858225"/>
            <a:chOff x="-1200" y="0"/>
            <a:chExt cx="9145200" cy="5143669"/>
          </a:xfrm>
        </p:grpSpPr>
        <p:sp>
          <p:nvSpPr>
            <p:cNvPr id="14" name="Rectangle 13">
              <a:extLst>
                <a:ext uri="{FF2B5EF4-FFF2-40B4-BE49-F238E27FC236}">
                  <a16:creationId xmlns:a16="http://schemas.microsoft.com/office/drawing/2014/main" id="{2284A783-1E01-AD48-A858-AEA884D06C4B}"/>
                </a:ext>
              </a:extLst>
            </p:cNvPr>
            <p:cNvSpPr/>
            <p:nvPr userDrawn="1"/>
          </p:nvSpPr>
          <p:spPr>
            <a:xfrm>
              <a:off x="0" y="0"/>
              <a:ext cx="9144000" cy="504363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624517"/>
              <a:endParaRPr lang="en-US" sz="1867" err="1">
                <a:solidFill>
                  <a:schemeClr val="tx1"/>
                </a:solidFill>
                <a:latin typeface="Proximus" panose="00000500000000000000" pitchFamily="2" charset="0"/>
                <a:cs typeface="Proximus"/>
              </a:endParaRPr>
            </a:p>
          </p:txBody>
        </p:sp>
        <p:grpSp>
          <p:nvGrpSpPr>
            <p:cNvPr id="12" name="Group 11">
              <a:extLst>
                <a:ext uri="{FF2B5EF4-FFF2-40B4-BE49-F238E27FC236}">
                  <a16:creationId xmlns:a16="http://schemas.microsoft.com/office/drawing/2014/main" id="{80BE9C3C-C8E0-3FAA-5E50-72A4174C1FD4}"/>
                </a:ext>
              </a:extLst>
            </p:cNvPr>
            <p:cNvGrpSpPr/>
            <p:nvPr userDrawn="1"/>
          </p:nvGrpSpPr>
          <p:grpSpPr>
            <a:xfrm>
              <a:off x="2388230" y="0"/>
              <a:ext cx="6755770" cy="5143500"/>
              <a:chOff x="2394583" y="0"/>
              <a:chExt cx="6755770" cy="5143500"/>
            </a:xfrm>
            <a:solidFill>
              <a:schemeClr val="bg1">
                <a:alpha val="20000"/>
              </a:schemeClr>
            </a:solidFill>
          </p:grpSpPr>
          <p:pic>
            <p:nvPicPr>
              <p:cNvPr id="6" name="Graphic 5">
                <a:extLst>
                  <a:ext uri="{FF2B5EF4-FFF2-40B4-BE49-F238E27FC236}">
                    <a16:creationId xmlns:a16="http://schemas.microsoft.com/office/drawing/2014/main" id="{0498DF4F-C55A-C36D-71FD-B3876AEF77B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40699" r="46306"/>
              <a:stretch/>
            </p:blipFill>
            <p:spPr>
              <a:xfrm>
                <a:off x="6868313" y="0"/>
                <a:ext cx="2275687" cy="3490722"/>
              </a:xfrm>
              <a:prstGeom prst="rect">
                <a:avLst/>
              </a:prstGeom>
            </p:spPr>
          </p:pic>
          <p:pic>
            <p:nvPicPr>
              <p:cNvPr id="9" name="Graphic 8">
                <a:extLst>
                  <a:ext uri="{FF2B5EF4-FFF2-40B4-BE49-F238E27FC236}">
                    <a16:creationId xmlns:a16="http://schemas.microsoft.com/office/drawing/2014/main" id="{44CC5121-BBCB-45EC-C461-D74B6047E961}"/>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t="12793"/>
              <a:stretch/>
            </p:blipFill>
            <p:spPr>
              <a:xfrm>
                <a:off x="2394583" y="0"/>
                <a:ext cx="4473730" cy="3490722"/>
              </a:xfrm>
              <a:prstGeom prst="rect">
                <a:avLst/>
              </a:prstGeom>
            </p:spPr>
          </p:pic>
          <p:pic>
            <p:nvPicPr>
              <p:cNvPr id="11" name="Graphic 10">
                <a:extLst>
                  <a:ext uri="{FF2B5EF4-FFF2-40B4-BE49-F238E27FC236}">
                    <a16:creationId xmlns:a16="http://schemas.microsoft.com/office/drawing/2014/main" id="{6D82CAD6-D99D-06FC-48EC-E25B014AC18B}"/>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r="39532" b="65156"/>
              <a:stretch/>
            </p:blipFill>
            <p:spPr>
              <a:xfrm>
                <a:off x="6445175" y="3748762"/>
                <a:ext cx="2705178" cy="1394738"/>
              </a:xfrm>
              <a:prstGeom prst="rect">
                <a:avLst/>
              </a:prstGeom>
            </p:spPr>
          </p:pic>
        </p:grpSp>
        <p:sp>
          <p:nvSpPr>
            <p:cNvPr id="2" name="Rectangle 1">
              <a:extLst>
                <a:ext uri="{FF2B5EF4-FFF2-40B4-BE49-F238E27FC236}">
                  <a16:creationId xmlns:a16="http://schemas.microsoft.com/office/drawing/2014/main" id="{AE8FA19D-17BA-21CA-F414-68EF3FFC11CC}"/>
                </a:ext>
              </a:extLst>
            </p:cNvPr>
            <p:cNvSpPr/>
            <p:nvPr userDrawn="1"/>
          </p:nvSpPr>
          <p:spPr>
            <a:xfrm>
              <a:off x="-1200" y="0"/>
              <a:ext cx="9145200" cy="5143669"/>
            </a:xfrm>
            <a:prstGeom prst="rect">
              <a:avLst/>
            </a:prstGeom>
            <a:gradFill>
              <a:gsLst>
                <a:gs pos="0">
                  <a:srgbClr val="5C2D91"/>
                </a:gs>
                <a:gs pos="60000">
                  <a:srgbClr val="5C2D91">
                    <a:alpha val="0"/>
                  </a:srgb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2400"/>
            </a:p>
          </p:txBody>
        </p:sp>
      </p:grpSp>
      <p:sp>
        <p:nvSpPr>
          <p:cNvPr id="15" name="Table Placeholder 4">
            <a:extLst>
              <a:ext uri="{FF2B5EF4-FFF2-40B4-BE49-F238E27FC236}">
                <a16:creationId xmlns:a16="http://schemas.microsoft.com/office/drawing/2014/main" id="{20E19396-DDBF-FC57-C7C9-EDA6771EBAFC}"/>
              </a:ext>
            </a:extLst>
          </p:cNvPr>
          <p:cNvSpPr>
            <a:spLocks noGrp="1"/>
          </p:cNvSpPr>
          <p:nvPr>
            <p:ph type="tbl" sz="quarter" idx="10"/>
          </p:nvPr>
        </p:nvSpPr>
        <p:spPr>
          <a:xfrm>
            <a:off x="624418" y="702731"/>
            <a:ext cx="10951636" cy="5653620"/>
          </a:xfrm>
        </p:spPr>
        <p:txBody>
          <a:bodyPr/>
          <a:lstStyle/>
          <a:p>
            <a:r>
              <a:rPr lang="en-US"/>
              <a:t>Click icon to add table</a:t>
            </a:r>
            <a:endParaRPr lang="en-BE"/>
          </a:p>
        </p:txBody>
      </p:sp>
      <p:sp>
        <p:nvSpPr>
          <p:cNvPr id="16" name="Title 1">
            <a:extLst>
              <a:ext uri="{FF2B5EF4-FFF2-40B4-BE49-F238E27FC236}">
                <a16:creationId xmlns:a16="http://schemas.microsoft.com/office/drawing/2014/main" id="{990F4AE0-385A-B336-9D7F-E615C3391A33}"/>
              </a:ext>
            </a:extLst>
          </p:cNvPr>
          <p:cNvSpPr>
            <a:spLocks noGrp="1"/>
          </p:cNvSpPr>
          <p:nvPr>
            <p:ph type="title" hasCustomPrompt="1"/>
          </p:nvPr>
        </p:nvSpPr>
        <p:spPr>
          <a:xfrm>
            <a:off x="4622800" y="503767"/>
            <a:ext cx="6953253" cy="880532"/>
          </a:xfrm>
        </p:spPr>
        <p:txBody>
          <a:bodyPr anchor="t"/>
          <a:lstStyle>
            <a:lvl1pPr algn="r">
              <a:defRPr b="0">
                <a:solidFill>
                  <a:schemeClr val="tx1"/>
                </a:solidFill>
              </a:defRPr>
            </a:lvl1pPr>
          </a:lstStyle>
          <a:p>
            <a:r>
              <a:rPr lang="en-US"/>
              <a:t>Edit to add title</a:t>
            </a:r>
            <a:endParaRPr lang="nl-BE"/>
          </a:p>
        </p:txBody>
      </p:sp>
    </p:spTree>
    <p:extLst>
      <p:ext uri="{BB962C8B-B14F-4D97-AF65-F5344CB8AC3E}">
        <p14:creationId xmlns:p14="http://schemas.microsoft.com/office/powerpoint/2010/main" val="34712094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XS ADA - picture right">
    <p:bg>
      <p:bgPr>
        <a:solidFill>
          <a:srgbClr val="03001D"/>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3A22912-EB49-A028-41BB-912A13682930}"/>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400" y="1"/>
            <a:ext cx="12192400" cy="6858225"/>
          </a:xfrm>
          <a:prstGeom prst="rect">
            <a:avLst/>
          </a:prstGeom>
        </p:spPr>
      </p:pic>
      <p:sp>
        <p:nvSpPr>
          <p:cNvPr id="2" name="Rectangle 1">
            <a:extLst>
              <a:ext uri="{FF2B5EF4-FFF2-40B4-BE49-F238E27FC236}">
                <a16:creationId xmlns:a16="http://schemas.microsoft.com/office/drawing/2014/main" id="{F2A4F92A-2D41-7515-265D-AB8E07A7F263}"/>
              </a:ext>
            </a:extLst>
          </p:cNvPr>
          <p:cNvSpPr/>
          <p:nvPr userDrawn="1"/>
        </p:nvSpPr>
        <p:spPr>
          <a:xfrm>
            <a:off x="-1600" y="1"/>
            <a:ext cx="12193600" cy="6858225"/>
          </a:xfrm>
          <a:prstGeom prst="rect">
            <a:avLst/>
          </a:prstGeom>
          <a:gradFill>
            <a:gsLst>
              <a:gs pos="0">
                <a:srgbClr val="5C2D91"/>
              </a:gs>
              <a:gs pos="60000">
                <a:srgbClr val="5C2D91">
                  <a:alpha val="0"/>
                </a:srgb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2400"/>
          </a:p>
        </p:txBody>
      </p:sp>
      <p:sp>
        <p:nvSpPr>
          <p:cNvPr id="11" name="Picture Placeholder 10">
            <a:extLst>
              <a:ext uri="{FF2B5EF4-FFF2-40B4-BE49-F238E27FC236}">
                <a16:creationId xmlns:a16="http://schemas.microsoft.com/office/drawing/2014/main" id="{CC17DBD6-2DBA-E181-E5D3-2E70DDE01D40}"/>
              </a:ext>
            </a:extLst>
          </p:cNvPr>
          <p:cNvSpPr>
            <a:spLocks noGrp="1"/>
          </p:cNvSpPr>
          <p:nvPr>
            <p:ph type="pic" sz="quarter" idx="12" hasCustomPrompt="1"/>
          </p:nvPr>
        </p:nvSpPr>
        <p:spPr>
          <a:xfrm>
            <a:off x="5778889" y="2"/>
            <a:ext cx="6413113" cy="6857999"/>
          </a:xfrm>
          <a:custGeom>
            <a:avLst/>
            <a:gdLst>
              <a:gd name="connsiteX0" fmla="*/ 0 w 4809835"/>
              <a:gd name="connsiteY0" fmla="*/ 0 h 5143499"/>
              <a:gd name="connsiteX1" fmla="*/ 4809835 w 4809835"/>
              <a:gd name="connsiteY1" fmla="*/ 0 h 5143499"/>
              <a:gd name="connsiteX2" fmla="*/ 4809835 w 4809835"/>
              <a:gd name="connsiteY2" fmla="*/ 5143499 h 5143499"/>
              <a:gd name="connsiteX3" fmla="*/ 7068 w 4809835"/>
              <a:gd name="connsiteY3" fmla="*/ 5143499 h 5143499"/>
              <a:gd name="connsiteX4" fmla="*/ 61530 w 4809835"/>
              <a:gd name="connsiteY4" fmla="*/ 5007432 h 5143499"/>
              <a:gd name="connsiteX5" fmla="*/ 471951 w 4809835"/>
              <a:gd name="connsiteY5" fmla="*/ 2580557 h 5143499"/>
              <a:gd name="connsiteX6" fmla="*/ 200 w 4809835"/>
              <a:gd name="connsiteY6" fmla="*/ 452 h 5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9835" h="5143499">
                <a:moveTo>
                  <a:pt x="0" y="0"/>
                </a:moveTo>
                <a:lnTo>
                  <a:pt x="4809835" y="0"/>
                </a:lnTo>
                <a:lnTo>
                  <a:pt x="4809835" y="5143499"/>
                </a:lnTo>
                <a:lnTo>
                  <a:pt x="7068" y="5143499"/>
                </a:lnTo>
                <a:lnTo>
                  <a:pt x="61530" y="5007432"/>
                </a:lnTo>
                <a:cubicBezTo>
                  <a:pt x="319301" y="4330689"/>
                  <a:pt x="471951" y="3490624"/>
                  <a:pt x="471951" y="2580557"/>
                </a:cubicBezTo>
                <a:cubicBezTo>
                  <a:pt x="471951" y="1600485"/>
                  <a:pt x="294913" y="701599"/>
                  <a:pt x="200" y="452"/>
                </a:cubicBezTo>
                <a:close/>
              </a:path>
            </a:pathLst>
          </a:custGeom>
          <a:solidFill>
            <a:schemeClr val="tx1">
              <a:lumMod val="50000"/>
            </a:schemeClr>
          </a:solidFill>
        </p:spPr>
        <p:txBody>
          <a:bodyPr wrap="square" anchor="ctr">
            <a:noAutofit/>
          </a:bodyPr>
          <a:lstStyle>
            <a:lvl1pPr algn="ctr">
              <a:defRPr>
                <a:solidFill>
                  <a:schemeClr val="tx1"/>
                </a:solidFill>
              </a:defRPr>
            </a:lvl1pPr>
          </a:lstStyle>
          <a:p>
            <a:pPr marL="0" marR="0" lvl="0" indent="0" algn="ctr" defTabSz="1219019" rtl="0" eaLnBrk="1" fontAlgn="auto" latinLnBrk="0" hangingPunct="1">
              <a:lnSpc>
                <a:spcPts val="2933"/>
              </a:lnSpc>
              <a:spcBef>
                <a:spcPts val="0"/>
              </a:spcBef>
              <a:spcAft>
                <a:spcPts val="1600"/>
              </a:spcAft>
              <a:buClr>
                <a:schemeClr val="bg1"/>
              </a:buClr>
              <a:buSzPct val="100000"/>
              <a:buFont typeface="Arial" panose="020B0604020202020204" pitchFamily="34" charset="0"/>
              <a:buNone/>
              <a:tabLst/>
              <a:defRPr/>
            </a:pPr>
            <a:r>
              <a:rPr lang="en-BE"/>
              <a:t>Replace with picture            </a:t>
            </a:r>
          </a:p>
        </p:txBody>
      </p:sp>
    </p:spTree>
    <p:extLst>
      <p:ext uri="{BB962C8B-B14F-4D97-AF65-F5344CB8AC3E}">
        <p14:creationId xmlns:p14="http://schemas.microsoft.com/office/powerpoint/2010/main" val="330175531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XS ADA - picture left">
    <p:bg>
      <p:bgPr>
        <a:solidFill>
          <a:srgbClr val="03001D"/>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7DAFAB9-BD8A-B10A-162E-8963B21AD615}"/>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400" y="1"/>
            <a:ext cx="12192400" cy="6858225"/>
          </a:xfrm>
          <a:prstGeom prst="rect">
            <a:avLst/>
          </a:prstGeom>
        </p:spPr>
      </p:pic>
      <p:sp>
        <p:nvSpPr>
          <p:cNvPr id="4" name="Rectangle 3">
            <a:extLst>
              <a:ext uri="{FF2B5EF4-FFF2-40B4-BE49-F238E27FC236}">
                <a16:creationId xmlns:a16="http://schemas.microsoft.com/office/drawing/2014/main" id="{539071E4-9841-F0DB-F522-392314DFDE23}"/>
              </a:ext>
            </a:extLst>
          </p:cNvPr>
          <p:cNvSpPr/>
          <p:nvPr userDrawn="1"/>
        </p:nvSpPr>
        <p:spPr>
          <a:xfrm>
            <a:off x="-1600" y="1"/>
            <a:ext cx="12193600" cy="6858225"/>
          </a:xfrm>
          <a:prstGeom prst="rect">
            <a:avLst/>
          </a:prstGeom>
          <a:gradFill>
            <a:gsLst>
              <a:gs pos="0">
                <a:srgbClr val="5C2D91"/>
              </a:gs>
              <a:gs pos="60000">
                <a:srgbClr val="5C2D91">
                  <a:alpha val="0"/>
                </a:srgb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2400"/>
          </a:p>
        </p:txBody>
      </p:sp>
      <p:sp>
        <p:nvSpPr>
          <p:cNvPr id="5" name="Picture Placeholder 4">
            <a:extLst>
              <a:ext uri="{FF2B5EF4-FFF2-40B4-BE49-F238E27FC236}">
                <a16:creationId xmlns:a16="http://schemas.microsoft.com/office/drawing/2014/main" id="{4F7A90C3-DFC2-0FE0-0A8E-67A9B32FDCE0}"/>
              </a:ext>
            </a:extLst>
          </p:cNvPr>
          <p:cNvSpPr>
            <a:spLocks noGrp="1"/>
          </p:cNvSpPr>
          <p:nvPr>
            <p:ph type="pic" sz="quarter" idx="14" hasCustomPrompt="1"/>
          </p:nvPr>
        </p:nvSpPr>
        <p:spPr>
          <a:xfrm>
            <a:off x="-1599" y="2"/>
            <a:ext cx="6413113" cy="6857999"/>
          </a:xfrm>
          <a:custGeom>
            <a:avLst/>
            <a:gdLst>
              <a:gd name="connsiteX0" fmla="*/ 0 w 4809835"/>
              <a:gd name="connsiteY0" fmla="*/ 0 h 5143499"/>
              <a:gd name="connsiteX1" fmla="*/ 4802767 w 4809835"/>
              <a:gd name="connsiteY1" fmla="*/ 0 h 5143499"/>
              <a:gd name="connsiteX2" fmla="*/ 4748305 w 4809835"/>
              <a:gd name="connsiteY2" fmla="*/ 136067 h 5143499"/>
              <a:gd name="connsiteX3" fmla="*/ 4337884 w 4809835"/>
              <a:gd name="connsiteY3" fmla="*/ 2562942 h 5143499"/>
              <a:gd name="connsiteX4" fmla="*/ 4809635 w 4809835"/>
              <a:gd name="connsiteY4" fmla="*/ 5143047 h 5143499"/>
              <a:gd name="connsiteX5" fmla="*/ 4809835 w 4809835"/>
              <a:gd name="connsiteY5" fmla="*/ 5143499 h 5143499"/>
              <a:gd name="connsiteX6" fmla="*/ 0 w 4809835"/>
              <a:gd name="connsiteY6" fmla="*/ 5143499 h 5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9835" h="5143499">
                <a:moveTo>
                  <a:pt x="0" y="0"/>
                </a:moveTo>
                <a:lnTo>
                  <a:pt x="4802767" y="0"/>
                </a:lnTo>
                <a:lnTo>
                  <a:pt x="4748305" y="136067"/>
                </a:lnTo>
                <a:cubicBezTo>
                  <a:pt x="4490534" y="812810"/>
                  <a:pt x="4337884" y="1652875"/>
                  <a:pt x="4337884" y="2562942"/>
                </a:cubicBezTo>
                <a:cubicBezTo>
                  <a:pt x="4337884" y="3543014"/>
                  <a:pt x="4514922" y="4441900"/>
                  <a:pt x="4809635" y="5143047"/>
                </a:cubicBezTo>
                <a:lnTo>
                  <a:pt x="4809835" y="5143499"/>
                </a:lnTo>
                <a:lnTo>
                  <a:pt x="0" y="5143499"/>
                </a:lnTo>
                <a:close/>
              </a:path>
            </a:pathLst>
          </a:custGeom>
          <a:solidFill>
            <a:schemeClr val="tx1">
              <a:lumMod val="50000"/>
            </a:schemeClr>
          </a:solidFill>
        </p:spPr>
        <p:txBody>
          <a:bodyPr wrap="square" anchor="ctr">
            <a:noAutofit/>
          </a:bodyPr>
          <a:lstStyle>
            <a:lvl1pPr algn="ctr">
              <a:defRPr>
                <a:solidFill>
                  <a:schemeClr val="tx1"/>
                </a:solidFill>
              </a:defRPr>
            </a:lvl1pPr>
          </a:lstStyle>
          <a:p>
            <a:pPr marL="0" marR="0" lvl="0" indent="0" algn="ctr" defTabSz="1219019" rtl="0" eaLnBrk="1" fontAlgn="auto" latinLnBrk="0" hangingPunct="1">
              <a:lnSpc>
                <a:spcPts val="2933"/>
              </a:lnSpc>
              <a:spcBef>
                <a:spcPts val="0"/>
              </a:spcBef>
              <a:spcAft>
                <a:spcPts val="1600"/>
              </a:spcAft>
              <a:buClr>
                <a:schemeClr val="bg1"/>
              </a:buClr>
              <a:buSzPct val="100000"/>
              <a:buFont typeface="Arial" panose="020B0604020202020204" pitchFamily="34" charset="0"/>
              <a:buNone/>
              <a:tabLst/>
              <a:defRPr/>
            </a:pPr>
            <a:r>
              <a:rPr lang="en-BE"/>
              <a:t>Replace with picture            </a:t>
            </a:r>
          </a:p>
        </p:txBody>
      </p:sp>
    </p:spTree>
    <p:extLst>
      <p:ext uri="{BB962C8B-B14F-4D97-AF65-F5344CB8AC3E}">
        <p14:creationId xmlns:p14="http://schemas.microsoft.com/office/powerpoint/2010/main" val="362515615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XS ADA - content + full pictur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1947AAA2-2AA1-F460-D207-6A4AEF1D78D1}"/>
              </a:ext>
            </a:extLst>
          </p:cNvPr>
          <p:cNvSpPr>
            <a:spLocks noGrp="1"/>
          </p:cNvSpPr>
          <p:nvPr>
            <p:ph type="pic" sz="quarter" idx="11" hasCustomPrompt="1"/>
          </p:nvPr>
        </p:nvSpPr>
        <p:spPr>
          <a:xfrm>
            <a:off x="0" y="0"/>
            <a:ext cx="12192000" cy="6858000"/>
          </a:xfrm>
          <a:solidFill>
            <a:schemeClr val="tx1">
              <a:lumMod val="50000"/>
            </a:schemeClr>
          </a:solidFill>
        </p:spPr>
        <p:txBody>
          <a:bodyPr anchor="ctr"/>
          <a:lstStyle>
            <a:lvl1pPr algn="ctr">
              <a:defRPr>
                <a:solidFill>
                  <a:schemeClr val="tx1"/>
                </a:solidFill>
              </a:defRPr>
            </a:lvl1pPr>
          </a:lstStyle>
          <a:p>
            <a:pPr marL="0" marR="0" lvl="0" indent="0" algn="ctr" defTabSz="1219019" rtl="0" eaLnBrk="1" fontAlgn="auto" latinLnBrk="0" hangingPunct="1">
              <a:lnSpc>
                <a:spcPts val="2933"/>
              </a:lnSpc>
              <a:spcBef>
                <a:spcPts val="0"/>
              </a:spcBef>
              <a:spcAft>
                <a:spcPts val="1600"/>
              </a:spcAft>
              <a:buClr>
                <a:schemeClr val="bg1"/>
              </a:buClr>
              <a:buSzPct val="100000"/>
              <a:buFont typeface="Arial" panose="020B0604020202020204" pitchFamily="34" charset="0"/>
              <a:buNone/>
              <a:tabLst/>
              <a:defRPr/>
            </a:pPr>
            <a:r>
              <a:rPr lang="en-BE"/>
              <a:t>Replace with picture</a:t>
            </a:r>
          </a:p>
        </p:txBody>
      </p:sp>
      <p:sp>
        <p:nvSpPr>
          <p:cNvPr id="2" name="Title 1"/>
          <p:cNvSpPr>
            <a:spLocks noGrp="1"/>
          </p:cNvSpPr>
          <p:nvPr>
            <p:ph type="title" hasCustomPrompt="1"/>
          </p:nvPr>
        </p:nvSpPr>
        <p:spPr/>
        <p:txBody>
          <a:bodyPr anchor="t"/>
          <a:lstStyle>
            <a:lvl1pPr>
              <a:defRPr b="0">
                <a:solidFill>
                  <a:schemeClr val="bg1"/>
                </a:solidFill>
              </a:defRPr>
            </a:lvl1pPr>
          </a:lstStyle>
          <a:p>
            <a:r>
              <a:rPr lang="en-US"/>
              <a:t>Click to edit slide title</a:t>
            </a:r>
            <a:endParaRPr lang="nl-BE"/>
          </a:p>
        </p:txBody>
      </p:sp>
      <p:sp>
        <p:nvSpPr>
          <p:cNvPr id="11" name="Text Placeholder 2">
            <a:extLst>
              <a:ext uri="{FF2B5EF4-FFF2-40B4-BE49-F238E27FC236}">
                <a16:creationId xmlns:a16="http://schemas.microsoft.com/office/drawing/2014/main" id="{10193D06-FB5B-42EC-9101-F77EE2C16642}"/>
              </a:ext>
            </a:extLst>
          </p:cNvPr>
          <p:cNvSpPr>
            <a:spLocks noGrp="1"/>
          </p:cNvSpPr>
          <p:nvPr>
            <p:ph idx="1" hasCustomPrompt="1"/>
          </p:nvPr>
        </p:nvSpPr>
        <p:spPr>
          <a:xfrm>
            <a:off x="613835" y="1382399"/>
            <a:ext cx="4742400" cy="4878700"/>
          </a:xfrm>
          <a:prstGeom prst="rect">
            <a:avLst/>
          </a:prstGeom>
        </p:spPr>
        <p:txBody>
          <a:bodyPr vert="horz" lIns="0" tIns="0" rIns="0" bIns="0" numCol="1" spcCol="0" rtlCol="0" anchor="ctr" anchorCtr="0">
            <a:noAutofit/>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BE"/>
          </a:p>
        </p:txBody>
      </p:sp>
    </p:spTree>
    <p:extLst>
      <p:ext uri="{BB962C8B-B14F-4D97-AF65-F5344CB8AC3E}">
        <p14:creationId xmlns:p14="http://schemas.microsoft.com/office/powerpoint/2010/main" val="160868505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XS ADA - content + full picture light">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1947AAA2-2AA1-F460-D207-6A4AEF1D78D1}"/>
              </a:ext>
            </a:extLst>
          </p:cNvPr>
          <p:cNvSpPr>
            <a:spLocks noGrp="1"/>
          </p:cNvSpPr>
          <p:nvPr>
            <p:ph type="pic" sz="quarter" idx="11" hasCustomPrompt="1"/>
          </p:nvPr>
        </p:nvSpPr>
        <p:spPr>
          <a:xfrm>
            <a:off x="0" y="0"/>
            <a:ext cx="12192000" cy="6858000"/>
          </a:xfrm>
          <a:solidFill>
            <a:schemeClr val="tx1">
              <a:lumMod val="50000"/>
            </a:schemeClr>
          </a:solidFill>
        </p:spPr>
        <p:txBody>
          <a:bodyPr anchor="ctr"/>
          <a:lstStyle>
            <a:lvl1pPr algn="ctr">
              <a:defRPr>
                <a:solidFill>
                  <a:schemeClr val="tx1"/>
                </a:solidFill>
              </a:defRPr>
            </a:lvl1pPr>
          </a:lstStyle>
          <a:p>
            <a:pPr marL="0" marR="0" lvl="0" indent="0" algn="ctr" defTabSz="1219019" rtl="0" eaLnBrk="1" fontAlgn="auto" latinLnBrk="0" hangingPunct="1">
              <a:lnSpc>
                <a:spcPts val="2933"/>
              </a:lnSpc>
              <a:spcBef>
                <a:spcPts val="0"/>
              </a:spcBef>
              <a:spcAft>
                <a:spcPts val="1600"/>
              </a:spcAft>
              <a:buClr>
                <a:schemeClr val="bg1"/>
              </a:buClr>
              <a:buSzPct val="100000"/>
              <a:buFont typeface="Arial" panose="020B0604020202020204" pitchFamily="34" charset="0"/>
              <a:buNone/>
              <a:tabLst/>
              <a:defRPr/>
            </a:pPr>
            <a:r>
              <a:rPr lang="en-BE"/>
              <a:t>Replace with picture</a:t>
            </a:r>
          </a:p>
        </p:txBody>
      </p:sp>
      <p:sp>
        <p:nvSpPr>
          <p:cNvPr id="2" name="Title 1"/>
          <p:cNvSpPr>
            <a:spLocks noGrp="1"/>
          </p:cNvSpPr>
          <p:nvPr>
            <p:ph type="title" hasCustomPrompt="1"/>
          </p:nvPr>
        </p:nvSpPr>
        <p:spPr/>
        <p:txBody>
          <a:bodyPr anchor="t"/>
          <a:lstStyle>
            <a:lvl1pPr>
              <a:defRPr b="0">
                <a:solidFill>
                  <a:schemeClr val="tx1"/>
                </a:solidFill>
              </a:defRPr>
            </a:lvl1pPr>
          </a:lstStyle>
          <a:p>
            <a:r>
              <a:rPr lang="en-US"/>
              <a:t>Click to edit slide title</a:t>
            </a:r>
            <a:endParaRPr lang="nl-BE"/>
          </a:p>
        </p:txBody>
      </p:sp>
      <p:sp>
        <p:nvSpPr>
          <p:cNvPr id="11" name="Text Placeholder 2">
            <a:extLst>
              <a:ext uri="{FF2B5EF4-FFF2-40B4-BE49-F238E27FC236}">
                <a16:creationId xmlns:a16="http://schemas.microsoft.com/office/drawing/2014/main" id="{10193D06-FB5B-42EC-9101-F77EE2C16642}"/>
              </a:ext>
            </a:extLst>
          </p:cNvPr>
          <p:cNvSpPr>
            <a:spLocks noGrp="1"/>
          </p:cNvSpPr>
          <p:nvPr>
            <p:ph idx="1" hasCustomPrompt="1"/>
          </p:nvPr>
        </p:nvSpPr>
        <p:spPr>
          <a:xfrm>
            <a:off x="613835" y="1382399"/>
            <a:ext cx="4742400" cy="4878700"/>
          </a:xfrm>
          <a:prstGeom prst="rect">
            <a:avLst/>
          </a:prstGeom>
        </p:spPr>
        <p:txBody>
          <a:bodyPr vert="horz" lIns="0" tIns="0" rIns="0" bIns="0" numCol="1" spcCol="0" rtlCol="0" anchor="ctr" anchorCtr="0">
            <a:noAutofit/>
          </a:bodyPr>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BE"/>
          </a:p>
        </p:txBody>
      </p:sp>
    </p:spTree>
    <p:extLst>
      <p:ext uri="{BB962C8B-B14F-4D97-AF65-F5344CB8AC3E}">
        <p14:creationId xmlns:p14="http://schemas.microsoft.com/office/powerpoint/2010/main" val="387843263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XS ADA - content slide numbered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b="0"/>
            </a:lvl1pPr>
          </a:lstStyle>
          <a:p>
            <a:r>
              <a:rPr lang="en-US"/>
              <a:t>Click to edit slide title</a:t>
            </a:r>
            <a:endParaRPr lang="nl-BE"/>
          </a:p>
        </p:txBody>
      </p:sp>
      <p:sp>
        <p:nvSpPr>
          <p:cNvPr id="3" name="Text Placeholder 3">
            <a:extLst>
              <a:ext uri="{FF2B5EF4-FFF2-40B4-BE49-F238E27FC236}">
                <a16:creationId xmlns:a16="http://schemas.microsoft.com/office/drawing/2014/main" id="{02EC230D-C797-36A5-1060-293D4BB62578}"/>
              </a:ext>
            </a:extLst>
          </p:cNvPr>
          <p:cNvSpPr>
            <a:spLocks noGrp="1"/>
          </p:cNvSpPr>
          <p:nvPr>
            <p:ph type="body" sz="quarter" idx="10" hasCustomPrompt="1"/>
          </p:nvPr>
        </p:nvSpPr>
        <p:spPr>
          <a:xfrm>
            <a:off x="624417" y="1692559"/>
            <a:ext cx="480000" cy="480000"/>
          </a:xfrm>
          <a:custGeom>
            <a:avLst/>
            <a:gdLst>
              <a:gd name="connsiteX0" fmla="*/ 378328 w 756656"/>
              <a:gd name="connsiteY0" fmla="*/ 0 h 756654"/>
              <a:gd name="connsiteX1" fmla="*/ 756656 w 756656"/>
              <a:gd name="connsiteY1" fmla="*/ 378327 h 756654"/>
              <a:gd name="connsiteX2" fmla="*/ 378328 w 756656"/>
              <a:gd name="connsiteY2" fmla="*/ 756654 h 756654"/>
              <a:gd name="connsiteX3" fmla="*/ 0 w 756656"/>
              <a:gd name="connsiteY3" fmla="*/ 378327 h 756654"/>
              <a:gd name="connsiteX4" fmla="*/ 378328 w 756656"/>
              <a:gd name="connsiteY4" fmla="*/ 0 h 756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656" h="756654">
                <a:moveTo>
                  <a:pt x="378328" y="0"/>
                </a:moveTo>
                <a:cubicBezTo>
                  <a:pt x="587273" y="0"/>
                  <a:pt x="756656" y="169383"/>
                  <a:pt x="756656" y="378327"/>
                </a:cubicBezTo>
                <a:cubicBezTo>
                  <a:pt x="756656" y="587271"/>
                  <a:pt x="587273" y="756654"/>
                  <a:pt x="378328" y="756654"/>
                </a:cubicBezTo>
                <a:cubicBezTo>
                  <a:pt x="169383" y="756654"/>
                  <a:pt x="0" y="587271"/>
                  <a:pt x="0" y="378327"/>
                </a:cubicBezTo>
                <a:cubicBezTo>
                  <a:pt x="0" y="169383"/>
                  <a:pt x="169383" y="0"/>
                  <a:pt x="378328" y="0"/>
                </a:cubicBezTo>
                <a:close/>
              </a:path>
            </a:pathLst>
          </a:custGeom>
          <a:solidFill>
            <a:schemeClr val="tx1"/>
          </a:solidFill>
        </p:spPr>
        <p:txBody>
          <a:bodyPr wrap="square" anchor="ctr">
            <a:noAutofit/>
          </a:bodyPr>
          <a:lstStyle>
            <a:lvl1pPr algn="ctr">
              <a:lnSpc>
                <a:spcPct val="100000"/>
              </a:lnSpc>
              <a:defRPr sz="1467" b="1" i="0">
                <a:solidFill>
                  <a:schemeClr val="bg1"/>
                </a:solidFill>
                <a:latin typeface="Proximus Bold" pitchFamily="2" charset="77"/>
              </a:defRPr>
            </a:lvl1pPr>
            <a:lvl2pPr algn="ctr">
              <a:defRPr sz="1333"/>
            </a:lvl2pPr>
            <a:lvl3pPr algn="ctr">
              <a:defRPr sz="1333"/>
            </a:lvl3pPr>
            <a:lvl4pPr algn="ctr">
              <a:defRPr sz="1333"/>
            </a:lvl4pPr>
            <a:lvl5pPr algn="ctr">
              <a:defRPr sz="1333"/>
            </a:lvl5pPr>
          </a:lstStyle>
          <a:p>
            <a:pPr lvl="0"/>
            <a:r>
              <a:rPr lang="en-GB"/>
              <a:t>1</a:t>
            </a:r>
            <a:endParaRPr lang="en-BE"/>
          </a:p>
        </p:txBody>
      </p:sp>
      <p:sp>
        <p:nvSpPr>
          <p:cNvPr id="4" name="Text Placeholder 4">
            <a:extLst>
              <a:ext uri="{FF2B5EF4-FFF2-40B4-BE49-F238E27FC236}">
                <a16:creationId xmlns:a16="http://schemas.microsoft.com/office/drawing/2014/main" id="{47ECCF90-FFC3-C4EA-8CA8-AE770471B6FD}"/>
              </a:ext>
            </a:extLst>
          </p:cNvPr>
          <p:cNvSpPr>
            <a:spLocks noGrp="1"/>
          </p:cNvSpPr>
          <p:nvPr>
            <p:ph type="body" sz="quarter" idx="11" hasCustomPrompt="1"/>
          </p:nvPr>
        </p:nvSpPr>
        <p:spPr>
          <a:xfrm>
            <a:off x="624417" y="2440007"/>
            <a:ext cx="480000" cy="480000"/>
          </a:xfrm>
          <a:custGeom>
            <a:avLst/>
            <a:gdLst>
              <a:gd name="connsiteX0" fmla="*/ 378328 w 756656"/>
              <a:gd name="connsiteY0" fmla="*/ 0 h 756654"/>
              <a:gd name="connsiteX1" fmla="*/ 756656 w 756656"/>
              <a:gd name="connsiteY1" fmla="*/ 378327 h 756654"/>
              <a:gd name="connsiteX2" fmla="*/ 378328 w 756656"/>
              <a:gd name="connsiteY2" fmla="*/ 756654 h 756654"/>
              <a:gd name="connsiteX3" fmla="*/ 0 w 756656"/>
              <a:gd name="connsiteY3" fmla="*/ 378327 h 756654"/>
              <a:gd name="connsiteX4" fmla="*/ 378328 w 756656"/>
              <a:gd name="connsiteY4" fmla="*/ 0 h 756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656" h="756654">
                <a:moveTo>
                  <a:pt x="378328" y="0"/>
                </a:moveTo>
                <a:cubicBezTo>
                  <a:pt x="587273" y="0"/>
                  <a:pt x="756656" y="169383"/>
                  <a:pt x="756656" y="378327"/>
                </a:cubicBezTo>
                <a:cubicBezTo>
                  <a:pt x="756656" y="587271"/>
                  <a:pt x="587273" y="756654"/>
                  <a:pt x="378328" y="756654"/>
                </a:cubicBezTo>
                <a:cubicBezTo>
                  <a:pt x="169383" y="756654"/>
                  <a:pt x="0" y="587271"/>
                  <a:pt x="0" y="378327"/>
                </a:cubicBezTo>
                <a:cubicBezTo>
                  <a:pt x="0" y="169383"/>
                  <a:pt x="169383" y="0"/>
                  <a:pt x="378328" y="0"/>
                </a:cubicBezTo>
                <a:close/>
              </a:path>
            </a:pathLst>
          </a:custGeom>
          <a:solidFill>
            <a:schemeClr val="tx1"/>
          </a:solidFill>
        </p:spPr>
        <p:txBody>
          <a:bodyPr wrap="square" anchor="ctr">
            <a:noAutofit/>
          </a:bodyPr>
          <a:lstStyle>
            <a:lvl1pPr algn="ctr">
              <a:lnSpc>
                <a:spcPct val="100000"/>
              </a:lnSpc>
              <a:defRPr sz="1467" b="1" i="0">
                <a:solidFill>
                  <a:schemeClr val="bg1"/>
                </a:solidFill>
                <a:latin typeface="Proximus Bold" pitchFamily="2" charset="77"/>
              </a:defRPr>
            </a:lvl1pPr>
            <a:lvl2pPr algn="ctr">
              <a:defRPr sz="1333"/>
            </a:lvl2pPr>
            <a:lvl3pPr algn="ctr">
              <a:defRPr sz="1333"/>
            </a:lvl3pPr>
            <a:lvl4pPr algn="ctr">
              <a:defRPr sz="1333"/>
            </a:lvl4pPr>
            <a:lvl5pPr algn="ctr">
              <a:defRPr sz="1333"/>
            </a:lvl5pPr>
          </a:lstStyle>
          <a:p>
            <a:pPr lvl="0"/>
            <a:r>
              <a:rPr lang="en-GB"/>
              <a:t>2</a:t>
            </a:r>
            <a:endParaRPr lang="en-BE"/>
          </a:p>
        </p:txBody>
      </p:sp>
      <p:sp>
        <p:nvSpPr>
          <p:cNvPr id="5" name="Text Placeholder 5">
            <a:extLst>
              <a:ext uri="{FF2B5EF4-FFF2-40B4-BE49-F238E27FC236}">
                <a16:creationId xmlns:a16="http://schemas.microsoft.com/office/drawing/2014/main" id="{5DBDEC54-856F-30C9-5828-3B2FADE657FC}"/>
              </a:ext>
            </a:extLst>
          </p:cNvPr>
          <p:cNvSpPr>
            <a:spLocks noGrp="1"/>
          </p:cNvSpPr>
          <p:nvPr>
            <p:ph type="body" sz="quarter" idx="12" hasCustomPrompt="1"/>
          </p:nvPr>
        </p:nvSpPr>
        <p:spPr>
          <a:xfrm>
            <a:off x="624417" y="3187455"/>
            <a:ext cx="480000" cy="480000"/>
          </a:xfrm>
          <a:custGeom>
            <a:avLst/>
            <a:gdLst>
              <a:gd name="connsiteX0" fmla="*/ 378328 w 756656"/>
              <a:gd name="connsiteY0" fmla="*/ 0 h 756654"/>
              <a:gd name="connsiteX1" fmla="*/ 756656 w 756656"/>
              <a:gd name="connsiteY1" fmla="*/ 378327 h 756654"/>
              <a:gd name="connsiteX2" fmla="*/ 378328 w 756656"/>
              <a:gd name="connsiteY2" fmla="*/ 756654 h 756654"/>
              <a:gd name="connsiteX3" fmla="*/ 0 w 756656"/>
              <a:gd name="connsiteY3" fmla="*/ 378327 h 756654"/>
              <a:gd name="connsiteX4" fmla="*/ 378328 w 756656"/>
              <a:gd name="connsiteY4" fmla="*/ 0 h 756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656" h="756654">
                <a:moveTo>
                  <a:pt x="378328" y="0"/>
                </a:moveTo>
                <a:cubicBezTo>
                  <a:pt x="587273" y="0"/>
                  <a:pt x="756656" y="169383"/>
                  <a:pt x="756656" y="378327"/>
                </a:cubicBezTo>
                <a:cubicBezTo>
                  <a:pt x="756656" y="587271"/>
                  <a:pt x="587273" y="756654"/>
                  <a:pt x="378328" y="756654"/>
                </a:cubicBezTo>
                <a:cubicBezTo>
                  <a:pt x="169383" y="756654"/>
                  <a:pt x="0" y="587271"/>
                  <a:pt x="0" y="378327"/>
                </a:cubicBezTo>
                <a:cubicBezTo>
                  <a:pt x="0" y="169383"/>
                  <a:pt x="169383" y="0"/>
                  <a:pt x="378328" y="0"/>
                </a:cubicBezTo>
                <a:close/>
              </a:path>
            </a:pathLst>
          </a:custGeom>
          <a:solidFill>
            <a:schemeClr val="tx1"/>
          </a:solidFill>
        </p:spPr>
        <p:txBody>
          <a:bodyPr wrap="square" anchor="ctr">
            <a:noAutofit/>
          </a:bodyPr>
          <a:lstStyle>
            <a:lvl1pPr algn="ctr">
              <a:lnSpc>
                <a:spcPct val="100000"/>
              </a:lnSpc>
              <a:defRPr sz="1467" b="1" i="0">
                <a:solidFill>
                  <a:schemeClr val="bg1"/>
                </a:solidFill>
                <a:latin typeface="Proximus Bold" pitchFamily="2" charset="77"/>
              </a:defRPr>
            </a:lvl1pPr>
            <a:lvl2pPr algn="ctr">
              <a:defRPr sz="1333"/>
            </a:lvl2pPr>
            <a:lvl3pPr algn="ctr">
              <a:defRPr sz="1333"/>
            </a:lvl3pPr>
            <a:lvl4pPr algn="ctr">
              <a:defRPr sz="1333"/>
            </a:lvl4pPr>
            <a:lvl5pPr algn="ctr">
              <a:defRPr sz="1333"/>
            </a:lvl5pPr>
          </a:lstStyle>
          <a:p>
            <a:pPr lvl="0"/>
            <a:r>
              <a:rPr lang="en-GB"/>
              <a:t>3</a:t>
            </a:r>
            <a:endParaRPr lang="en-BE"/>
          </a:p>
        </p:txBody>
      </p:sp>
      <p:sp>
        <p:nvSpPr>
          <p:cNvPr id="6" name="Text Placeholder 6">
            <a:extLst>
              <a:ext uri="{FF2B5EF4-FFF2-40B4-BE49-F238E27FC236}">
                <a16:creationId xmlns:a16="http://schemas.microsoft.com/office/drawing/2014/main" id="{61C6A240-AD73-87D2-96C5-5810C91B01BC}"/>
              </a:ext>
            </a:extLst>
          </p:cNvPr>
          <p:cNvSpPr>
            <a:spLocks noGrp="1"/>
          </p:cNvSpPr>
          <p:nvPr>
            <p:ph type="body" sz="quarter" idx="13" hasCustomPrompt="1"/>
          </p:nvPr>
        </p:nvSpPr>
        <p:spPr>
          <a:xfrm>
            <a:off x="613835" y="3934903"/>
            <a:ext cx="480000" cy="480000"/>
          </a:xfrm>
          <a:custGeom>
            <a:avLst/>
            <a:gdLst>
              <a:gd name="connsiteX0" fmla="*/ 378328 w 756656"/>
              <a:gd name="connsiteY0" fmla="*/ 0 h 756654"/>
              <a:gd name="connsiteX1" fmla="*/ 756656 w 756656"/>
              <a:gd name="connsiteY1" fmla="*/ 378327 h 756654"/>
              <a:gd name="connsiteX2" fmla="*/ 378328 w 756656"/>
              <a:gd name="connsiteY2" fmla="*/ 756654 h 756654"/>
              <a:gd name="connsiteX3" fmla="*/ 0 w 756656"/>
              <a:gd name="connsiteY3" fmla="*/ 378327 h 756654"/>
              <a:gd name="connsiteX4" fmla="*/ 378328 w 756656"/>
              <a:gd name="connsiteY4" fmla="*/ 0 h 756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656" h="756654">
                <a:moveTo>
                  <a:pt x="378328" y="0"/>
                </a:moveTo>
                <a:cubicBezTo>
                  <a:pt x="587273" y="0"/>
                  <a:pt x="756656" y="169383"/>
                  <a:pt x="756656" y="378327"/>
                </a:cubicBezTo>
                <a:cubicBezTo>
                  <a:pt x="756656" y="587271"/>
                  <a:pt x="587273" y="756654"/>
                  <a:pt x="378328" y="756654"/>
                </a:cubicBezTo>
                <a:cubicBezTo>
                  <a:pt x="169383" y="756654"/>
                  <a:pt x="0" y="587271"/>
                  <a:pt x="0" y="378327"/>
                </a:cubicBezTo>
                <a:cubicBezTo>
                  <a:pt x="0" y="169383"/>
                  <a:pt x="169383" y="0"/>
                  <a:pt x="378328" y="0"/>
                </a:cubicBezTo>
                <a:close/>
              </a:path>
            </a:pathLst>
          </a:custGeom>
          <a:solidFill>
            <a:schemeClr val="tx1"/>
          </a:solidFill>
        </p:spPr>
        <p:txBody>
          <a:bodyPr wrap="square" anchor="ctr">
            <a:noAutofit/>
          </a:bodyPr>
          <a:lstStyle>
            <a:lvl1pPr algn="ctr">
              <a:lnSpc>
                <a:spcPct val="100000"/>
              </a:lnSpc>
              <a:defRPr sz="1467" b="1" i="0">
                <a:solidFill>
                  <a:schemeClr val="bg1"/>
                </a:solidFill>
                <a:latin typeface="Proximus Bold" pitchFamily="2" charset="77"/>
              </a:defRPr>
            </a:lvl1pPr>
            <a:lvl2pPr algn="ctr">
              <a:defRPr sz="1333"/>
            </a:lvl2pPr>
            <a:lvl3pPr algn="ctr">
              <a:defRPr sz="1333"/>
            </a:lvl3pPr>
            <a:lvl4pPr algn="ctr">
              <a:defRPr sz="1333"/>
            </a:lvl4pPr>
            <a:lvl5pPr algn="ctr">
              <a:defRPr sz="1333"/>
            </a:lvl5pPr>
          </a:lstStyle>
          <a:p>
            <a:pPr lvl="0"/>
            <a:r>
              <a:rPr lang="en-GB"/>
              <a:t>4</a:t>
            </a:r>
            <a:endParaRPr lang="en-BE"/>
          </a:p>
        </p:txBody>
      </p:sp>
      <p:sp>
        <p:nvSpPr>
          <p:cNvPr id="7" name="Text Placeholder 7">
            <a:extLst>
              <a:ext uri="{FF2B5EF4-FFF2-40B4-BE49-F238E27FC236}">
                <a16:creationId xmlns:a16="http://schemas.microsoft.com/office/drawing/2014/main" id="{6293CC95-2EBE-07B9-4556-88E4F7336FE0}"/>
              </a:ext>
            </a:extLst>
          </p:cNvPr>
          <p:cNvSpPr>
            <a:spLocks noGrp="1"/>
          </p:cNvSpPr>
          <p:nvPr>
            <p:ph type="body" sz="quarter" idx="14" hasCustomPrompt="1"/>
          </p:nvPr>
        </p:nvSpPr>
        <p:spPr>
          <a:xfrm>
            <a:off x="613835" y="4682351"/>
            <a:ext cx="480000" cy="480000"/>
          </a:xfrm>
          <a:custGeom>
            <a:avLst/>
            <a:gdLst>
              <a:gd name="connsiteX0" fmla="*/ 378328 w 756656"/>
              <a:gd name="connsiteY0" fmla="*/ 0 h 756654"/>
              <a:gd name="connsiteX1" fmla="*/ 756656 w 756656"/>
              <a:gd name="connsiteY1" fmla="*/ 378327 h 756654"/>
              <a:gd name="connsiteX2" fmla="*/ 378328 w 756656"/>
              <a:gd name="connsiteY2" fmla="*/ 756654 h 756654"/>
              <a:gd name="connsiteX3" fmla="*/ 0 w 756656"/>
              <a:gd name="connsiteY3" fmla="*/ 378327 h 756654"/>
              <a:gd name="connsiteX4" fmla="*/ 378328 w 756656"/>
              <a:gd name="connsiteY4" fmla="*/ 0 h 756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656" h="756654">
                <a:moveTo>
                  <a:pt x="378328" y="0"/>
                </a:moveTo>
                <a:cubicBezTo>
                  <a:pt x="587273" y="0"/>
                  <a:pt x="756656" y="169383"/>
                  <a:pt x="756656" y="378327"/>
                </a:cubicBezTo>
                <a:cubicBezTo>
                  <a:pt x="756656" y="587271"/>
                  <a:pt x="587273" y="756654"/>
                  <a:pt x="378328" y="756654"/>
                </a:cubicBezTo>
                <a:cubicBezTo>
                  <a:pt x="169383" y="756654"/>
                  <a:pt x="0" y="587271"/>
                  <a:pt x="0" y="378327"/>
                </a:cubicBezTo>
                <a:cubicBezTo>
                  <a:pt x="0" y="169383"/>
                  <a:pt x="169383" y="0"/>
                  <a:pt x="378328" y="0"/>
                </a:cubicBezTo>
                <a:close/>
              </a:path>
            </a:pathLst>
          </a:custGeom>
          <a:solidFill>
            <a:schemeClr val="tx1"/>
          </a:solidFill>
        </p:spPr>
        <p:txBody>
          <a:bodyPr wrap="square" anchor="ctr">
            <a:noAutofit/>
          </a:bodyPr>
          <a:lstStyle>
            <a:lvl1pPr algn="ctr">
              <a:lnSpc>
                <a:spcPct val="100000"/>
              </a:lnSpc>
              <a:defRPr sz="1467" b="1" i="0">
                <a:solidFill>
                  <a:schemeClr val="bg1"/>
                </a:solidFill>
                <a:latin typeface="Proximus Bold" pitchFamily="2" charset="77"/>
              </a:defRPr>
            </a:lvl1pPr>
            <a:lvl2pPr algn="ctr">
              <a:defRPr sz="1333"/>
            </a:lvl2pPr>
            <a:lvl3pPr algn="ctr">
              <a:defRPr sz="1333"/>
            </a:lvl3pPr>
            <a:lvl4pPr algn="ctr">
              <a:defRPr sz="1333"/>
            </a:lvl4pPr>
            <a:lvl5pPr algn="ctr">
              <a:defRPr sz="1333"/>
            </a:lvl5pPr>
          </a:lstStyle>
          <a:p>
            <a:pPr lvl="0"/>
            <a:r>
              <a:rPr lang="en-GB"/>
              <a:t>5</a:t>
            </a:r>
            <a:endParaRPr lang="en-BE"/>
          </a:p>
        </p:txBody>
      </p:sp>
      <p:sp>
        <p:nvSpPr>
          <p:cNvPr id="8" name="Text Placeholder 8">
            <a:extLst>
              <a:ext uri="{FF2B5EF4-FFF2-40B4-BE49-F238E27FC236}">
                <a16:creationId xmlns:a16="http://schemas.microsoft.com/office/drawing/2014/main" id="{1AF23D7A-D8BC-217C-9AA6-183AC9DFD878}"/>
              </a:ext>
            </a:extLst>
          </p:cNvPr>
          <p:cNvSpPr>
            <a:spLocks noGrp="1"/>
          </p:cNvSpPr>
          <p:nvPr>
            <p:ph type="body" sz="quarter" idx="15" hasCustomPrompt="1"/>
          </p:nvPr>
        </p:nvSpPr>
        <p:spPr>
          <a:xfrm>
            <a:off x="613835" y="5429796"/>
            <a:ext cx="480000" cy="480000"/>
          </a:xfrm>
          <a:custGeom>
            <a:avLst/>
            <a:gdLst>
              <a:gd name="connsiteX0" fmla="*/ 378328 w 756656"/>
              <a:gd name="connsiteY0" fmla="*/ 0 h 756654"/>
              <a:gd name="connsiteX1" fmla="*/ 756656 w 756656"/>
              <a:gd name="connsiteY1" fmla="*/ 378327 h 756654"/>
              <a:gd name="connsiteX2" fmla="*/ 378328 w 756656"/>
              <a:gd name="connsiteY2" fmla="*/ 756654 h 756654"/>
              <a:gd name="connsiteX3" fmla="*/ 0 w 756656"/>
              <a:gd name="connsiteY3" fmla="*/ 378327 h 756654"/>
              <a:gd name="connsiteX4" fmla="*/ 378328 w 756656"/>
              <a:gd name="connsiteY4" fmla="*/ 0 h 756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656" h="756654">
                <a:moveTo>
                  <a:pt x="378328" y="0"/>
                </a:moveTo>
                <a:cubicBezTo>
                  <a:pt x="587273" y="0"/>
                  <a:pt x="756656" y="169383"/>
                  <a:pt x="756656" y="378327"/>
                </a:cubicBezTo>
                <a:cubicBezTo>
                  <a:pt x="756656" y="587271"/>
                  <a:pt x="587273" y="756654"/>
                  <a:pt x="378328" y="756654"/>
                </a:cubicBezTo>
                <a:cubicBezTo>
                  <a:pt x="169383" y="756654"/>
                  <a:pt x="0" y="587271"/>
                  <a:pt x="0" y="378327"/>
                </a:cubicBezTo>
                <a:cubicBezTo>
                  <a:pt x="0" y="169383"/>
                  <a:pt x="169383" y="0"/>
                  <a:pt x="378328" y="0"/>
                </a:cubicBezTo>
                <a:close/>
              </a:path>
            </a:pathLst>
          </a:custGeom>
          <a:solidFill>
            <a:schemeClr val="tx1"/>
          </a:solidFill>
        </p:spPr>
        <p:txBody>
          <a:bodyPr wrap="square" anchor="ctr">
            <a:noAutofit/>
          </a:bodyPr>
          <a:lstStyle>
            <a:lvl1pPr algn="ctr">
              <a:lnSpc>
                <a:spcPct val="100000"/>
              </a:lnSpc>
              <a:defRPr sz="1467" b="1" i="0">
                <a:solidFill>
                  <a:schemeClr val="bg1"/>
                </a:solidFill>
                <a:latin typeface="Proximus Bold" pitchFamily="2" charset="77"/>
              </a:defRPr>
            </a:lvl1pPr>
            <a:lvl2pPr algn="ctr">
              <a:defRPr sz="1333"/>
            </a:lvl2pPr>
            <a:lvl3pPr algn="ctr">
              <a:defRPr sz="1333"/>
            </a:lvl3pPr>
            <a:lvl4pPr algn="ctr">
              <a:defRPr sz="1333"/>
            </a:lvl4pPr>
            <a:lvl5pPr algn="ctr">
              <a:defRPr sz="1333"/>
            </a:lvl5pPr>
          </a:lstStyle>
          <a:p>
            <a:pPr lvl="0"/>
            <a:r>
              <a:rPr lang="en-GB"/>
              <a:t>6</a:t>
            </a:r>
            <a:endParaRPr lang="en-BE"/>
          </a:p>
        </p:txBody>
      </p:sp>
      <p:sp>
        <p:nvSpPr>
          <p:cNvPr id="9" name="Text Placeholder 42">
            <a:extLst>
              <a:ext uri="{FF2B5EF4-FFF2-40B4-BE49-F238E27FC236}">
                <a16:creationId xmlns:a16="http://schemas.microsoft.com/office/drawing/2014/main" id="{1DD07E96-98C1-708D-DE49-72B1839DFA59}"/>
              </a:ext>
            </a:extLst>
          </p:cNvPr>
          <p:cNvSpPr>
            <a:spLocks noGrp="1"/>
          </p:cNvSpPr>
          <p:nvPr>
            <p:ph type="body" sz="quarter" idx="33" hasCustomPrompt="1"/>
          </p:nvPr>
        </p:nvSpPr>
        <p:spPr>
          <a:xfrm>
            <a:off x="1295401" y="1692559"/>
            <a:ext cx="10272183" cy="508800"/>
          </a:xfrm>
          <a:custGeom>
            <a:avLst/>
            <a:gdLst>
              <a:gd name="connsiteX0" fmla="*/ 0 w 1145437"/>
              <a:gd name="connsiteY0" fmla="*/ 0 h 812648"/>
              <a:gd name="connsiteX1" fmla="*/ 1145437 w 1145437"/>
              <a:gd name="connsiteY1" fmla="*/ 0 h 812648"/>
              <a:gd name="connsiteX2" fmla="*/ 1145437 w 1145437"/>
              <a:gd name="connsiteY2" fmla="*/ 812648 h 812648"/>
              <a:gd name="connsiteX3" fmla="*/ 0 w 1145437"/>
              <a:gd name="connsiteY3" fmla="*/ 812648 h 812648"/>
            </a:gdLst>
            <a:ahLst/>
            <a:cxnLst>
              <a:cxn ang="0">
                <a:pos x="connsiteX0" y="connsiteY0"/>
              </a:cxn>
              <a:cxn ang="0">
                <a:pos x="connsiteX1" y="connsiteY1"/>
              </a:cxn>
              <a:cxn ang="0">
                <a:pos x="connsiteX2" y="connsiteY2"/>
              </a:cxn>
              <a:cxn ang="0">
                <a:pos x="connsiteX3" y="connsiteY3"/>
              </a:cxn>
            </a:cxnLst>
            <a:rect l="l" t="t" r="r" b="b"/>
            <a:pathLst>
              <a:path w="1145437" h="812648">
                <a:moveTo>
                  <a:pt x="0" y="0"/>
                </a:moveTo>
                <a:lnTo>
                  <a:pt x="1145437" y="0"/>
                </a:lnTo>
                <a:lnTo>
                  <a:pt x="1145437" y="812648"/>
                </a:lnTo>
                <a:lnTo>
                  <a:pt x="0" y="812648"/>
                </a:lnTo>
                <a:close/>
              </a:path>
            </a:pathLst>
          </a:custGeom>
        </p:spPr>
        <p:txBody>
          <a:bodyPr wrap="square" anchor="ctr">
            <a:noAutofit/>
          </a:bodyPr>
          <a:lstStyle>
            <a:lvl1pPr algn="l">
              <a:lnSpc>
                <a:spcPct val="100000"/>
              </a:lnSpc>
              <a:spcAft>
                <a:spcPts val="800"/>
              </a:spcAft>
              <a:defRPr sz="1600" b="1" i="0">
                <a:solidFill>
                  <a:schemeClr val="tx1"/>
                </a:solidFill>
                <a:latin typeface="Proximus Bold" pitchFamily="2" charset="77"/>
              </a:defRPr>
            </a:lvl1pPr>
            <a:lvl2pPr marL="6351" indent="0" algn="ctr">
              <a:lnSpc>
                <a:spcPct val="100000"/>
              </a:lnSpc>
              <a:spcAft>
                <a:spcPts val="800"/>
              </a:spcAft>
              <a:buNone/>
              <a:tabLst/>
              <a:defRPr sz="1333" b="0" i="0">
                <a:solidFill>
                  <a:schemeClr val="tx1"/>
                </a:solidFill>
                <a:latin typeface="Proximus Light" pitchFamily="2" charset="77"/>
              </a:defRPr>
            </a:lvl2pPr>
            <a:lvl3pPr algn="ctr">
              <a:lnSpc>
                <a:spcPct val="100000"/>
              </a:lnSpc>
              <a:spcAft>
                <a:spcPts val="800"/>
              </a:spcAft>
              <a:defRPr sz="1333">
                <a:solidFill>
                  <a:schemeClr val="bg1">
                    <a:lumMod val="40000"/>
                    <a:lumOff val="60000"/>
                  </a:schemeClr>
                </a:solidFill>
              </a:defRPr>
            </a:lvl3pPr>
            <a:lvl4pPr algn="ctr">
              <a:lnSpc>
                <a:spcPct val="100000"/>
              </a:lnSpc>
              <a:spcAft>
                <a:spcPts val="800"/>
              </a:spcAft>
              <a:defRPr sz="1333">
                <a:solidFill>
                  <a:schemeClr val="bg1">
                    <a:lumMod val="40000"/>
                    <a:lumOff val="60000"/>
                  </a:schemeClr>
                </a:solidFill>
              </a:defRPr>
            </a:lvl4pPr>
            <a:lvl5pPr algn="ctr">
              <a:lnSpc>
                <a:spcPct val="100000"/>
              </a:lnSpc>
              <a:spcAft>
                <a:spcPts val="800"/>
              </a:spcAft>
              <a:defRPr sz="1333">
                <a:solidFill>
                  <a:schemeClr val="bg1">
                    <a:lumMod val="40000"/>
                    <a:lumOff val="60000"/>
                  </a:schemeClr>
                </a:solidFill>
              </a:defRPr>
            </a:lvl5pPr>
          </a:lstStyle>
          <a:p>
            <a:pPr lvl="0"/>
            <a:r>
              <a:rPr lang="en-GB"/>
              <a:t>Click to edit text</a:t>
            </a:r>
          </a:p>
        </p:txBody>
      </p:sp>
      <p:sp>
        <p:nvSpPr>
          <p:cNvPr id="10" name="Text Placeholder 42">
            <a:extLst>
              <a:ext uri="{FF2B5EF4-FFF2-40B4-BE49-F238E27FC236}">
                <a16:creationId xmlns:a16="http://schemas.microsoft.com/office/drawing/2014/main" id="{6204153F-01E2-1DA2-AFE2-90F57B4CB4E3}"/>
              </a:ext>
            </a:extLst>
          </p:cNvPr>
          <p:cNvSpPr>
            <a:spLocks noGrp="1"/>
          </p:cNvSpPr>
          <p:nvPr>
            <p:ph type="body" sz="quarter" idx="34" hasCustomPrompt="1"/>
          </p:nvPr>
        </p:nvSpPr>
        <p:spPr>
          <a:xfrm>
            <a:off x="1295401" y="2434247"/>
            <a:ext cx="10272183" cy="508800"/>
          </a:xfrm>
          <a:custGeom>
            <a:avLst/>
            <a:gdLst>
              <a:gd name="connsiteX0" fmla="*/ 0 w 1145437"/>
              <a:gd name="connsiteY0" fmla="*/ 0 h 812648"/>
              <a:gd name="connsiteX1" fmla="*/ 1145437 w 1145437"/>
              <a:gd name="connsiteY1" fmla="*/ 0 h 812648"/>
              <a:gd name="connsiteX2" fmla="*/ 1145437 w 1145437"/>
              <a:gd name="connsiteY2" fmla="*/ 812648 h 812648"/>
              <a:gd name="connsiteX3" fmla="*/ 0 w 1145437"/>
              <a:gd name="connsiteY3" fmla="*/ 812648 h 812648"/>
            </a:gdLst>
            <a:ahLst/>
            <a:cxnLst>
              <a:cxn ang="0">
                <a:pos x="connsiteX0" y="connsiteY0"/>
              </a:cxn>
              <a:cxn ang="0">
                <a:pos x="connsiteX1" y="connsiteY1"/>
              </a:cxn>
              <a:cxn ang="0">
                <a:pos x="connsiteX2" y="connsiteY2"/>
              </a:cxn>
              <a:cxn ang="0">
                <a:pos x="connsiteX3" y="connsiteY3"/>
              </a:cxn>
            </a:cxnLst>
            <a:rect l="l" t="t" r="r" b="b"/>
            <a:pathLst>
              <a:path w="1145437" h="812648">
                <a:moveTo>
                  <a:pt x="0" y="0"/>
                </a:moveTo>
                <a:lnTo>
                  <a:pt x="1145437" y="0"/>
                </a:lnTo>
                <a:lnTo>
                  <a:pt x="1145437" y="812648"/>
                </a:lnTo>
                <a:lnTo>
                  <a:pt x="0" y="812648"/>
                </a:lnTo>
                <a:close/>
              </a:path>
            </a:pathLst>
          </a:custGeom>
        </p:spPr>
        <p:txBody>
          <a:bodyPr wrap="square" anchor="ctr">
            <a:noAutofit/>
          </a:bodyPr>
          <a:lstStyle>
            <a:lvl1pPr algn="l">
              <a:lnSpc>
                <a:spcPct val="100000"/>
              </a:lnSpc>
              <a:spcAft>
                <a:spcPts val="800"/>
              </a:spcAft>
              <a:defRPr sz="1600" b="1" i="0">
                <a:solidFill>
                  <a:schemeClr val="tx1"/>
                </a:solidFill>
                <a:latin typeface="Proximus Bold" pitchFamily="2" charset="77"/>
              </a:defRPr>
            </a:lvl1pPr>
            <a:lvl2pPr marL="6351" indent="0" algn="ctr">
              <a:lnSpc>
                <a:spcPct val="100000"/>
              </a:lnSpc>
              <a:spcAft>
                <a:spcPts val="800"/>
              </a:spcAft>
              <a:buNone/>
              <a:tabLst/>
              <a:defRPr sz="1333" b="0" i="0">
                <a:solidFill>
                  <a:schemeClr val="tx1"/>
                </a:solidFill>
                <a:latin typeface="Proximus Light" pitchFamily="2" charset="77"/>
              </a:defRPr>
            </a:lvl2pPr>
            <a:lvl3pPr algn="ctr">
              <a:lnSpc>
                <a:spcPct val="100000"/>
              </a:lnSpc>
              <a:spcAft>
                <a:spcPts val="800"/>
              </a:spcAft>
              <a:defRPr sz="1333">
                <a:solidFill>
                  <a:schemeClr val="bg1">
                    <a:lumMod val="40000"/>
                    <a:lumOff val="60000"/>
                  </a:schemeClr>
                </a:solidFill>
              </a:defRPr>
            </a:lvl3pPr>
            <a:lvl4pPr algn="ctr">
              <a:lnSpc>
                <a:spcPct val="100000"/>
              </a:lnSpc>
              <a:spcAft>
                <a:spcPts val="800"/>
              </a:spcAft>
              <a:defRPr sz="1333">
                <a:solidFill>
                  <a:schemeClr val="bg1">
                    <a:lumMod val="40000"/>
                    <a:lumOff val="60000"/>
                  </a:schemeClr>
                </a:solidFill>
              </a:defRPr>
            </a:lvl4pPr>
            <a:lvl5pPr algn="ctr">
              <a:lnSpc>
                <a:spcPct val="100000"/>
              </a:lnSpc>
              <a:spcAft>
                <a:spcPts val="800"/>
              </a:spcAft>
              <a:defRPr sz="1333">
                <a:solidFill>
                  <a:schemeClr val="bg1">
                    <a:lumMod val="40000"/>
                    <a:lumOff val="60000"/>
                  </a:schemeClr>
                </a:solidFill>
              </a:defRPr>
            </a:lvl5pPr>
          </a:lstStyle>
          <a:p>
            <a:pPr lvl="0"/>
            <a:r>
              <a:rPr lang="en-GB"/>
              <a:t>Click to edit text</a:t>
            </a:r>
          </a:p>
        </p:txBody>
      </p:sp>
      <p:sp>
        <p:nvSpPr>
          <p:cNvPr id="11" name="Text Placeholder 42">
            <a:extLst>
              <a:ext uri="{FF2B5EF4-FFF2-40B4-BE49-F238E27FC236}">
                <a16:creationId xmlns:a16="http://schemas.microsoft.com/office/drawing/2014/main" id="{8D09C2E7-66F9-413B-9B46-80D28498C549}"/>
              </a:ext>
            </a:extLst>
          </p:cNvPr>
          <p:cNvSpPr>
            <a:spLocks noGrp="1"/>
          </p:cNvSpPr>
          <p:nvPr>
            <p:ph type="body" sz="quarter" idx="35" hasCustomPrompt="1"/>
          </p:nvPr>
        </p:nvSpPr>
        <p:spPr>
          <a:xfrm>
            <a:off x="1295401" y="3175935"/>
            <a:ext cx="10272183" cy="508800"/>
          </a:xfrm>
          <a:custGeom>
            <a:avLst/>
            <a:gdLst>
              <a:gd name="connsiteX0" fmla="*/ 0 w 1145437"/>
              <a:gd name="connsiteY0" fmla="*/ 0 h 812648"/>
              <a:gd name="connsiteX1" fmla="*/ 1145437 w 1145437"/>
              <a:gd name="connsiteY1" fmla="*/ 0 h 812648"/>
              <a:gd name="connsiteX2" fmla="*/ 1145437 w 1145437"/>
              <a:gd name="connsiteY2" fmla="*/ 812648 h 812648"/>
              <a:gd name="connsiteX3" fmla="*/ 0 w 1145437"/>
              <a:gd name="connsiteY3" fmla="*/ 812648 h 812648"/>
            </a:gdLst>
            <a:ahLst/>
            <a:cxnLst>
              <a:cxn ang="0">
                <a:pos x="connsiteX0" y="connsiteY0"/>
              </a:cxn>
              <a:cxn ang="0">
                <a:pos x="connsiteX1" y="connsiteY1"/>
              </a:cxn>
              <a:cxn ang="0">
                <a:pos x="connsiteX2" y="connsiteY2"/>
              </a:cxn>
              <a:cxn ang="0">
                <a:pos x="connsiteX3" y="connsiteY3"/>
              </a:cxn>
            </a:cxnLst>
            <a:rect l="l" t="t" r="r" b="b"/>
            <a:pathLst>
              <a:path w="1145437" h="812648">
                <a:moveTo>
                  <a:pt x="0" y="0"/>
                </a:moveTo>
                <a:lnTo>
                  <a:pt x="1145437" y="0"/>
                </a:lnTo>
                <a:lnTo>
                  <a:pt x="1145437" y="812648"/>
                </a:lnTo>
                <a:lnTo>
                  <a:pt x="0" y="812648"/>
                </a:lnTo>
                <a:close/>
              </a:path>
            </a:pathLst>
          </a:custGeom>
        </p:spPr>
        <p:txBody>
          <a:bodyPr wrap="square" anchor="ctr">
            <a:noAutofit/>
          </a:bodyPr>
          <a:lstStyle>
            <a:lvl1pPr algn="l">
              <a:lnSpc>
                <a:spcPct val="100000"/>
              </a:lnSpc>
              <a:spcAft>
                <a:spcPts val="800"/>
              </a:spcAft>
              <a:defRPr sz="1600" b="1" i="0">
                <a:solidFill>
                  <a:schemeClr val="tx1"/>
                </a:solidFill>
                <a:latin typeface="Proximus Bold" pitchFamily="2" charset="77"/>
              </a:defRPr>
            </a:lvl1pPr>
            <a:lvl2pPr marL="6351" indent="0" algn="ctr">
              <a:lnSpc>
                <a:spcPct val="100000"/>
              </a:lnSpc>
              <a:spcAft>
                <a:spcPts val="800"/>
              </a:spcAft>
              <a:buNone/>
              <a:tabLst/>
              <a:defRPr sz="1333" b="0" i="0">
                <a:solidFill>
                  <a:schemeClr val="tx1"/>
                </a:solidFill>
                <a:latin typeface="Proximus Light" pitchFamily="2" charset="77"/>
              </a:defRPr>
            </a:lvl2pPr>
            <a:lvl3pPr algn="ctr">
              <a:lnSpc>
                <a:spcPct val="100000"/>
              </a:lnSpc>
              <a:spcAft>
                <a:spcPts val="800"/>
              </a:spcAft>
              <a:defRPr sz="1333">
                <a:solidFill>
                  <a:schemeClr val="bg1">
                    <a:lumMod val="40000"/>
                    <a:lumOff val="60000"/>
                  </a:schemeClr>
                </a:solidFill>
              </a:defRPr>
            </a:lvl3pPr>
            <a:lvl4pPr algn="ctr">
              <a:lnSpc>
                <a:spcPct val="100000"/>
              </a:lnSpc>
              <a:spcAft>
                <a:spcPts val="800"/>
              </a:spcAft>
              <a:defRPr sz="1333">
                <a:solidFill>
                  <a:schemeClr val="bg1">
                    <a:lumMod val="40000"/>
                    <a:lumOff val="60000"/>
                  </a:schemeClr>
                </a:solidFill>
              </a:defRPr>
            </a:lvl4pPr>
            <a:lvl5pPr algn="ctr">
              <a:lnSpc>
                <a:spcPct val="100000"/>
              </a:lnSpc>
              <a:spcAft>
                <a:spcPts val="800"/>
              </a:spcAft>
              <a:defRPr sz="1333">
                <a:solidFill>
                  <a:schemeClr val="bg1">
                    <a:lumMod val="40000"/>
                    <a:lumOff val="60000"/>
                  </a:schemeClr>
                </a:solidFill>
              </a:defRPr>
            </a:lvl5pPr>
          </a:lstStyle>
          <a:p>
            <a:pPr lvl="0"/>
            <a:r>
              <a:rPr lang="en-GB"/>
              <a:t>Click to edit text</a:t>
            </a:r>
          </a:p>
        </p:txBody>
      </p:sp>
      <p:sp>
        <p:nvSpPr>
          <p:cNvPr id="12" name="Text Placeholder 42">
            <a:extLst>
              <a:ext uri="{FF2B5EF4-FFF2-40B4-BE49-F238E27FC236}">
                <a16:creationId xmlns:a16="http://schemas.microsoft.com/office/drawing/2014/main" id="{555F6046-0930-B4D5-86CA-F9B84D69DE00}"/>
              </a:ext>
            </a:extLst>
          </p:cNvPr>
          <p:cNvSpPr>
            <a:spLocks noGrp="1"/>
          </p:cNvSpPr>
          <p:nvPr>
            <p:ph type="body" sz="quarter" idx="36" hasCustomPrompt="1"/>
          </p:nvPr>
        </p:nvSpPr>
        <p:spPr>
          <a:xfrm>
            <a:off x="1295401" y="3917623"/>
            <a:ext cx="10272183" cy="508800"/>
          </a:xfrm>
          <a:custGeom>
            <a:avLst/>
            <a:gdLst>
              <a:gd name="connsiteX0" fmla="*/ 0 w 1145437"/>
              <a:gd name="connsiteY0" fmla="*/ 0 h 812648"/>
              <a:gd name="connsiteX1" fmla="*/ 1145437 w 1145437"/>
              <a:gd name="connsiteY1" fmla="*/ 0 h 812648"/>
              <a:gd name="connsiteX2" fmla="*/ 1145437 w 1145437"/>
              <a:gd name="connsiteY2" fmla="*/ 812648 h 812648"/>
              <a:gd name="connsiteX3" fmla="*/ 0 w 1145437"/>
              <a:gd name="connsiteY3" fmla="*/ 812648 h 812648"/>
            </a:gdLst>
            <a:ahLst/>
            <a:cxnLst>
              <a:cxn ang="0">
                <a:pos x="connsiteX0" y="connsiteY0"/>
              </a:cxn>
              <a:cxn ang="0">
                <a:pos x="connsiteX1" y="connsiteY1"/>
              </a:cxn>
              <a:cxn ang="0">
                <a:pos x="connsiteX2" y="connsiteY2"/>
              </a:cxn>
              <a:cxn ang="0">
                <a:pos x="connsiteX3" y="connsiteY3"/>
              </a:cxn>
            </a:cxnLst>
            <a:rect l="l" t="t" r="r" b="b"/>
            <a:pathLst>
              <a:path w="1145437" h="812648">
                <a:moveTo>
                  <a:pt x="0" y="0"/>
                </a:moveTo>
                <a:lnTo>
                  <a:pt x="1145437" y="0"/>
                </a:lnTo>
                <a:lnTo>
                  <a:pt x="1145437" y="812648"/>
                </a:lnTo>
                <a:lnTo>
                  <a:pt x="0" y="812648"/>
                </a:lnTo>
                <a:close/>
              </a:path>
            </a:pathLst>
          </a:custGeom>
        </p:spPr>
        <p:txBody>
          <a:bodyPr wrap="square" anchor="ctr">
            <a:noAutofit/>
          </a:bodyPr>
          <a:lstStyle>
            <a:lvl1pPr algn="l">
              <a:lnSpc>
                <a:spcPct val="100000"/>
              </a:lnSpc>
              <a:spcAft>
                <a:spcPts val="800"/>
              </a:spcAft>
              <a:defRPr sz="1600" b="1" i="0">
                <a:solidFill>
                  <a:schemeClr val="tx1"/>
                </a:solidFill>
                <a:latin typeface="Proximus Bold" pitchFamily="2" charset="77"/>
              </a:defRPr>
            </a:lvl1pPr>
            <a:lvl2pPr marL="6351" indent="0" algn="ctr">
              <a:lnSpc>
                <a:spcPct val="100000"/>
              </a:lnSpc>
              <a:spcAft>
                <a:spcPts val="800"/>
              </a:spcAft>
              <a:buNone/>
              <a:tabLst/>
              <a:defRPr sz="1333" b="0" i="0">
                <a:solidFill>
                  <a:schemeClr val="tx1"/>
                </a:solidFill>
                <a:latin typeface="Proximus Light" pitchFamily="2" charset="77"/>
              </a:defRPr>
            </a:lvl2pPr>
            <a:lvl3pPr algn="ctr">
              <a:lnSpc>
                <a:spcPct val="100000"/>
              </a:lnSpc>
              <a:spcAft>
                <a:spcPts val="800"/>
              </a:spcAft>
              <a:defRPr sz="1333">
                <a:solidFill>
                  <a:schemeClr val="bg1">
                    <a:lumMod val="40000"/>
                    <a:lumOff val="60000"/>
                  </a:schemeClr>
                </a:solidFill>
              </a:defRPr>
            </a:lvl3pPr>
            <a:lvl4pPr algn="ctr">
              <a:lnSpc>
                <a:spcPct val="100000"/>
              </a:lnSpc>
              <a:spcAft>
                <a:spcPts val="800"/>
              </a:spcAft>
              <a:defRPr sz="1333">
                <a:solidFill>
                  <a:schemeClr val="bg1">
                    <a:lumMod val="40000"/>
                    <a:lumOff val="60000"/>
                  </a:schemeClr>
                </a:solidFill>
              </a:defRPr>
            </a:lvl4pPr>
            <a:lvl5pPr algn="ctr">
              <a:lnSpc>
                <a:spcPct val="100000"/>
              </a:lnSpc>
              <a:spcAft>
                <a:spcPts val="800"/>
              </a:spcAft>
              <a:defRPr sz="1333">
                <a:solidFill>
                  <a:schemeClr val="bg1">
                    <a:lumMod val="40000"/>
                    <a:lumOff val="60000"/>
                  </a:schemeClr>
                </a:solidFill>
              </a:defRPr>
            </a:lvl5pPr>
          </a:lstStyle>
          <a:p>
            <a:pPr lvl="0"/>
            <a:r>
              <a:rPr lang="en-GB"/>
              <a:t>Click to edit text</a:t>
            </a:r>
          </a:p>
        </p:txBody>
      </p:sp>
      <p:sp>
        <p:nvSpPr>
          <p:cNvPr id="13" name="Text Placeholder 42">
            <a:extLst>
              <a:ext uri="{FF2B5EF4-FFF2-40B4-BE49-F238E27FC236}">
                <a16:creationId xmlns:a16="http://schemas.microsoft.com/office/drawing/2014/main" id="{2DCBB7D4-05B5-9FA3-30A4-B93D65F4A585}"/>
              </a:ext>
            </a:extLst>
          </p:cNvPr>
          <p:cNvSpPr>
            <a:spLocks noGrp="1"/>
          </p:cNvSpPr>
          <p:nvPr>
            <p:ph type="body" sz="quarter" idx="37" hasCustomPrompt="1"/>
          </p:nvPr>
        </p:nvSpPr>
        <p:spPr>
          <a:xfrm>
            <a:off x="1295401" y="4659311"/>
            <a:ext cx="10272183" cy="508800"/>
          </a:xfrm>
          <a:custGeom>
            <a:avLst/>
            <a:gdLst>
              <a:gd name="connsiteX0" fmla="*/ 0 w 1145437"/>
              <a:gd name="connsiteY0" fmla="*/ 0 h 812648"/>
              <a:gd name="connsiteX1" fmla="*/ 1145437 w 1145437"/>
              <a:gd name="connsiteY1" fmla="*/ 0 h 812648"/>
              <a:gd name="connsiteX2" fmla="*/ 1145437 w 1145437"/>
              <a:gd name="connsiteY2" fmla="*/ 812648 h 812648"/>
              <a:gd name="connsiteX3" fmla="*/ 0 w 1145437"/>
              <a:gd name="connsiteY3" fmla="*/ 812648 h 812648"/>
            </a:gdLst>
            <a:ahLst/>
            <a:cxnLst>
              <a:cxn ang="0">
                <a:pos x="connsiteX0" y="connsiteY0"/>
              </a:cxn>
              <a:cxn ang="0">
                <a:pos x="connsiteX1" y="connsiteY1"/>
              </a:cxn>
              <a:cxn ang="0">
                <a:pos x="connsiteX2" y="connsiteY2"/>
              </a:cxn>
              <a:cxn ang="0">
                <a:pos x="connsiteX3" y="connsiteY3"/>
              </a:cxn>
            </a:cxnLst>
            <a:rect l="l" t="t" r="r" b="b"/>
            <a:pathLst>
              <a:path w="1145437" h="812648">
                <a:moveTo>
                  <a:pt x="0" y="0"/>
                </a:moveTo>
                <a:lnTo>
                  <a:pt x="1145437" y="0"/>
                </a:lnTo>
                <a:lnTo>
                  <a:pt x="1145437" y="812648"/>
                </a:lnTo>
                <a:lnTo>
                  <a:pt x="0" y="812648"/>
                </a:lnTo>
                <a:close/>
              </a:path>
            </a:pathLst>
          </a:custGeom>
        </p:spPr>
        <p:txBody>
          <a:bodyPr wrap="square" anchor="ctr">
            <a:noAutofit/>
          </a:bodyPr>
          <a:lstStyle>
            <a:lvl1pPr algn="l">
              <a:lnSpc>
                <a:spcPct val="100000"/>
              </a:lnSpc>
              <a:spcAft>
                <a:spcPts val="800"/>
              </a:spcAft>
              <a:defRPr sz="1600" b="1" i="0">
                <a:solidFill>
                  <a:schemeClr val="tx1"/>
                </a:solidFill>
                <a:latin typeface="Proximus Bold" pitchFamily="2" charset="77"/>
              </a:defRPr>
            </a:lvl1pPr>
            <a:lvl2pPr marL="6351" indent="0" algn="ctr">
              <a:lnSpc>
                <a:spcPct val="100000"/>
              </a:lnSpc>
              <a:spcAft>
                <a:spcPts val="800"/>
              </a:spcAft>
              <a:buNone/>
              <a:tabLst/>
              <a:defRPr sz="1333" b="0" i="0">
                <a:solidFill>
                  <a:schemeClr val="tx1"/>
                </a:solidFill>
                <a:latin typeface="Proximus Light" pitchFamily="2" charset="77"/>
              </a:defRPr>
            </a:lvl2pPr>
            <a:lvl3pPr algn="ctr">
              <a:lnSpc>
                <a:spcPct val="100000"/>
              </a:lnSpc>
              <a:spcAft>
                <a:spcPts val="800"/>
              </a:spcAft>
              <a:defRPr sz="1333">
                <a:solidFill>
                  <a:schemeClr val="bg1">
                    <a:lumMod val="40000"/>
                    <a:lumOff val="60000"/>
                  </a:schemeClr>
                </a:solidFill>
              </a:defRPr>
            </a:lvl3pPr>
            <a:lvl4pPr algn="ctr">
              <a:lnSpc>
                <a:spcPct val="100000"/>
              </a:lnSpc>
              <a:spcAft>
                <a:spcPts val="800"/>
              </a:spcAft>
              <a:defRPr sz="1333">
                <a:solidFill>
                  <a:schemeClr val="bg1">
                    <a:lumMod val="40000"/>
                    <a:lumOff val="60000"/>
                  </a:schemeClr>
                </a:solidFill>
              </a:defRPr>
            </a:lvl4pPr>
            <a:lvl5pPr algn="ctr">
              <a:lnSpc>
                <a:spcPct val="100000"/>
              </a:lnSpc>
              <a:spcAft>
                <a:spcPts val="800"/>
              </a:spcAft>
              <a:defRPr sz="1333">
                <a:solidFill>
                  <a:schemeClr val="bg1">
                    <a:lumMod val="40000"/>
                    <a:lumOff val="60000"/>
                  </a:schemeClr>
                </a:solidFill>
              </a:defRPr>
            </a:lvl5pPr>
          </a:lstStyle>
          <a:p>
            <a:pPr lvl="0"/>
            <a:r>
              <a:rPr lang="en-GB"/>
              <a:t>Click to edit text</a:t>
            </a:r>
          </a:p>
        </p:txBody>
      </p:sp>
      <p:sp>
        <p:nvSpPr>
          <p:cNvPr id="14" name="Text Placeholder 42">
            <a:extLst>
              <a:ext uri="{FF2B5EF4-FFF2-40B4-BE49-F238E27FC236}">
                <a16:creationId xmlns:a16="http://schemas.microsoft.com/office/drawing/2014/main" id="{F89367A8-CAA1-E6E4-0142-D8B3A5B1D1BA}"/>
              </a:ext>
            </a:extLst>
          </p:cNvPr>
          <p:cNvSpPr>
            <a:spLocks noGrp="1"/>
          </p:cNvSpPr>
          <p:nvPr>
            <p:ph type="body" sz="quarter" idx="38" hasCustomPrompt="1"/>
          </p:nvPr>
        </p:nvSpPr>
        <p:spPr>
          <a:xfrm>
            <a:off x="1295401" y="5400996"/>
            <a:ext cx="10272183" cy="508800"/>
          </a:xfrm>
          <a:custGeom>
            <a:avLst/>
            <a:gdLst>
              <a:gd name="connsiteX0" fmla="*/ 0 w 1145437"/>
              <a:gd name="connsiteY0" fmla="*/ 0 h 812648"/>
              <a:gd name="connsiteX1" fmla="*/ 1145437 w 1145437"/>
              <a:gd name="connsiteY1" fmla="*/ 0 h 812648"/>
              <a:gd name="connsiteX2" fmla="*/ 1145437 w 1145437"/>
              <a:gd name="connsiteY2" fmla="*/ 812648 h 812648"/>
              <a:gd name="connsiteX3" fmla="*/ 0 w 1145437"/>
              <a:gd name="connsiteY3" fmla="*/ 812648 h 812648"/>
            </a:gdLst>
            <a:ahLst/>
            <a:cxnLst>
              <a:cxn ang="0">
                <a:pos x="connsiteX0" y="connsiteY0"/>
              </a:cxn>
              <a:cxn ang="0">
                <a:pos x="connsiteX1" y="connsiteY1"/>
              </a:cxn>
              <a:cxn ang="0">
                <a:pos x="connsiteX2" y="connsiteY2"/>
              </a:cxn>
              <a:cxn ang="0">
                <a:pos x="connsiteX3" y="connsiteY3"/>
              </a:cxn>
            </a:cxnLst>
            <a:rect l="l" t="t" r="r" b="b"/>
            <a:pathLst>
              <a:path w="1145437" h="812648">
                <a:moveTo>
                  <a:pt x="0" y="0"/>
                </a:moveTo>
                <a:lnTo>
                  <a:pt x="1145437" y="0"/>
                </a:lnTo>
                <a:lnTo>
                  <a:pt x="1145437" y="812648"/>
                </a:lnTo>
                <a:lnTo>
                  <a:pt x="0" y="812648"/>
                </a:lnTo>
                <a:close/>
              </a:path>
            </a:pathLst>
          </a:custGeom>
        </p:spPr>
        <p:txBody>
          <a:bodyPr wrap="square" anchor="ctr">
            <a:noAutofit/>
          </a:bodyPr>
          <a:lstStyle>
            <a:lvl1pPr algn="l">
              <a:lnSpc>
                <a:spcPct val="100000"/>
              </a:lnSpc>
              <a:spcAft>
                <a:spcPts val="800"/>
              </a:spcAft>
              <a:defRPr sz="1600" b="1" i="0">
                <a:solidFill>
                  <a:schemeClr val="tx1"/>
                </a:solidFill>
                <a:latin typeface="Proximus Bold" pitchFamily="2" charset="77"/>
              </a:defRPr>
            </a:lvl1pPr>
            <a:lvl2pPr marL="6351" indent="0" algn="ctr">
              <a:lnSpc>
                <a:spcPct val="100000"/>
              </a:lnSpc>
              <a:spcAft>
                <a:spcPts val="800"/>
              </a:spcAft>
              <a:buNone/>
              <a:tabLst/>
              <a:defRPr sz="1333" b="0" i="0">
                <a:solidFill>
                  <a:schemeClr val="tx1"/>
                </a:solidFill>
                <a:latin typeface="Proximus Light" pitchFamily="2" charset="77"/>
              </a:defRPr>
            </a:lvl2pPr>
            <a:lvl3pPr algn="ctr">
              <a:lnSpc>
                <a:spcPct val="100000"/>
              </a:lnSpc>
              <a:spcAft>
                <a:spcPts val="800"/>
              </a:spcAft>
              <a:defRPr sz="1333">
                <a:solidFill>
                  <a:schemeClr val="bg1">
                    <a:lumMod val="40000"/>
                    <a:lumOff val="60000"/>
                  </a:schemeClr>
                </a:solidFill>
              </a:defRPr>
            </a:lvl3pPr>
            <a:lvl4pPr algn="ctr">
              <a:lnSpc>
                <a:spcPct val="100000"/>
              </a:lnSpc>
              <a:spcAft>
                <a:spcPts val="800"/>
              </a:spcAft>
              <a:defRPr sz="1333">
                <a:solidFill>
                  <a:schemeClr val="bg1">
                    <a:lumMod val="40000"/>
                    <a:lumOff val="60000"/>
                  </a:schemeClr>
                </a:solidFill>
              </a:defRPr>
            </a:lvl4pPr>
            <a:lvl5pPr algn="ctr">
              <a:lnSpc>
                <a:spcPct val="100000"/>
              </a:lnSpc>
              <a:spcAft>
                <a:spcPts val="800"/>
              </a:spcAft>
              <a:defRPr sz="1333">
                <a:solidFill>
                  <a:schemeClr val="bg1">
                    <a:lumMod val="40000"/>
                    <a:lumOff val="60000"/>
                  </a:schemeClr>
                </a:solidFill>
              </a:defRPr>
            </a:lvl5pPr>
          </a:lstStyle>
          <a:p>
            <a:pPr lvl="0"/>
            <a:r>
              <a:rPr lang="en-GB"/>
              <a:t>Click to edit text</a:t>
            </a:r>
          </a:p>
        </p:txBody>
      </p:sp>
    </p:spTree>
    <p:extLst>
      <p:ext uri="{BB962C8B-B14F-4D97-AF65-F5344CB8AC3E}">
        <p14:creationId xmlns:p14="http://schemas.microsoft.com/office/powerpoint/2010/main" val="278295447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XS ADA - content slide numbered bullets dar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b="0"/>
            </a:lvl1pPr>
          </a:lstStyle>
          <a:p>
            <a:r>
              <a:rPr lang="en-US"/>
              <a:t>Click to edit slide title</a:t>
            </a:r>
            <a:endParaRPr lang="nl-BE"/>
          </a:p>
        </p:txBody>
      </p:sp>
      <p:sp>
        <p:nvSpPr>
          <p:cNvPr id="15" name="Text Placeholder 3">
            <a:extLst>
              <a:ext uri="{FF2B5EF4-FFF2-40B4-BE49-F238E27FC236}">
                <a16:creationId xmlns:a16="http://schemas.microsoft.com/office/drawing/2014/main" id="{DE12E6C5-FDFA-2864-75A2-385561574766}"/>
              </a:ext>
            </a:extLst>
          </p:cNvPr>
          <p:cNvSpPr>
            <a:spLocks noGrp="1"/>
          </p:cNvSpPr>
          <p:nvPr>
            <p:ph type="body" sz="quarter" idx="10" hasCustomPrompt="1"/>
          </p:nvPr>
        </p:nvSpPr>
        <p:spPr>
          <a:xfrm>
            <a:off x="624417" y="1692559"/>
            <a:ext cx="480000" cy="480000"/>
          </a:xfrm>
          <a:custGeom>
            <a:avLst/>
            <a:gdLst>
              <a:gd name="connsiteX0" fmla="*/ 378328 w 756656"/>
              <a:gd name="connsiteY0" fmla="*/ 0 h 756654"/>
              <a:gd name="connsiteX1" fmla="*/ 756656 w 756656"/>
              <a:gd name="connsiteY1" fmla="*/ 378327 h 756654"/>
              <a:gd name="connsiteX2" fmla="*/ 378328 w 756656"/>
              <a:gd name="connsiteY2" fmla="*/ 756654 h 756654"/>
              <a:gd name="connsiteX3" fmla="*/ 0 w 756656"/>
              <a:gd name="connsiteY3" fmla="*/ 378327 h 756654"/>
              <a:gd name="connsiteX4" fmla="*/ 378328 w 756656"/>
              <a:gd name="connsiteY4" fmla="*/ 0 h 756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656" h="756654">
                <a:moveTo>
                  <a:pt x="378328" y="0"/>
                </a:moveTo>
                <a:cubicBezTo>
                  <a:pt x="587273" y="0"/>
                  <a:pt x="756656" y="169383"/>
                  <a:pt x="756656" y="378327"/>
                </a:cubicBezTo>
                <a:cubicBezTo>
                  <a:pt x="756656" y="587271"/>
                  <a:pt x="587273" y="756654"/>
                  <a:pt x="378328" y="756654"/>
                </a:cubicBezTo>
                <a:cubicBezTo>
                  <a:pt x="169383" y="756654"/>
                  <a:pt x="0" y="587271"/>
                  <a:pt x="0" y="378327"/>
                </a:cubicBezTo>
                <a:cubicBezTo>
                  <a:pt x="0" y="169383"/>
                  <a:pt x="169383" y="0"/>
                  <a:pt x="378328" y="0"/>
                </a:cubicBezTo>
                <a:close/>
              </a:path>
            </a:pathLst>
          </a:custGeom>
          <a:solidFill>
            <a:schemeClr val="bg1">
              <a:lumMod val="50000"/>
            </a:schemeClr>
          </a:solidFill>
        </p:spPr>
        <p:txBody>
          <a:bodyPr wrap="square" anchor="ctr">
            <a:noAutofit/>
          </a:bodyPr>
          <a:lstStyle>
            <a:lvl1pPr algn="ctr">
              <a:lnSpc>
                <a:spcPct val="100000"/>
              </a:lnSpc>
              <a:defRPr sz="1467" b="1" i="0">
                <a:solidFill>
                  <a:schemeClr val="tx1"/>
                </a:solidFill>
                <a:latin typeface="Proximus Bold" pitchFamily="2" charset="77"/>
              </a:defRPr>
            </a:lvl1pPr>
            <a:lvl2pPr algn="ctr">
              <a:defRPr sz="1333"/>
            </a:lvl2pPr>
            <a:lvl3pPr algn="ctr">
              <a:defRPr sz="1333"/>
            </a:lvl3pPr>
            <a:lvl4pPr algn="ctr">
              <a:defRPr sz="1333"/>
            </a:lvl4pPr>
            <a:lvl5pPr algn="ctr">
              <a:defRPr sz="1333"/>
            </a:lvl5pPr>
          </a:lstStyle>
          <a:p>
            <a:pPr lvl="0"/>
            <a:r>
              <a:rPr lang="en-GB"/>
              <a:t>1</a:t>
            </a:r>
            <a:endParaRPr lang="en-BE"/>
          </a:p>
        </p:txBody>
      </p:sp>
      <p:sp>
        <p:nvSpPr>
          <p:cNvPr id="16" name="Text Placeholder 4">
            <a:extLst>
              <a:ext uri="{FF2B5EF4-FFF2-40B4-BE49-F238E27FC236}">
                <a16:creationId xmlns:a16="http://schemas.microsoft.com/office/drawing/2014/main" id="{7C51C02F-9956-FFA5-7F8E-24209AF9AA0F}"/>
              </a:ext>
            </a:extLst>
          </p:cNvPr>
          <p:cNvSpPr>
            <a:spLocks noGrp="1"/>
          </p:cNvSpPr>
          <p:nvPr>
            <p:ph type="body" sz="quarter" idx="11" hasCustomPrompt="1"/>
          </p:nvPr>
        </p:nvSpPr>
        <p:spPr>
          <a:xfrm>
            <a:off x="624417" y="2440007"/>
            <a:ext cx="480000" cy="480000"/>
          </a:xfrm>
          <a:custGeom>
            <a:avLst/>
            <a:gdLst>
              <a:gd name="connsiteX0" fmla="*/ 378328 w 756656"/>
              <a:gd name="connsiteY0" fmla="*/ 0 h 756654"/>
              <a:gd name="connsiteX1" fmla="*/ 756656 w 756656"/>
              <a:gd name="connsiteY1" fmla="*/ 378327 h 756654"/>
              <a:gd name="connsiteX2" fmla="*/ 378328 w 756656"/>
              <a:gd name="connsiteY2" fmla="*/ 756654 h 756654"/>
              <a:gd name="connsiteX3" fmla="*/ 0 w 756656"/>
              <a:gd name="connsiteY3" fmla="*/ 378327 h 756654"/>
              <a:gd name="connsiteX4" fmla="*/ 378328 w 756656"/>
              <a:gd name="connsiteY4" fmla="*/ 0 h 756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656" h="756654">
                <a:moveTo>
                  <a:pt x="378328" y="0"/>
                </a:moveTo>
                <a:cubicBezTo>
                  <a:pt x="587273" y="0"/>
                  <a:pt x="756656" y="169383"/>
                  <a:pt x="756656" y="378327"/>
                </a:cubicBezTo>
                <a:cubicBezTo>
                  <a:pt x="756656" y="587271"/>
                  <a:pt x="587273" y="756654"/>
                  <a:pt x="378328" y="756654"/>
                </a:cubicBezTo>
                <a:cubicBezTo>
                  <a:pt x="169383" y="756654"/>
                  <a:pt x="0" y="587271"/>
                  <a:pt x="0" y="378327"/>
                </a:cubicBezTo>
                <a:cubicBezTo>
                  <a:pt x="0" y="169383"/>
                  <a:pt x="169383" y="0"/>
                  <a:pt x="378328" y="0"/>
                </a:cubicBezTo>
                <a:close/>
              </a:path>
            </a:pathLst>
          </a:custGeom>
          <a:solidFill>
            <a:schemeClr val="bg1">
              <a:lumMod val="50000"/>
            </a:schemeClr>
          </a:solidFill>
        </p:spPr>
        <p:txBody>
          <a:bodyPr wrap="square" anchor="ctr">
            <a:noAutofit/>
          </a:bodyPr>
          <a:lstStyle>
            <a:lvl1pPr algn="ctr">
              <a:lnSpc>
                <a:spcPct val="100000"/>
              </a:lnSpc>
              <a:defRPr sz="1467" b="1" i="0">
                <a:solidFill>
                  <a:schemeClr val="tx1"/>
                </a:solidFill>
                <a:latin typeface="Proximus Bold" pitchFamily="2" charset="77"/>
              </a:defRPr>
            </a:lvl1pPr>
            <a:lvl2pPr algn="ctr">
              <a:defRPr sz="1333"/>
            </a:lvl2pPr>
            <a:lvl3pPr algn="ctr">
              <a:defRPr sz="1333"/>
            </a:lvl3pPr>
            <a:lvl4pPr algn="ctr">
              <a:defRPr sz="1333"/>
            </a:lvl4pPr>
            <a:lvl5pPr algn="ctr">
              <a:defRPr sz="1333"/>
            </a:lvl5pPr>
          </a:lstStyle>
          <a:p>
            <a:pPr lvl="0"/>
            <a:r>
              <a:rPr lang="en-GB"/>
              <a:t>2</a:t>
            </a:r>
            <a:endParaRPr lang="en-BE"/>
          </a:p>
        </p:txBody>
      </p:sp>
      <p:sp>
        <p:nvSpPr>
          <p:cNvPr id="17" name="Text Placeholder 5">
            <a:extLst>
              <a:ext uri="{FF2B5EF4-FFF2-40B4-BE49-F238E27FC236}">
                <a16:creationId xmlns:a16="http://schemas.microsoft.com/office/drawing/2014/main" id="{52B664B6-7BBA-8774-8D07-7D64285C6747}"/>
              </a:ext>
            </a:extLst>
          </p:cNvPr>
          <p:cNvSpPr>
            <a:spLocks noGrp="1"/>
          </p:cNvSpPr>
          <p:nvPr>
            <p:ph type="body" sz="quarter" idx="12" hasCustomPrompt="1"/>
          </p:nvPr>
        </p:nvSpPr>
        <p:spPr>
          <a:xfrm>
            <a:off x="624417" y="3187455"/>
            <a:ext cx="480000" cy="480000"/>
          </a:xfrm>
          <a:custGeom>
            <a:avLst/>
            <a:gdLst>
              <a:gd name="connsiteX0" fmla="*/ 378328 w 756656"/>
              <a:gd name="connsiteY0" fmla="*/ 0 h 756654"/>
              <a:gd name="connsiteX1" fmla="*/ 756656 w 756656"/>
              <a:gd name="connsiteY1" fmla="*/ 378327 h 756654"/>
              <a:gd name="connsiteX2" fmla="*/ 378328 w 756656"/>
              <a:gd name="connsiteY2" fmla="*/ 756654 h 756654"/>
              <a:gd name="connsiteX3" fmla="*/ 0 w 756656"/>
              <a:gd name="connsiteY3" fmla="*/ 378327 h 756654"/>
              <a:gd name="connsiteX4" fmla="*/ 378328 w 756656"/>
              <a:gd name="connsiteY4" fmla="*/ 0 h 756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656" h="756654">
                <a:moveTo>
                  <a:pt x="378328" y="0"/>
                </a:moveTo>
                <a:cubicBezTo>
                  <a:pt x="587273" y="0"/>
                  <a:pt x="756656" y="169383"/>
                  <a:pt x="756656" y="378327"/>
                </a:cubicBezTo>
                <a:cubicBezTo>
                  <a:pt x="756656" y="587271"/>
                  <a:pt x="587273" y="756654"/>
                  <a:pt x="378328" y="756654"/>
                </a:cubicBezTo>
                <a:cubicBezTo>
                  <a:pt x="169383" y="756654"/>
                  <a:pt x="0" y="587271"/>
                  <a:pt x="0" y="378327"/>
                </a:cubicBezTo>
                <a:cubicBezTo>
                  <a:pt x="0" y="169383"/>
                  <a:pt x="169383" y="0"/>
                  <a:pt x="378328" y="0"/>
                </a:cubicBezTo>
                <a:close/>
              </a:path>
            </a:pathLst>
          </a:custGeom>
          <a:solidFill>
            <a:schemeClr val="bg1">
              <a:lumMod val="50000"/>
            </a:schemeClr>
          </a:solidFill>
        </p:spPr>
        <p:txBody>
          <a:bodyPr wrap="square" anchor="ctr">
            <a:noAutofit/>
          </a:bodyPr>
          <a:lstStyle>
            <a:lvl1pPr algn="ctr">
              <a:lnSpc>
                <a:spcPct val="100000"/>
              </a:lnSpc>
              <a:defRPr sz="1467" b="1" i="0">
                <a:solidFill>
                  <a:schemeClr val="tx1"/>
                </a:solidFill>
                <a:latin typeface="Proximus Bold" pitchFamily="2" charset="77"/>
              </a:defRPr>
            </a:lvl1pPr>
            <a:lvl2pPr algn="ctr">
              <a:defRPr sz="1333"/>
            </a:lvl2pPr>
            <a:lvl3pPr algn="ctr">
              <a:defRPr sz="1333"/>
            </a:lvl3pPr>
            <a:lvl4pPr algn="ctr">
              <a:defRPr sz="1333"/>
            </a:lvl4pPr>
            <a:lvl5pPr algn="ctr">
              <a:defRPr sz="1333"/>
            </a:lvl5pPr>
          </a:lstStyle>
          <a:p>
            <a:pPr lvl="0"/>
            <a:r>
              <a:rPr lang="en-GB"/>
              <a:t>3</a:t>
            </a:r>
            <a:endParaRPr lang="en-BE"/>
          </a:p>
        </p:txBody>
      </p:sp>
      <p:sp>
        <p:nvSpPr>
          <p:cNvPr id="18" name="Text Placeholder 6">
            <a:extLst>
              <a:ext uri="{FF2B5EF4-FFF2-40B4-BE49-F238E27FC236}">
                <a16:creationId xmlns:a16="http://schemas.microsoft.com/office/drawing/2014/main" id="{3D90DEA3-4CAB-E2E2-F1EA-A6E30EBE3A33}"/>
              </a:ext>
            </a:extLst>
          </p:cNvPr>
          <p:cNvSpPr>
            <a:spLocks noGrp="1"/>
          </p:cNvSpPr>
          <p:nvPr>
            <p:ph type="body" sz="quarter" idx="13" hasCustomPrompt="1"/>
          </p:nvPr>
        </p:nvSpPr>
        <p:spPr>
          <a:xfrm>
            <a:off x="613835" y="3934903"/>
            <a:ext cx="480000" cy="480000"/>
          </a:xfrm>
          <a:custGeom>
            <a:avLst/>
            <a:gdLst>
              <a:gd name="connsiteX0" fmla="*/ 378328 w 756656"/>
              <a:gd name="connsiteY0" fmla="*/ 0 h 756654"/>
              <a:gd name="connsiteX1" fmla="*/ 756656 w 756656"/>
              <a:gd name="connsiteY1" fmla="*/ 378327 h 756654"/>
              <a:gd name="connsiteX2" fmla="*/ 378328 w 756656"/>
              <a:gd name="connsiteY2" fmla="*/ 756654 h 756654"/>
              <a:gd name="connsiteX3" fmla="*/ 0 w 756656"/>
              <a:gd name="connsiteY3" fmla="*/ 378327 h 756654"/>
              <a:gd name="connsiteX4" fmla="*/ 378328 w 756656"/>
              <a:gd name="connsiteY4" fmla="*/ 0 h 756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656" h="756654">
                <a:moveTo>
                  <a:pt x="378328" y="0"/>
                </a:moveTo>
                <a:cubicBezTo>
                  <a:pt x="587273" y="0"/>
                  <a:pt x="756656" y="169383"/>
                  <a:pt x="756656" y="378327"/>
                </a:cubicBezTo>
                <a:cubicBezTo>
                  <a:pt x="756656" y="587271"/>
                  <a:pt x="587273" y="756654"/>
                  <a:pt x="378328" y="756654"/>
                </a:cubicBezTo>
                <a:cubicBezTo>
                  <a:pt x="169383" y="756654"/>
                  <a:pt x="0" y="587271"/>
                  <a:pt x="0" y="378327"/>
                </a:cubicBezTo>
                <a:cubicBezTo>
                  <a:pt x="0" y="169383"/>
                  <a:pt x="169383" y="0"/>
                  <a:pt x="378328" y="0"/>
                </a:cubicBezTo>
                <a:close/>
              </a:path>
            </a:pathLst>
          </a:custGeom>
          <a:solidFill>
            <a:schemeClr val="bg1">
              <a:lumMod val="50000"/>
            </a:schemeClr>
          </a:solidFill>
        </p:spPr>
        <p:txBody>
          <a:bodyPr wrap="square" anchor="ctr">
            <a:noAutofit/>
          </a:bodyPr>
          <a:lstStyle>
            <a:lvl1pPr algn="ctr">
              <a:lnSpc>
                <a:spcPct val="100000"/>
              </a:lnSpc>
              <a:defRPr sz="1467" b="1" i="0">
                <a:solidFill>
                  <a:schemeClr val="tx1"/>
                </a:solidFill>
                <a:latin typeface="Proximus Bold" pitchFamily="2" charset="77"/>
              </a:defRPr>
            </a:lvl1pPr>
            <a:lvl2pPr algn="ctr">
              <a:defRPr sz="1333"/>
            </a:lvl2pPr>
            <a:lvl3pPr algn="ctr">
              <a:defRPr sz="1333"/>
            </a:lvl3pPr>
            <a:lvl4pPr algn="ctr">
              <a:defRPr sz="1333"/>
            </a:lvl4pPr>
            <a:lvl5pPr algn="ctr">
              <a:defRPr sz="1333"/>
            </a:lvl5pPr>
          </a:lstStyle>
          <a:p>
            <a:pPr lvl="0"/>
            <a:r>
              <a:rPr lang="en-GB"/>
              <a:t>4</a:t>
            </a:r>
            <a:endParaRPr lang="en-BE"/>
          </a:p>
        </p:txBody>
      </p:sp>
      <p:sp>
        <p:nvSpPr>
          <p:cNvPr id="19" name="Text Placeholder 7">
            <a:extLst>
              <a:ext uri="{FF2B5EF4-FFF2-40B4-BE49-F238E27FC236}">
                <a16:creationId xmlns:a16="http://schemas.microsoft.com/office/drawing/2014/main" id="{5C0659F1-2B15-EFDD-F01E-3B79C8B09321}"/>
              </a:ext>
            </a:extLst>
          </p:cNvPr>
          <p:cNvSpPr>
            <a:spLocks noGrp="1"/>
          </p:cNvSpPr>
          <p:nvPr>
            <p:ph type="body" sz="quarter" idx="14" hasCustomPrompt="1"/>
          </p:nvPr>
        </p:nvSpPr>
        <p:spPr>
          <a:xfrm>
            <a:off x="613835" y="4682351"/>
            <a:ext cx="480000" cy="480000"/>
          </a:xfrm>
          <a:custGeom>
            <a:avLst/>
            <a:gdLst>
              <a:gd name="connsiteX0" fmla="*/ 378328 w 756656"/>
              <a:gd name="connsiteY0" fmla="*/ 0 h 756654"/>
              <a:gd name="connsiteX1" fmla="*/ 756656 w 756656"/>
              <a:gd name="connsiteY1" fmla="*/ 378327 h 756654"/>
              <a:gd name="connsiteX2" fmla="*/ 378328 w 756656"/>
              <a:gd name="connsiteY2" fmla="*/ 756654 h 756654"/>
              <a:gd name="connsiteX3" fmla="*/ 0 w 756656"/>
              <a:gd name="connsiteY3" fmla="*/ 378327 h 756654"/>
              <a:gd name="connsiteX4" fmla="*/ 378328 w 756656"/>
              <a:gd name="connsiteY4" fmla="*/ 0 h 756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656" h="756654">
                <a:moveTo>
                  <a:pt x="378328" y="0"/>
                </a:moveTo>
                <a:cubicBezTo>
                  <a:pt x="587273" y="0"/>
                  <a:pt x="756656" y="169383"/>
                  <a:pt x="756656" y="378327"/>
                </a:cubicBezTo>
                <a:cubicBezTo>
                  <a:pt x="756656" y="587271"/>
                  <a:pt x="587273" y="756654"/>
                  <a:pt x="378328" y="756654"/>
                </a:cubicBezTo>
                <a:cubicBezTo>
                  <a:pt x="169383" y="756654"/>
                  <a:pt x="0" y="587271"/>
                  <a:pt x="0" y="378327"/>
                </a:cubicBezTo>
                <a:cubicBezTo>
                  <a:pt x="0" y="169383"/>
                  <a:pt x="169383" y="0"/>
                  <a:pt x="378328" y="0"/>
                </a:cubicBezTo>
                <a:close/>
              </a:path>
            </a:pathLst>
          </a:custGeom>
          <a:solidFill>
            <a:schemeClr val="bg1">
              <a:lumMod val="50000"/>
            </a:schemeClr>
          </a:solidFill>
        </p:spPr>
        <p:txBody>
          <a:bodyPr wrap="square" anchor="ctr">
            <a:noAutofit/>
          </a:bodyPr>
          <a:lstStyle>
            <a:lvl1pPr algn="ctr">
              <a:lnSpc>
                <a:spcPct val="100000"/>
              </a:lnSpc>
              <a:defRPr sz="1467" b="1" i="0">
                <a:solidFill>
                  <a:schemeClr val="tx1"/>
                </a:solidFill>
                <a:latin typeface="Proximus Bold" pitchFamily="2" charset="77"/>
              </a:defRPr>
            </a:lvl1pPr>
            <a:lvl2pPr algn="ctr">
              <a:defRPr sz="1333"/>
            </a:lvl2pPr>
            <a:lvl3pPr algn="ctr">
              <a:defRPr sz="1333"/>
            </a:lvl3pPr>
            <a:lvl4pPr algn="ctr">
              <a:defRPr sz="1333"/>
            </a:lvl4pPr>
            <a:lvl5pPr algn="ctr">
              <a:defRPr sz="1333"/>
            </a:lvl5pPr>
          </a:lstStyle>
          <a:p>
            <a:pPr lvl="0"/>
            <a:r>
              <a:rPr lang="en-GB"/>
              <a:t>5</a:t>
            </a:r>
            <a:endParaRPr lang="en-BE"/>
          </a:p>
        </p:txBody>
      </p:sp>
      <p:sp>
        <p:nvSpPr>
          <p:cNvPr id="20" name="Text Placeholder 8">
            <a:extLst>
              <a:ext uri="{FF2B5EF4-FFF2-40B4-BE49-F238E27FC236}">
                <a16:creationId xmlns:a16="http://schemas.microsoft.com/office/drawing/2014/main" id="{EE856CB2-0053-C152-8FD6-8C9475CD2B23}"/>
              </a:ext>
            </a:extLst>
          </p:cNvPr>
          <p:cNvSpPr>
            <a:spLocks noGrp="1"/>
          </p:cNvSpPr>
          <p:nvPr>
            <p:ph type="body" sz="quarter" idx="15" hasCustomPrompt="1"/>
          </p:nvPr>
        </p:nvSpPr>
        <p:spPr>
          <a:xfrm>
            <a:off x="613835" y="5429796"/>
            <a:ext cx="480000" cy="480000"/>
          </a:xfrm>
          <a:custGeom>
            <a:avLst/>
            <a:gdLst>
              <a:gd name="connsiteX0" fmla="*/ 378328 w 756656"/>
              <a:gd name="connsiteY0" fmla="*/ 0 h 756654"/>
              <a:gd name="connsiteX1" fmla="*/ 756656 w 756656"/>
              <a:gd name="connsiteY1" fmla="*/ 378327 h 756654"/>
              <a:gd name="connsiteX2" fmla="*/ 378328 w 756656"/>
              <a:gd name="connsiteY2" fmla="*/ 756654 h 756654"/>
              <a:gd name="connsiteX3" fmla="*/ 0 w 756656"/>
              <a:gd name="connsiteY3" fmla="*/ 378327 h 756654"/>
              <a:gd name="connsiteX4" fmla="*/ 378328 w 756656"/>
              <a:gd name="connsiteY4" fmla="*/ 0 h 756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656" h="756654">
                <a:moveTo>
                  <a:pt x="378328" y="0"/>
                </a:moveTo>
                <a:cubicBezTo>
                  <a:pt x="587273" y="0"/>
                  <a:pt x="756656" y="169383"/>
                  <a:pt x="756656" y="378327"/>
                </a:cubicBezTo>
                <a:cubicBezTo>
                  <a:pt x="756656" y="587271"/>
                  <a:pt x="587273" y="756654"/>
                  <a:pt x="378328" y="756654"/>
                </a:cubicBezTo>
                <a:cubicBezTo>
                  <a:pt x="169383" y="756654"/>
                  <a:pt x="0" y="587271"/>
                  <a:pt x="0" y="378327"/>
                </a:cubicBezTo>
                <a:cubicBezTo>
                  <a:pt x="0" y="169383"/>
                  <a:pt x="169383" y="0"/>
                  <a:pt x="378328" y="0"/>
                </a:cubicBezTo>
                <a:close/>
              </a:path>
            </a:pathLst>
          </a:custGeom>
          <a:solidFill>
            <a:schemeClr val="bg1">
              <a:lumMod val="50000"/>
            </a:schemeClr>
          </a:solidFill>
        </p:spPr>
        <p:txBody>
          <a:bodyPr wrap="square" anchor="ctr">
            <a:noAutofit/>
          </a:bodyPr>
          <a:lstStyle>
            <a:lvl1pPr algn="ctr">
              <a:lnSpc>
                <a:spcPct val="100000"/>
              </a:lnSpc>
              <a:defRPr sz="1467" b="1" i="0">
                <a:solidFill>
                  <a:schemeClr val="tx1"/>
                </a:solidFill>
                <a:latin typeface="Proximus Bold" pitchFamily="2" charset="77"/>
              </a:defRPr>
            </a:lvl1pPr>
            <a:lvl2pPr algn="ctr">
              <a:defRPr sz="1333"/>
            </a:lvl2pPr>
            <a:lvl3pPr algn="ctr">
              <a:defRPr sz="1333"/>
            </a:lvl3pPr>
            <a:lvl4pPr algn="ctr">
              <a:defRPr sz="1333"/>
            </a:lvl4pPr>
            <a:lvl5pPr algn="ctr">
              <a:defRPr sz="1333"/>
            </a:lvl5pPr>
          </a:lstStyle>
          <a:p>
            <a:pPr lvl="0"/>
            <a:r>
              <a:rPr lang="en-GB"/>
              <a:t>6</a:t>
            </a:r>
            <a:endParaRPr lang="en-BE"/>
          </a:p>
        </p:txBody>
      </p:sp>
      <p:sp>
        <p:nvSpPr>
          <p:cNvPr id="21" name="Text Placeholder 42">
            <a:extLst>
              <a:ext uri="{FF2B5EF4-FFF2-40B4-BE49-F238E27FC236}">
                <a16:creationId xmlns:a16="http://schemas.microsoft.com/office/drawing/2014/main" id="{132B012D-BCA2-4619-D74E-D849B900BC77}"/>
              </a:ext>
            </a:extLst>
          </p:cNvPr>
          <p:cNvSpPr>
            <a:spLocks noGrp="1"/>
          </p:cNvSpPr>
          <p:nvPr>
            <p:ph type="body" sz="quarter" idx="33" hasCustomPrompt="1"/>
          </p:nvPr>
        </p:nvSpPr>
        <p:spPr>
          <a:xfrm>
            <a:off x="1295401" y="1692559"/>
            <a:ext cx="10272183" cy="508800"/>
          </a:xfrm>
          <a:custGeom>
            <a:avLst/>
            <a:gdLst>
              <a:gd name="connsiteX0" fmla="*/ 0 w 1145437"/>
              <a:gd name="connsiteY0" fmla="*/ 0 h 812648"/>
              <a:gd name="connsiteX1" fmla="*/ 1145437 w 1145437"/>
              <a:gd name="connsiteY1" fmla="*/ 0 h 812648"/>
              <a:gd name="connsiteX2" fmla="*/ 1145437 w 1145437"/>
              <a:gd name="connsiteY2" fmla="*/ 812648 h 812648"/>
              <a:gd name="connsiteX3" fmla="*/ 0 w 1145437"/>
              <a:gd name="connsiteY3" fmla="*/ 812648 h 812648"/>
            </a:gdLst>
            <a:ahLst/>
            <a:cxnLst>
              <a:cxn ang="0">
                <a:pos x="connsiteX0" y="connsiteY0"/>
              </a:cxn>
              <a:cxn ang="0">
                <a:pos x="connsiteX1" y="connsiteY1"/>
              </a:cxn>
              <a:cxn ang="0">
                <a:pos x="connsiteX2" y="connsiteY2"/>
              </a:cxn>
              <a:cxn ang="0">
                <a:pos x="connsiteX3" y="connsiteY3"/>
              </a:cxn>
            </a:cxnLst>
            <a:rect l="l" t="t" r="r" b="b"/>
            <a:pathLst>
              <a:path w="1145437" h="812648">
                <a:moveTo>
                  <a:pt x="0" y="0"/>
                </a:moveTo>
                <a:lnTo>
                  <a:pt x="1145437" y="0"/>
                </a:lnTo>
                <a:lnTo>
                  <a:pt x="1145437" y="812648"/>
                </a:lnTo>
                <a:lnTo>
                  <a:pt x="0" y="812648"/>
                </a:lnTo>
                <a:close/>
              </a:path>
            </a:pathLst>
          </a:custGeom>
        </p:spPr>
        <p:txBody>
          <a:bodyPr wrap="square" anchor="ctr">
            <a:noAutofit/>
          </a:bodyPr>
          <a:lstStyle>
            <a:lvl1pPr algn="l">
              <a:lnSpc>
                <a:spcPct val="100000"/>
              </a:lnSpc>
              <a:spcAft>
                <a:spcPts val="800"/>
              </a:spcAft>
              <a:defRPr sz="1600" b="1" i="0">
                <a:solidFill>
                  <a:schemeClr val="tx1"/>
                </a:solidFill>
                <a:latin typeface="Proximus Bold" pitchFamily="2" charset="77"/>
              </a:defRPr>
            </a:lvl1pPr>
            <a:lvl2pPr marL="6351" indent="0" algn="ctr">
              <a:lnSpc>
                <a:spcPct val="100000"/>
              </a:lnSpc>
              <a:spcAft>
                <a:spcPts val="800"/>
              </a:spcAft>
              <a:buNone/>
              <a:tabLst/>
              <a:defRPr sz="1333" b="0" i="0">
                <a:solidFill>
                  <a:schemeClr val="tx1"/>
                </a:solidFill>
                <a:latin typeface="Proximus Light" pitchFamily="2" charset="77"/>
              </a:defRPr>
            </a:lvl2pPr>
            <a:lvl3pPr algn="ctr">
              <a:lnSpc>
                <a:spcPct val="100000"/>
              </a:lnSpc>
              <a:spcAft>
                <a:spcPts val="800"/>
              </a:spcAft>
              <a:defRPr sz="1333">
                <a:solidFill>
                  <a:schemeClr val="bg1">
                    <a:lumMod val="40000"/>
                    <a:lumOff val="60000"/>
                  </a:schemeClr>
                </a:solidFill>
              </a:defRPr>
            </a:lvl3pPr>
            <a:lvl4pPr algn="ctr">
              <a:lnSpc>
                <a:spcPct val="100000"/>
              </a:lnSpc>
              <a:spcAft>
                <a:spcPts val="800"/>
              </a:spcAft>
              <a:defRPr sz="1333">
                <a:solidFill>
                  <a:schemeClr val="bg1">
                    <a:lumMod val="40000"/>
                    <a:lumOff val="60000"/>
                  </a:schemeClr>
                </a:solidFill>
              </a:defRPr>
            </a:lvl4pPr>
            <a:lvl5pPr algn="ctr">
              <a:lnSpc>
                <a:spcPct val="100000"/>
              </a:lnSpc>
              <a:spcAft>
                <a:spcPts val="800"/>
              </a:spcAft>
              <a:defRPr sz="1333">
                <a:solidFill>
                  <a:schemeClr val="bg1">
                    <a:lumMod val="40000"/>
                    <a:lumOff val="60000"/>
                  </a:schemeClr>
                </a:solidFill>
              </a:defRPr>
            </a:lvl5pPr>
          </a:lstStyle>
          <a:p>
            <a:pPr lvl="0"/>
            <a:r>
              <a:rPr lang="en-GB"/>
              <a:t>Click to edit text</a:t>
            </a:r>
          </a:p>
        </p:txBody>
      </p:sp>
      <p:sp>
        <p:nvSpPr>
          <p:cNvPr id="22" name="Text Placeholder 42">
            <a:extLst>
              <a:ext uri="{FF2B5EF4-FFF2-40B4-BE49-F238E27FC236}">
                <a16:creationId xmlns:a16="http://schemas.microsoft.com/office/drawing/2014/main" id="{D4779460-72CD-B2C1-5726-CFD7D86407E1}"/>
              </a:ext>
            </a:extLst>
          </p:cNvPr>
          <p:cNvSpPr>
            <a:spLocks noGrp="1"/>
          </p:cNvSpPr>
          <p:nvPr>
            <p:ph type="body" sz="quarter" idx="34" hasCustomPrompt="1"/>
          </p:nvPr>
        </p:nvSpPr>
        <p:spPr>
          <a:xfrm>
            <a:off x="1295401" y="2434247"/>
            <a:ext cx="10272183" cy="508800"/>
          </a:xfrm>
          <a:custGeom>
            <a:avLst/>
            <a:gdLst>
              <a:gd name="connsiteX0" fmla="*/ 0 w 1145437"/>
              <a:gd name="connsiteY0" fmla="*/ 0 h 812648"/>
              <a:gd name="connsiteX1" fmla="*/ 1145437 w 1145437"/>
              <a:gd name="connsiteY1" fmla="*/ 0 h 812648"/>
              <a:gd name="connsiteX2" fmla="*/ 1145437 w 1145437"/>
              <a:gd name="connsiteY2" fmla="*/ 812648 h 812648"/>
              <a:gd name="connsiteX3" fmla="*/ 0 w 1145437"/>
              <a:gd name="connsiteY3" fmla="*/ 812648 h 812648"/>
            </a:gdLst>
            <a:ahLst/>
            <a:cxnLst>
              <a:cxn ang="0">
                <a:pos x="connsiteX0" y="connsiteY0"/>
              </a:cxn>
              <a:cxn ang="0">
                <a:pos x="connsiteX1" y="connsiteY1"/>
              </a:cxn>
              <a:cxn ang="0">
                <a:pos x="connsiteX2" y="connsiteY2"/>
              </a:cxn>
              <a:cxn ang="0">
                <a:pos x="connsiteX3" y="connsiteY3"/>
              </a:cxn>
            </a:cxnLst>
            <a:rect l="l" t="t" r="r" b="b"/>
            <a:pathLst>
              <a:path w="1145437" h="812648">
                <a:moveTo>
                  <a:pt x="0" y="0"/>
                </a:moveTo>
                <a:lnTo>
                  <a:pt x="1145437" y="0"/>
                </a:lnTo>
                <a:lnTo>
                  <a:pt x="1145437" y="812648"/>
                </a:lnTo>
                <a:lnTo>
                  <a:pt x="0" y="812648"/>
                </a:lnTo>
                <a:close/>
              </a:path>
            </a:pathLst>
          </a:custGeom>
        </p:spPr>
        <p:txBody>
          <a:bodyPr wrap="square" anchor="ctr">
            <a:noAutofit/>
          </a:bodyPr>
          <a:lstStyle>
            <a:lvl1pPr algn="l">
              <a:lnSpc>
                <a:spcPct val="100000"/>
              </a:lnSpc>
              <a:spcAft>
                <a:spcPts val="800"/>
              </a:spcAft>
              <a:defRPr sz="1600" b="1" i="0">
                <a:solidFill>
                  <a:schemeClr val="tx1"/>
                </a:solidFill>
                <a:latin typeface="Proximus Bold" pitchFamily="2" charset="77"/>
              </a:defRPr>
            </a:lvl1pPr>
            <a:lvl2pPr marL="6351" indent="0" algn="ctr">
              <a:lnSpc>
                <a:spcPct val="100000"/>
              </a:lnSpc>
              <a:spcAft>
                <a:spcPts val="800"/>
              </a:spcAft>
              <a:buNone/>
              <a:tabLst/>
              <a:defRPr sz="1333" b="0" i="0">
                <a:solidFill>
                  <a:schemeClr val="tx1"/>
                </a:solidFill>
                <a:latin typeface="Proximus Light" pitchFamily="2" charset="77"/>
              </a:defRPr>
            </a:lvl2pPr>
            <a:lvl3pPr algn="ctr">
              <a:lnSpc>
                <a:spcPct val="100000"/>
              </a:lnSpc>
              <a:spcAft>
                <a:spcPts val="800"/>
              </a:spcAft>
              <a:defRPr sz="1333">
                <a:solidFill>
                  <a:schemeClr val="bg1">
                    <a:lumMod val="40000"/>
                    <a:lumOff val="60000"/>
                  </a:schemeClr>
                </a:solidFill>
              </a:defRPr>
            </a:lvl3pPr>
            <a:lvl4pPr algn="ctr">
              <a:lnSpc>
                <a:spcPct val="100000"/>
              </a:lnSpc>
              <a:spcAft>
                <a:spcPts val="800"/>
              </a:spcAft>
              <a:defRPr sz="1333">
                <a:solidFill>
                  <a:schemeClr val="bg1">
                    <a:lumMod val="40000"/>
                    <a:lumOff val="60000"/>
                  </a:schemeClr>
                </a:solidFill>
              </a:defRPr>
            </a:lvl4pPr>
            <a:lvl5pPr algn="ctr">
              <a:lnSpc>
                <a:spcPct val="100000"/>
              </a:lnSpc>
              <a:spcAft>
                <a:spcPts val="800"/>
              </a:spcAft>
              <a:defRPr sz="1333">
                <a:solidFill>
                  <a:schemeClr val="bg1">
                    <a:lumMod val="40000"/>
                    <a:lumOff val="60000"/>
                  </a:schemeClr>
                </a:solidFill>
              </a:defRPr>
            </a:lvl5pPr>
          </a:lstStyle>
          <a:p>
            <a:pPr lvl="0"/>
            <a:r>
              <a:rPr lang="en-GB"/>
              <a:t>Click to edit text</a:t>
            </a:r>
          </a:p>
        </p:txBody>
      </p:sp>
      <p:sp>
        <p:nvSpPr>
          <p:cNvPr id="23" name="Text Placeholder 42">
            <a:extLst>
              <a:ext uri="{FF2B5EF4-FFF2-40B4-BE49-F238E27FC236}">
                <a16:creationId xmlns:a16="http://schemas.microsoft.com/office/drawing/2014/main" id="{08D343B2-F4A2-1CFF-FF1A-513394268A20}"/>
              </a:ext>
            </a:extLst>
          </p:cNvPr>
          <p:cNvSpPr>
            <a:spLocks noGrp="1"/>
          </p:cNvSpPr>
          <p:nvPr>
            <p:ph type="body" sz="quarter" idx="35" hasCustomPrompt="1"/>
          </p:nvPr>
        </p:nvSpPr>
        <p:spPr>
          <a:xfrm>
            <a:off x="1295401" y="3175935"/>
            <a:ext cx="10272183" cy="508800"/>
          </a:xfrm>
          <a:custGeom>
            <a:avLst/>
            <a:gdLst>
              <a:gd name="connsiteX0" fmla="*/ 0 w 1145437"/>
              <a:gd name="connsiteY0" fmla="*/ 0 h 812648"/>
              <a:gd name="connsiteX1" fmla="*/ 1145437 w 1145437"/>
              <a:gd name="connsiteY1" fmla="*/ 0 h 812648"/>
              <a:gd name="connsiteX2" fmla="*/ 1145437 w 1145437"/>
              <a:gd name="connsiteY2" fmla="*/ 812648 h 812648"/>
              <a:gd name="connsiteX3" fmla="*/ 0 w 1145437"/>
              <a:gd name="connsiteY3" fmla="*/ 812648 h 812648"/>
            </a:gdLst>
            <a:ahLst/>
            <a:cxnLst>
              <a:cxn ang="0">
                <a:pos x="connsiteX0" y="connsiteY0"/>
              </a:cxn>
              <a:cxn ang="0">
                <a:pos x="connsiteX1" y="connsiteY1"/>
              </a:cxn>
              <a:cxn ang="0">
                <a:pos x="connsiteX2" y="connsiteY2"/>
              </a:cxn>
              <a:cxn ang="0">
                <a:pos x="connsiteX3" y="connsiteY3"/>
              </a:cxn>
            </a:cxnLst>
            <a:rect l="l" t="t" r="r" b="b"/>
            <a:pathLst>
              <a:path w="1145437" h="812648">
                <a:moveTo>
                  <a:pt x="0" y="0"/>
                </a:moveTo>
                <a:lnTo>
                  <a:pt x="1145437" y="0"/>
                </a:lnTo>
                <a:lnTo>
                  <a:pt x="1145437" y="812648"/>
                </a:lnTo>
                <a:lnTo>
                  <a:pt x="0" y="812648"/>
                </a:lnTo>
                <a:close/>
              </a:path>
            </a:pathLst>
          </a:custGeom>
        </p:spPr>
        <p:txBody>
          <a:bodyPr wrap="square" anchor="ctr">
            <a:noAutofit/>
          </a:bodyPr>
          <a:lstStyle>
            <a:lvl1pPr algn="l">
              <a:lnSpc>
                <a:spcPct val="100000"/>
              </a:lnSpc>
              <a:spcAft>
                <a:spcPts val="800"/>
              </a:spcAft>
              <a:defRPr sz="1600" b="1" i="0">
                <a:solidFill>
                  <a:schemeClr val="tx1"/>
                </a:solidFill>
                <a:latin typeface="Proximus Bold" pitchFamily="2" charset="77"/>
              </a:defRPr>
            </a:lvl1pPr>
            <a:lvl2pPr marL="6351" indent="0" algn="ctr">
              <a:lnSpc>
                <a:spcPct val="100000"/>
              </a:lnSpc>
              <a:spcAft>
                <a:spcPts val="800"/>
              </a:spcAft>
              <a:buNone/>
              <a:tabLst/>
              <a:defRPr sz="1333" b="0" i="0">
                <a:solidFill>
                  <a:schemeClr val="tx1"/>
                </a:solidFill>
                <a:latin typeface="Proximus Light" pitchFamily="2" charset="77"/>
              </a:defRPr>
            </a:lvl2pPr>
            <a:lvl3pPr algn="ctr">
              <a:lnSpc>
                <a:spcPct val="100000"/>
              </a:lnSpc>
              <a:spcAft>
                <a:spcPts val="800"/>
              </a:spcAft>
              <a:defRPr sz="1333">
                <a:solidFill>
                  <a:schemeClr val="bg1">
                    <a:lumMod val="40000"/>
                    <a:lumOff val="60000"/>
                  </a:schemeClr>
                </a:solidFill>
              </a:defRPr>
            </a:lvl3pPr>
            <a:lvl4pPr algn="ctr">
              <a:lnSpc>
                <a:spcPct val="100000"/>
              </a:lnSpc>
              <a:spcAft>
                <a:spcPts val="800"/>
              </a:spcAft>
              <a:defRPr sz="1333">
                <a:solidFill>
                  <a:schemeClr val="bg1">
                    <a:lumMod val="40000"/>
                    <a:lumOff val="60000"/>
                  </a:schemeClr>
                </a:solidFill>
              </a:defRPr>
            </a:lvl4pPr>
            <a:lvl5pPr algn="ctr">
              <a:lnSpc>
                <a:spcPct val="100000"/>
              </a:lnSpc>
              <a:spcAft>
                <a:spcPts val="800"/>
              </a:spcAft>
              <a:defRPr sz="1333">
                <a:solidFill>
                  <a:schemeClr val="bg1">
                    <a:lumMod val="40000"/>
                    <a:lumOff val="60000"/>
                  </a:schemeClr>
                </a:solidFill>
              </a:defRPr>
            </a:lvl5pPr>
          </a:lstStyle>
          <a:p>
            <a:pPr lvl="0"/>
            <a:r>
              <a:rPr lang="en-GB"/>
              <a:t>Click to edit text</a:t>
            </a:r>
          </a:p>
        </p:txBody>
      </p:sp>
      <p:sp>
        <p:nvSpPr>
          <p:cNvPr id="24" name="Text Placeholder 42">
            <a:extLst>
              <a:ext uri="{FF2B5EF4-FFF2-40B4-BE49-F238E27FC236}">
                <a16:creationId xmlns:a16="http://schemas.microsoft.com/office/drawing/2014/main" id="{778FF7DF-70A5-332B-A5EE-6DC9008834D3}"/>
              </a:ext>
            </a:extLst>
          </p:cNvPr>
          <p:cNvSpPr>
            <a:spLocks noGrp="1"/>
          </p:cNvSpPr>
          <p:nvPr>
            <p:ph type="body" sz="quarter" idx="36" hasCustomPrompt="1"/>
          </p:nvPr>
        </p:nvSpPr>
        <p:spPr>
          <a:xfrm>
            <a:off x="1295401" y="3917623"/>
            <a:ext cx="10272183" cy="508800"/>
          </a:xfrm>
          <a:custGeom>
            <a:avLst/>
            <a:gdLst>
              <a:gd name="connsiteX0" fmla="*/ 0 w 1145437"/>
              <a:gd name="connsiteY0" fmla="*/ 0 h 812648"/>
              <a:gd name="connsiteX1" fmla="*/ 1145437 w 1145437"/>
              <a:gd name="connsiteY1" fmla="*/ 0 h 812648"/>
              <a:gd name="connsiteX2" fmla="*/ 1145437 w 1145437"/>
              <a:gd name="connsiteY2" fmla="*/ 812648 h 812648"/>
              <a:gd name="connsiteX3" fmla="*/ 0 w 1145437"/>
              <a:gd name="connsiteY3" fmla="*/ 812648 h 812648"/>
            </a:gdLst>
            <a:ahLst/>
            <a:cxnLst>
              <a:cxn ang="0">
                <a:pos x="connsiteX0" y="connsiteY0"/>
              </a:cxn>
              <a:cxn ang="0">
                <a:pos x="connsiteX1" y="connsiteY1"/>
              </a:cxn>
              <a:cxn ang="0">
                <a:pos x="connsiteX2" y="connsiteY2"/>
              </a:cxn>
              <a:cxn ang="0">
                <a:pos x="connsiteX3" y="connsiteY3"/>
              </a:cxn>
            </a:cxnLst>
            <a:rect l="l" t="t" r="r" b="b"/>
            <a:pathLst>
              <a:path w="1145437" h="812648">
                <a:moveTo>
                  <a:pt x="0" y="0"/>
                </a:moveTo>
                <a:lnTo>
                  <a:pt x="1145437" y="0"/>
                </a:lnTo>
                <a:lnTo>
                  <a:pt x="1145437" y="812648"/>
                </a:lnTo>
                <a:lnTo>
                  <a:pt x="0" y="812648"/>
                </a:lnTo>
                <a:close/>
              </a:path>
            </a:pathLst>
          </a:custGeom>
        </p:spPr>
        <p:txBody>
          <a:bodyPr wrap="square" anchor="ctr">
            <a:noAutofit/>
          </a:bodyPr>
          <a:lstStyle>
            <a:lvl1pPr algn="l">
              <a:lnSpc>
                <a:spcPct val="100000"/>
              </a:lnSpc>
              <a:spcAft>
                <a:spcPts val="800"/>
              </a:spcAft>
              <a:defRPr sz="1600" b="1" i="0">
                <a:solidFill>
                  <a:schemeClr val="tx1"/>
                </a:solidFill>
                <a:latin typeface="Proximus Bold" pitchFamily="2" charset="77"/>
              </a:defRPr>
            </a:lvl1pPr>
            <a:lvl2pPr marL="6351" indent="0" algn="ctr">
              <a:lnSpc>
                <a:spcPct val="100000"/>
              </a:lnSpc>
              <a:spcAft>
                <a:spcPts val="800"/>
              </a:spcAft>
              <a:buNone/>
              <a:tabLst/>
              <a:defRPr sz="1333" b="0" i="0">
                <a:solidFill>
                  <a:schemeClr val="tx1"/>
                </a:solidFill>
                <a:latin typeface="Proximus Light" pitchFamily="2" charset="77"/>
              </a:defRPr>
            </a:lvl2pPr>
            <a:lvl3pPr algn="ctr">
              <a:lnSpc>
                <a:spcPct val="100000"/>
              </a:lnSpc>
              <a:spcAft>
                <a:spcPts val="800"/>
              </a:spcAft>
              <a:defRPr sz="1333">
                <a:solidFill>
                  <a:schemeClr val="bg1">
                    <a:lumMod val="40000"/>
                    <a:lumOff val="60000"/>
                  </a:schemeClr>
                </a:solidFill>
              </a:defRPr>
            </a:lvl3pPr>
            <a:lvl4pPr algn="ctr">
              <a:lnSpc>
                <a:spcPct val="100000"/>
              </a:lnSpc>
              <a:spcAft>
                <a:spcPts val="800"/>
              </a:spcAft>
              <a:defRPr sz="1333">
                <a:solidFill>
                  <a:schemeClr val="bg1">
                    <a:lumMod val="40000"/>
                    <a:lumOff val="60000"/>
                  </a:schemeClr>
                </a:solidFill>
              </a:defRPr>
            </a:lvl4pPr>
            <a:lvl5pPr algn="ctr">
              <a:lnSpc>
                <a:spcPct val="100000"/>
              </a:lnSpc>
              <a:spcAft>
                <a:spcPts val="800"/>
              </a:spcAft>
              <a:defRPr sz="1333">
                <a:solidFill>
                  <a:schemeClr val="bg1">
                    <a:lumMod val="40000"/>
                    <a:lumOff val="60000"/>
                  </a:schemeClr>
                </a:solidFill>
              </a:defRPr>
            </a:lvl5pPr>
          </a:lstStyle>
          <a:p>
            <a:pPr lvl="0"/>
            <a:r>
              <a:rPr lang="en-GB"/>
              <a:t>Click to edit text</a:t>
            </a:r>
          </a:p>
        </p:txBody>
      </p:sp>
      <p:sp>
        <p:nvSpPr>
          <p:cNvPr id="25" name="Text Placeholder 42">
            <a:extLst>
              <a:ext uri="{FF2B5EF4-FFF2-40B4-BE49-F238E27FC236}">
                <a16:creationId xmlns:a16="http://schemas.microsoft.com/office/drawing/2014/main" id="{BAB471F9-7C87-ECC4-B20D-B31388F7644B}"/>
              </a:ext>
            </a:extLst>
          </p:cNvPr>
          <p:cNvSpPr>
            <a:spLocks noGrp="1"/>
          </p:cNvSpPr>
          <p:nvPr>
            <p:ph type="body" sz="quarter" idx="37" hasCustomPrompt="1"/>
          </p:nvPr>
        </p:nvSpPr>
        <p:spPr>
          <a:xfrm>
            <a:off x="1295401" y="4659311"/>
            <a:ext cx="10272183" cy="508800"/>
          </a:xfrm>
          <a:custGeom>
            <a:avLst/>
            <a:gdLst>
              <a:gd name="connsiteX0" fmla="*/ 0 w 1145437"/>
              <a:gd name="connsiteY0" fmla="*/ 0 h 812648"/>
              <a:gd name="connsiteX1" fmla="*/ 1145437 w 1145437"/>
              <a:gd name="connsiteY1" fmla="*/ 0 h 812648"/>
              <a:gd name="connsiteX2" fmla="*/ 1145437 w 1145437"/>
              <a:gd name="connsiteY2" fmla="*/ 812648 h 812648"/>
              <a:gd name="connsiteX3" fmla="*/ 0 w 1145437"/>
              <a:gd name="connsiteY3" fmla="*/ 812648 h 812648"/>
            </a:gdLst>
            <a:ahLst/>
            <a:cxnLst>
              <a:cxn ang="0">
                <a:pos x="connsiteX0" y="connsiteY0"/>
              </a:cxn>
              <a:cxn ang="0">
                <a:pos x="connsiteX1" y="connsiteY1"/>
              </a:cxn>
              <a:cxn ang="0">
                <a:pos x="connsiteX2" y="connsiteY2"/>
              </a:cxn>
              <a:cxn ang="0">
                <a:pos x="connsiteX3" y="connsiteY3"/>
              </a:cxn>
            </a:cxnLst>
            <a:rect l="l" t="t" r="r" b="b"/>
            <a:pathLst>
              <a:path w="1145437" h="812648">
                <a:moveTo>
                  <a:pt x="0" y="0"/>
                </a:moveTo>
                <a:lnTo>
                  <a:pt x="1145437" y="0"/>
                </a:lnTo>
                <a:lnTo>
                  <a:pt x="1145437" y="812648"/>
                </a:lnTo>
                <a:lnTo>
                  <a:pt x="0" y="812648"/>
                </a:lnTo>
                <a:close/>
              </a:path>
            </a:pathLst>
          </a:custGeom>
        </p:spPr>
        <p:txBody>
          <a:bodyPr wrap="square" anchor="ctr">
            <a:noAutofit/>
          </a:bodyPr>
          <a:lstStyle>
            <a:lvl1pPr algn="l">
              <a:lnSpc>
                <a:spcPct val="100000"/>
              </a:lnSpc>
              <a:spcAft>
                <a:spcPts val="800"/>
              </a:spcAft>
              <a:defRPr sz="1600" b="1" i="0">
                <a:solidFill>
                  <a:schemeClr val="tx1"/>
                </a:solidFill>
                <a:latin typeface="Proximus Bold" pitchFamily="2" charset="77"/>
              </a:defRPr>
            </a:lvl1pPr>
            <a:lvl2pPr marL="6351" indent="0" algn="ctr">
              <a:lnSpc>
                <a:spcPct val="100000"/>
              </a:lnSpc>
              <a:spcAft>
                <a:spcPts val="800"/>
              </a:spcAft>
              <a:buNone/>
              <a:tabLst/>
              <a:defRPr sz="1333" b="0" i="0">
                <a:solidFill>
                  <a:schemeClr val="tx1"/>
                </a:solidFill>
                <a:latin typeface="Proximus Light" pitchFamily="2" charset="77"/>
              </a:defRPr>
            </a:lvl2pPr>
            <a:lvl3pPr algn="ctr">
              <a:lnSpc>
                <a:spcPct val="100000"/>
              </a:lnSpc>
              <a:spcAft>
                <a:spcPts val="800"/>
              </a:spcAft>
              <a:defRPr sz="1333">
                <a:solidFill>
                  <a:schemeClr val="bg1">
                    <a:lumMod val="40000"/>
                    <a:lumOff val="60000"/>
                  </a:schemeClr>
                </a:solidFill>
              </a:defRPr>
            </a:lvl3pPr>
            <a:lvl4pPr algn="ctr">
              <a:lnSpc>
                <a:spcPct val="100000"/>
              </a:lnSpc>
              <a:spcAft>
                <a:spcPts val="800"/>
              </a:spcAft>
              <a:defRPr sz="1333">
                <a:solidFill>
                  <a:schemeClr val="bg1">
                    <a:lumMod val="40000"/>
                    <a:lumOff val="60000"/>
                  </a:schemeClr>
                </a:solidFill>
              </a:defRPr>
            </a:lvl4pPr>
            <a:lvl5pPr algn="ctr">
              <a:lnSpc>
                <a:spcPct val="100000"/>
              </a:lnSpc>
              <a:spcAft>
                <a:spcPts val="800"/>
              </a:spcAft>
              <a:defRPr sz="1333">
                <a:solidFill>
                  <a:schemeClr val="bg1">
                    <a:lumMod val="40000"/>
                    <a:lumOff val="60000"/>
                  </a:schemeClr>
                </a:solidFill>
              </a:defRPr>
            </a:lvl5pPr>
          </a:lstStyle>
          <a:p>
            <a:pPr lvl="0"/>
            <a:r>
              <a:rPr lang="en-GB"/>
              <a:t>Click to edit text</a:t>
            </a:r>
          </a:p>
        </p:txBody>
      </p:sp>
      <p:sp>
        <p:nvSpPr>
          <p:cNvPr id="26" name="Text Placeholder 42">
            <a:extLst>
              <a:ext uri="{FF2B5EF4-FFF2-40B4-BE49-F238E27FC236}">
                <a16:creationId xmlns:a16="http://schemas.microsoft.com/office/drawing/2014/main" id="{15A9401A-AAC7-07BD-4B6E-66B0F09C0C41}"/>
              </a:ext>
            </a:extLst>
          </p:cNvPr>
          <p:cNvSpPr>
            <a:spLocks noGrp="1"/>
          </p:cNvSpPr>
          <p:nvPr>
            <p:ph type="body" sz="quarter" idx="38" hasCustomPrompt="1"/>
          </p:nvPr>
        </p:nvSpPr>
        <p:spPr>
          <a:xfrm>
            <a:off x="1295401" y="5400996"/>
            <a:ext cx="10272183" cy="508800"/>
          </a:xfrm>
          <a:custGeom>
            <a:avLst/>
            <a:gdLst>
              <a:gd name="connsiteX0" fmla="*/ 0 w 1145437"/>
              <a:gd name="connsiteY0" fmla="*/ 0 h 812648"/>
              <a:gd name="connsiteX1" fmla="*/ 1145437 w 1145437"/>
              <a:gd name="connsiteY1" fmla="*/ 0 h 812648"/>
              <a:gd name="connsiteX2" fmla="*/ 1145437 w 1145437"/>
              <a:gd name="connsiteY2" fmla="*/ 812648 h 812648"/>
              <a:gd name="connsiteX3" fmla="*/ 0 w 1145437"/>
              <a:gd name="connsiteY3" fmla="*/ 812648 h 812648"/>
            </a:gdLst>
            <a:ahLst/>
            <a:cxnLst>
              <a:cxn ang="0">
                <a:pos x="connsiteX0" y="connsiteY0"/>
              </a:cxn>
              <a:cxn ang="0">
                <a:pos x="connsiteX1" y="connsiteY1"/>
              </a:cxn>
              <a:cxn ang="0">
                <a:pos x="connsiteX2" y="connsiteY2"/>
              </a:cxn>
              <a:cxn ang="0">
                <a:pos x="connsiteX3" y="connsiteY3"/>
              </a:cxn>
            </a:cxnLst>
            <a:rect l="l" t="t" r="r" b="b"/>
            <a:pathLst>
              <a:path w="1145437" h="812648">
                <a:moveTo>
                  <a:pt x="0" y="0"/>
                </a:moveTo>
                <a:lnTo>
                  <a:pt x="1145437" y="0"/>
                </a:lnTo>
                <a:lnTo>
                  <a:pt x="1145437" y="812648"/>
                </a:lnTo>
                <a:lnTo>
                  <a:pt x="0" y="812648"/>
                </a:lnTo>
                <a:close/>
              </a:path>
            </a:pathLst>
          </a:custGeom>
        </p:spPr>
        <p:txBody>
          <a:bodyPr wrap="square" anchor="ctr">
            <a:noAutofit/>
          </a:bodyPr>
          <a:lstStyle>
            <a:lvl1pPr algn="l">
              <a:lnSpc>
                <a:spcPct val="100000"/>
              </a:lnSpc>
              <a:spcAft>
                <a:spcPts val="800"/>
              </a:spcAft>
              <a:defRPr sz="1600" b="1" i="0">
                <a:solidFill>
                  <a:schemeClr val="tx1"/>
                </a:solidFill>
                <a:latin typeface="Proximus Bold" pitchFamily="2" charset="77"/>
              </a:defRPr>
            </a:lvl1pPr>
            <a:lvl2pPr marL="6351" indent="0" algn="ctr">
              <a:lnSpc>
                <a:spcPct val="100000"/>
              </a:lnSpc>
              <a:spcAft>
                <a:spcPts val="800"/>
              </a:spcAft>
              <a:buNone/>
              <a:tabLst/>
              <a:defRPr sz="1333" b="0" i="0">
                <a:solidFill>
                  <a:schemeClr val="tx1"/>
                </a:solidFill>
                <a:latin typeface="Proximus Light" pitchFamily="2" charset="77"/>
              </a:defRPr>
            </a:lvl2pPr>
            <a:lvl3pPr algn="ctr">
              <a:lnSpc>
                <a:spcPct val="100000"/>
              </a:lnSpc>
              <a:spcAft>
                <a:spcPts val="800"/>
              </a:spcAft>
              <a:defRPr sz="1333">
                <a:solidFill>
                  <a:schemeClr val="bg1">
                    <a:lumMod val="40000"/>
                    <a:lumOff val="60000"/>
                  </a:schemeClr>
                </a:solidFill>
              </a:defRPr>
            </a:lvl3pPr>
            <a:lvl4pPr algn="ctr">
              <a:lnSpc>
                <a:spcPct val="100000"/>
              </a:lnSpc>
              <a:spcAft>
                <a:spcPts val="800"/>
              </a:spcAft>
              <a:defRPr sz="1333">
                <a:solidFill>
                  <a:schemeClr val="bg1">
                    <a:lumMod val="40000"/>
                    <a:lumOff val="60000"/>
                  </a:schemeClr>
                </a:solidFill>
              </a:defRPr>
            </a:lvl4pPr>
            <a:lvl5pPr algn="ctr">
              <a:lnSpc>
                <a:spcPct val="100000"/>
              </a:lnSpc>
              <a:spcAft>
                <a:spcPts val="800"/>
              </a:spcAft>
              <a:defRPr sz="1333">
                <a:solidFill>
                  <a:schemeClr val="bg1">
                    <a:lumMod val="40000"/>
                    <a:lumOff val="60000"/>
                  </a:schemeClr>
                </a:solidFill>
              </a:defRPr>
            </a:lvl5pPr>
          </a:lstStyle>
          <a:p>
            <a:pPr lvl="0"/>
            <a:r>
              <a:rPr lang="en-GB"/>
              <a:t>Click to edit text</a:t>
            </a:r>
          </a:p>
        </p:txBody>
      </p:sp>
    </p:spTree>
    <p:extLst>
      <p:ext uri="{BB962C8B-B14F-4D97-AF65-F5344CB8AC3E}">
        <p14:creationId xmlns:p14="http://schemas.microsoft.com/office/powerpoint/2010/main" val="245851266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XS ADA - quot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751254-1FBE-9FE7-EF10-C8D6F56E853F}"/>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6DBB0F50-0FB6-953C-D370-FF32260FD2DE}"/>
              </a:ext>
            </a:extLst>
          </p:cNvPr>
          <p:cNvSpPr/>
          <p:nvPr userDrawn="1"/>
        </p:nvSpPr>
        <p:spPr>
          <a:xfrm>
            <a:off x="-1600" y="1"/>
            <a:ext cx="12193600" cy="6858225"/>
          </a:xfrm>
          <a:prstGeom prst="rect">
            <a:avLst/>
          </a:prstGeom>
          <a:gradFill>
            <a:gsLst>
              <a:gs pos="0">
                <a:srgbClr val="5C2D91"/>
              </a:gs>
              <a:gs pos="60000">
                <a:srgbClr val="5C2D91">
                  <a:alpha val="0"/>
                </a:srgb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2400"/>
          </a:p>
        </p:txBody>
      </p:sp>
      <p:sp>
        <p:nvSpPr>
          <p:cNvPr id="2" name="Title 1">
            <a:extLst>
              <a:ext uri="{FF2B5EF4-FFF2-40B4-BE49-F238E27FC236}">
                <a16:creationId xmlns:a16="http://schemas.microsoft.com/office/drawing/2014/main" id="{4BC89512-9954-A6A2-005C-FCEB079FEEF0}"/>
              </a:ext>
            </a:extLst>
          </p:cNvPr>
          <p:cNvSpPr>
            <a:spLocks noGrp="1"/>
          </p:cNvSpPr>
          <p:nvPr>
            <p:ph type="title"/>
          </p:nvPr>
        </p:nvSpPr>
        <p:spPr>
          <a:xfrm>
            <a:off x="1694390" y="1384300"/>
            <a:ext cx="8803221" cy="4089400"/>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129863724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XS ADA - content 3 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p:txBody>
          <a:bodyPr/>
          <a:lstStyle/>
          <a:p>
            <a:r>
              <a:rPr lang="en-US"/>
              <a:t>Click to edit Master title style</a:t>
            </a:r>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613833" y="1676400"/>
            <a:ext cx="3489600" cy="4584699"/>
          </a:xfrm>
          <a:prstGeom prst="roundRect">
            <a:avLst>
              <a:gd name="adj" fmla="val 2708"/>
            </a:avLst>
          </a:prstGeom>
          <a:solidFill>
            <a:schemeClr val="tx1"/>
          </a:solidFill>
          <a:effectLst>
            <a:outerShdw blurRad="317500" dist="114300" dir="5400000" sx="95000" sy="95000" algn="ctr" rotWithShape="0">
              <a:prstClr val="black">
                <a:alpha val="25000"/>
              </a:prstClr>
            </a:outerShdw>
          </a:effectLst>
        </p:spPr>
        <p:txBody>
          <a:bodyPr lIns="180000" tIns="180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6C28FD10-6211-15F4-F325-9B753CA26BAC}"/>
              </a:ext>
            </a:extLst>
          </p:cNvPr>
          <p:cNvSpPr>
            <a:spLocks noGrp="1"/>
          </p:cNvSpPr>
          <p:nvPr>
            <p:ph type="body" sz="quarter" idx="14"/>
          </p:nvPr>
        </p:nvSpPr>
        <p:spPr>
          <a:xfrm>
            <a:off x="4349084" y="1676400"/>
            <a:ext cx="3489600" cy="4584699"/>
          </a:xfrm>
          <a:prstGeom prst="roundRect">
            <a:avLst>
              <a:gd name="adj" fmla="val 2708"/>
            </a:avLst>
          </a:prstGeom>
          <a:solidFill>
            <a:schemeClr val="tx1"/>
          </a:solidFill>
          <a:effectLst>
            <a:outerShdw blurRad="317500" dist="114300" dir="5400000" sx="95000" sy="95000" algn="ctr" rotWithShape="0">
              <a:prstClr val="black">
                <a:alpha val="25000"/>
              </a:prstClr>
            </a:outerShdw>
          </a:effectLst>
        </p:spPr>
        <p:txBody>
          <a:bodyPr lIns="180000" tIns="180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86D750EB-4A99-5EFB-05A4-AAEB7329760C}"/>
              </a:ext>
            </a:extLst>
          </p:cNvPr>
          <p:cNvSpPr>
            <a:spLocks noGrp="1"/>
          </p:cNvSpPr>
          <p:nvPr>
            <p:ph type="body" sz="quarter" idx="15"/>
          </p:nvPr>
        </p:nvSpPr>
        <p:spPr>
          <a:xfrm>
            <a:off x="8084333" y="1676400"/>
            <a:ext cx="3489600" cy="4584699"/>
          </a:xfrm>
          <a:prstGeom prst="roundRect">
            <a:avLst>
              <a:gd name="adj" fmla="val 2708"/>
            </a:avLst>
          </a:prstGeom>
          <a:solidFill>
            <a:schemeClr val="tx1"/>
          </a:solidFill>
          <a:effectLst>
            <a:outerShdw blurRad="317500" dist="114300" dir="5400000" sx="95000" sy="95000" algn="ctr" rotWithShape="0">
              <a:prstClr val="black">
                <a:alpha val="25000"/>
              </a:prstClr>
            </a:outerShdw>
          </a:effectLst>
        </p:spPr>
        <p:txBody>
          <a:bodyPr lIns="180000" tIns="180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014282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XS ADA - content 4 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p:txBody>
          <a:bodyPr/>
          <a:lstStyle/>
          <a:p>
            <a:r>
              <a:rPr lang="en-US"/>
              <a:t>Click to edit Master title style</a:t>
            </a:r>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613833" y="1676400"/>
            <a:ext cx="2592000" cy="4584699"/>
          </a:xfrm>
          <a:prstGeom prst="roundRect">
            <a:avLst>
              <a:gd name="adj" fmla="val 3244"/>
            </a:avLst>
          </a:prstGeom>
          <a:solidFill>
            <a:schemeClr val="tx1"/>
          </a:solidFill>
          <a:effectLst>
            <a:outerShdw blurRad="317500" dist="114300" dir="5400000" sx="95000" sy="95000" algn="ctr" rotWithShape="0">
              <a:prstClr val="black">
                <a:alpha val="25000"/>
              </a:prstClr>
            </a:outerShdw>
          </a:effectLst>
        </p:spPr>
        <p:txBody>
          <a:bodyPr lIns="180000" tIns="180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7">
            <a:extLst>
              <a:ext uri="{FF2B5EF4-FFF2-40B4-BE49-F238E27FC236}">
                <a16:creationId xmlns:a16="http://schemas.microsoft.com/office/drawing/2014/main" id="{1F772260-2945-EBFD-3670-029E54732063}"/>
              </a:ext>
            </a:extLst>
          </p:cNvPr>
          <p:cNvSpPr>
            <a:spLocks noGrp="1"/>
          </p:cNvSpPr>
          <p:nvPr>
            <p:ph type="body" sz="quarter" idx="14"/>
          </p:nvPr>
        </p:nvSpPr>
        <p:spPr>
          <a:xfrm>
            <a:off x="3403907" y="1676400"/>
            <a:ext cx="2592000" cy="4584699"/>
          </a:xfrm>
          <a:prstGeom prst="roundRect">
            <a:avLst>
              <a:gd name="adj" fmla="val 3244"/>
            </a:avLst>
          </a:prstGeom>
          <a:solidFill>
            <a:schemeClr val="tx1"/>
          </a:solidFill>
          <a:effectLst>
            <a:outerShdw blurRad="317500" dist="114300" dir="5400000" sx="95000" sy="95000" algn="ctr" rotWithShape="0">
              <a:prstClr val="black">
                <a:alpha val="25000"/>
              </a:prstClr>
            </a:outerShdw>
          </a:effectLst>
        </p:spPr>
        <p:txBody>
          <a:bodyPr lIns="180000" tIns="180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7">
            <a:extLst>
              <a:ext uri="{FF2B5EF4-FFF2-40B4-BE49-F238E27FC236}">
                <a16:creationId xmlns:a16="http://schemas.microsoft.com/office/drawing/2014/main" id="{FAB02532-79AB-8A2A-CD2E-580CD3379ED9}"/>
              </a:ext>
            </a:extLst>
          </p:cNvPr>
          <p:cNvSpPr>
            <a:spLocks noGrp="1"/>
          </p:cNvSpPr>
          <p:nvPr>
            <p:ph type="body" sz="quarter" idx="15"/>
          </p:nvPr>
        </p:nvSpPr>
        <p:spPr>
          <a:xfrm>
            <a:off x="6193980" y="1676400"/>
            <a:ext cx="2592000" cy="4584699"/>
          </a:xfrm>
          <a:prstGeom prst="roundRect">
            <a:avLst>
              <a:gd name="adj" fmla="val 3244"/>
            </a:avLst>
          </a:prstGeom>
          <a:solidFill>
            <a:schemeClr val="tx1"/>
          </a:solidFill>
          <a:effectLst>
            <a:outerShdw blurRad="317500" dist="114300" dir="5400000" sx="95000" sy="95000" algn="ctr" rotWithShape="0">
              <a:prstClr val="black">
                <a:alpha val="25000"/>
              </a:prstClr>
            </a:outerShdw>
          </a:effectLst>
        </p:spPr>
        <p:txBody>
          <a:bodyPr lIns="180000" tIns="180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39707E10-AFDD-6870-8CB0-CCAF76E224C0}"/>
              </a:ext>
            </a:extLst>
          </p:cNvPr>
          <p:cNvSpPr>
            <a:spLocks noGrp="1"/>
          </p:cNvSpPr>
          <p:nvPr>
            <p:ph type="body" sz="quarter" idx="16"/>
          </p:nvPr>
        </p:nvSpPr>
        <p:spPr>
          <a:xfrm>
            <a:off x="8984053" y="1676400"/>
            <a:ext cx="2592000" cy="4584699"/>
          </a:xfrm>
          <a:prstGeom prst="roundRect">
            <a:avLst>
              <a:gd name="adj" fmla="val 3244"/>
            </a:avLst>
          </a:prstGeom>
          <a:solidFill>
            <a:schemeClr val="tx1"/>
          </a:solidFill>
          <a:effectLst>
            <a:outerShdw blurRad="317500" dist="114300" dir="5400000" sx="95000" sy="95000" algn="ctr" rotWithShape="0">
              <a:prstClr val="black">
                <a:alpha val="25000"/>
              </a:prstClr>
            </a:outerShdw>
          </a:effectLst>
        </p:spPr>
        <p:txBody>
          <a:bodyPr lIns="180000" tIns="180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313908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XS ADA - content 5 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p:txBody>
          <a:bodyPr/>
          <a:lstStyle/>
          <a:p>
            <a:r>
              <a:rPr lang="en-US"/>
              <a:t>Click to edit Master title style</a:t>
            </a:r>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613833" y="1676400"/>
            <a:ext cx="2040000" cy="4584699"/>
          </a:xfrm>
          <a:prstGeom prst="roundRect">
            <a:avLst>
              <a:gd name="adj" fmla="val 3244"/>
            </a:avLst>
          </a:prstGeom>
          <a:solidFill>
            <a:schemeClr val="tx1"/>
          </a:solidFill>
          <a:effectLst>
            <a:outerShdw blurRad="317500" dist="114300" dir="5400000" sx="95000" sy="95000" algn="ctr" rotWithShape="0">
              <a:prstClr val="black">
                <a:alpha val="25000"/>
              </a:prstClr>
            </a:outerShdw>
          </a:effectLst>
        </p:spPr>
        <p:txBody>
          <a:bodyPr lIns="180000" tIns="180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7">
            <a:extLst>
              <a:ext uri="{FF2B5EF4-FFF2-40B4-BE49-F238E27FC236}">
                <a16:creationId xmlns:a16="http://schemas.microsoft.com/office/drawing/2014/main" id="{6867138B-82D4-F2C3-4118-0FDBE3105F7F}"/>
              </a:ext>
            </a:extLst>
          </p:cNvPr>
          <p:cNvSpPr>
            <a:spLocks noGrp="1"/>
          </p:cNvSpPr>
          <p:nvPr>
            <p:ph type="body" sz="quarter" idx="14"/>
          </p:nvPr>
        </p:nvSpPr>
        <p:spPr>
          <a:xfrm>
            <a:off x="2843859" y="1676400"/>
            <a:ext cx="2040000" cy="4584699"/>
          </a:xfrm>
          <a:prstGeom prst="roundRect">
            <a:avLst>
              <a:gd name="adj" fmla="val 3244"/>
            </a:avLst>
          </a:prstGeom>
          <a:solidFill>
            <a:schemeClr val="tx1"/>
          </a:solidFill>
          <a:effectLst>
            <a:outerShdw blurRad="317500" dist="114300" dir="5400000" sx="95000" sy="95000" algn="ctr" rotWithShape="0">
              <a:prstClr val="black">
                <a:alpha val="25000"/>
              </a:prstClr>
            </a:outerShdw>
          </a:effectLst>
        </p:spPr>
        <p:txBody>
          <a:bodyPr lIns="180000" tIns="180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77C30F6-3419-46A6-924B-3DFD6B4CD0C0}"/>
              </a:ext>
            </a:extLst>
          </p:cNvPr>
          <p:cNvSpPr>
            <a:spLocks noGrp="1"/>
          </p:cNvSpPr>
          <p:nvPr>
            <p:ph type="body" sz="quarter" idx="15"/>
          </p:nvPr>
        </p:nvSpPr>
        <p:spPr>
          <a:xfrm>
            <a:off x="5073884" y="1676400"/>
            <a:ext cx="2040000" cy="4584699"/>
          </a:xfrm>
          <a:prstGeom prst="roundRect">
            <a:avLst>
              <a:gd name="adj" fmla="val 3244"/>
            </a:avLst>
          </a:prstGeom>
          <a:solidFill>
            <a:schemeClr val="tx1"/>
          </a:solidFill>
          <a:effectLst>
            <a:outerShdw blurRad="317500" dist="114300" dir="5400000" sx="95000" sy="95000" algn="ctr" rotWithShape="0">
              <a:prstClr val="black">
                <a:alpha val="25000"/>
              </a:prstClr>
            </a:outerShdw>
          </a:effectLst>
        </p:spPr>
        <p:txBody>
          <a:bodyPr lIns="180000" tIns="180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025EB90A-A220-4A74-0779-59688C1AA85F}"/>
              </a:ext>
            </a:extLst>
          </p:cNvPr>
          <p:cNvSpPr>
            <a:spLocks noGrp="1"/>
          </p:cNvSpPr>
          <p:nvPr>
            <p:ph type="body" sz="quarter" idx="16"/>
          </p:nvPr>
        </p:nvSpPr>
        <p:spPr>
          <a:xfrm>
            <a:off x="7303909" y="1676400"/>
            <a:ext cx="2040000" cy="4584699"/>
          </a:xfrm>
          <a:prstGeom prst="roundRect">
            <a:avLst>
              <a:gd name="adj" fmla="val 3244"/>
            </a:avLst>
          </a:prstGeom>
          <a:solidFill>
            <a:schemeClr val="tx1"/>
          </a:solidFill>
          <a:effectLst>
            <a:outerShdw blurRad="317500" dist="114300" dir="5400000" sx="95000" sy="95000" algn="ctr" rotWithShape="0">
              <a:prstClr val="black">
                <a:alpha val="25000"/>
              </a:prstClr>
            </a:outerShdw>
          </a:effectLst>
        </p:spPr>
        <p:txBody>
          <a:bodyPr lIns="180000" tIns="180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2DF36753-2677-3268-DAA1-8D693CDA9D2E}"/>
              </a:ext>
            </a:extLst>
          </p:cNvPr>
          <p:cNvSpPr>
            <a:spLocks noGrp="1"/>
          </p:cNvSpPr>
          <p:nvPr>
            <p:ph type="body" sz="quarter" idx="17"/>
          </p:nvPr>
        </p:nvSpPr>
        <p:spPr>
          <a:xfrm>
            <a:off x="9533933" y="1676400"/>
            <a:ext cx="2040000" cy="4584699"/>
          </a:xfrm>
          <a:prstGeom prst="roundRect">
            <a:avLst>
              <a:gd name="adj" fmla="val 3244"/>
            </a:avLst>
          </a:prstGeom>
          <a:solidFill>
            <a:schemeClr val="tx1"/>
          </a:solidFill>
          <a:effectLst>
            <a:outerShdw blurRad="317500" dist="114300" dir="5400000" sx="95000" sy="95000" algn="ctr" rotWithShape="0">
              <a:prstClr val="black">
                <a:alpha val="25000"/>
              </a:prstClr>
            </a:outerShdw>
          </a:effectLst>
        </p:spPr>
        <p:txBody>
          <a:bodyPr lIns="180000" tIns="180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99955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XS ADA - Chapter - Title &amp; subtitle">
    <p:bg>
      <p:bgPr>
        <a:solidFill>
          <a:srgbClr val="03001D"/>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79EB520-C304-492D-B09B-D79F860D494C}"/>
              </a:ext>
              <a:ext uri="{C183D7F6-B498-43B3-948B-1728B52AA6E4}">
                <adec:decorative xmlns:adec="http://schemas.microsoft.com/office/drawing/2017/decorative" val="1"/>
              </a:ext>
            </a:extLst>
          </p:cNvPr>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400" y="1"/>
            <a:ext cx="12192400" cy="6858225"/>
          </a:xfrm>
          <a:prstGeom prst="rect">
            <a:avLst/>
          </a:prstGeom>
        </p:spPr>
      </p:pic>
      <p:pic>
        <p:nvPicPr>
          <p:cNvPr id="3" name="Picture 2" descr="A purple and blue swirly symbol&#10;&#10;Description automatically generated with medium confidence">
            <a:extLst>
              <a:ext uri="{FF2B5EF4-FFF2-40B4-BE49-F238E27FC236}">
                <a16:creationId xmlns:a16="http://schemas.microsoft.com/office/drawing/2014/main" id="{AF7EF780-89A6-96DF-A732-230CBF9470B1}"/>
              </a:ext>
            </a:extLst>
          </p:cNvPr>
          <p:cNvPicPr>
            <a:picLocks noGrp="1" noRot="1" noChangeAspect="1" noMove="1" noResize="1" noEditPoints="1" noAdjustHandles="1" noChangeArrowheads="1" noChangeShapeType="1" noCrop="1"/>
          </p:cNvPicPr>
          <p:nvPr userDrawn="1"/>
        </p:nvPicPr>
        <p:blipFill rotWithShape="1">
          <a:blip r:embed="rId3">
            <a:extLst>
              <a:ext uri="{28A0092B-C50C-407E-A947-70E740481C1C}">
                <a14:useLocalDpi xmlns:a14="http://schemas.microsoft.com/office/drawing/2010/main" val="0"/>
              </a:ext>
            </a:extLst>
          </a:blip>
          <a:srcRect l="77" t="24581" r="45846" b="22455"/>
          <a:stretch/>
        </p:blipFill>
        <p:spPr>
          <a:xfrm>
            <a:off x="5184000" y="0"/>
            <a:ext cx="7008000" cy="6864000"/>
          </a:xfrm>
          <a:prstGeom prst="rect">
            <a:avLst/>
          </a:prstGeom>
        </p:spPr>
      </p:pic>
      <p:sp>
        <p:nvSpPr>
          <p:cNvPr id="2" name="Rectangle 1">
            <a:extLst>
              <a:ext uri="{FF2B5EF4-FFF2-40B4-BE49-F238E27FC236}">
                <a16:creationId xmlns:a16="http://schemas.microsoft.com/office/drawing/2014/main" id="{28459E44-D06D-88FC-53D9-BC26ADEA3C7E}"/>
              </a:ext>
            </a:extLst>
          </p:cNvPr>
          <p:cNvSpPr/>
          <p:nvPr userDrawn="1"/>
        </p:nvSpPr>
        <p:spPr>
          <a:xfrm>
            <a:off x="-1600" y="1"/>
            <a:ext cx="12193600" cy="6858225"/>
          </a:xfrm>
          <a:prstGeom prst="rect">
            <a:avLst/>
          </a:prstGeom>
          <a:gradFill>
            <a:gsLst>
              <a:gs pos="0">
                <a:srgbClr val="5C2D91"/>
              </a:gs>
              <a:gs pos="60000">
                <a:srgbClr val="5C2D91">
                  <a:alpha val="0"/>
                </a:srgb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2400"/>
          </a:p>
        </p:txBody>
      </p:sp>
      <p:pic>
        <p:nvPicPr>
          <p:cNvPr id="4" name="Graphic 3">
            <a:extLst>
              <a:ext uri="{FF2B5EF4-FFF2-40B4-BE49-F238E27FC236}">
                <a16:creationId xmlns:a16="http://schemas.microsoft.com/office/drawing/2014/main" id="{17BEAF36-9376-3B90-3EC8-10359E22C1C1}"/>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4418" y="602644"/>
            <a:ext cx="1663503" cy="455445"/>
          </a:xfrm>
          <a:prstGeom prst="rect">
            <a:avLst/>
          </a:prstGeom>
        </p:spPr>
      </p:pic>
      <p:sp>
        <p:nvSpPr>
          <p:cNvPr id="5" name="Title 1">
            <a:extLst>
              <a:ext uri="{FF2B5EF4-FFF2-40B4-BE49-F238E27FC236}">
                <a16:creationId xmlns:a16="http://schemas.microsoft.com/office/drawing/2014/main" id="{ED6DB463-ECA8-ECA6-048A-74B4A9AA17A3}"/>
              </a:ext>
            </a:extLst>
          </p:cNvPr>
          <p:cNvSpPr>
            <a:spLocks noGrp="1"/>
          </p:cNvSpPr>
          <p:nvPr>
            <p:ph type="title" hasCustomPrompt="1"/>
          </p:nvPr>
        </p:nvSpPr>
        <p:spPr>
          <a:xfrm>
            <a:off x="613835" y="2520356"/>
            <a:ext cx="6261653" cy="1658907"/>
          </a:xfrm>
        </p:spPr>
        <p:txBody>
          <a:bodyPr anchor="b">
            <a:normAutofit/>
          </a:bodyPr>
          <a:lstStyle>
            <a:lvl1pPr>
              <a:lnSpc>
                <a:spcPct val="90000"/>
              </a:lnSpc>
              <a:defRPr sz="5333" b="0" i="0">
                <a:solidFill>
                  <a:srgbClr val="FFFFFF"/>
                </a:solidFill>
                <a:latin typeface="Proximus Light" pitchFamily="2" charset="77"/>
              </a:defRPr>
            </a:lvl1pPr>
          </a:lstStyle>
          <a:p>
            <a:r>
              <a:rPr lang="en-US"/>
              <a:t>Click to edit </a:t>
            </a:r>
            <a:r>
              <a:rPr lang="en-BE"/>
              <a:t>chapter</a:t>
            </a:r>
            <a:r>
              <a:rPr lang="en-US"/>
              <a:t> title</a:t>
            </a:r>
            <a:endParaRPr lang="nl-BE"/>
          </a:p>
        </p:txBody>
      </p:sp>
      <p:sp>
        <p:nvSpPr>
          <p:cNvPr id="6" name="Text Placeholder 4">
            <a:extLst>
              <a:ext uri="{FF2B5EF4-FFF2-40B4-BE49-F238E27FC236}">
                <a16:creationId xmlns:a16="http://schemas.microsoft.com/office/drawing/2014/main" id="{ADD02648-C2BE-4807-31D2-CA72AFB02CA4}"/>
              </a:ext>
            </a:extLst>
          </p:cNvPr>
          <p:cNvSpPr>
            <a:spLocks noGrp="1"/>
          </p:cNvSpPr>
          <p:nvPr>
            <p:ph type="body" sz="quarter" idx="11" hasCustomPrompt="1"/>
          </p:nvPr>
        </p:nvSpPr>
        <p:spPr>
          <a:xfrm>
            <a:off x="613834" y="4431700"/>
            <a:ext cx="5981839" cy="1230825"/>
          </a:xfrm>
        </p:spPr>
        <p:txBody>
          <a:bodyPr anchor="t"/>
          <a:lstStyle>
            <a:lvl1pPr>
              <a:lnSpc>
                <a:spcPct val="120000"/>
              </a:lnSpc>
              <a:spcAft>
                <a:spcPts val="0"/>
              </a:spcAft>
              <a:defRPr sz="2667" b="1">
                <a:solidFill>
                  <a:schemeClr val="accent4"/>
                </a:solidFill>
                <a:latin typeface="Proximus Bold" panose="00000800000000000000" pitchFamily="2" charset="0"/>
                <a:ea typeface="NSimSun" panose="02010609030101010101" pitchFamily="49" charset="-122"/>
              </a:defRPr>
            </a:lvl1pPr>
          </a:lstStyle>
          <a:p>
            <a:r>
              <a:rPr lang="en-US" b="0" i="0">
                <a:latin typeface="Proximus Light" pitchFamily="2" charset="77"/>
              </a:rPr>
              <a:t>Click to edit subtitle</a:t>
            </a:r>
            <a:r>
              <a:rPr lang="en-BE" b="0" i="0">
                <a:latin typeface="Proximus Light" pitchFamily="2" charset="77"/>
              </a:rPr>
              <a:t> if any</a:t>
            </a:r>
            <a:endParaRPr lang="nl-BE" b="0" i="0">
              <a:latin typeface="Proximus Light" pitchFamily="2" charset="77"/>
            </a:endParaRPr>
          </a:p>
        </p:txBody>
      </p:sp>
    </p:spTree>
    <p:extLst>
      <p:ext uri="{BB962C8B-B14F-4D97-AF65-F5344CB8AC3E}">
        <p14:creationId xmlns:p14="http://schemas.microsoft.com/office/powerpoint/2010/main" val="94209898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XS ADA - content 6 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p:txBody>
          <a:bodyPr/>
          <a:lstStyle/>
          <a:p>
            <a:r>
              <a:rPr lang="en-US"/>
              <a:t>Click to edit Master title style</a:t>
            </a:r>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613833" y="1676400"/>
            <a:ext cx="3489600" cy="2185477"/>
          </a:xfrm>
          <a:prstGeom prst="roundRect">
            <a:avLst>
              <a:gd name="adj" fmla="val 2708"/>
            </a:avLst>
          </a:prstGeom>
          <a:solidFill>
            <a:schemeClr val="tx1"/>
          </a:solidFill>
          <a:effectLst>
            <a:outerShdw blurRad="317500" dist="114300" dir="5400000" sx="95000" sy="95000" algn="ctr" rotWithShape="0">
              <a:prstClr val="black">
                <a:alpha val="25000"/>
              </a:prstClr>
            </a:outerShdw>
          </a:effectLst>
        </p:spPr>
        <p:txBody>
          <a:bodyPr lIns="180000" tIns="180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7">
            <a:extLst>
              <a:ext uri="{FF2B5EF4-FFF2-40B4-BE49-F238E27FC236}">
                <a16:creationId xmlns:a16="http://schemas.microsoft.com/office/drawing/2014/main" id="{6C28FD10-6211-15F4-F325-9B753CA26BAC}"/>
              </a:ext>
            </a:extLst>
          </p:cNvPr>
          <p:cNvSpPr>
            <a:spLocks noGrp="1"/>
          </p:cNvSpPr>
          <p:nvPr>
            <p:ph type="body" sz="quarter" idx="14"/>
          </p:nvPr>
        </p:nvSpPr>
        <p:spPr>
          <a:xfrm>
            <a:off x="4349084" y="1676400"/>
            <a:ext cx="3489600" cy="2185477"/>
          </a:xfrm>
          <a:prstGeom prst="roundRect">
            <a:avLst>
              <a:gd name="adj" fmla="val 2708"/>
            </a:avLst>
          </a:prstGeom>
          <a:solidFill>
            <a:schemeClr val="tx1"/>
          </a:solidFill>
          <a:effectLst>
            <a:outerShdw blurRad="317500" dist="114300" dir="5400000" sx="95000" sy="95000" algn="ctr" rotWithShape="0">
              <a:prstClr val="black">
                <a:alpha val="25000"/>
              </a:prstClr>
            </a:outerShdw>
          </a:effectLst>
        </p:spPr>
        <p:txBody>
          <a:bodyPr lIns="180000" tIns="180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7">
            <a:extLst>
              <a:ext uri="{FF2B5EF4-FFF2-40B4-BE49-F238E27FC236}">
                <a16:creationId xmlns:a16="http://schemas.microsoft.com/office/drawing/2014/main" id="{86D750EB-4A99-5EFB-05A4-AAEB7329760C}"/>
              </a:ext>
            </a:extLst>
          </p:cNvPr>
          <p:cNvSpPr>
            <a:spLocks noGrp="1"/>
          </p:cNvSpPr>
          <p:nvPr>
            <p:ph type="body" sz="quarter" idx="15"/>
          </p:nvPr>
        </p:nvSpPr>
        <p:spPr>
          <a:xfrm>
            <a:off x="8084333" y="1676400"/>
            <a:ext cx="3489600" cy="2185477"/>
          </a:xfrm>
          <a:prstGeom prst="roundRect">
            <a:avLst>
              <a:gd name="adj" fmla="val 2708"/>
            </a:avLst>
          </a:prstGeom>
          <a:solidFill>
            <a:schemeClr val="tx1"/>
          </a:solidFill>
          <a:effectLst>
            <a:outerShdw blurRad="317500" dist="114300" dir="5400000" sx="95000" sy="95000" algn="ctr" rotWithShape="0">
              <a:prstClr val="black">
                <a:alpha val="25000"/>
              </a:prstClr>
            </a:outerShdw>
          </a:effectLst>
        </p:spPr>
        <p:txBody>
          <a:bodyPr lIns="180000" tIns="180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ext Placeholder 7">
            <a:extLst>
              <a:ext uri="{FF2B5EF4-FFF2-40B4-BE49-F238E27FC236}">
                <a16:creationId xmlns:a16="http://schemas.microsoft.com/office/drawing/2014/main" id="{7B0777BA-43C8-590D-A42C-81CE792C78AA}"/>
              </a:ext>
            </a:extLst>
          </p:cNvPr>
          <p:cNvSpPr>
            <a:spLocks noGrp="1"/>
          </p:cNvSpPr>
          <p:nvPr>
            <p:ph type="body" sz="quarter" idx="16"/>
          </p:nvPr>
        </p:nvSpPr>
        <p:spPr>
          <a:xfrm>
            <a:off x="613833" y="4075623"/>
            <a:ext cx="3489600" cy="2185477"/>
          </a:xfrm>
          <a:prstGeom prst="roundRect">
            <a:avLst>
              <a:gd name="adj" fmla="val 2708"/>
            </a:avLst>
          </a:prstGeom>
          <a:solidFill>
            <a:schemeClr val="tx1"/>
          </a:solidFill>
          <a:effectLst>
            <a:outerShdw blurRad="317500" dist="114300" dir="5400000" sx="95000" sy="95000" algn="ctr" rotWithShape="0">
              <a:prstClr val="black">
                <a:alpha val="25000"/>
              </a:prstClr>
            </a:outerShdw>
          </a:effectLst>
        </p:spPr>
        <p:txBody>
          <a:bodyPr lIns="180000" tIns="180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7">
            <a:extLst>
              <a:ext uri="{FF2B5EF4-FFF2-40B4-BE49-F238E27FC236}">
                <a16:creationId xmlns:a16="http://schemas.microsoft.com/office/drawing/2014/main" id="{E4B9B479-C82D-4555-577F-A8ACC2F45E8F}"/>
              </a:ext>
            </a:extLst>
          </p:cNvPr>
          <p:cNvSpPr>
            <a:spLocks noGrp="1"/>
          </p:cNvSpPr>
          <p:nvPr>
            <p:ph type="body" sz="quarter" idx="17"/>
          </p:nvPr>
        </p:nvSpPr>
        <p:spPr>
          <a:xfrm>
            <a:off x="4349084" y="4075623"/>
            <a:ext cx="3489600" cy="2185477"/>
          </a:xfrm>
          <a:prstGeom prst="roundRect">
            <a:avLst>
              <a:gd name="adj" fmla="val 2708"/>
            </a:avLst>
          </a:prstGeom>
          <a:solidFill>
            <a:schemeClr val="tx1"/>
          </a:solidFill>
          <a:effectLst>
            <a:outerShdw blurRad="317500" dist="114300" dir="5400000" sx="95000" sy="95000" algn="ctr" rotWithShape="0">
              <a:prstClr val="black">
                <a:alpha val="25000"/>
              </a:prstClr>
            </a:outerShdw>
          </a:effectLst>
        </p:spPr>
        <p:txBody>
          <a:bodyPr lIns="180000" tIns="180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7">
            <a:extLst>
              <a:ext uri="{FF2B5EF4-FFF2-40B4-BE49-F238E27FC236}">
                <a16:creationId xmlns:a16="http://schemas.microsoft.com/office/drawing/2014/main" id="{8F74C700-FEA8-B84D-1FF7-B104FE733F30}"/>
              </a:ext>
            </a:extLst>
          </p:cNvPr>
          <p:cNvSpPr>
            <a:spLocks noGrp="1"/>
          </p:cNvSpPr>
          <p:nvPr>
            <p:ph type="body" sz="quarter" idx="18"/>
          </p:nvPr>
        </p:nvSpPr>
        <p:spPr>
          <a:xfrm>
            <a:off x="8084333" y="4075623"/>
            <a:ext cx="3489600" cy="2185477"/>
          </a:xfrm>
          <a:prstGeom prst="roundRect">
            <a:avLst>
              <a:gd name="adj" fmla="val 2708"/>
            </a:avLst>
          </a:prstGeom>
          <a:solidFill>
            <a:schemeClr val="tx1"/>
          </a:solidFill>
          <a:effectLst>
            <a:outerShdw blurRad="317500" dist="114300" dir="5400000" sx="95000" sy="95000" algn="ctr" rotWithShape="0">
              <a:prstClr val="black">
                <a:alpha val="25000"/>
              </a:prstClr>
            </a:outerShdw>
          </a:effectLst>
        </p:spPr>
        <p:txBody>
          <a:bodyPr lIns="180000" tIns="180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22325201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XS ADA - content 8 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p:txBody>
          <a:bodyPr/>
          <a:lstStyle/>
          <a:p>
            <a:r>
              <a:rPr lang="en-US"/>
              <a:t>Click to edit Master title style</a:t>
            </a:r>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613833" y="1676400"/>
            <a:ext cx="2592000" cy="2185477"/>
          </a:xfrm>
          <a:prstGeom prst="roundRect">
            <a:avLst>
              <a:gd name="adj" fmla="val 2708"/>
            </a:avLst>
          </a:prstGeom>
          <a:solidFill>
            <a:schemeClr val="tx1"/>
          </a:solidFill>
          <a:effectLst>
            <a:outerShdw blurRad="317500" dist="114300" dir="5400000" sx="95000" sy="95000" algn="ctr" rotWithShape="0">
              <a:prstClr val="black">
                <a:alpha val="25000"/>
              </a:prstClr>
            </a:outerShdw>
          </a:effectLst>
        </p:spPr>
        <p:txBody>
          <a:bodyPr lIns="180000" tIns="180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7">
            <a:extLst>
              <a:ext uri="{FF2B5EF4-FFF2-40B4-BE49-F238E27FC236}">
                <a16:creationId xmlns:a16="http://schemas.microsoft.com/office/drawing/2014/main" id="{4ADBD380-9906-547A-36ED-2947FEB686D3}"/>
              </a:ext>
            </a:extLst>
          </p:cNvPr>
          <p:cNvSpPr>
            <a:spLocks noGrp="1"/>
          </p:cNvSpPr>
          <p:nvPr>
            <p:ph type="body" sz="quarter" idx="14"/>
          </p:nvPr>
        </p:nvSpPr>
        <p:spPr>
          <a:xfrm>
            <a:off x="3403200" y="1676400"/>
            <a:ext cx="2592000" cy="2185477"/>
          </a:xfrm>
          <a:prstGeom prst="roundRect">
            <a:avLst>
              <a:gd name="adj" fmla="val 2708"/>
            </a:avLst>
          </a:prstGeom>
          <a:solidFill>
            <a:schemeClr val="tx1"/>
          </a:solidFill>
          <a:effectLst>
            <a:outerShdw blurRad="317500" dist="114300" dir="5400000" sx="95000" sy="95000" algn="ctr" rotWithShape="0">
              <a:prstClr val="black">
                <a:alpha val="25000"/>
              </a:prstClr>
            </a:outerShdw>
          </a:effectLst>
        </p:spPr>
        <p:txBody>
          <a:bodyPr lIns="180000" tIns="180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7">
            <a:extLst>
              <a:ext uri="{FF2B5EF4-FFF2-40B4-BE49-F238E27FC236}">
                <a16:creationId xmlns:a16="http://schemas.microsoft.com/office/drawing/2014/main" id="{41300FCC-A5BE-D220-7B1E-0516C970BC50}"/>
              </a:ext>
            </a:extLst>
          </p:cNvPr>
          <p:cNvSpPr>
            <a:spLocks noGrp="1"/>
          </p:cNvSpPr>
          <p:nvPr>
            <p:ph type="body" sz="quarter" idx="15"/>
          </p:nvPr>
        </p:nvSpPr>
        <p:spPr>
          <a:xfrm>
            <a:off x="6192567" y="1676400"/>
            <a:ext cx="2592000" cy="2185477"/>
          </a:xfrm>
          <a:prstGeom prst="roundRect">
            <a:avLst>
              <a:gd name="adj" fmla="val 2708"/>
            </a:avLst>
          </a:prstGeom>
          <a:solidFill>
            <a:schemeClr val="tx1"/>
          </a:solidFill>
          <a:effectLst>
            <a:outerShdw blurRad="317500" dist="114300" dir="5400000" sx="95000" sy="95000" algn="ctr" rotWithShape="0">
              <a:prstClr val="black">
                <a:alpha val="25000"/>
              </a:prstClr>
            </a:outerShdw>
          </a:effectLst>
        </p:spPr>
        <p:txBody>
          <a:bodyPr lIns="180000" tIns="180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7">
            <a:extLst>
              <a:ext uri="{FF2B5EF4-FFF2-40B4-BE49-F238E27FC236}">
                <a16:creationId xmlns:a16="http://schemas.microsoft.com/office/drawing/2014/main" id="{3F3F6A23-E894-02FC-5A03-FA8A0EDA6705}"/>
              </a:ext>
            </a:extLst>
          </p:cNvPr>
          <p:cNvSpPr>
            <a:spLocks noGrp="1"/>
          </p:cNvSpPr>
          <p:nvPr>
            <p:ph type="body" sz="quarter" idx="16"/>
          </p:nvPr>
        </p:nvSpPr>
        <p:spPr>
          <a:xfrm>
            <a:off x="8981933" y="1676400"/>
            <a:ext cx="2592000" cy="2185477"/>
          </a:xfrm>
          <a:prstGeom prst="roundRect">
            <a:avLst>
              <a:gd name="adj" fmla="val 2708"/>
            </a:avLst>
          </a:prstGeom>
          <a:solidFill>
            <a:schemeClr val="tx1"/>
          </a:solidFill>
          <a:effectLst>
            <a:outerShdw blurRad="317500" dist="114300" dir="5400000" sx="95000" sy="95000" algn="ctr" rotWithShape="0">
              <a:prstClr val="black">
                <a:alpha val="25000"/>
              </a:prstClr>
            </a:outerShdw>
          </a:effectLst>
        </p:spPr>
        <p:txBody>
          <a:bodyPr lIns="180000" tIns="180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7">
            <a:extLst>
              <a:ext uri="{FF2B5EF4-FFF2-40B4-BE49-F238E27FC236}">
                <a16:creationId xmlns:a16="http://schemas.microsoft.com/office/drawing/2014/main" id="{F29550DB-84B1-5E06-C0B7-86721EF3AF62}"/>
              </a:ext>
            </a:extLst>
          </p:cNvPr>
          <p:cNvSpPr>
            <a:spLocks noGrp="1"/>
          </p:cNvSpPr>
          <p:nvPr>
            <p:ph type="body" sz="quarter" idx="17"/>
          </p:nvPr>
        </p:nvSpPr>
        <p:spPr>
          <a:xfrm>
            <a:off x="613833" y="4075623"/>
            <a:ext cx="2592000" cy="2185477"/>
          </a:xfrm>
          <a:prstGeom prst="roundRect">
            <a:avLst>
              <a:gd name="adj" fmla="val 2708"/>
            </a:avLst>
          </a:prstGeom>
          <a:solidFill>
            <a:schemeClr val="tx1"/>
          </a:solidFill>
          <a:effectLst>
            <a:outerShdw blurRad="317500" dist="114300" dir="5400000" sx="95000" sy="95000" algn="ctr" rotWithShape="0">
              <a:prstClr val="black">
                <a:alpha val="25000"/>
              </a:prstClr>
            </a:outerShdw>
          </a:effectLst>
        </p:spPr>
        <p:txBody>
          <a:bodyPr lIns="180000" tIns="180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7">
            <a:extLst>
              <a:ext uri="{FF2B5EF4-FFF2-40B4-BE49-F238E27FC236}">
                <a16:creationId xmlns:a16="http://schemas.microsoft.com/office/drawing/2014/main" id="{86E26EE7-67CA-EB54-F62B-D219F8A7E401}"/>
              </a:ext>
            </a:extLst>
          </p:cNvPr>
          <p:cNvSpPr>
            <a:spLocks noGrp="1"/>
          </p:cNvSpPr>
          <p:nvPr>
            <p:ph type="body" sz="quarter" idx="18"/>
          </p:nvPr>
        </p:nvSpPr>
        <p:spPr>
          <a:xfrm>
            <a:off x="3403200" y="4075623"/>
            <a:ext cx="2592000" cy="2185477"/>
          </a:xfrm>
          <a:prstGeom prst="roundRect">
            <a:avLst>
              <a:gd name="adj" fmla="val 2708"/>
            </a:avLst>
          </a:prstGeom>
          <a:solidFill>
            <a:schemeClr val="tx1"/>
          </a:solidFill>
          <a:effectLst>
            <a:outerShdw blurRad="317500" dist="114300" dir="5400000" sx="95000" sy="95000" algn="ctr" rotWithShape="0">
              <a:prstClr val="black">
                <a:alpha val="25000"/>
              </a:prstClr>
            </a:outerShdw>
          </a:effectLst>
        </p:spPr>
        <p:txBody>
          <a:bodyPr lIns="180000" tIns="180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7">
            <a:extLst>
              <a:ext uri="{FF2B5EF4-FFF2-40B4-BE49-F238E27FC236}">
                <a16:creationId xmlns:a16="http://schemas.microsoft.com/office/drawing/2014/main" id="{0EA10E96-E7AC-1FA2-4537-FA7DA3DFDF83}"/>
              </a:ext>
            </a:extLst>
          </p:cNvPr>
          <p:cNvSpPr>
            <a:spLocks noGrp="1"/>
          </p:cNvSpPr>
          <p:nvPr>
            <p:ph type="body" sz="quarter" idx="19"/>
          </p:nvPr>
        </p:nvSpPr>
        <p:spPr>
          <a:xfrm>
            <a:off x="6192567" y="4075623"/>
            <a:ext cx="2592000" cy="2185477"/>
          </a:xfrm>
          <a:prstGeom prst="roundRect">
            <a:avLst>
              <a:gd name="adj" fmla="val 2708"/>
            </a:avLst>
          </a:prstGeom>
          <a:solidFill>
            <a:schemeClr val="tx1"/>
          </a:solidFill>
          <a:effectLst>
            <a:outerShdw blurRad="317500" dist="114300" dir="5400000" sx="95000" sy="95000" algn="ctr" rotWithShape="0">
              <a:prstClr val="black">
                <a:alpha val="25000"/>
              </a:prstClr>
            </a:outerShdw>
          </a:effectLst>
        </p:spPr>
        <p:txBody>
          <a:bodyPr lIns="180000" tIns="180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7">
            <a:extLst>
              <a:ext uri="{FF2B5EF4-FFF2-40B4-BE49-F238E27FC236}">
                <a16:creationId xmlns:a16="http://schemas.microsoft.com/office/drawing/2014/main" id="{699B6118-09B0-DC8F-7DC5-69F0BD224B7D}"/>
              </a:ext>
            </a:extLst>
          </p:cNvPr>
          <p:cNvSpPr>
            <a:spLocks noGrp="1"/>
          </p:cNvSpPr>
          <p:nvPr>
            <p:ph type="body" sz="quarter" idx="20"/>
          </p:nvPr>
        </p:nvSpPr>
        <p:spPr>
          <a:xfrm>
            <a:off x="8981933" y="4075623"/>
            <a:ext cx="2592000" cy="2185477"/>
          </a:xfrm>
          <a:prstGeom prst="roundRect">
            <a:avLst>
              <a:gd name="adj" fmla="val 2708"/>
            </a:avLst>
          </a:prstGeom>
          <a:solidFill>
            <a:schemeClr val="tx1"/>
          </a:solidFill>
          <a:effectLst>
            <a:outerShdw blurRad="317500" dist="114300" dir="5400000" sx="95000" sy="95000" algn="ctr" rotWithShape="0">
              <a:prstClr val="black">
                <a:alpha val="25000"/>
              </a:prstClr>
            </a:outerShdw>
          </a:effectLst>
        </p:spPr>
        <p:txBody>
          <a:bodyPr lIns="180000" tIns="180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29784181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XS ADA - content 3 col +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p:txBody>
          <a:bodyPr/>
          <a:lstStyle/>
          <a:p>
            <a:r>
              <a:rPr lang="en-US"/>
              <a:t>Click to edit Master title style</a:t>
            </a:r>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613833" y="2122310"/>
            <a:ext cx="3489600" cy="4138788"/>
          </a:xfrm>
          <a:prstGeom prst="roundRect">
            <a:avLst>
              <a:gd name="adj" fmla="val 2708"/>
            </a:avLst>
          </a:prstGeom>
          <a:solidFill>
            <a:schemeClr val="tx1"/>
          </a:solidFill>
          <a:effectLst>
            <a:outerShdw blurRad="317500" dist="114300" dir="5400000" sx="95000" sy="95000" algn="ctr" rotWithShape="0">
              <a:prstClr val="black">
                <a:alpha val="25000"/>
              </a:prstClr>
            </a:outerShdw>
          </a:effectLst>
        </p:spPr>
        <p:txBody>
          <a:bodyPr lIns="180000" tIns="504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6C28FD10-6211-15F4-F325-9B753CA26BAC}"/>
              </a:ext>
            </a:extLst>
          </p:cNvPr>
          <p:cNvSpPr>
            <a:spLocks noGrp="1"/>
          </p:cNvSpPr>
          <p:nvPr>
            <p:ph type="body" sz="quarter" idx="14"/>
          </p:nvPr>
        </p:nvSpPr>
        <p:spPr>
          <a:xfrm>
            <a:off x="4349084" y="2122310"/>
            <a:ext cx="3489600" cy="4138788"/>
          </a:xfrm>
          <a:prstGeom prst="roundRect">
            <a:avLst>
              <a:gd name="adj" fmla="val 2708"/>
            </a:avLst>
          </a:prstGeom>
          <a:solidFill>
            <a:schemeClr val="tx1"/>
          </a:solidFill>
          <a:effectLst>
            <a:outerShdw blurRad="317500" dist="114300" dir="5400000" sx="95000" sy="95000" algn="ctr" rotWithShape="0">
              <a:prstClr val="black">
                <a:alpha val="25000"/>
              </a:prstClr>
            </a:outerShdw>
          </a:effectLst>
        </p:spPr>
        <p:txBody>
          <a:bodyPr lIns="180000" tIns="504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86D750EB-4A99-5EFB-05A4-AAEB7329760C}"/>
              </a:ext>
            </a:extLst>
          </p:cNvPr>
          <p:cNvSpPr>
            <a:spLocks noGrp="1"/>
          </p:cNvSpPr>
          <p:nvPr>
            <p:ph type="body" sz="quarter" idx="15"/>
          </p:nvPr>
        </p:nvSpPr>
        <p:spPr>
          <a:xfrm>
            <a:off x="8084333" y="2122310"/>
            <a:ext cx="3489600" cy="4138788"/>
          </a:xfrm>
          <a:prstGeom prst="roundRect">
            <a:avLst>
              <a:gd name="adj" fmla="val 2708"/>
            </a:avLst>
          </a:prstGeom>
          <a:solidFill>
            <a:schemeClr val="tx1"/>
          </a:solidFill>
          <a:effectLst>
            <a:outerShdw blurRad="317500" dist="114300" dir="5400000" sx="95000" sy="95000" algn="ctr" rotWithShape="0">
              <a:prstClr val="black">
                <a:alpha val="25000"/>
              </a:prstClr>
            </a:outerShdw>
          </a:effectLst>
        </p:spPr>
        <p:txBody>
          <a:bodyPr lIns="180000" tIns="504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9">
            <a:extLst>
              <a:ext uri="{FF2B5EF4-FFF2-40B4-BE49-F238E27FC236}">
                <a16:creationId xmlns:a16="http://schemas.microsoft.com/office/drawing/2014/main" id="{C48E04CE-3964-DDFB-6960-7E9531052ACD}"/>
              </a:ext>
            </a:extLst>
          </p:cNvPr>
          <p:cNvSpPr>
            <a:spLocks noGrp="1"/>
          </p:cNvSpPr>
          <p:nvPr>
            <p:ph type="pic" sz="quarter" idx="12"/>
          </p:nvPr>
        </p:nvSpPr>
        <p:spPr>
          <a:xfrm>
            <a:off x="1878633" y="1676400"/>
            <a:ext cx="960000" cy="960000"/>
          </a:xfrm>
          <a:custGeom>
            <a:avLst/>
            <a:gdLst>
              <a:gd name="connsiteX0" fmla="*/ 360000 w 720000"/>
              <a:gd name="connsiteY0" fmla="*/ 0 h 720000"/>
              <a:gd name="connsiteX1" fmla="*/ 720000 w 720000"/>
              <a:gd name="connsiteY1" fmla="*/ 360000 h 720000"/>
              <a:gd name="connsiteX2" fmla="*/ 360000 w 720000"/>
              <a:gd name="connsiteY2" fmla="*/ 720000 h 720000"/>
              <a:gd name="connsiteX3" fmla="*/ 0 w 720000"/>
              <a:gd name="connsiteY3" fmla="*/ 360000 h 720000"/>
              <a:gd name="connsiteX4" fmla="*/ 360000 w 72000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720000">
                <a:moveTo>
                  <a:pt x="360000" y="0"/>
                </a:moveTo>
                <a:cubicBezTo>
                  <a:pt x="558823" y="0"/>
                  <a:pt x="720000" y="161177"/>
                  <a:pt x="720000" y="360000"/>
                </a:cubicBezTo>
                <a:cubicBezTo>
                  <a:pt x="720000" y="558823"/>
                  <a:pt x="558823" y="720000"/>
                  <a:pt x="360000" y="720000"/>
                </a:cubicBezTo>
                <a:cubicBezTo>
                  <a:pt x="161177" y="720000"/>
                  <a:pt x="0" y="558823"/>
                  <a:pt x="0" y="360000"/>
                </a:cubicBezTo>
                <a:cubicBezTo>
                  <a:pt x="0" y="161177"/>
                  <a:pt x="161177" y="0"/>
                  <a:pt x="360000" y="0"/>
                </a:cubicBezTo>
                <a:close/>
              </a:path>
            </a:pathLst>
          </a:custGeom>
          <a:solidFill>
            <a:schemeClr val="bg1"/>
          </a:solidFill>
        </p:spPr>
        <p:txBody>
          <a:bodyPr wrap="square" anchor="ctr">
            <a:noAutofit/>
          </a:bodyPr>
          <a:lstStyle>
            <a:lvl1pPr algn="ctr">
              <a:defRPr sz="1067">
                <a:solidFill>
                  <a:schemeClr val="tx1"/>
                </a:solidFill>
              </a:defRPr>
            </a:lvl1pPr>
          </a:lstStyle>
          <a:p>
            <a:r>
              <a:rPr lang="en-US"/>
              <a:t>Click icon to add picture</a:t>
            </a:r>
            <a:endParaRPr lang="en-BE"/>
          </a:p>
        </p:txBody>
      </p:sp>
      <p:sp>
        <p:nvSpPr>
          <p:cNvPr id="4" name="Picture Placeholder 11">
            <a:extLst>
              <a:ext uri="{FF2B5EF4-FFF2-40B4-BE49-F238E27FC236}">
                <a16:creationId xmlns:a16="http://schemas.microsoft.com/office/drawing/2014/main" id="{A040E889-DAF6-948B-7208-2F0B3993DA32}"/>
              </a:ext>
            </a:extLst>
          </p:cNvPr>
          <p:cNvSpPr>
            <a:spLocks noGrp="1"/>
          </p:cNvSpPr>
          <p:nvPr>
            <p:ph type="pic" sz="quarter" idx="16"/>
          </p:nvPr>
        </p:nvSpPr>
        <p:spPr>
          <a:xfrm>
            <a:off x="5613884" y="1676400"/>
            <a:ext cx="960000" cy="960000"/>
          </a:xfrm>
          <a:custGeom>
            <a:avLst/>
            <a:gdLst>
              <a:gd name="connsiteX0" fmla="*/ 360000 w 720000"/>
              <a:gd name="connsiteY0" fmla="*/ 0 h 720000"/>
              <a:gd name="connsiteX1" fmla="*/ 720000 w 720000"/>
              <a:gd name="connsiteY1" fmla="*/ 360000 h 720000"/>
              <a:gd name="connsiteX2" fmla="*/ 360000 w 720000"/>
              <a:gd name="connsiteY2" fmla="*/ 720000 h 720000"/>
              <a:gd name="connsiteX3" fmla="*/ 0 w 720000"/>
              <a:gd name="connsiteY3" fmla="*/ 360000 h 720000"/>
              <a:gd name="connsiteX4" fmla="*/ 360000 w 72000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720000">
                <a:moveTo>
                  <a:pt x="360000" y="0"/>
                </a:moveTo>
                <a:cubicBezTo>
                  <a:pt x="558823" y="0"/>
                  <a:pt x="720000" y="161177"/>
                  <a:pt x="720000" y="360000"/>
                </a:cubicBezTo>
                <a:cubicBezTo>
                  <a:pt x="720000" y="558823"/>
                  <a:pt x="558823" y="720000"/>
                  <a:pt x="360000" y="720000"/>
                </a:cubicBezTo>
                <a:cubicBezTo>
                  <a:pt x="161177" y="720000"/>
                  <a:pt x="0" y="558823"/>
                  <a:pt x="0" y="360000"/>
                </a:cubicBezTo>
                <a:cubicBezTo>
                  <a:pt x="0" y="161177"/>
                  <a:pt x="161177" y="0"/>
                  <a:pt x="360000" y="0"/>
                </a:cubicBezTo>
                <a:close/>
              </a:path>
            </a:pathLst>
          </a:custGeom>
          <a:solidFill>
            <a:schemeClr val="bg1"/>
          </a:solidFill>
        </p:spPr>
        <p:txBody>
          <a:bodyPr wrap="square" anchor="ctr">
            <a:noAutofit/>
          </a:bodyPr>
          <a:lstStyle>
            <a:lvl1pPr algn="ctr">
              <a:defRPr sz="1067">
                <a:solidFill>
                  <a:schemeClr val="tx1"/>
                </a:solidFill>
              </a:defRPr>
            </a:lvl1pPr>
          </a:lstStyle>
          <a:p>
            <a:r>
              <a:rPr lang="en-US"/>
              <a:t>Click icon to add picture</a:t>
            </a:r>
            <a:endParaRPr lang="en-BE"/>
          </a:p>
        </p:txBody>
      </p:sp>
      <p:sp>
        <p:nvSpPr>
          <p:cNvPr id="5" name="Picture Placeholder 12">
            <a:extLst>
              <a:ext uri="{FF2B5EF4-FFF2-40B4-BE49-F238E27FC236}">
                <a16:creationId xmlns:a16="http://schemas.microsoft.com/office/drawing/2014/main" id="{7933E80E-47C4-9A50-628E-76BC398D4FC6}"/>
              </a:ext>
            </a:extLst>
          </p:cNvPr>
          <p:cNvSpPr>
            <a:spLocks noGrp="1"/>
          </p:cNvSpPr>
          <p:nvPr>
            <p:ph type="pic" sz="quarter" idx="17"/>
          </p:nvPr>
        </p:nvSpPr>
        <p:spPr>
          <a:xfrm>
            <a:off x="9349133" y="1676400"/>
            <a:ext cx="960000" cy="960000"/>
          </a:xfrm>
          <a:custGeom>
            <a:avLst/>
            <a:gdLst>
              <a:gd name="connsiteX0" fmla="*/ 360000 w 720000"/>
              <a:gd name="connsiteY0" fmla="*/ 0 h 720000"/>
              <a:gd name="connsiteX1" fmla="*/ 720000 w 720000"/>
              <a:gd name="connsiteY1" fmla="*/ 360000 h 720000"/>
              <a:gd name="connsiteX2" fmla="*/ 360000 w 720000"/>
              <a:gd name="connsiteY2" fmla="*/ 720000 h 720000"/>
              <a:gd name="connsiteX3" fmla="*/ 0 w 720000"/>
              <a:gd name="connsiteY3" fmla="*/ 360000 h 720000"/>
              <a:gd name="connsiteX4" fmla="*/ 360000 w 72000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720000">
                <a:moveTo>
                  <a:pt x="360000" y="0"/>
                </a:moveTo>
                <a:cubicBezTo>
                  <a:pt x="558823" y="0"/>
                  <a:pt x="720000" y="161177"/>
                  <a:pt x="720000" y="360000"/>
                </a:cubicBezTo>
                <a:cubicBezTo>
                  <a:pt x="720000" y="558823"/>
                  <a:pt x="558823" y="720000"/>
                  <a:pt x="360000" y="720000"/>
                </a:cubicBezTo>
                <a:cubicBezTo>
                  <a:pt x="161177" y="720000"/>
                  <a:pt x="0" y="558823"/>
                  <a:pt x="0" y="360000"/>
                </a:cubicBezTo>
                <a:cubicBezTo>
                  <a:pt x="0" y="161177"/>
                  <a:pt x="161177" y="0"/>
                  <a:pt x="360000" y="0"/>
                </a:cubicBezTo>
                <a:close/>
              </a:path>
            </a:pathLst>
          </a:custGeom>
          <a:solidFill>
            <a:schemeClr val="bg1"/>
          </a:solidFill>
        </p:spPr>
        <p:txBody>
          <a:bodyPr wrap="square" anchor="ctr">
            <a:noAutofit/>
          </a:bodyPr>
          <a:lstStyle>
            <a:lvl1pPr algn="ctr">
              <a:defRPr sz="1067">
                <a:solidFill>
                  <a:schemeClr val="tx1"/>
                </a:solidFill>
              </a:defRPr>
            </a:lvl1pPr>
          </a:lstStyle>
          <a:p>
            <a:r>
              <a:rPr lang="en-US"/>
              <a:t>Click icon to add picture</a:t>
            </a:r>
            <a:endParaRPr lang="en-BE"/>
          </a:p>
        </p:txBody>
      </p:sp>
    </p:spTree>
    <p:extLst>
      <p:ext uri="{BB962C8B-B14F-4D97-AF65-F5344CB8AC3E}">
        <p14:creationId xmlns:p14="http://schemas.microsoft.com/office/powerpoint/2010/main" val="378686748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XS ADA - content 4 col +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p:txBody>
          <a:bodyPr/>
          <a:lstStyle/>
          <a:p>
            <a:r>
              <a:rPr lang="en-US"/>
              <a:t>Click to edit Master title style</a:t>
            </a:r>
          </a:p>
        </p:txBody>
      </p:sp>
      <p:sp>
        <p:nvSpPr>
          <p:cNvPr id="6" name="Text Placeholder 7">
            <a:extLst>
              <a:ext uri="{FF2B5EF4-FFF2-40B4-BE49-F238E27FC236}">
                <a16:creationId xmlns:a16="http://schemas.microsoft.com/office/drawing/2014/main" id="{7B40FAF3-4692-C2BB-9081-DB56038DDF35}"/>
              </a:ext>
            </a:extLst>
          </p:cNvPr>
          <p:cNvSpPr>
            <a:spLocks noGrp="1"/>
          </p:cNvSpPr>
          <p:nvPr>
            <p:ph type="body" sz="quarter" idx="18"/>
          </p:nvPr>
        </p:nvSpPr>
        <p:spPr>
          <a:xfrm>
            <a:off x="613833" y="2122310"/>
            <a:ext cx="2592000" cy="4138789"/>
          </a:xfrm>
          <a:prstGeom prst="roundRect">
            <a:avLst>
              <a:gd name="adj" fmla="val 3244"/>
            </a:avLst>
          </a:prstGeom>
          <a:solidFill>
            <a:schemeClr val="tx1"/>
          </a:solidFill>
          <a:effectLst>
            <a:outerShdw blurRad="317500" dist="114300" dir="5400000" sx="95000" sy="95000" algn="ctr" rotWithShape="0">
              <a:prstClr val="black">
                <a:alpha val="25000"/>
              </a:prstClr>
            </a:outerShdw>
          </a:effectLst>
        </p:spPr>
        <p:txBody>
          <a:bodyPr lIns="180000" tIns="504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135C14B5-30A8-E0DC-8EF6-6B4A94622A15}"/>
              </a:ext>
            </a:extLst>
          </p:cNvPr>
          <p:cNvSpPr>
            <a:spLocks noGrp="1"/>
          </p:cNvSpPr>
          <p:nvPr>
            <p:ph type="body" sz="quarter" idx="19"/>
          </p:nvPr>
        </p:nvSpPr>
        <p:spPr>
          <a:xfrm>
            <a:off x="3403907" y="2122310"/>
            <a:ext cx="2592000" cy="4138789"/>
          </a:xfrm>
          <a:prstGeom prst="roundRect">
            <a:avLst>
              <a:gd name="adj" fmla="val 3244"/>
            </a:avLst>
          </a:prstGeom>
          <a:solidFill>
            <a:schemeClr val="tx1"/>
          </a:solidFill>
          <a:effectLst>
            <a:outerShdw blurRad="317500" dist="114300" dir="5400000" sx="95000" sy="95000" algn="ctr" rotWithShape="0">
              <a:prstClr val="black">
                <a:alpha val="25000"/>
              </a:prstClr>
            </a:outerShdw>
          </a:effectLst>
        </p:spPr>
        <p:txBody>
          <a:bodyPr lIns="180000" tIns="504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a:extLst>
              <a:ext uri="{FF2B5EF4-FFF2-40B4-BE49-F238E27FC236}">
                <a16:creationId xmlns:a16="http://schemas.microsoft.com/office/drawing/2014/main" id="{988479C2-B18A-E853-86EB-4AF6F3D2A9AE}"/>
              </a:ext>
            </a:extLst>
          </p:cNvPr>
          <p:cNvSpPr>
            <a:spLocks noGrp="1"/>
          </p:cNvSpPr>
          <p:nvPr>
            <p:ph type="body" sz="quarter" idx="20"/>
          </p:nvPr>
        </p:nvSpPr>
        <p:spPr>
          <a:xfrm>
            <a:off x="6193980" y="2122310"/>
            <a:ext cx="2592000" cy="4138789"/>
          </a:xfrm>
          <a:prstGeom prst="roundRect">
            <a:avLst>
              <a:gd name="adj" fmla="val 3244"/>
            </a:avLst>
          </a:prstGeom>
          <a:solidFill>
            <a:schemeClr val="tx1"/>
          </a:solidFill>
          <a:effectLst>
            <a:outerShdw blurRad="317500" dist="114300" dir="5400000" sx="95000" sy="95000" algn="ctr" rotWithShape="0">
              <a:prstClr val="black">
                <a:alpha val="25000"/>
              </a:prstClr>
            </a:outerShdw>
          </a:effectLst>
        </p:spPr>
        <p:txBody>
          <a:bodyPr lIns="180000" tIns="504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37B54C88-D1DC-9090-1BBB-ED9549DE9B71}"/>
              </a:ext>
            </a:extLst>
          </p:cNvPr>
          <p:cNvSpPr>
            <a:spLocks noGrp="1"/>
          </p:cNvSpPr>
          <p:nvPr>
            <p:ph type="body" sz="quarter" idx="21"/>
          </p:nvPr>
        </p:nvSpPr>
        <p:spPr>
          <a:xfrm>
            <a:off x="8984053" y="2122310"/>
            <a:ext cx="2592000" cy="4138789"/>
          </a:xfrm>
          <a:prstGeom prst="roundRect">
            <a:avLst>
              <a:gd name="adj" fmla="val 3244"/>
            </a:avLst>
          </a:prstGeom>
          <a:solidFill>
            <a:schemeClr val="tx1"/>
          </a:solidFill>
          <a:effectLst>
            <a:outerShdw blurRad="317500" dist="114300" dir="5400000" sx="95000" sy="95000" algn="ctr" rotWithShape="0">
              <a:prstClr val="black">
                <a:alpha val="25000"/>
              </a:prstClr>
            </a:outerShdw>
          </a:effectLst>
        </p:spPr>
        <p:txBody>
          <a:bodyPr lIns="180000" tIns="504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5">
            <a:extLst>
              <a:ext uri="{FF2B5EF4-FFF2-40B4-BE49-F238E27FC236}">
                <a16:creationId xmlns:a16="http://schemas.microsoft.com/office/drawing/2014/main" id="{0E97CDE6-C016-F9BE-A421-2F12FB900BC2}"/>
              </a:ext>
            </a:extLst>
          </p:cNvPr>
          <p:cNvSpPr>
            <a:spLocks noGrp="1"/>
          </p:cNvSpPr>
          <p:nvPr>
            <p:ph type="pic" sz="quarter" idx="22"/>
          </p:nvPr>
        </p:nvSpPr>
        <p:spPr>
          <a:xfrm>
            <a:off x="1446685" y="1676400"/>
            <a:ext cx="960000" cy="960000"/>
          </a:xfrm>
          <a:custGeom>
            <a:avLst/>
            <a:gdLst>
              <a:gd name="connsiteX0" fmla="*/ 360000 w 720000"/>
              <a:gd name="connsiteY0" fmla="*/ 0 h 720000"/>
              <a:gd name="connsiteX1" fmla="*/ 720000 w 720000"/>
              <a:gd name="connsiteY1" fmla="*/ 360000 h 720000"/>
              <a:gd name="connsiteX2" fmla="*/ 360000 w 720000"/>
              <a:gd name="connsiteY2" fmla="*/ 720000 h 720000"/>
              <a:gd name="connsiteX3" fmla="*/ 0 w 720000"/>
              <a:gd name="connsiteY3" fmla="*/ 360000 h 720000"/>
              <a:gd name="connsiteX4" fmla="*/ 360000 w 72000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720000">
                <a:moveTo>
                  <a:pt x="360000" y="0"/>
                </a:moveTo>
                <a:cubicBezTo>
                  <a:pt x="558823" y="0"/>
                  <a:pt x="720000" y="161177"/>
                  <a:pt x="720000" y="360000"/>
                </a:cubicBezTo>
                <a:cubicBezTo>
                  <a:pt x="720000" y="558823"/>
                  <a:pt x="558823" y="720000"/>
                  <a:pt x="360000" y="720000"/>
                </a:cubicBezTo>
                <a:cubicBezTo>
                  <a:pt x="161177" y="720000"/>
                  <a:pt x="0" y="558823"/>
                  <a:pt x="0" y="360000"/>
                </a:cubicBezTo>
                <a:cubicBezTo>
                  <a:pt x="0" y="161177"/>
                  <a:pt x="161177" y="0"/>
                  <a:pt x="360000" y="0"/>
                </a:cubicBezTo>
                <a:close/>
              </a:path>
            </a:pathLst>
          </a:custGeom>
          <a:solidFill>
            <a:schemeClr val="bg1"/>
          </a:solidFill>
        </p:spPr>
        <p:txBody>
          <a:bodyPr wrap="square" anchor="ctr">
            <a:noAutofit/>
          </a:bodyPr>
          <a:lstStyle>
            <a:lvl1pPr algn="ctr">
              <a:defRPr sz="1067">
                <a:solidFill>
                  <a:schemeClr val="tx1"/>
                </a:solidFill>
              </a:defRPr>
            </a:lvl1pPr>
          </a:lstStyle>
          <a:p>
            <a:r>
              <a:rPr lang="en-US"/>
              <a:t>Click icon to add picture</a:t>
            </a:r>
            <a:endParaRPr lang="en-BE"/>
          </a:p>
        </p:txBody>
      </p:sp>
      <p:sp>
        <p:nvSpPr>
          <p:cNvPr id="14" name="Picture Placeholder 6">
            <a:extLst>
              <a:ext uri="{FF2B5EF4-FFF2-40B4-BE49-F238E27FC236}">
                <a16:creationId xmlns:a16="http://schemas.microsoft.com/office/drawing/2014/main" id="{4F10352E-B051-85E8-8163-79E11F878493}"/>
              </a:ext>
            </a:extLst>
          </p:cNvPr>
          <p:cNvSpPr>
            <a:spLocks noGrp="1"/>
          </p:cNvSpPr>
          <p:nvPr>
            <p:ph type="pic" sz="quarter" idx="23"/>
          </p:nvPr>
        </p:nvSpPr>
        <p:spPr>
          <a:xfrm>
            <a:off x="4224140" y="1676400"/>
            <a:ext cx="960000" cy="960000"/>
          </a:xfrm>
          <a:custGeom>
            <a:avLst/>
            <a:gdLst>
              <a:gd name="connsiteX0" fmla="*/ 360000 w 720000"/>
              <a:gd name="connsiteY0" fmla="*/ 0 h 720000"/>
              <a:gd name="connsiteX1" fmla="*/ 720000 w 720000"/>
              <a:gd name="connsiteY1" fmla="*/ 360000 h 720000"/>
              <a:gd name="connsiteX2" fmla="*/ 360000 w 720000"/>
              <a:gd name="connsiteY2" fmla="*/ 720000 h 720000"/>
              <a:gd name="connsiteX3" fmla="*/ 0 w 720000"/>
              <a:gd name="connsiteY3" fmla="*/ 360000 h 720000"/>
              <a:gd name="connsiteX4" fmla="*/ 360000 w 72000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720000">
                <a:moveTo>
                  <a:pt x="360000" y="0"/>
                </a:moveTo>
                <a:cubicBezTo>
                  <a:pt x="558823" y="0"/>
                  <a:pt x="720000" y="161177"/>
                  <a:pt x="720000" y="360000"/>
                </a:cubicBezTo>
                <a:cubicBezTo>
                  <a:pt x="720000" y="558823"/>
                  <a:pt x="558823" y="720000"/>
                  <a:pt x="360000" y="720000"/>
                </a:cubicBezTo>
                <a:cubicBezTo>
                  <a:pt x="161177" y="720000"/>
                  <a:pt x="0" y="558823"/>
                  <a:pt x="0" y="360000"/>
                </a:cubicBezTo>
                <a:cubicBezTo>
                  <a:pt x="0" y="161177"/>
                  <a:pt x="161177" y="0"/>
                  <a:pt x="360000" y="0"/>
                </a:cubicBezTo>
                <a:close/>
              </a:path>
            </a:pathLst>
          </a:custGeom>
          <a:solidFill>
            <a:schemeClr val="bg1"/>
          </a:solidFill>
        </p:spPr>
        <p:txBody>
          <a:bodyPr wrap="square" anchor="ctr">
            <a:noAutofit/>
          </a:bodyPr>
          <a:lstStyle>
            <a:lvl1pPr algn="ctr">
              <a:defRPr sz="1067">
                <a:solidFill>
                  <a:schemeClr val="tx1"/>
                </a:solidFill>
              </a:defRPr>
            </a:lvl1pPr>
          </a:lstStyle>
          <a:p>
            <a:r>
              <a:rPr lang="en-US"/>
              <a:t>Click icon to add picture</a:t>
            </a:r>
            <a:endParaRPr lang="en-BE"/>
          </a:p>
        </p:txBody>
      </p:sp>
      <p:sp>
        <p:nvSpPr>
          <p:cNvPr id="15" name="Picture Placeholder 7">
            <a:extLst>
              <a:ext uri="{FF2B5EF4-FFF2-40B4-BE49-F238E27FC236}">
                <a16:creationId xmlns:a16="http://schemas.microsoft.com/office/drawing/2014/main" id="{1FD4F24A-9281-D4B0-B10E-761DB81D4C5B}"/>
              </a:ext>
            </a:extLst>
          </p:cNvPr>
          <p:cNvSpPr>
            <a:spLocks noGrp="1"/>
          </p:cNvSpPr>
          <p:nvPr>
            <p:ph type="pic" sz="quarter" idx="24"/>
          </p:nvPr>
        </p:nvSpPr>
        <p:spPr>
          <a:xfrm>
            <a:off x="9785315" y="1676400"/>
            <a:ext cx="960000" cy="960000"/>
          </a:xfrm>
          <a:custGeom>
            <a:avLst/>
            <a:gdLst>
              <a:gd name="connsiteX0" fmla="*/ 360000 w 720000"/>
              <a:gd name="connsiteY0" fmla="*/ 0 h 720000"/>
              <a:gd name="connsiteX1" fmla="*/ 720000 w 720000"/>
              <a:gd name="connsiteY1" fmla="*/ 360000 h 720000"/>
              <a:gd name="connsiteX2" fmla="*/ 360000 w 720000"/>
              <a:gd name="connsiteY2" fmla="*/ 720000 h 720000"/>
              <a:gd name="connsiteX3" fmla="*/ 0 w 720000"/>
              <a:gd name="connsiteY3" fmla="*/ 360000 h 720000"/>
              <a:gd name="connsiteX4" fmla="*/ 360000 w 72000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720000">
                <a:moveTo>
                  <a:pt x="360000" y="0"/>
                </a:moveTo>
                <a:cubicBezTo>
                  <a:pt x="558823" y="0"/>
                  <a:pt x="720000" y="161177"/>
                  <a:pt x="720000" y="360000"/>
                </a:cubicBezTo>
                <a:cubicBezTo>
                  <a:pt x="720000" y="558823"/>
                  <a:pt x="558823" y="720000"/>
                  <a:pt x="360000" y="720000"/>
                </a:cubicBezTo>
                <a:cubicBezTo>
                  <a:pt x="161177" y="720000"/>
                  <a:pt x="0" y="558823"/>
                  <a:pt x="0" y="360000"/>
                </a:cubicBezTo>
                <a:cubicBezTo>
                  <a:pt x="0" y="161177"/>
                  <a:pt x="161177" y="0"/>
                  <a:pt x="360000" y="0"/>
                </a:cubicBezTo>
                <a:close/>
              </a:path>
            </a:pathLst>
          </a:custGeom>
          <a:solidFill>
            <a:schemeClr val="bg1"/>
          </a:solidFill>
        </p:spPr>
        <p:txBody>
          <a:bodyPr wrap="square" anchor="ctr">
            <a:noAutofit/>
          </a:bodyPr>
          <a:lstStyle>
            <a:lvl1pPr algn="ctr">
              <a:defRPr sz="1067">
                <a:solidFill>
                  <a:schemeClr val="tx1"/>
                </a:solidFill>
              </a:defRPr>
            </a:lvl1pPr>
          </a:lstStyle>
          <a:p>
            <a:r>
              <a:rPr lang="en-US"/>
              <a:t>Click icon to add picture</a:t>
            </a:r>
            <a:endParaRPr lang="en-BE"/>
          </a:p>
        </p:txBody>
      </p:sp>
      <p:sp>
        <p:nvSpPr>
          <p:cNvPr id="16" name="Picture Placeholder 8">
            <a:extLst>
              <a:ext uri="{FF2B5EF4-FFF2-40B4-BE49-F238E27FC236}">
                <a16:creationId xmlns:a16="http://schemas.microsoft.com/office/drawing/2014/main" id="{C2E8E0F5-B0C4-FB26-4521-D79279E7001C}"/>
              </a:ext>
            </a:extLst>
          </p:cNvPr>
          <p:cNvSpPr>
            <a:spLocks noGrp="1"/>
          </p:cNvSpPr>
          <p:nvPr>
            <p:ph type="pic" sz="quarter" idx="25"/>
          </p:nvPr>
        </p:nvSpPr>
        <p:spPr>
          <a:xfrm>
            <a:off x="7007863" y="1676400"/>
            <a:ext cx="960000" cy="960000"/>
          </a:xfrm>
          <a:custGeom>
            <a:avLst/>
            <a:gdLst>
              <a:gd name="connsiteX0" fmla="*/ 360000 w 720000"/>
              <a:gd name="connsiteY0" fmla="*/ 0 h 720000"/>
              <a:gd name="connsiteX1" fmla="*/ 720000 w 720000"/>
              <a:gd name="connsiteY1" fmla="*/ 360000 h 720000"/>
              <a:gd name="connsiteX2" fmla="*/ 360000 w 720000"/>
              <a:gd name="connsiteY2" fmla="*/ 720000 h 720000"/>
              <a:gd name="connsiteX3" fmla="*/ 0 w 720000"/>
              <a:gd name="connsiteY3" fmla="*/ 360000 h 720000"/>
              <a:gd name="connsiteX4" fmla="*/ 360000 w 72000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720000">
                <a:moveTo>
                  <a:pt x="360000" y="0"/>
                </a:moveTo>
                <a:cubicBezTo>
                  <a:pt x="558823" y="0"/>
                  <a:pt x="720000" y="161177"/>
                  <a:pt x="720000" y="360000"/>
                </a:cubicBezTo>
                <a:cubicBezTo>
                  <a:pt x="720000" y="558823"/>
                  <a:pt x="558823" y="720000"/>
                  <a:pt x="360000" y="720000"/>
                </a:cubicBezTo>
                <a:cubicBezTo>
                  <a:pt x="161177" y="720000"/>
                  <a:pt x="0" y="558823"/>
                  <a:pt x="0" y="360000"/>
                </a:cubicBezTo>
                <a:cubicBezTo>
                  <a:pt x="0" y="161177"/>
                  <a:pt x="161177" y="0"/>
                  <a:pt x="360000" y="0"/>
                </a:cubicBezTo>
                <a:close/>
              </a:path>
            </a:pathLst>
          </a:custGeom>
          <a:solidFill>
            <a:schemeClr val="bg1"/>
          </a:solidFill>
        </p:spPr>
        <p:txBody>
          <a:bodyPr wrap="square" anchor="ctr">
            <a:noAutofit/>
          </a:bodyPr>
          <a:lstStyle>
            <a:lvl1pPr algn="ctr">
              <a:defRPr sz="1067">
                <a:solidFill>
                  <a:schemeClr val="tx1"/>
                </a:solidFill>
              </a:defRPr>
            </a:lvl1pPr>
          </a:lstStyle>
          <a:p>
            <a:r>
              <a:rPr lang="en-US"/>
              <a:t>Click icon to add picture</a:t>
            </a:r>
            <a:endParaRPr lang="en-BE"/>
          </a:p>
        </p:txBody>
      </p:sp>
    </p:spTree>
    <p:extLst>
      <p:ext uri="{BB962C8B-B14F-4D97-AF65-F5344CB8AC3E}">
        <p14:creationId xmlns:p14="http://schemas.microsoft.com/office/powerpoint/2010/main" val="82427494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XS ADA - content 5 col +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p:txBody>
          <a:bodyPr/>
          <a:lstStyle/>
          <a:p>
            <a:r>
              <a:rPr lang="en-US"/>
              <a:t>Click to edit Master title style</a:t>
            </a:r>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613833" y="2122307"/>
            <a:ext cx="2040000" cy="4138791"/>
          </a:xfrm>
          <a:prstGeom prst="roundRect">
            <a:avLst>
              <a:gd name="adj" fmla="val 3244"/>
            </a:avLst>
          </a:prstGeom>
          <a:solidFill>
            <a:schemeClr val="tx1"/>
          </a:solidFill>
          <a:effectLst>
            <a:outerShdw blurRad="317500" dist="114300" dir="5400000" sx="95000" sy="95000" algn="ctr" rotWithShape="0">
              <a:prstClr val="black">
                <a:alpha val="25000"/>
              </a:prstClr>
            </a:outerShdw>
          </a:effectLst>
        </p:spPr>
        <p:txBody>
          <a:bodyPr lIns="180000" tIns="504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7">
            <a:extLst>
              <a:ext uri="{FF2B5EF4-FFF2-40B4-BE49-F238E27FC236}">
                <a16:creationId xmlns:a16="http://schemas.microsoft.com/office/drawing/2014/main" id="{6867138B-82D4-F2C3-4118-0FDBE3105F7F}"/>
              </a:ext>
            </a:extLst>
          </p:cNvPr>
          <p:cNvSpPr>
            <a:spLocks noGrp="1"/>
          </p:cNvSpPr>
          <p:nvPr>
            <p:ph type="body" sz="quarter" idx="14"/>
          </p:nvPr>
        </p:nvSpPr>
        <p:spPr>
          <a:xfrm>
            <a:off x="2843859" y="2122307"/>
            <a:ext cx="2040000" cy="4138791"/>
          </a:xfrm>
          <a:prstGeom prst="roundRect">
            <a:avLst>
              <a:gd name="adj" fmla="val 3244"/>
            </a:avLst>
          </a:prstGeom>
          <a:solidFill>
            <a:schemeClr val="tx1"/>
          </a:solidFill>
          <a:effectLst>
            <a:outerShdw blurRad="317500" dist="114300" dir="5400000" sx="95000" sy="95000" algn="ctr" rotWithShape="0">
              <a:prstClr val="black">
                <a:alpha val="25000"/>
              </a:prstClr>
            </a:outerShdw>
          </a:effectLst>
        </p:spPr>
        <p:txBody>
          <a:bodyPr lIns="180000" tIns="504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77C30F6-3419-46A6-924B-3DFD6B4CD0C0}"/>
              </a:ext>
            </a:extLst>
          </p:cNvPr>
          <p:cNvSpPr>
            <a:spLocks noGrp="1"/>
          </p:cNvSpPr>
          <p:nvPr>
            <p:ph type="body" sz="quarter" idx="15"/>
          </p:nvPr>
        </p:nvSpPr>
        <p:spPr>
          <a:xfrm>
            <a:off x="5073884" y="2122307"/>
            <a:ext cx="2040000" cy="4138791"/>
          </a:xfrm>
          <a:prstGeom prst="roundRect">
            <a:avLst>
              <a:gd name="adj" fmla="val 3244"/>
            </a:avLst>
          </a:prstGeom>
          <a:solidFill>
            <a:schemeClr val="tx1"/>
          </a:solidFill>
          <a:effectLst>
            <a:outerShdw blurRad="317500" dist="114300" dir="5400000" sx="95000" sy="95000" algn="ctr" rotWithShape="0">
              <a:prstClr val="black">
                <a:alpha val="25000"/>
              </a:prstClr>
            </a:outerShdw>
          </a:effectLst>
        </p:spPr>
        <p:txBody>
          <a:bodyPr lIns="180000" tIns="504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025EB90A-A220-4A74-0779-59688C1AA85F}"/>
              </a:ext>
            </a:extLst>
          </p:cNvPr>
          <p:cNvSpPr>
            <a:spLocks noGrp="1"/>
          </p:cNvSpPr>
          <p:nvPr>
            <p:ph type="body" sz="quarter" idx="16"/>
          </p:nvPr>
        </p:nvSpPr>
        <p:spPr>
          <a:xfrm>
            <a:off x="7303909" y="2122307"/>
            <a:ext cx="2040000" cy="4138791"/>
          </a:xfrm>
          <a:prstGeom prst="roundRect">
            <a:avLst>
              <a:gd name="adj" fmla="val 3244"/>
            </a:avLst>
          </a:prstGeom>
          <a:solidFill>
            <a:schemeClr val="tx1"/>
          </a:solidFill>
          <a:effectLst>
            <a:outerShdw blurRad="317500" dist="114300" dir="5400000" sx="95000" sy="95000" algn="ctr" rotWithShape="0">
              <a:prstClr val="black">
                <a:alpha val="25000"/>
              </a:prstClr>
            </a:outerShdw>
          </a:effectLst>
        </p:spPr>
        <p:txBody>
          <a:bodyPr lIns="180000" tIns="504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2DF36753-2677-3268-DAA1-8D693CDA9D2E}"/>
              </a:ext>
            </a:extLst>
          </p:cNvPr>
          <p:cNvSpPr>
            <a:spLocks noGrp="1"/>
          </p:cNvSpPr>
          <p:nvPr>
            <p:ph type="body" sz="quarter" idx="17"/>
          </p:nvPr>
        </p:nvSpPr>
        <p:spPr>
          <a:xfrm>
            <a:off x="9533933" y="2122307"/>
            <a:ext cx="2040000" cy="4138791"/>
          </a:xfrm>
          <a:prstGeom prst="roundRect">
            <a:avLst>
              <a:gd name="adj" fmla="val 3244"/>
            </a:avLst>
          </a:prstGeom>
          <a:solidFill>
            <a:schemeClr val="tx1"/>
          </a:solidFill>
          <a:effectLst>
            <a:outerShdw blurRad="317500" dist="114300" dir="5400000" sx="95000" sy="95000" algn="ctr" rotWithShape="0">
              <a:prstClr val="black">
                <a:alpha val="25000"/>
              </a:prstClr>
            </a:outerShdw>
          </a:effectLst>
        </p:spPr>
        <p:txBody>
          <a:bodyPr lIns="180000" tIns="504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7DD81039-A15F-54FF-1AA5-3AD432F0B804}"/>
              </a:ext>
            </a:extLst>
          </p:cNvPr>
          <p:cNvSpPr>
            <a:spLocks noGrp="1"/>
          </p:cNvSpPr>
          <p:nvPr>
            <p:ph type="pic" sz="quarter" idx="25"/>
          </p:nvPr>
        </p:nvSpPr>
        <p:spPr>
          <a:xfrm>
            <a:off x="1164417" y="1676400"/>
            <a:ext cx="960000" cy="960000"/>
          </a:xfrm>
          <a:custGeom>
            <a:avLst/>
            <a:gdLst>
              <a:gd name="connsiteX0" fmla="*/ 360000 w 720000"/>
              <a:gd name="connsiteY0" fmla="*/ 0 h 720000"/>
              <a:gd name="connsiteX1" fmla="*/ 720000 w 720000"/>
              <a:gd name="connsiteY1" fmla="*/ 360000 h 720000"/>
              <a:gd name="connsiteX2" fmla="*/ 360000 w 720000"/>
              <a:gd name="connsiteY2" fmla="*/ 720000 h 720000"/>
              <a:gd name="connsiteX3" fmla="*/ 0 w 720000"/>
              <a:gd name="connsiteY3" fmla="*/ 360000 h 720000"/>
              <a:gd name="connsiteX4" fmla="*/ 360000 w 72000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720000">
                <a:moveTo>
                  <a:pt x="360000" y="0"/>
                </a:moveTo>
                <a:cubicBezTo>
                  <a:pt x="558823" y="0"/>
                  <a:pt x="720000" y="161177"/>
                  <a:pt x="720000" y="360000"/>
                </a:cubicBezTo>
                <a:cubicBezTo>
                  <a:pt x="720000" y="558823"/>
                  <a:pt x="558823" y="720000"/>
                  <a:pt x="360000" y="720000"/>
                </a:cubicBezTo>
                <a:cubicBezTo>
                  <a:pt x="161177" y="720000"/>
                  <a:pt x="0" y="558823"/>
                  <a:pt x="0" y="360000"/>
                </a:cubicBezTo>
                <a:cubicBezTo>
                  <a:pt x="0" y="161177"/>
                  <a:pt x="161177" y="0"/>
                  <a:pt x="360000" y="0"/>
                </a:cubicBezTo>
                <a:close/>
              </a:path>
            </a:pathLst>
          </a:custGeom>
          <a:solidFill>
            <a:schemeClr val="bg1"/>
          </a:solidFill>
        </p:spPr>
        <p:txBody>
          <a:bodyPr wrap="square" anchor="ctr">
            <a:noAutofit/>
          </a:bodyPr>
          <a:lstStyle>
            <a:lvl1pPr algn="ctr">
              <a:defRPr sz="1067">
                <a:solidFill>
                  <a:schemeClr val="tx1"/>
                </a:solidFill>
              </a:defRPr>
            </a:lvl1pPr>
          </a:lstStyle>
          <a:p>
            <a:r>
              <a:rPr lang="en-US"/>
              <a:t>Click icon to add picture</a:t>
            </a:r>
            <a:endParaRPr lang="en-BE"/>
          </a:p>
        </p:txBody>
      </p:sp>
      <p:sp>
        <p:nvSpPr>
          <p:cNvPr id="11" name="Picture Placeholder 7">
            <a:extLst>
              <a:ext uri="{FF2B5EF4-FFF2-40B4-BE49-F238E27FC236}">
                <a16:creationId xmlns:a16="http://schemas.microsoft.com/office/drawing/2014/main" id="{3E43977D-9241-0905-D609-1CDD17593F16}"/>
              </a:ext>
            </a:extLst>
          </p:cNvPr>
          <p:cNvSpPr>
            <a:spLocks noGrp="1"/>
          </p:cNvSpPr>
          <p:nvPr>
            <p:ph type="pic" sz="quarter" idx="26"/>
          </p:nvPr>
        </p:nvSpPr>
        <p:spPr>
          <a:xfrm>
            <a:off x="3390211" y="1676400"/>
            <a:ext cx="960000" cy="960000"/>
          </a:xfrm>
          <a:custGeom>
            <a:avLst/>
            <a:gdLst>
              <a:gd name="connsiteX0" fmla="*/ 360000 w 720000"/>
              <a:gd name="connsiteY0" fmla="*/ 0 h 720000"/>
              <a:gd name="connsiteX1" fmla="*/ 720000 w 720000"/>
              <a:gd name="connsiteY1" fmla="*/ 360000 h 720000"/>
              <a:gd name="connsiteX2" fmla="*/ 360000 w 720000"/>
              <a:gd name="connsiteY2" fmla="*/ 720000 h 720000"/>
              <a:gd name="connsiteX3" fmla="*/ 0 w 720000"/>
              <a:gd name="connsiteY3" fmla="*/ 360000 h 720000"/>
              <a:gd name="connsiteX4" fmla="*/ 360000 w 72000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720000">
                <a:moveTo>
                  <a:pt x="360000" y="0"/>
                </a:moveTo>
                <a:cubicBezTo>
                  <a:pt x="558823" y="0"/>
                  <a:pt x="720000" y="161177"/>
                  <a:pt x="720000" y="360000"/>
                </a:cubicBezTo>
                <a:cubicBezTo>
                  <a:pt x="720000" y="558823"/>
                  <a:pt x="558823" y="720000"/>
                  <a:pt x="360000" y="720000"/>
                </a:cubicBezTo>
                <a:cubicBezTo>
                  <a:pt x="161177" y="720000"/>
                  <a:pt x="0" y="558823"/>
                  <a:pt x="0" y="360000"/>
                </a:cubicBezTo>
                <a:cubicBezTo>
                  <a:pt x="0" y="161177"/>
                  <a:pt x="161177" y="0"/>
                  <a:pt x="360000" y="0"/>
                </a:cubicBezTo>
                <a:close/>
              </a:path>
            </a:pathLst>
          </a:custGeom>
          <a:solidFill>
            <a:schemeClr val="bg1"/>
          </a:solidFill>
        </p:spPr>
        <p:txBody>
          <a:bodyPr wrap="square" anchor="ctr">
            <a:noAutofit/>
          </a:bodyPr>
          <a:lstStyle>
            <a:lvl1pPr algn="ctr">
              <a:defRPr sz="1067">
                <a:solidFill>
                  <a:schemeClr val="tx1"/>
                </a:solidFill>
              </a:defRPr>
            </a:lvl1pPr>
          </a:lstStyle>
          <a:p>
            <a:r>
              <a:rPr lang="en-US"/>
              <a:t>Click icon to add picture</a:t>
            </a:r>
            <a:endParaRPr lang="en-BE"/>
          </a:p>
        </p:txBody>
      </p:sp>
      <p:sp>
        <p:nvSpPr>
          <p:cNvPr id="12" name="Picture Placeholder 8">
            <a:extLst>
              <a:ext uri="{FF2B5EF4-FFF2-40B4-BE49-F238E27FC236}">
                <a16:creationId xmlns:a16="http://schemas.microsoft.com/office/drawing/2014/main" id="{7E22260D-A4EC-22B3-0325-2BBAD44EE746}"/>
              </a:ext>
            </a:extLst>
          </p:cNvPr>
          <p:cNvSpPr>
            <a:spLocks noGrp="1"/>
          </p:cNvSpPr>
          <p:nvPr>
            <p:ph type="pic" sz="quarter" idx="27"/>
          </p:nvPr>
        </p:nvSpPr>
        <p:spPr>
          <a:xfrm>
            <a:off x="5616000" y="1676400"/>
            <a:ext cx="960000" cy="960000"/>
          </a:xfrm>
          <a:custGeom>
            <a:avLst/>
            <a:gdLst>
              <a:gd name="connsiteX0" fmla="*/ 360000 w 720000"/>
              <a:gd name="connsiteY0" fmla="*/ 0 h 720000"/>
              <a:gd name="connsiteX1" fmla="*/ 720000 w 720000"/>
              <a:gd name="connsiteY1" fmla="*/ 360000 h 720000"/>
              <a:gd name="connsiteX2" fmla="*/ 360000 w 720000"/>
              <a:gd name="connsiteY2" fmla="*/ 720000 h 720000"/>
              <a:gd name="connsiteX3" fmla="*/ 0 w 720000"/>
              <a:gd name="connsiteY3" fmla="*/ 360000 h 720000"/>
              <a:gd name="connsiteX4" fmla="*/ 360000 w 72000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720000">
                <a:moveTo>
                  <a:pt x="360000" y="0"/>
                </a:moveTo>
                <a:cubicBezTo>
                  <a:pt x="558823" y="0"/>
                  <a:pt x="720000" y="161177"/>
                  <a:pt x="720000" y="360000"/>
                </a:cubicBezTo>
                <a:cubicBezTo>
                  <a:pt x="720000" y="558823"/>
                  <a:pt x="558823" y="720000"/>
                  <a:pt x="360000" y="720000"/>
                </a:cubicBezTo>
                <a:cubicBezTo>
                  <a:pt x="161177" y="720000"/>
                  <a:pt x="0" y="558823"/>
                  <a:pt x="0" y="360000"/>
                </a:cubicBezTo>
                <a:cubicBezTo>
                  <a:pt x="0" y="161177"/>
                  <a:pt x="161177" y="0"/>
                  <a:pt x="360000" y="0"/>
                </a:cubicBezTo>
                <a:close/>
              </a:path>
            </a:pathLst>
          </a:custGeom>
          <a:solidFill>
            <a:schemeClr val="bg1"/>
          </a:solidFill>
        </p:spPr>
        <p:txBody>
          <a:bodyPr wrap="square" anchor="ctr">
            <a:noAutofit/>
          </a:bodyPr>
          <a:lstStyle>
            <a:lvl1pPr algn="ctr">
              <a:defRPr sz="1067">
                <a:solidFill>
                  <a:schemeClr val="tx1"/>
                </a:solidFill>
              </a:defRPr>
            </a:lvl1pPr>
          </a:lstStyle>
          <a:p>
            <a:r>
              <a:rPr lang="en-US"/>
              <a:t>Click icon to add picture</a:t>
            </a:r>
            <a:endParaRPr lang="en-BE"/>
          </a:p>
        </p:txBody>
      </p:sp>
      <p:sp>
        <p:nvSpPr>
          <p:cNvPr id="13" name="Picture Placeholder 9">
            <a:extLst>
              <a:ext uri="{FF2B5EF4-FFF2-40B4-BE49-F238E27FC236}">
                <a16:creationId xmlns:a16="http://schemas.microsoft.com/office/drawing/2014/main" id="{575FB561-6EF7-F175-3FD9-59ED729A93BC}"/>
              </a:ext>
            </a:extLst>
          </p:cNvPr>
          <p:cNvSpPr>
            <a:spLocks noGrp="1"/>
          </p:cNvSpPr>
          <p:nvPr>
            <p:ph type="pic" sz="quarter" idx="18"/>
          </p:nvPr>
        </p:nvSpPr>
        <p:spPr>
          <a:xfrm>
            <a:off x="7841793" y="1676400"/>
            <a:ext cx="960000" cy="960000"/>
          </a:xfrm>
          <a:custGeom>
            <a:avLst/>
            <a:gdLst>
              <a:gd name="connsiteX0" fmla="*/ 360000 w 720000"/>
              <a:gd name="connsiteY0" fmla="*/ 0 h 720000"/>
              <a:gd name="connsiteX1" fmla="*/ 720000 w 720000"/>
              <a:gd name="connsiteY1" fmla="*/ 360000 h 720000"/>
              <a:gd name="connsiteX2" fmla="*/ 360000 w 720000"/>
              <a:gd name="connsiteY2" fmla="*/ 720000 h 720000"/>
              <a:gd name="connsiteX3" fmla="*/ 0 w 720000"/>
              <a:gd name="connsiteY3" fmla="*/ 360000 h 720000"/>
              <a:gd name="connsiteX4" fmla="*/ 360000 w 72000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720000">
                <a:moveTo>
                  <a:pt x="360000" y="0"/>
                </a:moveTo>
                <a:cubicBezTo>
                  <a:pt x="558823" y="0"/>
                  <a:pt x="720000" y="161177"/>
                  <a:pt x="720000" y="360000"/>
                </a:cubicBezTo>
                <a:cubicBezTo>
                  <a:pt x="720000" y="558823"/>
                  <a:pt x="558823" y="720000"/>
                  <a:pt x="360000" y="720000"/>
                </a:cubicBezTo>
                <a:cubicBezTo>
                  <a:pt x="161177" y="720000"/>
                  <a:pt x="0" y="558823"/>
                  <a:pt x="0" y="360000"/>
                </a:cubicBezTo>
                <a:cubicBezTo>
                  <a:pt x="0" y="161177"/>
                  <a:pt x="161177" y="0"/>
                  <a:pt x="360000" y="0"/>
                </a:cubicBezTo>
                <a:close/>
              </a:path>
            </a:pathLst>
          </a:custGeom>
          <a:solidFill>
            <a:schemeClr val="bg1"/>
          </a:solidFill>
        </p:spPr>
        <p:txBody>
          <a:bodyPr wrap="square" anchor="ctr">
            <a:noAutofit/>
          </a:bodyPr>
          <a:lstStyle>
            <a:lvl1pPr algn="ctr">
              <a:defRPr sz="1067">
                <a:solidFill>
                  <a:schemeClr val="tx1"/>
                </a:solidFill>
              </a:defRPr>
            </a:lvl1pPr>
          </a:lstStyle>
          <a:p>
            <a:r>
              <a:rPr lang="en-US"/>
              <a:t>Click icon to add picture</a:t>
            </a:r>
            <a:endParaRPr lang="en-BE"/>
          </a:p>
        </p:txBody>
      </p:sp>
      <p:sp>
        <p:nvSpPr>
          <p:cNvPr id="14" name="Picture Placeholder 11">
            <a:extLst>
              <a:ext uri="{FF2B5EF4-FFF2-40B4-BE49-F238E27FC236}">
                <a16:creationId xmlns:a16="http://schemas.microsoft.com/office/drawing/2014/main" id="{4F757927-B659-621B-C91B-DE1D29FD6B94}"/>
              </a:ext>
            </a:extLst>
          </p:cNvPr>
          <p:cNvSpPr>
            <a:spLocks noGrp="1"/>
          </p:cNvSpPr>
          <p:nvPr>
            <p:ph type="pic" sz="quarter" idx="19"/>
          </p:nvPr>
        </p:nvSpPr>
        <p:spPr>
          <a:xfrm>
            <a:off x="10067584" y="1676400"/>
            <a:ext cx="960000" cy="960000"/>
          </a:xfrm>
          <a:custGeom>
            <a:avLst/>
            <a:gdLst>
              <a:gd name="connsiteX0" fmla="*/ 360000 w 720000"/>
              <a:gd name="connsiteY0" fmla="*/ 0 h 720000"/>
              <a:gd name="connsiteX1" fmla="*/ 720000 w 720000"/>
              <a:gd name="connsiteY1" fmla="*/ 360000 h 720000"/>
              <a:gd name="connsiteX2" fmla="*/ 360000 w 720000"/>
              <a:gd name="connsiteY2" fmla="*/ 720000 h 720000"/>
              <a:gd name="connsiteX3" fmla="*/ 0 w 720000"/>
              <a:gd name="connsiteY3" fmla="*/ 360000 h 720000"/>
              <a:gd name="connsiteX4" fmla="*/ 360000 w 72000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720000">
                <a:moveTo>
                  <a:pt x="360000" y="0"/>
                </a:moveTo>
                <a:cubicBezTo>
                  <a:pt x="558823" y="0"/>
                  <a:pt x="720000" y="161177"/>
                  <a:pt x="720000" y="360000"/>
                </a:cubicBezTo>
                <a:cubicBezTo>
                  <a:pt x="720000" y="558823"/>
                  <a:pt x="558823" y="720000"/>
                  <a:pt x="360000" y="720000"/>
                </a:cubicBezTo>
                <a:cubicBezTo>
                  <a:pt x="161177" y="720000"/>
                  <a:pt x="0" y="558823"/>
                  <a:pt x="0" y="360000"/>
                </a:cubicBezTo>
                <a:cubicBezTo>
                  <a:pt x="0" y="161177"/>
                  <a:pt x="161177" y="0"/>
                  <a:pt x="360000" y="0"/>
                </a:cubicBezTo>
                <a:close/>
              </a:path>
            </a:pathLst>
          </a:custGeom>
          <a:solidFill>
            <a:schemeClr val="bg1"/>
          </a:solidFill>
        </p:spPr>
        <p:txBody>
          <a:bodyPr wrap="square" anchor="ctr">
            <a:noAutofit/>
          </a:bodyPr>
          <a:lstStyle>
            <a:lvl1pPr algn="ctr">
              <a:defRPr sz="1067">
                <a:solidFill>
                  <a:schemeClr val="tx1"/>
                </a:solidFill>
              </a:defRPr>
            </a:lvl1pPr>
          </a:lstStyle>
          <a:p>
            <a:r>
              <a:rPr lang="en-US"/>
              <a:t>Click icon to add picture</a:t>
            </a:r>
            <a:endParaRPr lang="en-BE"/>
          </a:p>
        </p:txBody>
      </p:sp>
    </p:spTree>
    <p:extLst>
      <p:ext uri="{BB962C8B-B14F-4D97-AF65-F5344CB8AC3E}">
        <p14:creationId xmlns:p14="http://schemas.microsoft.com/office/powerpoint/2010/main" val="112088815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XS ADA - content 6 col +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p:txBody>
          <a:bodyPr/>
          <a:lstStyle/>
          <a:p>
            <a:r>
              <a:rPr lang="en-US"/>
              <a:t>Click to edit Master title style</a:t>
            </a:r>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613833" y="2121977"/>
            <a:ext cx="3489600" cy="1739900"/>
          </a:xfrm>
          <a:prstGeom prst="roundRect">
            <a:avLst>
              <a:gd name="adj" fmla="val 2708"/>
            </a:avLst>
          </a:prstGeom>
          <a:solidFill>
            <a:schemeClr val="tx1"/>
          </a:solidFill>
          <a:effectLst>
            <a:outerShdw blurRad="317500" dist="114300" dir="5400000" sx="95000" sy="95000" algn="ctr" rotWithShape="0">
              <a:prstClr val="black">
                <a:alpha val="25000"/>
              </a:prstClr>
            </a:outerShdw>
          </a:effectLst>
        </p:spPr>
        <p:txBody>
          <a:bodyPr lIns="180000" tIns="504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p:txBody>
      </p:sp>
      <p:sp>
        <p:nvSpPr>
          <p:cNvPr id="9" name="Text Placeholder 7">
            <a:extLst>
              <a:ext uri="{FF2B5EF4-FFF2-40B4-BE49-F238E27FC236}">
                <a16:creationId xmlns:a16="http://schemas.microsoft.com/office/drawing/2014/main" id="{6C28FD10-6211-15F4-F325-9B753CA26BAC}"/>
              </a:ext>
            </a:extLst>
          </p:cNvPr>
          <p:cNvSpPr>
            <a:spLocks noGrp="1"/>
          </p:cNvSpPr>
          <p:nvPr>
            <p:ph type="body" sz="quarter" idx="14"/>
          </p:nvPr>
        </p:nvSpPr>
        <p:spPr>
          <a:xfrm>
            <a:off x="4349084" y="2121977"/>
            <a:ext cx="3489600" cy="1739900"/>
          </a:xfrm>
          <a:prstGeom prst="roundRect">
            <a:avLst>
              <a:gd name="adj" fmla="val 2708"/>
            </a:avLst>
          </a:prstGeom>
          <a:solidFill>
            <a:schemeClr val="tx1"/>
          </a:solidFill>
          <a:effectLst>
            <a:outerShdw blurRad="317500" dist="114300" dir="5400000" sx="95000" sy="95000" algn="ctr" rotWithShape="0">
              <a:prstClr val="black">
                <a:alpha val="25000"/>
              </a:prstClr>
            </a:outerShdw>
          </a:effectLst>
        </p:spPr>
        <p:txBody>
          <a:bodyPr lIns="180000" tIns="504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a:p>
            <a:pPr lvl="2"/>
            <a:endParaRPr lang="en-US"/>
          </a:p>
        </p:txBody>
      </p:sp>
      <p:sp>
        <p:nvSpPr>
          <p:cNvPr id="10" name="Text Placeholder 7">
            <a:extLst>
              <a:ext uri="{FF2B5EF4-FFF2-40B4-BE49-F238E27FC236}">
                <a16:creationId xmlns:a16="http://schemas.microsoft.com/office/drawing/2014/main" id="{86D750EB-4A99-5EFB-05A4-AAEB7329760C}"/>
              </a:ext>
            </a:extLst>
          </p:cNvPr>
          <p:cNvSpPr>
            <a:spLocks noGrp="1"/>
          </p:cNvSpPr>
          <p:nvPr>
            <p:ph type="body" sz="quarter" idx="15"/>
          </p:nvPr>
        </p:nvSpPr>
        <p:spPr>
          <a:xfrm>
            <a:off x="8084333" y="2121977"/>
            <a:ext cx="3489600" cy="1739900"/>
          </a:xfrm>
          <a:prstGeom prst="roundRect">
            <a:avLst>
              <a:gd name="adj" fmla="val 2708"/>
            </a:avLst>
          </a:prstGeom>
          <a:solidFill>
            <a:schemeClr val="tx1"/>
          </a:solidFill>
          <a:effectLst>
            <a:outerShdw blurRad="317500" dist="114300" dir="5400000" sx="95000" sy="95000" algn="ctr" rotWithShape="0">
              <a:prstClr val="black">
                <a:alpha val="25000"/>
              </a:prstClr>
            </a:outerShdw>
          </a:effectLst>
        </p:spPr>
        <p:txBody>
          <a:bodyPr lIns="180000" tIns="504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p:txBody>
      </p:sp>
      <p:sp>
        <p:nvSpPr>
          <p:cNvPr id="3" name="Text Placeholder 7">
            <a:extLst>
              <a:ext uri="{FF2B5EF4-FFF2-40B4-BE49-F238E27FC236}">
                <a16:creationId xmlns:a16="http://schemas.microsoft.com/office/drawing/2014/main" id="{7B0777BA-43C8-590D-A42C-81CE792C78AA}"/>
              </a:ext>
            </a:extLst>
          </p:cNvPr>
          <p:cNvSpPr>
            <a:spLocks noGrp="1"/>
          </p:cNvSpPr>
          <p:nvPr>
            <p:ph type="body" sz="quarter" idx="16"/>
          </p:nvPr>
        </p:nvSpPr>
        <p:spPr>
          <a:xfrm>
            <a:off x="613833" y="4521199"/>
            <a:ext cx="3489600" cy="1739900"/>
          </a:xfrm>
          <a:prstGeom prst="roundRect">
            <a:avLst>
              <a:gd name="adj" fmla="val 2708"/>
            </a:avLst>
          </a:prstGeom>
          <a:solidFill>
            <a:schemeClr val="tx1"/>
          </a:solidFill>
          <a:effectLst>
            <a:outerShdw blurRad="317500" dist="114300" dir="5400000" sx="95000" sy="95000" algn="ctr" rotWithShape="0">
              <a:prstClr val="black">
                <a:alpha val="25000"/>
              </a:prstClr>
            </a:outerShdw>
          </a:effectLst>
        </p:spPr>
        <p:txBody>
          <a:bodyPr lIns="180000" tIns="504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p:txBody>
      </p:sp>
      <p:sp>
        <p:nvSpPr>
          <p:cNvPr id="4" name="Text Placeholder 7">
            <a:extLst>
              <a:ext uri="{FF2B5EF4-FFF2-40B4-BE49-F238E27FC236}">
                <a16:creationId xmlns:a16="http://schemas.microsoft.com/office/drawing/2014/main" id="{E4B9B479-C82D-4555-577F-A8ACC2F45E8F}"/>
              </a:ext>
            </a:extLst>
          </p:cNvPr>
          <p:cNvSpPr>
            <a:spLocks noGrp="1"/>
          </p:cNvSpPr>
          <p:nvPr>
            <p:ph type="body" sz="quarter" idx="17"/>
          </p:nvPr>
        </p:nvSpPr>
        <p:spPr>
          <a:xfrm>
            <a:off x="4349084" y="4521199"/>
            <a:ext cx="3489600" cy="1739900"/>
          </a:xfrm>
          <a:prstGeom prst="roundRect">
            <a:avLst>
              <a:gd name="adj" fmla="val 2708"/>
            </a:avLst>
          </a:prstGeom>
          <a:solidFill>
            <a:schemeClr val="tx1"/>
          </a:solidFill>
          <a:effectLst>
            <a:outerShdw blurRad="317500" dist="114300" dir="5400000" sx="95000" sy="95000" algn="ctr" rotWithShape="0">
              <a:prstClr val="black">
                <a:alpha val="25000"/>
              </a:prstClr>
            </a:outerShdw>
          </a:effectLst>
        </p:spPr>
        <p:txBody>
          <a:bodyPr lIns="180000" tIns="504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p:txBody>
      </p:sp>
      <p:sp>
        <p:nvSpPr>
          <p:cNvPr id="5" name="Text Placeholder 7">
            <a:extLst>
              <a:ext uri="{FF2B5EF4-FFF2-40B4-BE49-F238E27FC236}">
                <a16:creationId xmlns:a16="http://schemas.microsoft.com/office/drawing/2014/main" id="{8F74C700-FEA8-B84D-1FF7-B104FE733F30}"/>
              </a:ext>
            </a:extLst>
          </p:cNvPr>
          <p:cNvSpPr>
            <a:spLocks noGrp="1"/>
          </p:cNvSpPr>
          <p:nvPr>
            <p:ph type="body" sz="quarter" idx="18"/>
          </p:nvPr>
        </p:nvSpPr>
        <p:spPr>
          <a:xfrm>
            <a:off x="8084333" y="4521199"/>
            <a:ext cx="3489600" cy="1739900"/>
          </a:xfrm>
          <a:prstGeom prst="roundRect">
            <a:avLst>
              <a:gd name="adj" fmla="val 2708"/>
            </a:avLst>
          </a:prstGeom>
          <a:solidFill>
            <a:schemeClr val="tx1"/>
          </a:solidFill>
          <a:effectLst>
            <a:outerShdw blurRad="317500" dist="114300" dir="5400000" sx="95000" sy="95000" algn="ctr" rotWithShape="0">
              <a:prstClr val="black">
                <a:alpha val="25000"/>
              </a:prstClr>
            </a:outerShdw>
          </a:effectLst>
        </p:spPr>
        <p:txBody>
          <a:bodyPr lIns="180000" tIns="504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p:txBody>
      </p:sp>
      <p:sp>
        <p:nvSpPr>
          <p:cNvPr id="6" name="Picture Placeholder 11">
            <a:extLst>
              <a:ext uri="{FF2B5EF4-FFF2-40B4-BE49-F238E27FC236}">
                <a16:creationId xmlns:a16="http://schemas.microsoft.com/office/drawing/2014/main" id="{446B95A3-CD9F-9647-392D-06EE8F855726}"/>
              </a:ext>
            </a:extLst>
          </p:cNvPr>
          <p:cNvSpPr>
            <a:spLocks noGrp="1"/>
          </p:cNvSpPr>
          <p:nvPr>
            <p:ph type="pic" sz="quarter" idx="19"/>
          </p:nvPr>
        </p:nvSpPr>
        <p:spPr>
          <a:xfrm>
            <a:off x="1878633" y="1669864"/>
            <a:ext cx="960000" cy="960000"/>
          </a:xfrm>
          <a:custGeom>
            <a:avLst/>
            <a:gdLst>
              <a:gd name="connsiteX0" fmla="*/ 360000 w 720000"/>
              <a:gd name="connsiteY0" fmla="*/ 0 h 720000"/>
              <a:gd name="connsiteX1" fmla="*/ 720000 w 720000"/>
              <a:gd name="connsiteY1" fmla="*/ 360000 h 720000"/>
              <a:gd name="connsiteX2" fmla="*/ 360000 w 720000"/>
              <a:gd name="connsiteY2" fmla="*/ 720000 h 720000"/>
              <a:gd name="connsiteX3" fmla="*/ 0 w 720000"/>
              <a:gd name="connsiteY3" fmla="*/ 360000 h 720000"/>
              <a:gd name="connsiteX4" fmla="*/ 360000 w 72000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720000">
                <a:moveTo>
                  <a:pt x="360000" y="0"/>
                </a:moveTo>
                <a:cubicBezTo>
                  <a:pt x="558823" y="0"/>
                  <a:pt x="720000" y="161177"/>
                  <a:pt x="720000" y="360000"/>
                </a:cubicBezTo>
                <a:cubicBezTo>
                  <a:pt x="720000" y="558823"/>
                  <a:pt x="558823" y="720000"/>
                  <a:pt x="360000" y="720000"/>
                </a:cubicBezTo>
                <a:cubicBezTo>
                  <a:pt x="161177" y="720000"/>
                  <a:pt x="0" y="558823"/>
                  <a:pt x="0" y="360000"/>
                </a:cubicBezTo>
                <a:cubicBezTo>
                  <a:pt x="0" y="161177"/>
                  <a:pt x="161177" y="0"/>
                  <a:pt x="360000" y="0"/>
                </a:cubicBezTo>
                <a:close/>
              </a:path>
            </a:pathLst>
          </a:custGeom>
          <a:solidFill>
            <a:schemeClr val="bg1"/>
          </a:solidFill>
        </p:spPr>
        <p:txBody>
          <a:bodyPr wrap="square" anchor="ctr">
            <a:noAutofit/>
          </a:bodyPr>
          <a:lstStyle>
            <a:lvl1pPr algn="ctr">
              <a:defRPr sz="1067">
                <a:solidFill>
                  <a:schemeClr val="tx1"/>
                </a:solidFill>
              </a:defRPr>
            </a:lvl1pPr>
          </a:lstStyle>
          <a:p>
            <a:r>
              <a:rPr lang="en-US"/>
              <a:t>Click icon to add picture</a:t>
            </a:r>
            <a:endParaRPr lang="en-BE"/>
          </a:p>
        </p:txBody>
      </p:sp>
      <p:sp>
        <p:nvSpPr>
          <p:cNvPr id="7" name="Picture Placeholder 12">
            <a:extLst>
              <a:ext uri="{FF2B5EF4-FFF2-40B4-BE49-F238E27FC236}">
                <a16:creationId xmlns:a16="http://schemas.microsoft.com/office/drawing/2014/main" id="{FBF1FDE2-1899-9391-F65D-2A9EFA4E7929}"/>
              </a:ext>
            </a:extLst>
          </p:cNvPr>
          <p:cNvSpPr>
            <a:spLocks noGrp="1"/>
          </p:cNvSpPr>
          <p:nvPr>
            <p:ph type="pic" sz="quarter" idx="20"/>
          </p:nvPr>
        </p:nvSpPr>
        <p:spPr>
          <a:xfrm>
            <a:off x="1878633" y="4074155"/>
            <a:ext cx="960000" cy="960000"/>
          </a:xfrm>
          <a:custGeom>
            <a:avLst/>
            <a:gdLst>
              <a:gd name="connsiteX0" fmla="*/ 360000 w 720000"/>
              <a:gd name="connsiteY0" fmla="*/ 0 h 720000"/>
              <a:gd name="connsiteX1" fmla="*/ 720000 w 720000"/>
              <a:gd name="connsiteY1" fmla="*/ 360000 h 720000"/>
              <a:gd name="connsiteX2" fmla="*/ 360000 w 720000"/>
              <a:gd name="connsiteY2" fmla="*/ 720000 h 720000"/>
              <a:gd name="connsiteX3" fmla="*/ 0 w 720000"/>
              <a:gd name="connsiteY3" fmla="*/ 360000 h 720000"/>
              <a:gd name="connsiteX4" fmla="*/ 360000 w 72000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720000">
                <a:moveTo>
                  <a:pt x="360000" y="0"/>
                </a:moveTo>
                <a:cubicBezTo>
                  <a:pt x="558823" y="0"/>
                  <a:pt x="720000" y="161177"/>
                  <a:pt x="720000" y="360000"/>
                </a:cubicBezTo>
                <a:cubicBezTo>
                  <a:pt x="720000" y="558823"/>
                  <a:pt x="558823" y="720000"/>
                  <a:pt x="360000" y="720000"/>
                </a:cubicBezTo>
                <a:cubicBezTo>
                  <a:pt x="161177" y="720000"/>
                  <a:pt x="0" y="558823"/>
                  <a:pt x="0" y="360000"/>
                </a:cubicBezTo>
                <a:cubicBezTo>
                  <a:pt x="0" y="161177"/>
                  <a:pt x="161177" y="0"/>
                  <a:pt x="360000" y="0"/>
                </a:cubicBezTo>
                <a:close/>
              </a:path>
            </a:pathLst>
          </a:custGeom>
          <a:solidFill>
            <a:schemeClr val="bg1"/>
          </a:solidFill>
        </p:spPr>
        <p:txBody>
          <a:bodyPr wrap="square" anchor="ctr">
            <a:noAutofit/>
          </a:bodyPr>
          <a:lstStyle>
            <a:lvl1pPr algn="ctr">
              <a:defRPr sz="1067">
                <a:solidFill>
                  <a:schemeClr val="tx1"/>
                </a:solidFill>
              </a:defRPr>
            </a:lvl1pPr>
          </a:lstStyle>
          <a:p>
            <a:r>
              <a:rPr lang="en-US"/>
              <a:t>Click icon to add picture</a:t>
            </a:r>
            <a:endParaRPr lang="en-BE"/>
          </a:p>
        </p:txBody>
      </p:sp>
      <p:sp>
        <p:nvSpPr>
          <p:cNvPr id="11" name="Picture Placeholder 13">
            <a:extLst>
              <a:ext uri="{FF2B5EF4-FFF2-40B4-BE49-F238E27FC236}">
                <a16:creationId xmlns:a16="http://schemas.microsoft.com/office/drawing/2014/main" id="{BF6503F1-AFF0-BA4B-0F82-856046177A1B}"/>
              </a:ext>
            </a:extLst>
          </p:cNvPr>
          <p:cNvSpPr>
            <a:spLocks noGrp="1"/>
          </p:cNvSpPr>
          <p:nvPr>
            <p:ph type="pic" sz="quarter" idx="21"/>
          </p:nvPr>
        </p:nvSpPr>
        <p:spPr>
          <a:xfrm>
            <a:off x="5613884" y="1671332"/>
            <a:ext cx="960000" cy="960000"/>
          </a:xfrm>
          <a:custGeom>
            <a:avLst/>
            <a:gdLst>
              <a:gd name="connsiteX0" fmla="*/ 360000 w 720000"/>
              <a:gd name="connsiteY0" fmla="*/ 0 h 720000"/>
              <a:gd name="connsiteX1" fmla="*/ 720000 w 720000"/>
              <a:gd name="connsiteY1" fmla="*/ 360000 h 720000"/>
              <a:gd name="connsiteX2" fmla="*/ 360000 w 720000"/>
              <a:gd name="connsiteY2" fmla="*/ 720000 h 720000"/>
              <a:gd name="connsiteX3" fmla="*/ 0 w 720000"/>
              <a:gd name="connsiteY3" fmla="*/ 360000 h 720000"/>
              <a:gd name="connsiteX4" fmla="*/ 360000 w 72000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720000">
                <a:moveTo>
                  <a:pt x="360000" y="0"/>
                </a:moveTo>
                <a:cubicBezTo>
                  <a:pt x="558823" y="0"/>
                  <a:pt x="720000" y="161177"/>
                  <a:pt x="720000" y="360000"/>
                </a:cubicBezTo>
                <a:cubicBezTo>
                  <a:pt x="720000" y="558823"/>
                  <a:pt x="558823" y="720000"/>
                  <a:pt x="360000" y="720000"/>
                </a:cubicBezTo>
                <a:cubicBezTo>
                  <a:pt x="161177" y="720000"/>
                  <a:pt x="0" y="558823"/>
                  <a:pt x="0" y="360000"/>
                </a:cubicBezTo>
                <a:cubicBezTo>
                  <a:pt x="0" y="161177"/>
                  <a:pt x="161177" y="0"/>
                  <a:pt x="360000" y="0"/>
                </a:cubicBezTo>
                <a:close/>
              </a:path>
            </a:pathLst>
          </a:custGeom>
          <a:solidFill>
            <a:schemeClr val="bg1"/>
          </a:solidFill>
        </p:spPr>
        <p:txBody>
          <a:bodyPr wrap="square" anchor="ctr">
            <a:noAutofit/>
          </a:bodyPr>
          <a:lstStyle>
            <a:lvl1pPr algn="ctr">
              <a:defRPr sz="1067">
                <a:solidFill>
                  <a:schemeClr val="tx1"/>
                </a:solidFill>
              </a:defRPr>
            </a:lvl1pPr>
          </a:lstStyle>
          <a:p>
            <a:r>
              <a:rPr lang="en-US"/>
              <a:t>Click icon to add picture</a:t>
            </a:r>
            <a:endParaRPr lang="en-BE"/>
          </a:p>
        </p:txBody>
      </p:sp>
      <p:sp>
        <p:nvSpPr>
          <p:cNvPr id="12" name="Picture Placeholder 14">
            <a:extLst>
              <a:ext uri="{FF2B5EF4-FFF2-40B4-BE49-F238E27FC236}">
                <a16:creationId xmlns:a16="http://schemas.microsoft.com/office/drawing/2014/main" id="{203F4042-3C07-59B7-19BA-6EB0AC8FA1D8}"/>
              </a:ext>
            </a:extLst>
          </p:cNvPr>
          <p:cNvSpPr>
            <a:spLocks noGrp="1"/>
          </p:cNvSpPr>
          <p:nvPr>
            <p:ph type="pic" sz="quarter" idx="22"/>
          </p:nvPr>
        </p:nvSpPr>
        <p:spPr>
          <a:xfrm>
            <a:off x="5613884" y="4075623"/>
            <a:ext cx="960000" cy="960000"/>
          </a:xfrm>
          <a:custGeom>
            <a:avLst/>
            <a:gdLst>
              <a:gd name="connsiteX0" fmla="*/ 360000 w 720000"/>
              <a:gd name="connsiteY0" fmla="*/ 0 h 720000"/>
              <a:gd name="connsiteX1" fmla="*/ 720000 w 720000"/>
              <a:gd name="connsiteY1" fmla="*/ 360000 h 720000"/>
              <a:gd name="connsiteX2" fmla="*/ 360000 w 720000"/>
              <a:gd name="connsiteY2" fmla="*/ 720000 h 720000"/>
              <a:gd name="connsiteX3" fmla="*/ 0 w 720000"/>
              <a:gd name="connsiteY3" fmla="*/ 360000 h 720000"/>
              <a:gd name="connsiteX4" fmla="*/ 360000 w 72000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720000">
                <a:moveTo>
                  <a:pt x="360000" y="0"/>
                </a:moveTo>
                <a:cubicBezTo>
                  <a:pt x="558823" y="0"/>
                  <a:pt x="720000" y="161177"/>
                  <a:pt x="720000" y="360000"/>
                </a:cubicBezTo>
                <a:cubicBezTo>
                  <a:pt x="720000" y="558823"/>
                  <a:pt x="558823" y="720000"/>
                  <a:pt x="360000" y="720000"/>
                </a:cubicBezTo>
                <a:cubicBezTo>
                  <a:pt x="161177" y="720000"/>
                  <a:pt x="0" y="558823"/>
                  <a:pt x="0" y="360000"/>
                </a:cubicBezTo>
                <a:cubicBezTo>
                  <a:pt x="0" y="161177"/>
                  <a:pt x="161177" y="0"/>
                  <a:pt x="360000" y="0"/>
                </a:cubicBezTo>
                <a:close/>
              </a:path>
            </a:pathLst>
          </a:custGeom>
          <a:solidFill>
            <a:schemeClr val="bg1"/>
          </a:solidFill>
        </p:spPr>
        <p:txBody>
          <a:bodyPr wrap="square" anchor="ctr">
            <a:noAutofit/>
          </a:bodyPr>
          <a:lstStyle>
            <a:lvl1pPr algn="ctr">
              <a:defRPr sz="1067">
                <a:solidFill>
                  <a:schemeClr val="tx1"/>
                </a:solidFill>
              </a:defRPr>
            </a:lvl1pPr>
          </a:lstStyle>
          <a:p>
            <a:r>
              <a:rPr lang="en-US"/>
              <a:t>Click icon to add picture</a:t>
            </a:r>
            <a:endParaRPr lang="en-BE"/>
          </a:p>
        </p:txBody>
      </p:sp>
      <p:sp>
        <p:nvSpPr>
          <p:cNvPr id="13" name="Picture Placeholder 15">
            <a:extLst>
              <a:ext uri="{FF2B5EF4-FFF2-40B4-BE49-F238E27FC236}">
                <a16:creationId xmlns:a16="http://schemas.microsoft.com/office/drawing/2014/main" id="{B38AF9D1-F3FE-0BE3-8650-7D3001FEC24C}"/>
              </a:ext>
            </a:extLst>
          </p:cNvPr>
          <p:cNvSpPr>
            <a:spLocks noGrp="1"/>
          </p:cNvSpPr>
          <p:nvPr>
            <p:ph type="pic" sz="quarter" idx="23"/>
          </p:nvPr>
        </p:nvSpPr>
        <p:spPr>
          <a:xfrm>
            <a:off x="9349133" y="1671332"/>
            <a:ext cx="960000" cy="960000"/>
          </a:xfrm>
          <a:custGeom>
            <a:avLst/>
            <a:gdLst>
              <a:gd name="connsiteX0" fmla="*/ 360000 w 720000"/>
              <a:gd name="connsiteY0" fmla="*/ 0 h 720000"/>
              <a:gd name="connsiteX1" fmla="*/ 720000 w 720000"/>
              <a:gd name="connsiteY1" fmla="*/ 360000 h 720000"/>
              <a:gd name="connsiteX2" fmla="*/ 360000 w 720000"/>
              <a:gd name="connsiteY2" fmla="*/ 720000 h 720000"/>
              <a:gd name="connsiteX3" fmla="*/ 0 w 720000"/>
              <a:gd name="connsiteY3" fmla="*/ 360000 h 720000"/>
              <a:gd name="connsiteX4" fmla="*/ 360000 w 72000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720000">
                <a:moveTo>
                  <a:pt x="360000" y="0"/>
                </a:moveTo>
                <a:cubicBezTo>
                  <a:pt x="558823" y="0"/>
                  <a:pt x="720000" y="161177"/>
                  <a:pt x="720000" y="360000"/>
                </a:cubicBezTo>
                <a:cubicBezTo>
                  <a:pt x="720000" y="558823"/>
                  <a:pt x="558823" y="720000"/>
                  <a:pt x="360000" y="720000"/>
                </a:cubicBezTo>
                <a:cubicBezTo>
                  <a:pt x="161177" y="720000"/>
                  <a:pt x="0" y="558823"/>
                  <a:pt x="0" y="360000"/>
                </a:cubicBezTo>
                <a:cubicBezTo>
                  <a:pt x="0" y="161177"/>
                  <a:pt x="161177" y="0"/>
                  <a:pt x="360000" y="0"/>
                </a:cubicBezTo>
                <a:close/>
              </a:path>
            </a:pathLst>
          </a:custGeom>
          <a:solidFill>
            <a:schemeClr val="bg1"/>
          </a:solidFill>
        </p:spPr>
        <p:txBody>
          <a:bodyPr wrap="square" anchor="ctr">
            <a:noAutofit/>
          </a:bodyPr>
          <a:lstStyle>
            <a:lvl1pPr algn="ctr">
              <a:defRPr sz="1067">
                <a:solidFill>
                  <a:schemeClr val="tx1"/>
                </a:solidFill>
              </a:defRPr>
            </a:lvl1pPr>
          </a:lstStyle>
          <a:p>
            <a:r>
              <a:rPr lang="en-US"/>
              <a:t>Click icon to add picture</a:t>
            </a:r>
            <a:endParaRPr lang="en-BE"/>
          </a:p>
        </p:txBody>
      </p:sp>
      <p:sp>
        <p:nvSpPr>
          <p:cNvPr id="14" name="Picture Placeholder 16">
            <a:extLst>
              <a:ext uri="{FF2B5EF4-FFF2-40B4-BE49-F238E27FC236}">
                <a16:creationId xmlns:a16="http://schemas.microsoft.com/office/drawing/2014/main" id="{F371C424-07A1-5FFE-A82D-01681FAA4F7B}"/>
              </a:ext>
            </a:extLst>
          </p:cNvPr>
          <p:cNvSpPr>
            <a:spLocks noGrp="1"/>
          </p:cNvSpPr>
          <p:nvPr>
            <p:ph type="pic" sz="quarter" idx="24"/>
          </p:nvPr>
        </p:nvSpPr>
        <p:spPr>
          <a:xfrm>
            <a:off x="9349133" y="4075623"/>
            <a:ext cx="960000" cy="960000"/>
          </a:xfrm>
          <a:custGeom>
            <a:avLst/>
            <a:gdLst>
              <a:gd name="connsiteX0" fmla="*/ 360000 w 720000"/>
              <a:gd name="connsiteY0" fmla="*/ 0 h 720000"/>
              <a:gd name="connsiteX1" fmla="*/ 720000 w 720000"/>
              <a:gd name="connsiteY1" fmla="*/ 360000 h 720000"/>
              <a:gd name="connsiteX2" fmla="*/ 360000 w 720000"/>
              <a:gd name="connsiteY2" fmla="*/ 720000 h 720000"/>
              <a:gd name="connsiteX3" fmla="*/ 0 w 720000"/>
              <a:gd name="connsiteY3" fmla="*/ 360000 h 720000"/>
              <a:gd name="connsiteX4" fmla="*/ 360000 w 72000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720000">
                <a:moveTo>
                  <a:pt x="360000" y="0"/>
                </a:moveTo>
                <a:cubicBezTo>
                  <a:pt x="558823" y="0"/>
                  <a:pt x="720000" y="161177"/>
                  <a:pt x="720000" y="360000"/>
                </a:cubicBezTo>
                <a:cubicBezTo>
                  <a:pt x="720000" y="558823"/>
                  <a:pt x="558823" y="720000"/>
                  <a:pt x="360000" y="720000"/>
                </a:cubicBezTo>
                <a:cubicBezTo>
                  <a:pt x="161177" y="720000"/>
                  <a:pt x="0" y="558823"/>
                  <a:pt x="0" y="360000"/>
                </a:cubicBezTo>
                <a:cubicBezTo>
                  <a:pt x="0" y="161177"/>
                  <a:pt x="161177" y="0"/>
                  <a:pt x="360000" y="0"/>
                </a:cubicBezTo>
                <a:close/>
              </a:path>
            </a:pathLst>
          </a:custGeom>
          <a:solidFill>
            <a:schemeClr val="bg1"/>
          </a:solidFill>
        </p:spPr>
        <p:txBody>
          <a:bodyPr wrap="square" anchor="ctr">
            <a:noAutofit/>
          </a:bodyPr>
          <a:lstStyle>
            <a:lvl1pPr algn="ctr">
              <a:defRPr sz="1067">
                <a:solidFill>
                  <a:schemeClr val="tx1"/>
                </a:solidFill>
              </a:defRPr>
            </a:lvl1pPr>
          </a:lstStyle>
          <a:p>
            <a:r>
              <a:rPr lang="en-US"/>
              <a:t>Click icon to add picture</a:t>
            </a:r>
            <a:endParaRPr lang="en-BE"/>
          </a:p>
        </p:txBody>
      </p:sp>
    </p:spTree>
    <p:extLst>
      <p:ext uri="{BB962C8B-B14F-4D97-AF65-F5344CB8AC3E}">
        <p14:creationId xmlns:p14="http://schemas.microsoft.com/office/powerpoint/2010/main" val="179441635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XS ADA - content 8 col +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p:txBody>
          <a:bodyPr/>
          <a:lstStyle/>
          <a:p>
            <a:r>
              <a:rPr lang="en-US"/>
              <a:t>Click to edit Master title style</a:t>
            </a:r>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613833" y="2121976"/>
            <a:ext cx="2592000" cy="1739901"/>
          </a:xfrm>
          <a:prstGeom prst="roundRect">
            <a:avLst>
              <a:gd name="adj" fmla="val 2708"/>
            </a:avLst>
          </a:prstGeom>
          <a:solidFill>
            <a:schemeClr val="tx1"/>
          </a:solidFill>
          <a:effectLst>
            <a:outerShdw blurRad="317500" dist="114300" dir="5400000" sx="95000" sy="95000" algn="ctr" rotWithShape="0">
              <a:prstClr val="black">
                <a:alpha val="25000"/>
              </a:prstClr>
            </a:outerShdw>
          </a:effectLst>
        </p:spPr>
        <p:txBody>
          <a:bodyPr lIns="180000" tIns="504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p:txBody>
      </p:sp>
      <p:sp>
        <p:nvSpPr>
          <p:cNvPr id="6" name="Text Placeholder 7">
            <a:extLst>
              <a:ext uri="{FF2B5EF4-FFF2-40B4-BE49-F238E27FC236}">
                <a16:creationId xmlns:a16="http://schemas.microsoft.com/office/drawing/2014/main" id="{4ADBD380-9906-547A-36ED-2947FEB686D3}"/>
              </a:ext>
            </a:extLst>
          </p:cNvPr>
          <p:cNvSpPr>
            <a:spLocks noGrp="1"/>
          </p:cNvSpPr>
          <p:nvPr>
            <p:ph type="body" sz="quarter" idx="14"/>
          </p:nvPr>
        </p:nvSpPr>
        <p:spPr>
          <a:xfrm>
            <a:off x="3403200" y="2121976"/>
            <a:ext cx="2592000" cy="1739901"/>
          </a:xfrm>
          <a:prstGeom prst="roundRect">
            <a:avLst>
              <a:gd name="adj" fmla="val 2708"/>
            </a:avLst>
          </a:prstGeom>
          <a:solidFill>
            <a:schemeClr val="tx1"/>
          </a:solidFill>
          <a:effectLst>
            <a:outerShdw blurRad="317500" dist="114300" dir="5400000" sx="95000" sy="95000" algn="ctr" rotWithShape="0">
              <a:prstClr val="black">
                <a:alpha val="25000"/>
              </a:prstClr>
            </a:outerShdw>
          </a:effectLst>
        </p:spPr>
        <p:txBody>
          <a:bodyPr lIns="180000" tIns="504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p:txBody>
      </p:sp>
      <p:sp>
        <p:nvSpPr>
          <p:cNvPr id="7" name="Text Placeholder 7">
            <a:extLst>
              <a:ext uri="{FF2B5EF4-FFF2-40B4-BE49-F238E27FC236}">
                <a16:creationId xmlns:a16="http://schemas.microsoft.com/office/drawing/2014/main" id="{41300FCC-A5BE-D220-7B1E-0516C970BC50}"/>
              </a:ext>
            </a:extLst>
          </p:cNvPr>
          <p:cNvSpPr>
            <a:spLocks noGrp="1"/>
          </p:cNvSpPr>
          <p:nvPr>
            <p:ph type="body" sz="quarter" idx="15"/>
          </p:nvPr>
        </p:nvSpPr>
        <p:spPr>
          <a:xfrm>
            <a:off x="6192567" y="2121976"/>
            <a:ext cx="2592000" cy="1739901"/>
          </a:xfrm>
          <a:prstGeom prst="roundRect">
            <a:avLst>
              <a:gd name="adj" fmla="val 2708"/>
            </a:avLst>
          </a:prstGeom>
          <a:solidFill>
            <a:schemeClr val="tx1"/>
          </a:solidFill>
          <a:effectLst>
            <a:outerShdw blurRad="317500" dist="114300" dir="5400000" sx="95000" sy="95000" algn="ctr" rotWithShape="0">
              <a:prstClr val="black">
                <a:alpha val="25000"/>
              </a:prstClr>
            </a:outerShdw>
          </a:effectLst>
        </p:spPr>
        <p:txBody>
          <a:bodyPr lIns="180000" tIns="504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p:txBody>
      </p:sp>
      <p:sp>
        <p:nvSpPr>
          <p:cNvPr id="11" name="Text Placeholder 7">
            <a:extLst>
              <a:ext uri="{FF2B5EF4-FFF2-40B4-BE49-F238E27FC236}">
                <a16:creationId xmlns:a16="http://schemas.microsoft.com/office/drawing/2014/main" id="{3F3F6A23-E894-02FC-5A03-FA8A0EDA6705}"/>
              </a:ext>
            </a:extLst>
          </p:cNvPr>
          <p:cNvSpPr>
            <a:spLocks noGrp="1"/>
          </p:cNvSpPr>
          <p:nvPr>
            <p:ph type="body" sz="quarter" idx="16"/>
          </p:nvPr>
        </p:nvSpPr>
        <p:spPr>
          <a:xfrm>
            <a:off x="8981933" y="2121976"/>
            <a:ext cx="2592000" cy="1739901"/>
          </a:xfrm>
          <a:prstGeom prst="roundRect">
            <a:avLst>
              <a:gd name="adj" fmla="val 2708"/>
            </a:avLst>
          </a:prstGeom>
          <a:solidFill>
            <a:schemeClr val="tx1"/>
          </a:solidFill>
          <a:effectLst>
            <a:outerShdw blurRad="317500" dist="114300" dir="5400000" sx="95000" sy="95000" algn="ctr" rotWithShape="0">
              <a:prstClr val="black">
                <a:alpha val="25000"/>
              </a:prstClr>
            </a:outerShdw>
          </a:effectLst>
        </p:spPr>
        <p:txBody>
          <a:bodyPr lIns="180000" tIns="504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p:txBody>
      </p:sp>
      <p:sp>
        <p:nvSpPr>
          <p:cNvPr id="12" name="Text Placeholder 7">
            <a:extLst>
              <a:ext uri="{FF2B5EF4-FFF2-40B4-BE49-F238E27FC236}">
                <a16:creationId xmlns:a16="http://schemas.microsoft.com/office/drawing/2014/main" id="{F29550DB-84B1-5E06-C0B7-86721EF3AF62}"/>
              </a:ext>
            </a:extLst>
          </p:cNvPr>
          <p:cNvSpPr>
            <a:spLocks noGrp="1"/>
          </p:cNvSpPr>
          <p:nvPr>
            <p:ph type="body" sz="quarter" idx="17"/>
          </p:nvPr>
        </p:nvSpPr>
        <p:spPr>
          <a:xfrm>
            <a:off x="613833" y="4521199"/>
            <a:ext cx="2592000" cy="1739901"/>
          </a:xfrm>
          <a:prstGeom prst="roundRect">
            <a:avLst>
              <a:gd name="adj" fmla="val 2708"/>
            </a:avLst>
          </a:prstGeom>
          <a:solidFill>
            <a:schemeClr val="tx1"/>
          </a:solidFill>
          <a:effectLst>
            <a:outerShdw blurRad="317500" dist="114300" dir="5400000" sx="95000" sy="95000" algn="ctr" rotWithShape="0">
              <a:prstClr val="black">
                <a:alpha val="25000"/>
              </a:prstClr>
            </a:outerShdw>
          </a:effectLst>
        </p:spPr>
        <p:txBody>
          <a:bodyPr lIns="180000" tIns="504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p:txBody>
      </p:sp>
      <p:sp>
        <p:nvSpPr>
          <p:cNvPr id="13" name="Text Placeholder 7">
            <a:extLst>
              <a:ext uri="{FF2B5EF4-FFF2-40B4-BE49-F238E27FC236}">
                <a16:creationId xmlns:a16="http://schemas.microsoft.com/office/drawing/2014/main" id="{86E26EE7-67CA-EB54-F62B-D219F8A7E401}"/>
              </a:ext>
            </a:extLst>
          </p:cNvPr>
          <p:cNvSpPr>
            <a:spLocks noGrp="1"/>
          </p:cNvSpPr>
          <p:nvPr>
            <p:ph type="body" sz="quarter" idx="18"/>
          </p:nvPr>
        </p:nvSpPr>
        <p:spPr>
          <a:xfrm>
            <a:off x="3403200" y="4521199"/>
            <a:ext cx="2592000" cy="1739901"/>
          </a:xfrm>
          <a:prstGeom prst="roundRect">
            <a:avLst>
              <a:gd name="adj" fmla="val 2708"/>
            </a:avLst>
          </a:prstGeom>
          <a:solidFill>
            <a:schemeClr val="tx1"/>
          </a:solidFill>
          <a:effectLst>
            <a:outerShdw blurRad="317500" dist="114300" dir="5400000" sx="95000" sy="95000" algn="ctr" rotWithShape="0">
              <a:prstClr val="black">
                <a:alpha val="25000"/>
              </a:prstClr>
            </a:outerShdw>
          </a:effectLst>
        </p:spPr>
        <p:txBody>
          <a:bodyPr lIns="180000" tIns="504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p:txBody>
      </p:sp>
      <p:sp>
        <p:nvSpPr>
          <p:cNvPr id="14" name="Text Placeholder 7">
            <a:extLst>
              <a:ext uri="{FF2B5EF4-FFF2-40B4-BE49-F238E27FC236}">
                <a16:creationId xmlns:a16="http://schemas.microsoft.com/office/drawing/2014/main" id="{0EA10E96-E7AC-1FA2-4537-FA7DA3DFDF83}"/>
              </a:ext>
            </a:extLst>
          </p:cNvPr>
          <p:cNvSpPr>
            <a:spLocks noGrp="1"/>
          </p:cNvSpPr>
          <p:nvPr>
            <p:ph type="body" sz="quarter" idx="19"/>
          </p:nvPr>
        </p:nvSpPr>
        <p:spPr>
          <a:xfrm>
            <a:off x="6192567" y="4521199"/>
            <a:ext cx="2592000" cy="1739901"/>
          </a:xfrm>
          <a:prstGeom prst="roundRect">
            <a:avLst>
              <a:gd name="adj" fmla="val 2708"/>
            </a:avLst>
          </a:prstGeom>
          <a:solidFill>
            <a:schemeClr val="tx1"/>
          </a:solidFill>
          <a:effectLst>
            <a:outerShdw blurRad="317500" dist="114300" dir="5400000" sx="95000" sy="95000" algn="ctr" rotWithShape="0">
              <a:prstClr val="black">
                <a:alpha val="25000"/>
              </a:prstClr>
            </a:outerShdw>
          </a:effectLst>
        </p:spPr>
        <p:txBody>
          <a:bodyPr lIns="180000" tIns="504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p:txBody>
      </p:sp>
      <p:sp>
        <p:nvSpPr>
          <p:cNvPr id="15" name="Text Placeholder 7">
            <a:extLst>
              <a:ext uri="{FF2B5EF4-FFF2-40B4-BE49-F238E27FC236}">
                <a16:creationId xmlns:a16="http://schemas.microsoft.com/office/drawing/2014/main" id="{699B6118-09B0-DC8F-7DC5-69F0BD224B7D}"/>
              </a:ext>
            </a:extLst>
          </p:cNvPr>
          <p:cNvSpPr>
            <a:spLocks noGrp="1"/>
          </p:cNvSpPr>
          <p:nvPr>
            <p:ph type="body" sz="quarter" idx="20"/>
          </p:nvPr>
        </p:nvSpPr>
        <p:spPr>
          <a:xfrm>
            <a:off x="8981933" y="4521199"/>
            <a:ext cx="2592000" cy="1739901"/>
          </a:xfrm>
          <a:prstGeom prst="roundRect">
            <a:avLst>
              <a:gd name="adj" fmla="val 2708"/>
            </a:avLst>
          </a:prstGeom>
          <a:solidFill>
            <a:schemeClr val="tx1"/>
          </a:solidFill>
          <a:effectLst>
            <a:outerShdw blurRad="317500" dist="114300" dir="5400000" sx="95000" sy="95000" algn="ctr" rotWithShape="0">
              <a:prstClr val="black">
                <a:alpha val="25000"/>
              </a:prstClr>
            </a:outerShdw>
          </a:effectLst>
        </p:spPr>
        <p:txBody>
          <a:bodyPr lIns="180000" tIns="504000" rIns="180000" bIns="180000"/>
          <a:lstStyle>
            <a:lvl1pPr>
              <a:spcAft>
                <a:spcPts val="0"/>
              </a:spcAft>
              <a:defRPr sz="1867">
                <a:solidFill>
                  <a:schemeClr val="bg1"/>
                </a:solidFill>
                <a:latin typeface="Proximus Bold" panose="020B0604020202020204" charset="0"/>
              </a:defRPr>
            </a:lvl1pPr>
            <a:lvl2pPr indent="-234917">
              <a:buClr>
                <a:schemeClr val="bg1"/>
              </a:buClr>
              <a:defRPr sz="1867">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spcBef>
                <a:spcPts val="1600"/>
              </a:spcBef>
              <a:defRPr sz="1867">
                <a:solidFill>
                  <a:schemeClr val="accent1"/>
                </a:solidFill>
                <a:latin typeface="+mj-lt"/>
              </a:defRPr>
            </a:lvl5pPr>
          </a:lstStyle>
          <a:p>
            <a:pPr lvl="0"/>
            <a:r>
              <a:rPr lang="en-US"/>
              <a:t>Click to edit Master text styles</a:t>
            </a:r>
          </a:p>
          <a:p>
            <a:pPr lvl="1"/>
            <a:r>
              <a:rPr lang="en-US"/>
              <a:t>Second level</a:t>
            </a:r>
          </a:p>
        </p:txBody>
      </p:sp>
      <p:sp>
        <p:nvSpPr>
          <p:cNvPr id="23" name="Picture Placeholder 11">
            <a:extLst>
              <a:ext uri="{FF2B5EF4-FFF2-40B4-BE49-F238E27FC236}">
                <a16:creationId xmlns:a16="http://schemas.microsoft.com/office/drawing/2014/main" id="{62DBCF29-DE02-0E2C-4FE7-F331F088BBAB}"/>
              </a:ext>
            </a:extLst>
          </p:cNvPr>
          <p:cNvSpPr>
            <a:spLocks noGrp="1"/>
          </p:cNvSpPr>
          <p:nvPr>
            <p:ph type="pic" sz="quarter" idx="33"/>
          </p:nvPr>
        </p:nvSpPr>
        <p:spPr>
          <a:xfrm>
            <a:off x="1429833" y="1669864"/>
            <a:ext cx="960000" cy="960000"/>
          </a:xfrm>
          <a:custGeom>
            <a:avLst/>
            <a:gdLst>
              <a:gd name="connsiteX0" fmla="*/ 360000 w 720000"/>
              <a:gd name="connsiteY0" fmla="*/ 0 h 720000"/>
              <a:gd name="connsiteX1" fmla="*/ 720000 w 720000"/>
              <a:gd name="connsiteY1" fmla="*/ 360000 h 720000"/>
              <a:gd name="connsiteX2" fmla="*/ 360000 w 720000"/>
              <a:gd name="connsiteY2" fmla="*/ 720000 h 720000"/>
              <a:gd name="connsiteX3" fmla="*/ 0 w 720000"/>
              <a:gd name="connsiteY3" fmla="*/ 360000 h 720000"/>
              <a:gd name="connsiteX4" fmla="*/ 360000 w 72000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720000">
                <a:moveTo>
                  <a:pt x="360000" y="0"/>
                </a:moveTo>
                <a:cubicBezTo>
                  <a:pt x="558823" y="0"/>
                  <a:pt x="720000" y="161177"/>
                  <a:pt x="720000" y="360000"/>
                </a:cubicBezTo>
                <a:cubicBezTo>
                  <a:pt x="720000" y="558823"/>
                  <a:pt x="558823" y="720000"/>
                  <a:pt x="360000" y="720000"/>
                </a:cubicBezTo>
                <a:cubicBezTo>
                  <a:pt x="161177" y="720000"/>
                  <a:pt x="0" y="558823"/>
                  <a:pt x="0" y="360000"/>
                </a:cubicBezTo>
                <a:cubicBezTo>
                  <a:pt x="0" y="161177"/>
                  <a:pt x="161177" y="0"/>
                  <a:pt x="360000" y="0"/>
                </a:cubicBezTo>
                <a:close/>
              </a:path>
            </a:pathLst>
          </a:custGeom>
          <a:solidFill>
            <a:schemeClr val="bg1"/>
          </a:solidFill>
        </p:spPr>
        <p:txBody>
          <a:bodyPr wrap="square" anchor="ctr">
            <a:noAutofit/>
          </a:bodyPr>
          <a:lstStyle>
            <a:lvl1pPr algn="ctr">
              <a:defRPr sz="1067">
                <a:solidFill>
                  <a:schemeClr val="tx1"/>
                </a:solidFill>
              </a:defRPr>
            </a:lvl1pPr>
          </a:lstStyle>
          <a:p>
            <a:r>
              <a:rPr lang="en-US"/>
              <a:t>Click icon to add picture</a:t>
            </a:r>
            <a:endParaRPr lang="en-BE"/>
          </a:p>
        </p:txBody>
      </p:sp>
      <p:sp>
        <p:nvSpPr>
          <p:cNvPr id="24" name="Picture Placeholder 12">
            <a:extLst>
              <a:ext uri="{FF2B5EF4-FFF2-40B4-BE49-F238E27FC236}">
                <a16:creationId xmlns:a16="http://schemas.microsoft.com/office/drawing/2014/main" id="{5EFE4BFF-7870-49BB-B269-A6887ED5F1E1}"/>
              </a:ext>
            </a:extLst>
          </p:cNvPr>
          <p:cNvSpPr>
            <a:spLocks noGrp="1"/>
          </p:cNvSpPr>
          <p:nvPr>
            <p:ph type="pic" sz="quarter" idx="34"/>
          </p:nvPr>
        </p:nvSpPr>
        <p:spPr>
          <a:xfrm>
            <a:off x="1429833" y="4074155"/>
            <a:ext cx="960000" cy="960000"/>
          </a:xfrm>
          <a:custGeom>
            <a:avLst/>
            <a:gdLst>
              <a:gd name="connsiteX0" fmla="*/ 360000 w 720000"/>
              <a:gd name="connsiteY0" fmla="*/ 0 h 720000"/>
              <a:gd name="connsiteX1" fmla="*/ 720000 w 720000"/>
              <a:gd name="connsiteY1" fmla="*/ 360000 h 720000"/>
              <a:gd name="connsiteX2" fmla="*/ 360000 w 720000"/>
              <a:gd name="connsiteY2" fmla="*/ 720000 h 720000"/>
              <a:gd name="connsiteX3" fmla="*/ 0 w 720000"/>
              <a:gd name="connsiteY3" fmla="*/ 360000 h 720000"/>
              <a:gd name="connsiteX4" fmla="*/ 360000 w 72000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720000">
                <a:moveTo>
                  <a:pt x="360000" y="0"/>
                </a:moveTo>
                <a:cubicBezTo>
                  <a:pt x="558823" y="0"/>
                  <a:pt x="720000" y="161177"/>
                  <a:pt x="720000" y="360000"/>
                </a:cubicBezTo>
                <a:cubicBezTo>
                  <a:pt x="720000" y="558823"/>
                  <a:pt x="558823" y="720000"/>
                  <a:pt x="360000" y="720000"/>
                </a:cubicBezTo>
                <a:cubicBezTo>
                  <a:pt x="161177" y="720000"/>
                  <a:pt x="0" y="558823"/>
                  <a:pt x="0" y="360000"/>
                </a:cubicBezTo>
                <a:cubicBezTo>
                  <a:pt x="0" y="161177"/>
                  <a:pt x="161177" y="0"/>
                  <a:pt x="360000" y="0"/>
                </a:cubicBezTo>
                <a:close/>
              </a:path>
            </a:pathLst>
          </a:custGeom>
          <a:solidFill>
            <a:schemeClr val="bg1"/>
          </a:solidFill>
        </p:spPr>
        <p:txBody>
          <a:bodyPr wrap="square" anchor="ctr">
            <a:noAutofit/>
          </a:bodyPr>
          <a:lstStyle>
            <a:lvl1pPr algn="ctr">
              <a:defRPr sz="1067">
                <a:solidFill>
                  <a:schemeClr val="tx1"/>
                </a:solidFill>
              </a:defRPr>
            </a:lvl1pPr>
          </a:lstStyle>
          <a:p>
            <a:r>
              <a:rPr lang="en-US"/>
              <a:t>Click icon to add picture</a:t>
            </a:r>
            <a:endParaRPr lang="en-BE"/>
          </a:p>
        </p:txBody>
      </p:sp>
      <p:sp>
        <p:nvSpPr>
          <p:cNvPr id="25" name="Picture Placeholder 13">
            <a:extLst>
              <a:ext uri="{FF2B5EF4-FFF2-40B4-BE49-F238E27FC236}">
                <a16:creationId xmlns:a16="http://schemas.microsoft.com/office/drawing/2014/main" id="{698674C6-87B3-A241-5879-171A7E4BCE30}"/>
              </a:ext>
            </a:extLst>
          </p:cNvPr>
          <p:cNvSpPr>
            <a:spLocks noGrp="1"/>
          </p:cNvSpPr>
          <p:nvPr>
            <p:ph type="pic" sz="quarter" idx="35"/>
          </p:nvPr>
        </p:nvSpPr>
        <p:spPr>
          <a:xfrm>
            <a:off x="4219200" y="1669864"/>
            <a:ext cx="960000" cy="960000"/>
          </a:xfrm>
          <a:custGeom>
            <a:avLst/>
            <a:gdLst>
              <a:gd name="connsiteX0" fmla="*/ 360000 w 720000"/>
              <a:gd name="connsiteY0" fmla="*/ 0 h 720000"/>
              <a:gd name="connsiteX1" fmla="*/ 720000 w 720000"/>
              <a:gd name="connsiteY1" fmla="*/ 360000 h 720000"/>
              <a:gd name="connsiteX2" fmla="*/ 360000 w 720000"/>
              <a:gd name="connsiteY2" fmla="*/ 720000 h 720000"/>
              <a:gd name="connsiteX3" fmla="*/ 0 w 720000"/>
              <a:gd name="connsiteY3" fmla="*/ 360000 h 720000"/>
              <a:gd name="connsiteX4" fmla="*/ 360000 w 72000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720000">
                <a:moveTo>
                  <a:pt x="360000" y="0"/>
                </a:moveTo>
                <a:cubicBezTo>
                  <a:pt x="558823" y="0"/>
                  <a:pt x="720000" y="161177"/>
                  <a:pt x="720000" y="360000"/>
                </a:cubicBezTo>
                <a:cubicBezTo>
                  <a:pt x="720000" y="558823"/>
                  <a:pt x="558823" y="720000"/>
                  <a:pt x="360000" y="720000"/>
                </a:cubicBezTo>
                <a:cubicBezTo>
                  <a:pt x="161177" y="720000"/>
                  <a:pt x="0" y="558823"/>
                  <a:pt x="0" y="360000"/>
                </a:cubicBezTo>
                <a:cubicBezTo>
                  <a:pt x="0" y="161177"/>
                  <a:pt x="161177" y="0"/>
                  <a:pt x="360000" y="0"/>
                </a:cubicBezTo>
                <a:close/>
              </a:path>
            </a:pathLst>
          </a:custGeom>
          <a:solidFill>
            <a:schemeClr val="bg1"/>
          </a:solidFill>
        </p:spPr>
        <p:txBody>
          <a:bodyPr wrap="square" anchor="ctr">
            <a:noAutofit/>
          </a:bodyPr>
          <a:lstStyle>
            <a:lvl1pPr algn="ctr">
              <a:defRPr sz="1067">
                <a:solidFill>
                  <a:schemeClr val="tx1"/>
                </a:solidFill>
              </a:defRPr>
            </a:lvl1pPr>
          </a:lstStyle>
          <a:p>
            <a:r>
              <a:rPr lang="en-US"/>
              <a:t>Click icon to add picture</a:t>
            </a:r>
            <a:endParaRPr lang="en-BE"/>
          </a:p>
        </p:txBody>
      </p:sp>
      <p:sp>
        <p:nvSpPr>
          <p:cNvPr id="26" name="Picture Placeholder 14">
            <a:extLst>
              <a:ext uri="{FF2B5EF4-FFF2-40B4-BE49-F238E27FC236}">
                <a16:creationId xmlns:a16="http://schemas.microsoft.com/office/drawing/2014/main" id="{7FA0C51B-3264-3C89-E90A-49AE2B5D8FA7}"/>
              </a:ext>
            </a:extLst>
          </p:cNvPr>
          <p:cNvSpPr>
            <a:spLocks noGrp="1"/>
          </p:cNvSpPr>
          <p:nvPr>
            <p:ph type="pic" sz="quarter" idx="36"/>
          </p:nvPr>
        </p:nvSpPr>
        <p:spPr>
          <a:xfrm>
            <a:off x="4219200" y="4074155"/>
            <a:ext cx="960000" cy="960000"/>
          </a:xfrm>
          <a:custGeom>
            <a:avLst/>
            <a:gdLst>
              <a:gd name="connsiteX0" fmla="*/ 360000 w 720000"/>
              <a:gd name="connsiteY0" fmla="*/ 0 h 720000"/>
              <a:gd name="connsiteX1" fmla="*/ 720000 w 720000"/>
              <a:gd name="connsiteY1" fmla="*/ 360000 h 720000"/>
              <a:gd name="connsiteX2" fmla="*/ 360000 w 720000"/>
              <a:gd name="connsiteY2" fmla="*/ 720000 h 720000"/>
              <a:gd name="connsiteX3" fmla="*/ 0 w 720000"/>
              <a:gd name="connsiteY3" fmla="*/ 360000 h 720000"/>
              <a:gd name="connsiteX4" fmla="*/ 360000 w 72000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720000">
                <a:moveTo>
                  <a:pt x="360000" y="0"/>
                </a:moveTo>
                <a:cubicBezTo>
                  <a:pt x="558823" y="0"/>
                  <a:pt x="720000" y="161177"/>
                  <a:pt x="720000" y="360000"/>
                </a:cubicBezTo>
                <a:cubicBezTo>
                  <a:pt x="720000" y="558823"/>
                  <a:pt x="558823" y="720000"/>
                  <a:pt x="360000" y="720000"/>
                </a:cubicBezTo>
                <a:cubicBezTo>
                  <a:pt x="161177" y="720000"/>
                  <a:pt x="0" y="558823"/>
                  <a:pt x="0" y="360000"/>
                </a:cubicBezTo>
                <a:cubicBezTo>
                  <a:pt x="0" y="161177"/>
                  <a:pt x="161177" y="0"/>
                  <a:pt x="360000" y="0"/>
                </a:cubicBezTo>
                <a:close/>
              </a:path>
            </a:pathLst>
          </a:custGeom>
          <a:solidFill>
            <a:schemeClr val="bg1"/>
          </a:solidFill>
        </p:spPr>
        <p:txBody>
          <a:bodyPr wrap="square" anchor="ctr">
            <a:noAutofit/>
          </a:bodyPr>
          <a:lstStyle>
            <a:lvl1pPr algn="ctr">
              <a:defRPr sz="1067">
                <a:solidFill>
                  <a:schemeClr val="tx1"/>
                </a:solidFill>
              </a:defRPr>
            </a:lvl1pPr>
          </a:lstStyle>
          <a:p>
            <a:r>
              <a:rPr lang="en-US"/>
              <a:t>Click icon to add picture</a:t>
            </a:r>
            <a:endParaRPr lang="en-BE"/>
          </a:p>
        </p:txBody>
      </p:sp>
      <p:sp>
        <p:nvSpPr>
          <p:cNvPr id="27" name="Picture Placeholder 15">
            <a:extLst>
              <a:ext uri="{FF2B5EF4-FFF2-40B4-BE49-F238E27FC236}">
                <a16:creationId xmlns:a16="http://schemas.microsoft.com/office/drawing/2014/main" id="{55241542-4759-3DB4-1AF2-563A4D8854C8}"/>
              </a:ext>
            </a:extLst>
          </p:cNvPr>
          <p:cNvSpPr>
            <a:spLocks noGrp="1"/>
          </p:cNvSpPr>
          <p:nvPr>
            <p:ph type="pic" sz="quarter" idx="37"/>
          </p:nvPr>
        </p:nvSpPr>
        <p:spPr>
          <a:xfrm>
            <a:off x="7008567" y="1669864"/>
            <a:ext cx="960000" cy="960000"/>
          </a:xfrm>
          <a:custGeom>
            <a:avLst/>
            <a:gdLst>
              <a:gd name="connsiteX0" fmla="*/ 360000 w 720000"/>
              <a:gd name="connsiteY0" fmla="*/ 0 h 720000"/>
              <a:gd name="connsiteX1" fmla="*/ 720000 w 720000"/>
              <a:gd name="connsiteY1" fmla="*/ 360000 h 720000"/>
              <a:gd name="connsiteX2" fmla="*/ 360000 w 720000"/>
              <a:gd name="connsiteY2" fmla="*/ 720000 h 720000"/>
              <a:gd name="connsiteX3" fmla="*/ 0 w 720000"/>
              <a:gd name="connsiteY3" fmla="*/ 360000 h 720000"/>
              <a:gd name="connsiteX4" fmla="*/ 360000 w 72000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720000">
                <a:moveTo>
                  <a:pt x="360000" y="0"/>
                </a:moveTo>
                <a:cubicBezTo>
                  <a:pt x="558823" y="0"/>
                  <a:pt x="720000" y="161177"/>
                  <a:pt x="720000" y="360000"/>
                </a:cubicBezTo>
                <a:cubicBezTo>
                  <a:pt x="720000" y="558823"/>
                  <a:pt x="558823" y="720000"/>
                  <a:pt x="360000" y="720000"/>
                </a:cubicBezTo>
                <a:cubicBezTo>
                  <a:pt x="161177" y="720000"/>
                  <a:pt x="0" y="558823"/>
                  <a:pt x="0" y="360000"/>
                </a:cubicBezTo>
                <a:cubicBezTo>
                  <a:pt x="0" y="161177"/>
                  <a:pt x="161177" y="0"/>
                  <a:pt x="360000" y="0"/>
                </a:cubicBezTo>
                <a:close/>
              </a:path>
            </a:pathLst>
          </a:custGeom>
          <a:solidFill>
            <a:schemeClr val="bg1"/>
          </a:solidFill>
        </p:spPr>
        <p:txBody>
          <a:bodyPr wrap="square" anchor="ctr">
            <a:noAutofit/>
          </a:bodyPr>
          <a:lstStyle>
            <a:lvl1pPr algn="ctr">
              <a:defRPr sz="1067">
                <a:solidFill>
                  <a:schemeClr val="tx1"/>
                </a:solidFill>
              </a:defRPr>
            </a:lvl1pPr>
          </a:lstStyle>
          <a:p>
            <a:r>
              <a:rPr lang="en-US"/>
              <a:t>Click icon to add picture</a:t>
            </a:r>
            <a:endParaRPr lang="en-BE"/>
          </a:p>
        </p:txBody>
      </p:sp>
      <p:sp>
        <p:nvSpPr>
          <p:cNvPr id="28" name="Picture Placeholder 16">
            <a:extLst>
              <a:ext uri="{FF2B5EF4-FFF2-40B4-BE49-F238E27FC236}">
                <a16:creationId xmlns:a16="http://schemas.microsoft.com/office/drawing/2014/main" id="{1B08159D-CB2C-F97D-0056-887696E32176}"/>
              </a:ext>
            </a:extLst>
          </p:cNvPr>
          <p:cNvSpPr>
            <a:spLocks noGrp="1"/>
          </p:cNvSpPr>
          <p:nvPr>
            <p:ph type="pic" sz="quarter" idx="38"/>
          </p:nvPr>
        </p:nvSpPr>
        <p:spPr>
          <a:xfrm>
            <a:off x="7008567" y="4074155"/>
            <a:ext cx="960000" cy="960000"/>
          </a:xfrm>
          <a:custGeom>
            <a:avLst/>
            <a:gdLst>
              <a:gd name="connsiteX0" fmla="*/ 360000 w 720000"/>
              <a:gd name="connsiteY0" fmla="*/ 0 h 720000"/>
              <a:gd name="connsiteX1" fmla="*/ 720000 w 720000"/>
              <a:gd name="connsiteY1" fmla="*/ 360000 h 720000"/>
              <a:gd name="connsiteX2" fmla="*/ 360000 w 720000"/>
              <a:gd name="connsiteY2" fmla="*/ 720000 h 720000"/>
              <a:gd name="connsiteX3" fmla="*/ 0 w 720000"/>
              <a:gd name="connsiteY3" fmla="*/ 360000 h 720000"/>
              <a:gd name="connsiteX4" fmla="*/ 360000 w 72000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720000">
                <a:moveTo>
                  <a:pt x="360000" y="0"/>
                </a:moveTo>
                <a:cubicBezTo>
                  <a:pt x="558823" y="0"/>
                  <a:pt x="720000" y="161177"/>
                  <a:pt x="720000" y="360000"/>
                </a:cubicBezTo>
                <a:cubicBezTo>
                  <a:pt x="720000" y="558823"/>
                  <a:pt x="558823" y="720000"/>
                  <a:pt x="360000" y="720000"/>
                </a:cubicBezTo>
                <a:cubicBezTo>
                  <a:pt x="161177" y="720000"/>
                  <a:pt x="0" y="558823"/>
                  <a:pt x="0" y="360000"/>
                </a:cubicBezTo>
                <a:cubicBezTo>
                  <a:pt x="0" y="161177"/>
                  <a:pt x="161177" y="0"/>
                  <a:pt x="360000" y="0"/>
                </a:cubicBezTo>
                <a:close/>
              </a:path>
            </a:pathLst>
          </a:custGeom>
          <a:solidFill>
            <a:schemeClr val="bg1"/>
          </a:solidFill>
        </p:spPr>
        <p:txBody>
          <a:bodyPr wrap="square" anchor="ctr">
            <a:noAutofit/>
          </a:bodyPr>
          <a:lstStyle>
            <a:lvl1pPr algn="ctr">
              <a:defRPr sz="1067">
                <a:solidFill>
                  <a:schemeClr val="tx1"/>
                </a:solidFill>
              </a:defRPr>
            </a:lvl1pPr>
          </a:lstStyle>
          <a:p>
            <a:r>
              <a:rPr lang="en-US"/>
              <a:t>Click icon to add picture</a:t>
            </a:r>
            <a:endParaRPr lang="en-BE"/>
          </a:p>
        </p:txBody>
      </p:sp>
      <p:sp>
        <p:nvSpPr>
          <p:cNvPr id="29" name="Picture Placeholder 17">
            <a:extLst>
              <a:ext uri="{FF2B5EF4-FFF2-40B4-BE49-F238E27FC236}">
                <a16:creationId xmlns:a16="http://schemas.microsoft.com/office/drawing/2014/main" id="{E1C264D4-6F4A-1926-2E1D-F5CDD872381A}"/>
              </a:ext>
            </a:extLst>
          </p:cNvPr>
          <p:cNvSpPr>
            <a:spLocks noGrp="1"/>
          </p:cNvSpPr>
          <p:nvPr>
            <p:ph type="pic" sz="quarter" idx="39"/>
          </p:nvPr>
        </p:nvSpPr>
        <p:spPr>
          <a:xfrm>
            <a:off x="9797933" y="1669864"/>
            <a:ext cx="960000" cy="960000"/>
          </a:xfrm>
          <a:custGeom>
            <a:avLst/>
            <a:gdLst>
              <a:gd name="connsiteX0" fmla="*/ 360000 w 720000"/>
              <a:gd name="connsiteY0" fmla="*/ 0 h 720000"/>
              <a:gd name="connsiteX1" fmla="*/ 720000 w 720000"/>
              <a:gd name="connsiteY1" fmla="*/ 360000 h 720000"/>
              <a:gd name="connsiteX2" fmla="*/ 360000 w 720000"/>
              <a:gd name="connsiteY2" fmla="*/ 720000 h 720000"/>
              <a:gd name="connsiteX3" fmla="*/ 0 w 720000"/>
              <a:gd name="connsiteY3" fmla="*/ 360000 h 720000"/>
              <a:gd name="connsiteX4" fmla="*/ 360000 w 72000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720000">
                <a:moveTo>
                  <a:pt x="360000" y="0"/>
                </a:moveTo>
                <a:cubicBezTo>
                  <a:pt x="558823" y="0"/>
                  <a:pt x="720000" y="161177"/>
                  <a:pt x="720000" y="360000"/>
                </a:cubicBezTo>
                <a:cubicBezTo>
                  <a:pt x="720000" y="558823"/>
                  <a:pt x="558823" y="720000"/>
                  <a:pt x="360000" y="720000"/>
                </a:cubicBezTo>
                <a:cubicBezTo>
                  <a:pt x="161177" y="720000"/>
                  <a:pt x="0" y="558823"/>
                  <a:pt x="0" y="360000"/>
                </a:cubicBezTo>
                <a:cubicBezTo>
                  <a:pt x="0" y="161177"/>
                  <a:pt x="161177" y="0"/>
                  <a:pt x="360000" y="0"/>
                </a:cubicBezTo>
                <a:close/>
              </a:path>
            </a:pathLst>
          </a:custGeom>
          <a:solidFill>
            <a:schemeClr val="bg1"/>
          </a:solidFill>
        </p:spPr>
        <p:txBody>
          <a:bodyPr wrap="square" anchor="ctr">
            <a:noAutofit/>
          </a:bodyPr>
          <a:lstStyle>
            <a:lvl1pPr algn="ctr">
              <a:defRPr sz="1067">
                <a:solidFill>
                  <a:schemeClr val="tx1"/>
                </a:solidFill>
              </a:defRPr>
            </a:lvl1pPr>
          </a:lstStyle>
          <a:p>
            <a:r>
              <a:rPr lang="en-US"/>
              <a:t>Click icon to add picture</a:t>
            </a:r>
            <a:endParaRPr lang="en-BE"/>
          </a:p>
        </p:txBody>
      </p:sp>
      <p:sp>
        <p:nvSpPr>
          <p:cNvPr id="30" name="Picture Placeholder 18">
            <a:extLst>
              <a:ext uri="{FF2B5EF4-FFF2-40B4-BE49-F238E27FC236}">
                <a16:creationId xmlns:a16="http://schemas.microsoft.com/office/drawing/2014/main" id="{7724CACC-0E55-40AE-39ED-AC8C214BA611}"/>
              </a:ext>
            </a:extLst>
          </p:cNvPr>
          <p:cNvSpPr>
            <a:spLocks noGrp="1"/>
          </p:cNvSpPr>
          <p:nvPr>
            <p:ph type="pic" sz="quarter" idx="40"/>
          </p:nvPr>
        </p:nvSpPr>
        <p:spPr>
          <a:xfrm>
            <a:off x="9797933" y="4074155"/>
            <a:ext cx="960000" cy="960000"/>
          </a:xfrm>
          <a:custGeom>
            <a:avLst/>
            <a:gdLst>
              <a:gd name="connsiteX0" fmla="*/ 360000 w 720000"/>
              <a:gd name="connsiteY0" fmla="*/ 0 h 720000"/>
              <a:gd name="connsiteX1" fmla="*/ 720000 w 720000"/>
              <a:gd name="connsiteY1" fmla="*/ 360000 h 720000"/>
              <a:gd name="connsiteX2" fmla="*/ 360000 w 720000"/>
              <a:gd name="connsiteY2" fmla="*/ 720000 h 720000"/>
              <a:gd name="connsiteX3" fmla="*/ 0 w 720000"/>
              <a:gd name="connsiteY3" fmla="*/ 360000 h 720000"/>
              <a:gd name="connsiteX4" fmla="*/ 360000 w 72000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720000">
                <a:moveTo>
                  <a:pt x="360000" y="0"/>
                </a:moveTo>
                <a:cubicBezTo>
                  <a:pt x="558823" y="0"/>
                  <a:pt x="720000" y="161177"/>
                  <a:pt x="720000" y="360000"/>
                </a:cubicBezTo>
                <a:cubicBezTo>
                  <a:pt x="720000" y="558823"/>
                  <a:pt x="558823" y="720000"/>
                  <a:pt x="360000" y="720000"/>
                </a:cubicBezTo>
                <a:cubicBezTo>
                  <a:pt x="161177" y="720000"/>
                  <a:pt x="0" y="558823"/>
                  <a:pt x="0" y="360000"/>
                </a:cubicBezTo>
                <a:cubicBezTo>
                  <a:pt x="0" y="161177"/>
                  <a:pt x="161177" y="0"/>
                  <a:pt x="360000" y="0"/>
                </a:cubicBezTo>
                <a:close/>
              </a:path>
            </a:pathLst>
          </a:custGeom>
          <a:solidFill>
            <a:schemeClr val="bg1"/>
          </a:solidFill>
        </p:spPr>
        <p:txBody>
          <a:bodyPr wrap="square" anchor="ctr">
            <a:noAutofit/>
          </a:bodyPr>
          <a:lstStyle>
            <a:lvl1pPr algn="ctr">
              <a:defRPr sz="1067">
                <a:solidFill>
                  <a:schemeClr val="tx1"/>
                </a:solidFill>
              </a:defRPr>
            </a:lvl1pPr>
          </a:lstStyle>
          <a:p>
            <a:r>
              <a:rPr lang="en-US"/>
              <a:t>Click icon to add picture</a:t>
            </a:r>
            <a:endParaRPr lang="en-BE"/>
          </a:p>
        </p:txBody>
      </p:sp>
    </p:spTree>
    <p:extLst>
      <p:ext uri="{BB962C8B-B14F-4D97-AF65-F5344CB8AC3E}">
        <p14:creationId xmlns:p14="http://schemas.microsoft.com/office/powerpoint/2010/main" val="8282147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XS ADA - Thank you">
    <p:bg>
      <p:bgPr>
        <a:solidFill>
          <a:srgbClr val="03001D"/>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8EF4292-C88F-44F0-9CD7-9C62C6066CD5}"/>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6589" r="30242" b="13659"/>
          <a:stretch/>
        </p:blipFill>
        <p:spPr>
          <a:xfrm>
            <a:off x="-400" y="1"/>
            <a:ext cx="12192400" cy="6857551"/>
          </a:xfrm>
          <a:prstGeom prst="rect">
            <a:avLst/>
          </a:prstGeom>
        </p:spPr>
      </p:pic>
      <p:sp>
        <p:nvSpPr>
          <p:cNvPr id="4" name="Rectangle 3">
            <a:extLst>
              <a:ext uri="{FF2B5EF4-FFF2-40B4-BE49-F238E27FC236}">
                <a16:creationId xmlns:a16="http://schemas.microsoft.com/office/drawing/2014/main" id="{B8A17429-06BB-4F74-8026-DF7112BEE565}"/>
              </a:ext>
            </a:extLst>
          </p:cNvPr>
          <p:cNvSpPr/>
          <p:nvPr userDrawn="1"/>
        </p:nvSpPr>
        <p:spPr>
          <a:xfrm>
            <a:off x="-1600" y="1"/>
            <a:ext cx="12192400" cy="6857551"/>
          </a:xfrm>
          <a:prstGeom prst="rect">
            <a:avLst/>
          </a:prstGeom>
          <a:gradFill>
            <a:gsLst>
              <a:gs pos="0">
                <a:srgbClr val="160245"/>
              </a:gs>
              <a:gs pos="70000">
                <a:srgbClr val="160245">
                  <a:alpha val="0"/>
                </a:srgb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2400"/>
          </a:p>
        </p:txBody>
      </p:sp>
      <p:sp>
        <p:nvSpPr>
          <p:cNvPr id="6" name="Title 9">
            <a:extLst>
              <a:ext uri="{FF2B5EF4-FFF2-40B4-BE49-F238E27FC236}">
                <a16:creationId xmlns:a16="http://schemas.microsoft.com/office/drawing/2014/main" id="{A5E4BE53-1797-FF16-E081-7B3F296DE174}"/>
              </a:ext>
            </a:extLst>
          </p:cNvPr>
          <p:cNvSpPr>
            <a:spLocks noGrp="1"/>
          </p:cNvSpPr>
          <p:nvPr userDrawn="1">
            <p:ph type="title" hasCustomPrompt="1"/>
          </p:nvPr>
        </p:nvSpPr>
        <p:spPr>
          <a:xfrm>
            <a:off x="614400" y="2678298"/>
            <a:ext cx="5481600" cy="1107996"/>
          </a:xfrm>
        </p:spPr>
        <p:txBody>
          <a:bodyPr wrap="square">
            <a:spAutoFit/>
          </a:bodyPr>
          <a:lstStyle>
            <a:lvl1pPr>
              <a:lnSpc>
                <a:spcPct val="100000"/>
              </a:lnSpc>
              <a:defRPr sz="7200">
                <a:solidFill>
                  <a:schemeClr val="tx1"/>
                </a:solidFill>
                <a:latin typeface="Proximus Light" panose="00000500000000000000" pitchFamily="2" charset="0"/>
              </a:defRPr>
            </a:lvl1pPr>
          </a:lstStyle>
          <a:p>
            <a:r>
              <a:rPr lang="en-BE"/>
              <a:t>Thank you!</a:t>
            </a:r>
            <a:endParaRPr lang="en-GB"/>
          </a:p>
        </p:txBody>
      </p:sp>
      <p:sp>
        <p:nvSpPr>
          <p:cNvPr id="7" name="Subtitle 2">
            <a:extLst>
              <a:ext uri="{FF2B5EF4-FFF2-40B4-BE49-F238E27FC236}">
                <a16:creationId xmlns:a16="http://schemas.microsoft.com/office/drawing/2014/main" id="{09A0C62B-5B83-62A8-7DF4-7A06DFFDB2F3}"/>
              </a:ext>
            </a:extLst>
          </p:cNvPr>
          <p:cNvSpPr>
            <a:spLocks noGrp="1"/>
          </p:cNvSpPr>
          <p:nvPr userDrawn="1">
            <p:ph type="subTitle" idx="1" hasCustomPrompt="1"/>
          </p:nvPr>
        </p:nvSpPr>
        <p:spPr>
          <a:xfrm>
            <a:off x="614400" y="3865013"/>
            <a:ext cx="5481600" cy="478387"/>
          </a:xfrm>
          <a:prstGeom prst="rect">
            <a:avLst/>
          </a:prstGeom>
        </p:spPr>
        <p:txBody>
          <a:bodyPr wrap="square" tIns="108000">
            <a:spAutoFit/>
          </a:bodyPr>
          <a:lstStyle>
            <a:lvl1pPr marL="0" indent="0" algn="l">
              <a:lnSpc>
                <a:spcPct val="100000"/>
              </a:lnSpc>
              <a:buFont typeface="Arial" panose="020B0604020202020204" pitchFamily="34" charset="0"/>
              <a:buNone/>
              <a:defRPr sz="2400" b="1">
                <a:solidFill>
                  <a:schemeClr val="accent4"/>
                </a:solidFill>
                <a:latin typeface="Proximus" panose="00000500000000000000" pitchFamily="2" charset="0"/>
              </a:defRPr>
            </a:lvl1pPr>
            <a:lvl2pPr marL="1066747" indent="-457177" algn="l">
              <a:buFont typeface="Arial" panose="020B0604020202020204" pitchFamily="34" charset="0"/>
              <a:buChar char="•"/>
              <a:defRPr sz="2400">
                <a:solidFill>
                  <a:schemeClr val="bg1"/>
                </a:solidFill>
                <a:latin typeface="Proximus" panose="00000500000000000000" pitchFamily="2" charset="0"/>
              </a:defRPr>
            </a:lvl2pPr>
            <a:lvl3pPr marL="1600121" indent="-380982" algn="l">
              <a:buFont typeface="Arial" panose="020B0604020202020204" pitchFamily="34" charset="0"/>
              <a:buChar char="•"/>
              <a:defRPr sz="2133">
                <a:solidFill>
                  <a:schemeClr val="bg1"/>
                </a:solidFill>
                <a:latin typeface="Proximus" panose="00000500000000000000" pitchFamily="2" charset="0"/>
              </a:defRPr>
            </a:lvl3pPr>
            <a:lvl4pPr marL="2209690" indent="-380982" algn="l">
              <a:buFont typeface="Arial" panose="020B0604020202020204" pitchFamily="34" charset="0"/>
              <a:buChar char="•"/>
              <a:defRPr sz="1867">
                <a:solidFill>
                  <a:schemeClr val="bg1"/>
                </a:solidFill>
                <a:latin typeface="Proximus" panose="00000500000000000000" pitchFamily="2" charset="0"/>
              </a:defRPr>
            </a:lvl4pPr>
            <a:lvl5pPr marL="2819260" indent="-380982" algn="l">
              <a:buFont typeface="Arial" panose="020B0604020202020204" pitchFamily="34" charset="0"/>
              <a:buChar char="•"/>
              <a:defRPr sz="1600">
                <a:solidFill>
                  <a:schemeClr val="bg1"/>
                </a:solidFill>
                <a:latin typeface="Proximus" panose="00000500000000000000" pitchFamily="2" charset="0"/>
              </a:defRPr>
            </a:lvl5pPr>
            <a:lvl6pPr marL="3428829" indent="-380982" algn="l">
              <a:buFont typeface="Arial" panose="020B0604020202020204" pitchFamily="34" charset="0"/>
              <a:buChar char="•"/>
              <a:defRPr sz="1467">
                <a:solidFill>
                  <a:schemeClr val="bg1"/>
                </a:solidFill>
                <a:latin typeface="Proximus" panose="00000500000000000000" pitchFamily="2" charset="0"/>
              </a:defRPr>
            </a:lvl6pPr>
            <a:lvl7pPr marL="4038399" indent="-380982" algn="l">
              <a:buFont typeface="Arial" panose="020B0604020202020204" pitchFamily="34" charset="0"/>
              <a:buChar char="•"/>
              <a:defRPr sz="1333">
                <a:solidFill>
                  <a:schemeClr val="bg1"/>
                </a:solidFill>
                <a:latin typeface="Proximus" panose="00000500000000000000" pitchFamily="2" charset="0"/>
              </a:defRPr>
            </a:lvl7pPr>
            <a:lvl8pPr marL="4266987" indent="0" algn="ctr">
              <a:buNone/>
              <a:defRPr sz="2133"/>
            </a:lvl8pPr>
            <a:lvl9pPr marL="4876557" indent="0" algn="ctr">
              <a:buNone/>
              <a:defRPr sz="2133"/>
            </a:lvl9pPr>
          </a:lstStyle>
          <a:p>
            <a:pPr lvl="0"/>
            <a:r>
              <a:rPr lang="en-BE"/>
              <a:t>Click to edit this line</a:t>
            </a:r>
            <a:endParaRPr lang="en-GB"/>
          </a:p>
        </p:txBody>
      </p:sp>
      <p:sp>
        <p:nvSpPr>
          <p:cNvPr id="8" name="Text Placeholder 3">
            <a:extLst>
              <a:ext uri="{FF2B5EF4-FFF2-40B4-BE49-F238E27FC236}">
                <a16:creationId xmlns:a16="http://schemas.microsoft.com/office/drawing/2014/main" id="{8C687331-28A2-CF42-9A55-58EBB38D09B1}"/>
              </a:ext>
            </a:extLst>
          </p:cNvPr>
          <p:cNvSpPr>
            <a:spLocks noGrp="1"/>
          </p:cNvSpPr>
          <p:nvPr userDrawn="1">
            <p:ph type="body" sz="quarter" idx="12" hasCustomPrompt="1"/>
          </p:nvPr>
        </p:nvSpPr>
        <p:spPr>
          <a:xfrm>
            <a:off x="614400" y="4458888"/>
            <a:ext cx="5481600" cy="421653"/>
          </a:xfrm>
          <a:prstGeom prst="rect">
            <a:avLst/>
          </a:prstGeom>
        </p:spPr>
        <p:txBody>
          <a:bodyPr wrap="square" anchor="t" anchorCtr="0">
            <a:spAutoFit/>
          </a:bodyPr>
          <a:lstStyle>
            <a:lvl1pPr marL="0" indent="0">
              <a:lnSpc>
                <a:spcPct val="130000"/>
              </a:lnSpc>
              <a:spcBef>
                <a:spcPts val="0"/>
              </a:spcBef>
              <a:spcAft>
                <a:spcPts val="1600"/>
              </a:spcAft>
              <a:buFontTx/>
              <a:buNone/>
              <a:defRPr sz="2400" b="0">
                <a:solidFill>
                  <a:schemeClr val="tx1"/>
                </a:solidFill>
                <a:latin typeface="Proximus" panose="00000500000000000000" pitchFamily="2" charset="0"/>
              </a:defRPr>
            </a:lvl1pPr>
            <a:lvl2pPr marL="287993" indent="0">
              <a:lnSpc>
                <a:spcPct val="114000"/>
              </a:lnSpc>
              <a:buFontTx/>
              <a:buNone/>
              <a:defRPr sz="2400">
                <a:solidFill>
                  <a:schemeClr val="bg1"/>
                </a:solidFill>
                <a:latin typeface="Proximus" panose="00000500000000000000" pitchFamily="2" charset="0"/>
              </a:defRPr>
            </a:lvl2pPr>
            <a:lvl3pPr marL="575986" indent="0">
              <a:lnSpc>
                <a:spcPct val="120000"/>
              </a:lnSpc>
              <a:buFontTx/>
              <a:buNone/>
              <a:defRPr sz="2133">
                <a:solidFill>
                  <a:schemeClr val="bg1"/>
                </a:solidFill>
                <a:latin typeface="Proximus" panose="00000500000000000000" pitchFamily="2" charset="0"/>
              </a:defRPr>
            </a:lvl3pPr>
            <a:lvl4pPr marL="863978" indent="0">
              <a:lnSpc>
                <a:spcPct val="125000"/>
              </a:lnSpc>
              <a:buFontTx/>
              <a:buNone/>
              <a:defRPr sz="2000">
                <a:solidFill>
                  <a:schemeClr val="bg1"/>
                </a:solidFill>
                <a:latin typeface="Proximus" panose="00000500000000000000" pitchFamily="2" charset="0"/>
              </a:defRPr>
            </a:lvl4pPr>
            <a:lvl5pPr marL="1151971" indent="0">
              <a:lnSpc>
                <a:spcPct val="125000"/>
              </a:lnSpc>
              <a:buFontTx/>
              <a:buNone/>
              <a:defRPr sz="1867">
                <a:solidFill>
                  <a:schemeClr val="bg1"/>
                </a:solidFill>
                <a:latin typeface="Proximus" panose="00000500000000000000" pitchFamily="2" charset="0"/>
              </a:defRPr>
            </a:lvl5pPr>
          </a:lstStyle>
          <a:p>
            <a:pPr lvl="0"/>
            <a:r>
              <a:rPr lang="en-US"/>
              <a:t>Click to edit </a:t>
            </a:r>
            <a:r>
              <a:rPr lang="en-BE"/>
              <a:t>this line</a:t>
            </a:r>
            <a:endParaRPr lang="en-GB"/>
          </a:p>
        </p:txBody>
      </p:sp>
      <p:pic>
        <p:nvPicPr>
          <p:cNvPr id="10" name="Graphic 9">
            <a:extLst>
              <a:ext uri="{FF2B5EF4-FFF2-40B4-BE49-F238E27FC236}">
                <a16:creationId xmlns:a16="http://schemas.microsoft.com/office/drawing/2014/main" id="{87948074-294E-D314-B9F9-E4A223C4BE84}"/>
              </a:ext>
            </a:extLst>
          </p:cNvPr>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4418" y="602644"/>
            <a:ext cx="1663503" cy="455445"/>
          </a:xfrm>
          <a:prstGeom prst="rect">
            <a:avLst/>
          </a:prstGeom>
        </p:spPr>
      </p:pic>
    </p:spTree>
    <p:extLst>
      <p:ext uri="{BB962C8B-B14F-4D97-AF65-F5344CB8AC3E}">
        <p14:creationId xmlns:p14="http://schemas.microsoft.com/office/powerpoint/2010/main" val="16177631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XS ADA -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80387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1_Cover - Gradient - Image">
    <p:bg>
      <p:bgPr>
        <a:gradFill>
          <a:gsLst>
            <a:gs pos="25000">
              <a:schemeClr val="bg1"/>
            </a:gs>
            <a:gs pos="100000">
              <a:srgbClr val="D12E67"/>
            </a:gs>
          </a:gsLst>
          <a:lin ang="3000000" scaled="0"/>
        </a:gradFill>
        <a:effectLst/>
      </p:bgPr>
    </p:bg>
    <p:spTree>
      <p:nvGrpSpPr>
        <p:cNvPr id="1" name=""/>
        <p:cNvGrpSpPr/>
        <p:nvPr/>
      </p:nvGrpSpPr>
      <p:grpSpPr>
        <a:xfrm>
          <a:off x="0" y="0"/>
          <a:ext cx="0" cy="0"/>
          <a:chOff x="0" y="0"/>
          <a:chExt cx="0" cy="0"/>
        </a:xfrm>
      </p:grpSpPr>
      <p:sp>
        <p:nvSpPr>
          <p:cNvPr id="5" name="Picture Placeholder 1074">
            <a:extLst>
              <a:ext uri="{FF2B5EF4-FFF2-40B4-BE49-F238E27FC236}">
                <a16:creationId xmlns:a16="http://schemas.microsoft.com/office/drawing/2014/main" id="{78B9C9BF-5D2C-5ED8-9D89-15C968FADB7E}"/>
              </a:ext>
            </a:extLst>
          </p:cNvPr>
          <p:cNvSpPr>
            <a:spLocks noGrp="1"/>
          </p:cNvSpPr>
          <p:nvPr>
            <p:ph type="pic" sz="quarter" idx="11"/>
          </p:nvPr>
        </p:nvSpPr>
        <p:spPr>
          <a:xfrm>
            <a:off x="5812383" y="9"/>
            <a:ext cx="6426200" cy="6857999"/>
          </a:xfrm>
          <a:custGeom>
            <a:avLst/>
            <a:gdLst>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031541 w 4819650"/>
              <a:gd name="connsiteY21" fmla="*/ 4713284 h 5143499"/>
              <a:gd name="connsiteX22" fmla="*/ 4031541 w 4819650"/>
              <a:gd name="connsiteY22" fmla="*/ 4799826 h 5143499"/>
              <a:gd name="connsiteX23" fmla="*/ 4052312 w 4819650"/>
              <a:gd name="connsiteY23" fmla="*/ 4799826 h 5143499"/>
              <a:gd name="connsiteX24" fmla="*/ 4052312 w 4819650"/>
              <a:gd name="connsiteY24" fmla="*/ 4713284 h 5143499"/>
              <a:gd name="connsiteX25" fmla="*/ 3936473 w 4819650"/>
              <a:gd name="connsiteY25" fmla="*/ 4713284 h 5143499"/>
              <a:gd name="connsiteX26" fmla="*/ 3966836 w 4819650"/>
              <a:gd name="connsiteY26" fmla="*/ 4756247 h 5143499"/>
              <a:gd name="connsiteX27" fmla="*/ 3936473 w 4819650"/>
              <a:gd name="connsiteY27" fmla="*/ 4799850 h 5143499"/>
              <a:gd name="connsiteX28" fmla="*/ 3959447 w 4819650"/>
              <a:gd name="connsiteY28" fmla="*/ 4799850 h 5143499"/>
              <a:gd name="connsiteX29" fmla="*/ 3978181 w 4819650"/>
              <a:gd name="connsiteY29" fmla="*/ 4771689 h 5143499"/>
              <a:gd name="connsiteX30" fmla="*/ 3996915 w 4819650"/>
              <a:gd name="connsiteY30" fmla="*/ 4799850 h 5143499"/>
              <a:gd name="connsiteX31" fmla="*/ 4019889 w 4819650"/>
              <a:gd name="connsiteY31" fmla="*/ 4799850 h 5143499"/>
              <a:gd name="connsiteX32" fmla="*/ 3989668 w 4819650"/>
              <a:gd name="connsiteY32" fmla="*/ 4756247 h 5143499"/>
              <a:gd name="connsiteX33" fmla="*/ 4019889 w 4819650"/>
              <a:gd name="connsiteY33" fmla="*/ 4713284 h 5143499"/>
              <a:gd name="connsiteX34" fmla="*/ 3996749 w 4819650"/>
              <a:gd name="connsiteY34" fmla="*/ 4713284 h 5143499"/>
              <a:gd name="connsiteX35" fmla="*/ 3978181 w 4819650"/>
              <a:gd name="connsiteY35" fmla="*/ 4741137 h 5143499"/>
              <a:gd name="connsiteX36" fmla="*/ 3959612 w 4819650"/>
              <a:gd name="connsiteY36" fmla="*/ 4713284 h 5143499"/>
              <a:gd name="connsiteX37" fmla="*/ 4336238 w 4819650"/>
              <a:gd name="connsiteY37" fmla="*/ 4711721 h 5143499"/>
              <a:gd name="connsiteX38" fmla="*/ 4304596 w 4819650"/>
              <a:gd name="connsiteY38" fmla="*/ 4737063 h 5143499"/>
              <a:gd name="connsiteX39" fmla="*/ 4330080 w 4819650"/>
              <a:gd name="connsiteY39" fmla="*/ 4761932 h 5143499"/>
              <a:gd name="connsiteX40" fmla="*/ 4336073 w 4819650"/>
              <a:gd name="connsiteY40" fmla="*/ 4764134 h 5143499"/>
              <a:gd name="connsiteX41" fmla="*/ 4351657 w 4819650"/>
              <a:gd name="connsiteY41" fmla="*/ 4774982 h 5143499"/>
              <a:gd name="connsiteX42" fmla="*/ 4337186 w 4819650"/>
              <a:gd name="connsiteY42" fmla="*/ 4782845 h 5143499"/>
              <a:gd name="connsiteX43" fmla="*/ 4308220 w 4819650"/>
              <a:gd name="connsiteY43" fmla="*/ 4775763 h 5143499"/>
              <a:gd name="connsiteX44" fmla="*/ 4303341 w 4819650"/>
              <a:gd name="connsiteY44" fmla="*/ 4793858 h 5143499"/>
              <a:gd name="connsiteX45" fmla="*/ 4338109 w 4819650"/>
              <a:gd name="connsiteY45" fmla="*/ 4801413 h 5143499"/>
              <a:gd name="connsiteX46" fmla="*/ 4372404 w 4819650"/>
              <a:gd name="connsiteY46" fmla="*/ 4774342 h 5143499"/>
              <a:gd name="connsiteX47" fmla="*/ 4372452 w 4819650"/>
              <a:gd name="connsiteY47" fmla="*/ 4774366 h 5143499"/>
              <a:gd name="connsiteX48" fmla="*/ 4345688 w 4819650"/>
              <a:gd name="connsiteY48" fmla="*/ 4747768 h 5143499"/>
              <a:gd name="connsiteX49" fmla="*/ 4339388 w 4819650"/>
              <a:gd name="connsiteY49" fmla="*/ 4745400 h 5143499"/>
              <a:gd name="connsiteX50" fmla="*/ 4325391 w 4819650"/>
              <a:gd name="connsiteY50" fmla="*/ 4736116 h 5143499"/>
              <a:gd name="connsiteX51" fmla="*/ 4336096 w 4819650"/>
              <a:gd name="connsiteY51" fmla="*/ 4730124 h 5143499"/>
              <a:gd name="connsiteX52" fmla="*/ 4363783 w 4819650"/>
              <a:gd name="connsiteY52" fmla="*/ 4734221 h 5143499"/>
              <a:gd name="connsiteX53" fmla="*/ 4367715 w 4819650"/>
              <a:gd name="connsiteY53" fmla="*/ 4716434 h 5143499"/>
              <a:gd name="connsiteX54" fmla="*/ 4336238 w 4819650"/>
              <a:gd name="connsiteY54" fmla="*/ 4711721 h 5143499"/>
              <a:gd name="connsiteX55" fmla="*/ 4107093 w 4819650"/>
              <a:gd name="connsiteY55" fmla="*/ 4711721 h 5143499"/>
              <a:gd name="connsiteX56" fmla="*/ 4070430 w 4819650"/>
              <a:gd name="connsiteY56" fmla="*/ 4744760 h 5143499"/>
              <a:gd name="connsiteX57" fmla="*/ 4070430 w 4819650"/>
              <a:gd name="connsiteY57" fmla="*/ 4799850 h 5143499"/>
              <a:gd name="connsiteX58" fmla="*/ 4091201 w 4819650"/>
              <a:gd name="connsiteY58" fmla="*/ 4799850 h 5143499"/>
              <a:gd name="connsiteX59" fmla="*/ 4091201 w 4819650"/>
              <a:gd name="connsiteY59" fmla="*/ 4746182 h 5143499"/>
              <a:gd name="connsiteX60" fmla="*/ 4106927 w 4819650"/>
              <a:gd name="connsiteY60" fmla="*/ 4731379 h 5143499"/>
              <a:gd name="connsiteX61" fmla="*/ 4122985 w 4819650"/>
              <a:gd name="connsiteY61" fmla="*/ 4746182 h 5143499"/>
              <a:gd name="connsiteX62" fmla="*/ 4122985 w 4819650"/>
              <a:gd name="connsiteY62" fmla="*/ 4799850 h 5143499"/>
              <a:gd name="connsiteX63" fmla="*/ 4143591 w 4819650"/>
              <a:gd name="connsiteY63" fmla="*/ 4799850 h 5143499"/>
              <a:gd name="connsiteX64" fmla="*/ 4143591 w 4819650"/>
              <a:gd name="connsiteY64" fmla="*/ 4746182 h 5143499"/>
              <a:gd name="connsiteX65" fmla="*/ 4159648 w 4819650"/>
              <a:gd name="connsiteY65" fmla="*/ 4731379 h 5143499"/>
              <a:gd name="connsiteX66" fmla="*/ 4175375 w 4819650"/>
              <a:gd name="connsiteY66" fmla="*/ 4746182 h 5143499"/>
              <a:gd name="connsiteX67" fmla="*/ 4175375 w 4819650"/>
              <a:gd name="connsiteY67" fmla="*/ 4799850 h 5143499"/>
              <a:gd name="connsiteX68" fmla="*/ 4196146 w 4819650"/>
              <a:gd name="connsiteY68" fmla="*/ 4799850 h 5143499"/>
              <a:gd name="connsiteX69" fmla="*/ 4196146 w 4819650"/>
              <a:gd name="connsiteY69" fmla="*/ 4744760 h 5143499"/>
              <a:gd name="connsiteX70" fmla="*/ 4159648 w 4819650"/>
              <a:gd name="connsiteY70" fmla="*/ 4711721 h 5143499"/>
              <a:gd name="connsiteX71" fmla="*/ 4133525 w 4819650"/>
              <a:gd name="connsiteY71" fmla="*/ 4722426 h 5143499"/>
              <a:gd name="connsiteX72" fmla="*/ 4107093 w 4819650"/>
              <a:gd name="connsiteY72" fmla="*/ 4711721 h 5143499"/>
              <a:gd name="connsiteX73" fmla="*/ 3892112 w 4819650"/>
              <a:gd name="connsiteY73" fmla="*/ 4711721 h 5143499"/>
              <a:gd name="connsiteX74" fmla="*/ 3849930 w 4819650"/>
              <a:gd name="connsiteY74" fmla="*/ 4756413 h 5143499"/>
              <a:gd name="connsiteX75" fmla="*/ 3892112 w 4819650"/>
              <a:gd name="connsiteY75" fmla="*/ 4801413 h 5143499"/>
              <a:gd name="connsiteX76" fmla="*/ 3934293 w 4819650"/>
              <a:gd name="connsiteY76" fmla="*/ 4756413 h 5143499"/>
              <a:gd name="connsiteX77" fmla="*/ 3892112 w 4819650"/>
              <a:gd name="connsiteY77" fmla="*/ 4711721 h 5143499"/>
              <a:gd name="connsiteX78" fmla="*/ 3837662 w 4819650"/>
              <a:gd name="connsiteY78" fmla="*/ 4711697 h 5143499"/>
              <a:gd name="connsiteX79" fmla="*/ 3799412 w 4819650"/>
              <a:gd name="connsiteY79" fmla="*/ 4749000 h 5143499"/>
              <a:gd name="connsiteX80" fmla="*/ 3799412 w 4819650"/>
              <a:gd name="connsiteY80" fmla="*/ 4799826 h 5143499"/>
              <a:gd name="connsiteX81" fmla="*/ 3820183 w 4819650"/>
              <a:gd name="connsiteY81" fmla="*/ 4799826 h 5143499"/>
              <a:gd name="connsiteX82" fmla="*/ 3820183 w 4819650"/>
              <a:gd name="connsiteY82" fmla="*/ 4750563 h 5143499"/>
              <a:gd name="connsiteX83" fmla="*/ 3837662 w 4819650"/>
              <a:gd name="connsiteY83" fmla="*/ 4731994 h 5143499"/>
              <a:gd name="connsiteX84" fmla="*/ 3842707 w 4819650"/>
              <a:gd name="connsiteY84" fmla="*/ 4732302 h 5143499"/>
              <a:gd name="connsiteX85" fmla="*/ 3846165 w 4819650"/>
              <a:gd name="connsiteY85" fmla="*/ 4712479 h 5143499"/>
              <a:gd name="connsiteX86" fmla="*/ 3837662 w 4819650"/>
              <a:gd name="connsiteY86" fmla="*/ 4711697 h 5143499"/>
              <a:gd name="connsiteX87" fmla="*/ 3742286 w 4819650"/>
              <a:gd name="connsiteY87" fmla="*/ 4711697 h 5143499"/>
              <a:gd name="connsiteX88" fmla="*/ 3701052 w 4819650"/>
              <a:gd name="connsiteY88" fmla="*/ 4755915 h 5143499"/>
              <a:gd name="connsiteX89" fmla="*/ 3701052 w 4819650"/>
              <a:gd name="connsiteY89" fmla="*/ 4834452 h 5143499"/>
              <a:gd name="connsiteX90" fmla="*/ 3721823 w 4819650"/>
              <a:gd name="connsiteY90" fmla="*/ 4834452 h 5143499"/>
              <a:gd name="connsiteX91" fmla="*/ 3721823 w 4819650"/>
              <a:gd name="connsiteY91" fmla="*/ 4795586 h 5143499"/>
              <a:gd name="connsiteX92" fmla="*/ 3742286 w 4819650"/>
              <a:gd name="connsiteY92" fmla="*/ 4801413 h 5143499"/>
              <a:gd name="connsiteX93" fmla="*/ 3783828 w 4819650"/>
              <a:gd name="connsiteY93" fmla="*/ 4756413 h 5143499"/>
              <a:gd name="connsiteX94" fmla="*/ 3783828 w 4819650"/>
              <a:gd name="connsiteY94" fmla="*/ 4756389 h 5143499"/>
              <a:gd name="connsiteX95" fmla="*/ 3742286 w 4819650"/>
              <a:gd name="connsiteY95" fmla="*/ 4711697 h 5143499"/>
              <a:gd name="connsiteX96" fmla="*/ 3966385 w 4819650"/>
              <a:gd name="connsiteY96" fmla="*/ 4531816 h 5143499"/>
              <a:gd name="connsiteX97" fmla="*/ 3946680 w 4819650"/>
              <a:gd name="connsiteY97" fmla="*/ 4572481 h 5143499"/>
              <a:gd name="connsiteX98" fmla="*/ 3946656 w 4819650"/>
              <a:gd name="connsiteY98" fmla="*/ 4572458 h 5143499"/>
              <a:gd name="connsiteX99" fmla="*/ 3946112 w 4819650"/>
              <a:gd name="connsiteY99" fmla="*/ 4573168 h 5143499"/>
              <a:gd name="connsiteX100" fmla="*/ 3925933 w 4819650"/>
              <a:gd name="connsiteY100" fmla="*/ 4587284 h 5143499"/>
              <a:gd name="connsiteX101" fmla="*/ 3915985 w 4819650"/>
              <a:gd name="connsiteY101" fmla="*/ 4582192 h 5143499"/>
              <a:gd name="connsiteX102" fmla="*/ 3910893 w 4819650"/>
              <a:gd name="connsiteY102" fmla="*/ 4572244 h 5143499"/>
              <a:gd name="connsiteX103" fmla="*/ 3925009 w 4819650"/>
              <a:gd name="connsiteY103" fmla="*/ 4552066 h 5143499"/>
              <a:gd name="connsiteX104" fmla="*/ 3925720 w 4819650"/>
              <a:gd name="connsiteY104" fmla="*/ 4551521 h 5143499"/>
              <a:gd name="connsiteX105" fmla="*/ 3966385 w 4819650"/>
              <a:gd name="connsiteY105" fmla="*/ 4531816 h 5143499"/>
              <a:gd name="connsiteX106" fmla="*/ 4107045 w 4819650"/>
              <a:gd name="connsiteY106" fmla="*/ 4531815 h 5143499"/>
              <a:gd name="connsiteX107" fmla="*/ 4147664 w 4819650"/>
              <a:gd name="connsiteY107" fmla="*/ 4551497 h 5143499"/>
              <a:gd name="connsiteX108" fmla="*/ 4148375 w 4819650"/>
              <a:gd name="connsiteY108" fmla="*/ 4552042 h 5143499"/>
              <a:gd name="connsiteX109" fmla="*/ 4162491 w 4819650"/>
              <a:gd name="connsiteY109" fmla="*/ 4572221 h 5143499"/>
              <a:gd name="connsiteX110" fmla="*/ 4157398 w 4819650"/>
              <a:gd name="connsiteY110" fmla="*/ 4582168 h 5143499"/>
              <a:gd name="connsiteX111" fmla="*/ 4147451 w 4819650"/>
              <a:gd name="connsiteY111" fmla="*/ 4587260 h 5143499"/>
              <a:gd name="connsiteX112" fmla="*/ 4127272 w 4819650"/>
              <a:gd name="connsiteY112" fmla="*/ 4573145 h 5143499"/>
              <a:gd name="connsiteX113" fmla="*/ 4126727 w 4819650"/>
              <a:gd name="connsiteY113" fmla="*/ 4572434 h 5143499"/>
              <a:gd name="connsiteX114" fmla="*/ 4107022 w 4819650"/>
              <a:gd name="connsiteY114" fmla="*/ 4531768 h 5143499"/>
              <a:gd name="connsiteX115" fmla="*/ 4107045 w 4819650"/>
              <a:gd name="connsiteY115" fmla="*/ 4531815 h 5143499"/>
              <a:gd name="connsiteX116" fmla="*/ 4106998 w 4819650"/>
              <a:gd name="connsiteY116" fmla="*/ 4531792 h 5143499"/>
              <a:gd name="connsiteX117" fmla="*/ 4017496 w 4819650"/>
              <a:gd name="connsiteY117" fmla="*/ 4442289 h 5143499"/>
              <a:gd name="connsiteX118" fmla="*/ 4036704 w 4819650"/>
              <a:gd name="connsiteY118" fmla="*/ 4442881 h 5143499"/>
              <a:gd name="connsiteX119" fmla="*/ 4055864 w 4819650"/>
              <a:gd name="connsiteY119" fmla="*/ 4442289 h 5143499"/>
              <a:gd name="connsiteX120" fmla="*/ 4055272 w 4819650"/>
              <a:gd name="connsiteY120" fmla="*/ 4461497 h 5143499"/>
              <a:gd name="connsiteX121" fmla="*/ 4055864 w 4819650"/>
              <a:gd name="connsiteY121" fmla="*/ 4480658 h 5143499"/>
              <a:gd name="connsiteX122" fmla="*/ 4036656 w 4819650"/>
              <a:gd name="connsiteY122" fmla="*/ 4480066 h 5143499"/>
              <a:gd name="connsiteX123" fmla="*/ 4017496 w 4819650"/>
              <a:gd name="connsiteY123" fmla="*/ 4480658 h 5143499"/>
              <a:gd name="connsiteX124" fmla="*/ 4018088 w 4819650"/>
              <a:gd name="connsiteY124" fmla="*/ 4461450 h 5143499"/>
              <a:gd name="connsiteX125" fmla="*/ 4017496 w 4819650"/>
              <a:gd name="connsiteY125" fmla="*/ 4442289 h 5143499"/>
              <a:gd name="connsiteX126" fmla="*/ 3966316 w 4819650"/>
              <a:gd name="connsiteY126" fmla="*/ 4391133 h 5143499"/>
              <a:gd name="connsiteX127" fmla="*/ 3966362 w 4819650"/>
              <a:gd name="connsiteY127" fmla="*/ 4391155 h 5143499"/>
              <a:gd name="connsiteX128" fmla="*/ 3966338 w 4819650"/>
              <a:gd name="connsiteY128" fmla="*/ 4391179 h 5143499"/>
              <a:gd name="connsiteX129" fmla="*/ 3925909 w 4819650"/>
              <a:gd name="connsiteY129" fmla="*/ 4335687 h 5143499"/>
              <a:gd name="connsiteX130" fmla="*/ 3946088 w 4819650"/>
              <a:gd name="connsiteY130" fmla="*/ 4349802 h 5143499"/>
              <a:gd name="connsiteX131" fmla="*/ 3946633 w 4819650"/>
              <a:gd name="connsiteY131" fmla="*/ 4350513 h 5143499"/>
              <a:gd name="connsiteX132" fmla="*/ 3966316 w 4819650"/>
              <a:gd name="connsiteY132" fmla="*/ 4391133 h 5143499"/>
              <a:gd name="connsiteX133" fmla="*/ 3925696 w 4819650"/>
              <a:gd name="connsiteY133" fmla="*/ 4371450 h 5143499"/>
              <a:gd name="connsiteX134" fmla="*/ 3924985 w 4819650"/>
              <a:gd name="connsiteY134" fmla="*/ 4370905 h 5143499"/>
              <a:gd name="connsiteX135" fmla="*/ 3910870 w 4819650"/>
              <a:gd name="connsiteY135" fmla="*/ 4350726 h 5143499"/>
              <a:gd name="connsiteX136" fmla="*/ 3915962 w 4819650"/>
              <a:gd name="connsiteY136" fmla="*/ 4340779 h 5143499"/>
              <a:gd name="connsiteX137" fmla="*/ 3925909 w 4819650"/>
              <a:gd name="connsiteY137" fmla="*/ 4335687 h 5143499"/>
              <a:gd name="connsiteX138" fmla="*/ 4147427 w 4819650"/>
              <a:gd name="connsiteY138" fmla="*/ 4335639 h 5143499"/>
              <a:gd name="connsiteX139" fmla="*/ 4157375 w 4819650"/>
              <a:gd name="connsiteY139" fmla="*/ 4340731 h 5143499"/>
              <a:gd name="connsiteX140" fmla="*/ 4162467 w 4819650"/>
              <a:gd name="connsiteY140" fmla="*/ 4350679 h 5143499"/>
              <a:gd name="connsiteX141" fmla="*/ 4148351 w 4819650"/>
              <a:gd name="connsiteY141" fmla="*/ 4370858 h 5143499"/>
              <a:gd name="connsiteX142" fmla="*/ 4147641 w 4819650"/>
              <a:gd name="connsiteY142" fmla="*/ 4371402 h 5143499"/>
              <a:gd name="connsiteX143" fmla="*/ 4106975 w 4819650"/>
              <a:gd name="connsiteY143" fmla="*/ 4391108 h 5143499"/>
              <a:gd name="connsiteX144" fmla="*/ 4126680 w 4819650"/>
              <a:gd name="connsiteY144" fmla="*/ 4350442 h 5143499"/>
              <a:gd name="connsiteX145" fmla="*/ 4126704 w 4819650"/>
              <a:gd name="connsiteY145" fmla="*/ 4350466 h 5143499"/>
              <a:gd name="connsiteX146" fmla="*/ 4127248 w 4819650"/>
              <a:gd name="connsiteY146" fmla="*/ 4349755 h 5143499"/>
              <a:gd name="connsiteX147" fmla="*/ 4147427 w 4819650"/>
              <a:gd name="connsiteY147" fmla="*/ 4335639 h 5143499"/>
              <a:gd name="connsiteX148" fmla="*/ 3929201 w 4819650"/>
              <a:gd name="connsiteY148" fmla="*/ 4293694 h 5143499"/>
              <a:gd name="connsiteX149" fmla="*/ 3886238 w 4819650"/>
              <a:gd name="connsiteY149" fmla="*/ 4310984 h 5143499"/>
              <a:gd name="connsiteX150" fmla="*/ 3868948 w 4819650"/>
              <a:gd name="connsiteY150" fmla="*/ 4353947 h 5143499"/>
              <a:gd name="connsiteX151" fmla="*/ 3899691 w 4819650"/>
              <a:gd name="connsiteY151" fmla="*/ 4404466 h 5143499"/>
              <a:gd name="connsiteX152" fmla="*/ 3974912 w 4819650"/>
              <a:gd name="connsiteY152" fmla="*/ 4436723 h 5143499"/>
              <a:gd name="connsiteX153" fmla="*/ 3976048 w 4819650"/>
              <a:gd name="connsiteY153" fmla="*/ 4461473 h 5143499"/>
              <a:gd name="connsiteX154" fmla="*/ 3974912 w 4819650"/>
              <a:gd name="connsiteY154" fmla="*/ 4486152 h 5143499"/>
              <a:gd name="connsiteX155" fmla="*/ 3899691 w 4819650"/>
              <a:gd name="connsiteY155" fmla="*/ 4518410 h 5143499"/>
              <a:gd name="connsiteX156" fmla="*/ 3868948 w 4819650"/>
              <a:gd name="connsiteY156" fmla="*/ 4568929 h 5143499"/>
              <a:gd name="connsiteX157" fmla="*/ 3886238 w 4819650"/>
              <a:gd name="connsiteY157" fmla="*/ 4611892 h 5143499"/>
              <a:gd name="connsiteX158" fmla="*/ 3929201 w 4819650"/>
              <a:gd name="connsiteY158" fmla="*/ 4629181 h 5143499"/>
              <a:gd name="connsiteX159" fmla="*/ 3979720 w 4819650"/>
              <a:gd name="connsiteY159" fmla="*/ 4598439 h 5143499"/>
              <a:gd name="connsiteX160" fmla="*/ 4011977 w 4819650"/>
              <a:gd name="connsiteY160" fmla="*/ 4523218 h 5143499"/>
              <a:gd name="connsiteX161" fmla="*/ 4036656 w 4819650"/>
              <a:gd name="connsiteY161" fmla="*/ 4522081 h 5143499"/>
              <a:gd name="connsiteX162" fmla="*/ 4061406 w 4819650"/>
              <a:gd name="connsiteY162" fmla="*/ 4523218 h 5143499"/>
              <a:gd name="connsiteX163" fmla="*/ 4093664 w 4819650"/>
              <a:gd name="connsiteY163" fmla="*/ 4598439 h 5143499"/>
              <a:gd name="connsiteX164" fmla="*/ 4144183 w 4819650"/>
              <a:gd name="connsiteY164" fmla="*/ 4629181 h 5143499"/>
              <a:gd name="connsiteX165" fmla="*/ 4187146 w 4819650"/>
              <a:gd name="connsiteY165" fmla="*/ 4611892 h 5143499"/>
              <a:gd name="connsiteX166" fmla="*/ 4204435 w 4819650"/>
              <a:gd name="connsiteY166" fmla="*/ 4568929 h 5143499"/>
              <a:gd name="connsiteX167" fmla="*/ 4173693 w 4819650"/>
              <a:gd name="connsiteY167" fmla="*/ 4518410 h 5143499"/>
              <a:gd name="connsiteX168" fmla="*/ 4098472 w 4819650"/>
              <a:gd name="connsiteY168" fmla="*/ 4486152 h 5143499"/>
              <a:gd name="connsiteX169" fmla="*/ 4097335 w 4819650"/>
              <a:gd name="connsiteY169" fmla="*/ 4461402 h 5143499"/>
              <a:gd name="connsiteX170" fmla="*/ 4098472 w 4819650"/>
              <a:gd name="connsiteY170" fmla="*/ 4436723 h 5143499"/>
              <a:gd name="connsiteX171" fmla="*/ 4173693 w 4819650"/>
              <a:gd name="connsiteY171" fmla="*/ 4404466 h 5143499"/>
              <a:gd name="connsiteX172" fmla="*/ 4204435 w 4819650"/>
              <a:gd name="connsiteY172" fmla="*/ 4353947 h 5143499"/>
              <a:gd name="connsiteX173" fmla="*/ 4187146 w 4819650"/>
              <a:gd name="connsiteY173" fmla="*/ 4310984 h 5143499"/>
              <a:gd name="connsiteX174" fmla="*/ 4144183 w 4819650"/>
              <a:gd name="connsiteY174" fmla="*/ 4293694 h 5143499"/>
              <a:gd name="connsiteX175" fmla="*/ 4093664 w 4819650"/>
              <a:gd name="connsiteY175" fmla="*/ 4324437 h 5143499"/>
              <a:gd name="connsiteX176" fmla="*/ 4061406 w 4819650"/>
              <a:gd name="connsiteY176" fmla="*/ 4399658 h 5143499"/>
              <a:gd name="connsiteX177" fmla="*/ 4036727 w 4819650"/>
              <a:gd name="connsiteY177" fmla="*/ 4400794 h 5143499"/>
              <a:gd name="connsiteX178" fmla="*/ 4011977 w 4819650"/>
              <a:gd name="connsiteY178" fmla="*/ 4399658 h 5143499"/>
              <a:gd name="connsiteX179" fmla="*/ 3979720 w 4819650"/>
              <a:gd name="connsiteY179" fmla="*/ 4324437 h 5143499"/>
              <a:gd name="connsiteX180" fmla="*/ 3929201 w 4819650"/>
              <a:gd name="connsiteY180" fmla="*/ 4293694 h 5143499"/>
              <a:gd name="connsiteX181" fmla="*/ 2094551 w 4819650"/>
              <a:gd name="connsiteY181" fmla="*/ 0 h 5143499"/>
              <a:gd name="connsiteX182" fmla="*/ 4819650 w 4819650"/>
              <a:gd name="connsiteY182" fmla="*/ 0 h 5143499"/>
              <a:gd name="connsiteX183" fmla="*/ 4819650 w 4819650"/>
              <a:gd name="connsiteY183" fmla="*/ 5143499 h 5143499"/>
              <a:gd name="connsiteX184" fmla="*/ 0 w 4819650"/>
              <a:gd name="connsiteY184" fmla="*/ 5143499 h 5143499"/>
              <a:gd name="connsiteX185" fmla="*/ 0 w 4819650"/>
              <a:gd name="connsiteY185" fmla="*/ 5143498 h 5143499"/>
              <a:gd name="connsiteX186" fmla="*/ 371745 w 4819650"/>
              <a:gd name="connsiteY186" fmla="*/ 5143498 h 5143499"/>
              <a:gd name="connsiteX187" fmla="*/ 1206499 w 4819650"/>
              <a:gd name="connsiteY187" fmla="*/ 1821610 h 5143499"/>
              <a:gd name="connsiteX188" fmla="*/ 2048326 w 4819650"/>
              <a:gd name="connsiteY188" fmla="*/ 58253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017496 w 4819650"/>
              <a:gd name="connsiteY122" fmla="*/ 4442289 h 5143499"/>
              <a:gd name="connsiteX123" fmla="*/ 4036704 w 4819650"/>
              <a:gd name="connsiteY123" fmla="*/ 4442881 h 5143499"/>
              <a:gd name="connsiteX124" fmla="*/ 4055864 w 4819650"/>
              <a:gd name="connsiteY124" fmla="*/ 4442289 h 5143499"/>
              <a:gd name="connsiteX125" fmla="*/ 4055272 w 4819650"/>
              <a:gd name="connsiteY125" fmla="*/ 4461497 h 5143499"/>
              <a:gd name="connsiteX126" fmla="*/ 4055864 w 4819650"/>
              <a:gd name="connsiteY126" fmla="*/ 4480658 h 5143499"/>
              <a:gd name="connsiteX127" fmla="*/ 4036656 w 4819650"/>
              <a:gd name="connsiteY127" fmla="*/ 4480066 h 5143499"/>
              <a:gd name="connsiteX128" fmla="*/ 4017496 w 4819650"/>
              <a:gd name="connsiteY128" fmla="*/ 4480658 h 5143499"/>
              <a:gd name="connsiteX129" fmla="*/ 4018088 w 4819650"/>
              <a:gd name="connsiteY129" fmla="*/ 4461450 h 5143499"/>
              <a:gd name="connsiteX130" fmla="*/ 4017496 w 4819650"/>
              <a:gd name="connsiteY130" fmla="*/ 4442289 h 5143499"/>
              <a:gd name="connsiteX131" fmla="*/ 3966316 w 4819650"/>
              <a:gd name="connsiteY131" fmla="*/ 4391133 h 5143499"/>
              <a:gd name="connsiteX132" fmla="*/ 3966362 w 4819650"/>
              <a:gd name="connsiteY132" fmla="*/ 4391155 h 5143499"/>
              <a:gd name="connsiteX133" fmla="*/ 3966338 w 4819650"/>
              <a:gd name="connsiteY133" fmla="*/ 4391179 h 5143499"/>
              <a:gd name="connsiteX134" fmla="*/ 3966316 w 4819650"/>
              <a:gd name="connsiteY134" fmla="*/ 4391133 h 5143499"/>
              <a:gd name="connsiteX135" fmla="*/ 3925909 w 4819650"/>
              <a:gd name="connsiteY135" fmla="*/ 4335687 h 5143499"/>
              <a:gd name="connsiteX136" fmla="*/ 3946088 w 4819650"/>
              <a:gd name="connsiteY136" fmla="*/ 4349802 h 5143499"/>
              <a:gd name="connsiteX137" fmla="*/ 3946633 w 4819650"/>
              <a:gd name="connsiteY137" fmla="*/ 4350513 h 5143499"/>
              <a:gd name="connsiteX138" fmla="*/ 3966316 w 4819650"/>
              <a:gd name="connsiteY138" fmla="*/ 4391133 h 5143499"/>
              <a:gd name="connsiteX139" fmla="*/ 3925696 w 4819650"/>
              <a:gd name="connsiteY139" fmla="*/ 4371450 h 5143499"/>
              <a:gd name="connsiteX140" fmla="*/ 3924985 w 4819650"/>
              <a:gd name="connsiteY140" fmla="*/ 4370905 h 5143499"/>
              <a:gd name="connsiteX141" fmla="*/ 3910870 w 4819650"/>
              <a:gd name="connsiteY141" fmla="*/ 4350726 h 5143499"/>
              <a:gd name="connsiteX142" fmla="*/ 3915962 w 4819650"/>
              <a:gd name="connsiteY142" fmla="*/ 4340779 h 5143499"/>
              <a:gd name="connsiteX143" fmla="*/ 3925909 w 4819650"/>
              <a:gd name="connsiteY143" fmla="*/ 4335687 h 5143499"/>
              <a:gd name="connsiteX144" fmla="*/ 4147427 w 4819650"/>
              <a:gd name="connsiteY144" fmla="*/ 4335639 h 5143499"/>
              <a:gd name="connsiteX145" fmla="*/ 4157375 w 4819650"/>
              <a:gd name="connsiteY145" fmla="*/ 4340731 h 5143499"/>
              <a:gd name="connsiteX146" fmla="*/ 4162467 w 4819650"/>
              <a:gd name="connsiteY146" fmla="*/ 4350679 h 5143499"/>
              <a:gd name="connsiteX147" fmla="*/ 4148351 w 4819650"/>
              <a:gd name="connsiteY147" fmla="*/ 4370858 h 5143499"/>
              <a:gd name="connsiteX148" fmla="*/ 4147641 w 4819650"/>
              <a:gd name="connsiteY148" fmla="*/ 4371402 h 5143499"/>
              <a:gd name="connsiteX149" fmla="*/ 4106975 w 4819650"/>
              <a:gd name="connsiteY149" fmla="*/ 4391108 h 5143499"/>
              <a:gd name="connsiteX150" fmla="*/ 4126680 w 4819650"/>
              <a:gd name="connsiteY150" fmla="*/ 4350442 h 5143499"/>
              <a:gd name="connsiteX151" fmla="*/ 4126704 w 4819650"/>
              <a:gd name="connsiteY151" fmla="*/ 4350466 h 5143499"/>
              <a:gd name="connsiteX152" fmla="*/ 4127248 w 4819650"/>
              <a:gd name="connsiteY152" fmla="*/ 4349755 h 5143499"/>
              <a:gd name="connsiteX153" fmla="*/ 4147427 w 4819650"/>
              <a:gd name="connsiteY153" fmla="*/ 4335639 h 5143499"/>
              <a:gd name="connsiteX154" fmla="*/ 3979720 w 4819650"/>
              <a:gd name="connsiteY154" fmla="*/ 4324437 h 5143499"/>
              <a:gd name="connsiteX155" fmla="*/ 3886238 w 4819650"/>
              <a:gd name="connsiteY155" fmla="*/ 4310984 h 5143499"/>
              <a:gd name="connsiteX156" fmla="*/ 3868948 w 4819650"/>
              <a:gd name="connsiteY156" fmla="*/ 4353947 h 5143499"/>
              <a:gd name="connsiteX157" fmla="*/ 3899691 w 4819650"/>
              <a:gd name="connsiteY157" fmla="*/ 4404466 h 5143499"/>
              <a:gd name="connsiteX158" fmla="*/ 3974912 w 4819650"/>
              <a:gd name="connsiteY158" fmla="*/ 4436723 h 5143499"/>
              <a:gd name="connsiteX159" fmla="*/ 3976048 w 4819650"/>
              <a:gd name="connsiteY159" fmla="*/ 4461473 h 5143499"/>
              <a:gd name="connsiteX160" fmla="*/ 3974912 w 4819650"/>
              <a:gd name="connsiteY160" fmla="*/ 4486152 h 5143499"/>
              <a:gd name="connsiteX161" fmla="*/ 3899691 w 4819650"/>
              <a:gd name="connsiteY161" fmla="*/ 4518410 h 5143499"/>
              <a:gd name="connsiteX162" fmla="*/ 3868948 w 4819650"/>
              <a:gd name="connsiteY162" fmla="*/ 4568929 h 5143499"/>
              <a:gd name="connsiteX163" fmla="*/ 3886238 w 4819650"/>
              <a:gd name="connsiteY163" fmla="*/ 4611892 h 5143499"/>
              <a:gd name="connsiteX164" fmla="*/ 3929201 w 4819650"/>
              <a:gd name="connsiteY164" fmla="*/ 4629181 h 5143499"/>
              <a:gd name="connsiteX165" fmla="*/ 3979720 w 4819650"/>
              <a:gd name="connsiteY165" fmla="*/ 4598439 h 5143499"/>
              <a:gd name="connsiteX166" fmla="*/ 4011977 w 4819650"/>
              <a:gd name="connsiteY166" fmla="*/ 4523218 h 5143499"/>
              <a:gd name="connsiteX167" fmla="*/ 4036656 w 4819650"/>
              <a:gd name="connsiteY167" fmla="*/ 4522081 h 5143499"/>
              <a:gd name="connsiteX168" fmla="*/ 4061406 w 4819650"/>
              <a:gd name="connsiteY168" fmla="*/ 4523218 h 5143499"/>
              <a:gd name="connsiteX169" fmla="*/ 4093664 w 4819650"/>
              <a:gd name="connsiteY169" fmla="*/ 4598439 h 5143499"/>
              <a:gd name="connsiteX170" fmla="*/ 4144183 w 4819650"/>
              <a:gd name="connsiteY170" fmla="*/ 4629181 h 5143499"/>
              <a:gd name="connsiteX171" fmla="*/ 4187146 w 4819650"/>
              <a:gd name="connsiteY171" fmla="*/ 4611892 h 5143499"/>
              <a:gd name="connsiteX172" fmla="*/ 4204435 w 4819650"/>
              <a:gd name="connsiteY172" fmla="*/ 4568929 h 5143499"/>
              <a:gd name="connsiteX173" fmla="*/ 4173693 w 4819650"/>
              <a:gd name="connsiteY173" fmla="*/ 4518410 h 5143499"/>
              <a:gd name="connsiteX174" fmla="*/ 4098472 w 4819650"/>
              <a:gd name="connsiteY174" fmla="*/ 4486152 h 5143499"/>
              <a:gd name="connsiteX175" fmla="*/ 4097335 w 4819650"/>
              <a:gd name="connsiteY175" fmla="*/ 4461402 h 5143499"/>
              <a:gd name="connsiteX176" fmla="*/ 4098472 w 4819650"/>
              <a:gd name="connsiteY176" fmla="*/ 4436723 h 5143499"/>
              <a:gd name="connsiteX177" fmla="*/ 4173693 w 4819650"/>
              <a:gd name="connsiteY177" fmla="*/ 4404466 h 5143499"/>
              <a:gd name="connsiteX178" fmla="*/ 4204435 w 4819650"/>
              <a:gd name="connsiteY178" fmla="*/ 4353947 h 5143499"/>
              <a:gd name="connsiteX179" fmla="*/ 4187146 w 4819650"/>
              <a:gd name="connsiteY179" fmla="*/ 4310984 h 5143499"/>
              <a:gd name="connsiteX180" fmla="*/ 4144183 w 4819650"/>
              <a:gd name="connsiteY180" fmla="*/ 4293694 h 5143499"/>
              <a:gd name="connsiteX181" fmla="*/ 4093664 w 4819650"/>
              <a:gd name="connsiteY181" fmla="*/ 4324437 h 5143499"/>
              <a:gd name="connsiteX182" fmla="*/ 4061406 w 4819650"/>
              <a:gd name="connsiteY182" fmla="*/ 4399658 h 5143499"/>
              <a:gd name="connsiteX183" fmla="*/ 4036727 w 4819650"/>
              <a:gd name="connsiteY183" fmla="*/ 4400794 h 5143499"/>
              <a:gd name="connsiteX184" fmla="*/ 4011977 w 4819650"/>
              <a:gd name="connsiteY184" fmla="*/ 4399658 h 5143499"/>
              <a:gd name="connsiteX185" fmla="*/ 3979720 w 4819650"/>
              <a:gd name="connsiteY185" fmla="*/ 4324437 h 5143499"/>
              <a:gd name="connsiteX186" fmla="*/ 2094551 w 4819650"/>
              <a:gd name="connsiteY186" fmla="*/ 0 h 5143499"/>
              <a:gd name="connsiteX187" fmla="*/ 4819650 w 4819650"/>
              <a:gd name="connsiteY187" fmla="*/ 0 h 5143499"/>
              <a:gd name="connsiteX188" fmla="*/ 4819650 w 4819650"/>
              <a:gd name="connsiteY188" fmla="*/ 5143499 h 5143499"/>
              <a:gd name="connsiteX189" fmla="*/ 0 w 4819650"/>
              <a:gd name="connsiteY189" fmla="*/ 5143499 h 5143499"/>
              <a:gd name="connsiteX190" fmla="*/ 0 w 4819650"/>
              <a:gd name="connsiteY190" fmla="*/ 5143498 h 5143499"/>
              <a:gd name="connsiteX191" fmla="*/ 371745 w 4819650"/>
              <a:gd name="connsiteY191" fmla="*/ 5143498 h 5143499"/>
              <a:gd name="connsiteX192" fmla="*/ 1206499 w 4819650"/>
              <a:gd name="connsiteY192" fmla="*/ 1821610 h 5143499"/>
              <a:gd name="connsiteX193" fmla="*/ 2048326 w 4819650"/>
              <a:gd name="connsiteY193" fmla="*/ 58253 h 5143499"/>
              <a:gd name="connsiteX194" fmla="*/ 2094551 w 4819650"/>
              <a:gd name="connsiteY194"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017496 w 4819650"/>
              <a:gd name="connsiteY122" fmla="*/ 4442289 h 5143499"/>
              <a:gd name="connsiteX123" fmla="*/ 4036704 w 4819650"/>
              <a:gd name="connsiteY123" fmla="*/ 4442881 h 5143499"/>
              <a:gd name="connsiteX124" fmla="*/ 4055864 w 4819650"/>
              <a:gd name="connsiteY124" fmla="*/ 4442289 h 5143499"/>
              <a:gd name="connsiteX125" fmla="*/ 4055272 w 4819650"/>
              <a:gd name="connsiteY125" fmla="*/ 4461497 h 5143499"/>
              <a:gd name="connsiteX126" fmla="*/ 4055864 w 4819650"/>
              <a:gd name="connsiteY126" fmla="*/ 4480658 h 5143499"/>
              <a:gd name="connsiteX127" fmla="*/ 4036656 w 4819650"/>
              <a:gd name="connsiteY127" fmla="*/ 4480066 h 5143499"/>
              <a:gd name="connsiteX128" fmla="*/ 4017496 w 4819650"/>
              <a:gd name="connsiteY128" fmla="*/ 4480658 h 5143499"/>
              <a:gd name="connsiteX129" fmla="*/ 4018088 w 4819650"/>
              <a:gd name="connsiteY129" fmla="*/ 4461450 h 5143499"/>
              <a:gd name="connsiteX130" fmla="*/ 4017496 w 4819650"/>
              <a:gd name="connsiteY130" fmla="*/ 4442289 h 5143499"/>
              <a:gd name="connsiteX131" fmla="*/ 3966316 w 4819650"/>
              <a:gd name="connsiteY131" fmla="*/ 4391133 h 5143499"/>
              <a:gd name="connsiteX132" fmla="*/ 3966362 w 4819650"/>
              <a:gd name="connsiteY132" fmla="*/ 4391155 h 5143499"/>
              <a:gd name="connsiteX133" fmla="*/ 3966338 w 4819650"/>
              <a:gd name="connsiteY133" fmla="*/ 4391179 h 5143499"/>
              <a:gd name="connsiteX134" fmla="*/ 3966316 w 4819650"/>
              <a:gd name="connsiteY134" fmla="*/ 4391133 h 5143499"/>
              <a:gd name="connsiteX135" fmla="*/ 3925909 w 4819650"/>
              <a:gd name="connsiteY135" fmla="*/ 4335687 h 5143499"/>
              <a:gd name="connsiteX136" fmla="*/ 3946088 w 4819650"/>
              <a:gd name="connsiteY136" fmla="*/ 4349802 h 5143499"/>
              <a:gd name="connsiteX137" fmla="*/ 3946633 w 4819650"/>
              <a:gd name="connsiteY137" fmla="*/ 4350513 h 5143499"/>
              <a:gd name="connsiteX138" fmla="*/ 3966316 w 4819650"/>
              <a:gd name="connsiteY138" fmla="*/ 4391133 h 5143499"/>
              <a:gd name="connsiteX139" fmla="*/ 3925696 w 4819650"/>
              <a:gd name="connsiteY139" fmla="*/ 4371450 h 5143499"/>
              <a:gd name="connsiteX140" fmla="*/ 3924985 w 4819650"/>
              <a:gd name="connsiteY140" fmla="*/ 4370905 h 5143499"/>
              <a:gd name="connsiteX141" fmla="*/ 3910870 w 4819650"/>
              <a:gd name="connsiteY141" fmla="*/ 4350726 h 5143499"/>
              <a:gd name="connsiteX142" fmla="*/ 3915962 w 4819650"/>
              <a:gd name="connsiteY142" fmla="*/ 4340779 h 5143499"/>
              <a:gd name="connsiteX143" fmla="*/ 3925909 w 4819650"/>
              <a:gd name="connsiteY143" fmla="*/ 4335687 h 5143499"/>
              <a:gd name="connsiteX144" fmla="*/ 4147427 w 4819650"/>
              <a:gd name="connsiteY144" fmla="*/ 4335639 h 5143499"/>
              <a:gd name="connsiteX145" fmla="*/ 4157375 w 4819650"/>
              <a:gd name="connsiteY145" fmla="*/ 4340731 h 5143499"/>
              <a:gd name="connsiteX146" fmla="*/ 4162467 w 4819650"/>
              <a:gd name="connsiteY146" fmla="*/ 4350679 h 5143499"/>
              <a:gd name="connsiteX147" fmla="*/ 4148351 w 4819650"/>
              <a:gd name="connsiteY147" fmla="*/ 4370858 h 5143499"/>
              <a:gd name="connsiteX148" fmla="*/ 4147641 w 4819650"/>
              <a:gd name="connsiteY148" fmla="*/ 4371402 h 5143499"/>
              <a:gd name="connsiteX149" fmla="*/ 4106975 w 4819650"/>
              <a:gd name="connsiteY149" fmla="*/ 4391108 h 5143499"/>
              <a:gd name="connsiteX150" fmla="*/ 4126680 w 4819650"/>
              <a:gd name="connsiteY150" fmla="*/ 4350442 h 5143499"/>
              <a:gd name="connsiteX151" fmla="*/ 4126704 w 4819650"/>
              <a:gd name="connsiteY151" fmla="*/ 4350466 h 5143499"/>
              <a:gd name="connsiteX152" fmla="*/ 4127248 w 4819650"/>
              <a:gd name="connsiteY152" fmla="*/ 4349755 h 5143499"/>
              <a:gd name="connsiteX153" fmla="*/ 4147427 w 4819650"/>
              <a:gd name="connsiteY153" fmla="*/ 4335639 h 5143499"/>
              <a:gd name="connsiteX154" fmla="*/ 3979720 w 4819650"/>
              <a:gd name="connsiteY154" fmla="*/ 4324437 h 5143499"/>
              <a:gd name="connsiteX155" fmla="*/ 3868948 w 4819650"/>
              <a:gd name="connsiteY155" fmla="*/ 4353947 h 5143499"/>
              <a:gd name="connsiteX156" fmla="*/ 3899691 w 4819650"/>
              <a:gd name="connsiteY156" fmla="*/ 4404466 h 5143499"/>
              <a:gd name="connsiteX157" fmla="*/ 3974912 w 4819650"/>
              <a:gd name="connsiteY157" fmla="*/ 4436723 h 5143499"/>
              <a:gd name="connsiteX158" fmla="*/ 3976048 w 4819650"/>
              <a:gd name="connsiteY158" fmla="*/ 4461473 h 5143499"/>
              <a:gd name="connsiteX159" fmla="*/ 3974912 w 4819650"/>
              <a:gd name="connsiteY159" fmla="*/ 4486152 h 5143499"/>
              <a:gd name="connsiteX160" fmla="*/ 3899691 w 4819650"/>
              <a:gd name="connsiteY160" fmla="*/ 4518410 h 5143499"/>
              <a:gd name="connsiteX161" fmla="*/ 3868948 w 4819650"/>
              <a:gd name="connsiteY161" fmla="*/ 4568929 h 5143499"/>
              <a:gd name="connsiteX162" fmla="*/ 3886238 w 4819650"/>
              <a:gd name="connsiteY162" fmla="*/ 4611892 h 5143499"/>
              <a:gd name="connsiteX163" fmla="*/ 3929201 w 4819650"/>
              <a:gd name="connsiteY163" fmla="*/ 4629181 h 5143499"/>
              <a:gd name="connsiteX164" fmla="*/ 3979720 w 4819650"/>
              <a:gd name="connsiteY164" fmla="*/ 4598439 h 5143499"/>
              <a:gd name="connsiteX165" fmla="*/ 4011977 w 4819650"/>
              <a:gd name="connsiteY165" fmla="*/ 4523218 h 5143499"/>
              <a:gd name="connsiteX166" fmla="*/ 4036656 w 4819650"/>
              <a:gd name="connsiteY166" fmla="*/ 4522081 h 5143499"/>
              <a:gd name="connsiteX167" fmla="*/ 4061406 w 4819650"/>
              <a:gd name="connsiteY167" fmla="*/ 4523218 h 5143499"/>
              <a:gd name="connsiteX168" fmla="*/ 4093664 w 4819650"/>
              <a:gd name="connsiteY168" fmla="*/ 4598439 h 5143499"/>
              <a:gd name="connsiteX169" fmla="*/ 4144183 w 4819650"/>
              <a:gd name="connsiteY169" fmla="*/ 4629181 h 5143499"/>
              <a:gd name="connsiteX170" fmla="*/ 4187146 w 4819650"/>
              <a:gd name="connsiteY170" fmla="*/ 4611892 h 5143499"/>
              <a:gd name="connsiteX171" fmla="*/ 4204435 w 4819650"/>
              <a:gd name="connsiteY171" fmla="*/ 4568929 h 5143499"/>
              <a:gd name="connsiteX172" fmla="*/ 4173693 w 4819650"/>
              <a:gd name="connsiteY172" fmla="*/ 4518410 h 5143499"/>
              <a:gd name="connsiteX173" fmla="*/ 4098472 w 4819650"/>
              <a:gd name="connsiteY173" fmla="*/ 4486152 h 5143499"/>
              <a:gd name="connsiteX174" fmla="*/ 4097335 w 4819650"/>
              <a:gd name="connsiteY174" fmla="*/ 4461402 h 5143499"/>
              <a:gd name="connsiteX175" fmla="*/ 4098472 w 4819650"/>
              <a:gd name="connsiteY175" fmla="*/ 4436723 h 5143499"/>
              <a:gd name="connsiteX176" fmla="*/ 4173693 w 4819650"/>
              <a:gd name="connsiteY176" fmla="*/ 4404466 h 5143499"/>
              <a:gd name="connsiteX177" fmla="*/ 4204435 w 4819650"/>
              <a:gd name="connsiteY177" fmla="*/ 4353947 h 5143499"/>
              <a:gd name="connsiteX178" fmla="*/ 4187146 w 4819650"/>
              <a:gd name="connsiteY178" fmla="*/ 4310984 h 5143499"/>
              <a:gd name="connsiteX179" fmla="*/ 4144183 w 4819650"/>
              <a:gd name="connsiteY179" fmla="*/ 4293694 h 5143499"/>
              <a:gd name="connsiteX180" fmla="*/ 4093664 w 4819650"/>
              <a:gd name="connsiteY180" fmla="*/ 4324437 h 5143499"/>
              <a:gd name="connsiteX181" fmla="*/ 4061406 w 4819650"/>
              <a:gd name="connsiteY181" fmla="*/ 4399658 h 5143499"/>
              <a:gd name="connsiteX182" fmla="*/ 4036727 w 4819650"/>
              <a:gd name="connsiteY182" fmla="*/ 4400794 h 5143499"/>
              <a:gd name="connsiteX183" fmla="*/ 4011977 w 4819650"/>
              <a:gd name="connsiteY183" fmla="*/ 4399658 h 5143499"/>
              <a:gd name="connsiteX184" fmla="*/ 3979720 w 4819650"/>
              <a:gd name="connsiteY184" fmla="*/ 4324437 h 5143499"/>
              <a:gd name="connsiteX185" fmla="*/ 2094551 w 4819650"/>
              <a:gd name="connsiteY185" fmla="*/ 0 h 5143499"/>
              <a:gd name="connsiteX186" fmla="*/ 4819650 w 4819650"/>
              <a:gd name="connsiteY186" fmla="*/ 0 h 5143499"/>
              <a:gd name="connsiteX187" fmla="*/ 4819650 w 4819650"/>
              <a:gd name="connsiteY187" fmla="*/ 5143499 h 5143499"/>
              <a:gd name="connsiteX188" fmla="*/ 0 w 4819650"/>
              <a:gd name="connsiteY188" fmla="*/ 5143499 h 5143499"/>
              <a:gd name="connsiteX189" fmla="*/ 0 w 4819650"/>
              <a:gd name="connsiteY189" fmla="*/ 5143498 h 5143499"/>
              <a:gd name="connsiteX190" fmla="*/ 371745 w 4819650"/>
              <a:gd name="connsiteY190" fmla="*/ 5143498 h 5143499"/>
              <a:gd name="connsiteX191" fmla="*/ 1206499 w 4819650"/>
              <a:gd name="connsiteY191" fmla="*/ 1821610 h 5143499"/>
              <a:gd name="connsiteX192" fmla="*/ 2048326 w 4819650"/>
              <a:gd name="connsiteY192" fmla="*/ 58253 h 5143499"/>
              <a:gd name="connsiteX193" fmla="*/ 2094551 w 4819650"/>
              <a:gd name="connsiteY193"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017496 w 4819650"/>
              <a:gd name="connsiteY122" fmla="*/ 4442289 h 5143499"/>
              <a:gd name="connsiteX123" fmla="*/ 4036704 w 4819650"/>
              <a:gd name="connsiteY123" fmla="*/ 4442881 h 5143499"/>
              <a:gd name="connsiteX124" fmla="*/ 4055864 w 4819650"/>
              <a:gd name="connsiteY124" fmla="*/ 4442289 h 5143499"/>
              <a:gd name="connsiteX125" fmla="*/ 4055272 w 4819650"/>
              <a:gd name="connsiteY125" fmla="*/ 4461497 h 5143499"/>
              <a:gd name="connsiteX126" fmla="*/ 4055864 w 4819650"/>
              <a:gd name="connsiteY126" fmla="*/ 4480658 h 5143499"/>
              <a:gd name="connsiteX127" fmla="*/ 4036656 w 4819650"/>
              <a:gd name="connsiteY127" fmla="*/ 4480066 h 5143499"/>
              <a:gd name="connsiteX128" fmla="*/ 4017496 w 4819650"/>
              <a:gd name="connsiteY128" fmla="*/ 4480658 h 5143499"/>
              <a:gd name="connsiteX129" fmla="*/ 4018088 w 4819650"/>
              <a:gd name="connsiteY129" fmla="*/ 4461450 h 5143499"/>
              <a:gd name="connsiteX130" fmla="*/ 4017496 w 4819650"/>
              <a:gd name="connsiteY130" fmla="*/ 4442289 h 5143499"/>
              <a:gd name="connsiteX131" fmla="*/ 3966316 w 4819650"/>
              <a:gd name="connsiteY131" fmla="*/ 4391133 h 5143499"/>
              <a:gd name="connsiteX132" fmla="*/ 3966362 w 4819650"/>
              <a:gd name="connsiteY132" fmla="*/ 4391155 h 5143499"/>
              <a:gd name="connsiteX133" fmla="*/ 3966338 w 4819650"/>
              <a:gd name="connsiteY133" fmla="*/ 4391179 h 5143499"/>
              <a:gd name="connsiteX134" fmla="*/ 3966316 w 4819650"/>
              <a:gd name="connsiteY134" fmla="*/ 4391133 h 5143499"/>
              <a:gd name="connsiteX135" fmla="*/ 3925909 w 4819650"/>
              <a:gd name="connsiteY135" fmla="*/ 4335687 h 5143499"/>
              <a:gd name="connsiteX136" fmla="*/ 3946088 w 4819650"/>
              <a:gd name="connsiteY136" fmla="*/ 4349802 h 5143499"/>
              <a:gd name="connsiteX137" fmla="*/ 3946633 w 4819650"/>
              <a:gd name="connsiteY137" fmla="*/ 4350513 h 5143499"/>
              <a:gd name="connsiteX138" fmla="*/ 3966316 w 4819650"/>
              <a:gd name="connsiteY138" fmla="*/ 4391133 h 5143499"/>
              <a:gd name="connsiteX139" fmla="*/ 3925696 w 4819650"/>
              <a:gd name="connsiteY139" fmla="*/ 4371450 h 5143499"/>
              <a:gd name="connsiteX140" fmla="*/ 3924985 w 4819650"/>
              <a:gd name="connsiteY140" fmla="*/ 4370905 h 5143499"/>
              <a:gd name="connsiteX141" fmla="*/ 3910870 w 4819650"/>
              <a:gd name="connsiteY141" fmla="*/ 4350726 h 5143499"/>
              <a:gd name="connsiteX142" fmla="*/ 3915962 w 4819650"/>
              <a:gd name="connsiteY142" fmla="*/ 4340779 h 5143499"/>
              <a:gd name="connsiteX143" fmla="*/ 3925909 w 4819650"/>
              <a:gd name="connsiteY143" fmla="*/ 4335687 h 5143499"/>
              <a:gd name="connsiteX144" fmla="*/ 4147427 w 4819650"/>
              <a:gd name="connsiteY144" fmla="*/ 4335639 h 5143499"/>
              <a:gd name="connsiteX145" fmla="*/ 4157375 w 4819650"/>
              <a:gd name="connsiteY145" fmla="*/ 4340731 h 5143499"/>
              <a:gd name="connsiteX146" fmla="*/ 4162467 w 4819650"/>
              <a:gd name="connsiteY146" fmla="*/ 4350679 h 5143499"/>
              <a:gd name="connsiteX147" fmla="*/ 4148351 w 4819650"/>
              <a:gd name="connsiteY147" fmla="*/ 4370858 h 5143499"/>
              <a:gd name="connsiteX148" fmla="*/ 4147641 w 4819650"/>
              <a:gd name="connsiteY148" fmla="*/ 4371402 h 5143499"/>
              <a:gd name="connsiteX149" fmla="*/ 4106975 w 4819650"/>
              <a:gd name="connsiteY149" fmla="*/ 4391108 h 5143499"/>
              <a:gd name="connsiteX150" fmla="*/ 4126680 w 4819650"/>
              <a:gd name="connsiteY150" fmla="*/ 4350442 h 5143499"/>
              <a:gd name="connsiteX151" fmla="*/ 4126704 w 4819650"/>
              <a:gd name="connsiteY151" fmla="*/ 4350466 h 5143499"/>
              <a:gd name="connsiteX152" fmla="*/ 4127248 w 4819650"/>
              <a:gd name="connsiteY152" fmla="*/ 4349755 h 5143499"/>
              <a:gd name="connsiteX153" fmla="*/ 4147427 w 4819650"/>
              <a:gd name="connsiteY153" fmla="*/ 4335639 h 5143499"/>
              <a:gd name="connsiteX154" fmla="*/ 3979720 w 4819650"/>
              <a:gd name="connsiteY154" fmla="*/ 4324437 h 5143499"/>
              <a:gd name="connsiteX155" fmla="*/ 3899691 w 4819650"/>
              <a:gd name="connsiteY155" fmla="*/ 4404466 h 5143499"/>
              <a:gd name="connsiteX156" fmla="*/ 3974912 w 4819650"/>
              <a:gd name="connsiteY156" fmla="*/ 4436723 h 5143499"/>
              <a:gd name="connsiteX157" fmla="*/ 3976048 w 4819650"/>
              <a:gd name="connsiteY157" fmla="*/ 4461473 h 5143499"/>
              <a:gd name="connsiteX158" fmla="*/ 3974912 w 4819650"/>
              <a:gd name="connsiteY158" fmla="*/ 4486152 h 5143499"/>
              <a:gd name="connsiteX159" fmla="*/ 3899691 w 4819650"/>
              <a:gd name="connsiteY159" fmla="*/ 4518410 h 5143499"/>
              <a:gd name="connsiteX160" fmla="*/ 3868948 w 4819650"/>
              <a:gd name="connsiteY160" fmla="*/ 4568929 h 5143499"/>
              <a:gd name="connsiteX161" fmla="*/ 3886238 w 4819650"/>
              <a:gd name="connsiteY161" fmla="*/ 4611892 h 5143499"/>
              <a:gd name="connsiteX162" fmla="*/ 3929201 w 4819650"/>
              <a:gd name="connsiteY162" fmla="*/ 4629181 h 5143499"/>
              <a:gd name="connsiteX163" fmla="*/ 3979720 w 4819650"/>
              <a:gd name="connsiteY163" fmla="*/ 4598439 h 5143499"/>
              <a:gd name="connsiteX164" fmla="*/ 4011977 w 4819650"/>
              <a:gd name="connsiteY164" fmla="*/ 4523218 h 5143499"/>
              <a:gd name="connsiteX165" fmla="*/ 4036656 w 4819650"/>
              <a:gd name="connsiteY165" fmla="*/ 4522081 h 5143499"/>
              <a:gd name="connsiteX166" fmla="*/ 4061406 w 4819650"/>
              <a:gd name="connsiteY166" fmla="*/ 4523218 h 5143499"/>
              <a:gd name="connsiteX167" fmla="*/ 4093664 w 4819650"/>
              <a:gd name="connsiteY167" fmla="*/ 4598439 h 5143499"/>
              <a:gd name="connsiteX168" fmla="*/ 4144183 w 4819650"/>
              <a:gd name="connsiteY168" fmla="*/ 4629181 h 5143499"/>
              <a:gd name="connsiteX169" fmla="*/ 4187146 w 4819650"/>
              <a:gd name="connsiteY169" fmla="*/ 4611892 h 5143499"/>
              <a:gd name="connsiteX170" fmla="*/ 4204435 w 4819650"/>
              <a:gd name="connsiteY170" fmla="*/ 4568929 h 5143499"/>
              <a:gd name="connsiteX171" fmla="*/ 4173693 w 4819650"/>
              <a:gd name="connsiteY171" fmla="*/ 4518410 h 5143499"/>
              <a:gd name="connsiteX172" fmla="*/ 4098472 w 4819650"/>
              <a:gd name="connsiteY172" fmla="*/ 4486152 h 5143499"/>
              <a:gd name="connsiteX173" fmla="*/ 4097335 w 4819650"/>
              <a:gd name="connsiteY173" fmla="*/ 4461402 h 5143499"/>
              <a:gd name="connsiteX174" fmla="*/ 4098472 w 4819650"/>
              <a:gd name="connsiteY174" fmla="*/ 4436723 h 5143499"/>
              <a:gd name="connsiteX175" fmla="*/ 4173693 w 4819650"/>
              <a:gd name="connsiteY175" fmla="*/ 4404466 h 5143499"/>
              <a:gd name="connsiteX176" fmla="*/ 4204435 w 4819650"/>
              <a:gd name="connsiteY176" fmla="*/ 4353947 h 5143499"/>
              <a:gd name="connsiteX177" fmla="*/ 4187146 w 4819650"/>
              <a:gd name="connsiteY177" fmla="*/ 4310984 h 5143499"/>
              <a:gd name="connsiteX178" fmla="*/ 4144183 w 4819650"/>
              <a:gd name="connsiteY178" fmla="*/ 4293694 h 5143499"/>
              <a:gd name="connsiteX179" fmla="*/ 4093664 w 4819650"/>
              <a:gd name="connsiteY179" fmla="*/ 4324437 h 5143499"/>
              <a:gd name="connsiteX180" fmla="*/ 4061406 w 4819650"/>
              <a:gd name="connsiteY180" fmla="*/ 4399658 h 5143499"/>
              <a:gd name="connsiteX181" fmla="*/ 4036727 w 4819650"/>
              <a:gd name="connsiteY181" fmla="*/ 4400794 h 5143499"/>
              <a:gd name="connsiteX182" fmla="*/ 4011977 w 4819650"/>
              <a:gd name="connsiteY182" fmla="*/ 4399658 h 5143499"/>
              <a:gd name="connsiteX183" fmla="*/ 3979720 w 4819650"/>
              <a:gd name="connsiteY183" fmla="*/ 4324437 h 5143499"/>
              <a:gd name="connsiteX184" fmla="*/ 2094551 w 4819650"/>
              <a:gd name="connsiteY184" fmla="*/ 0 h 5143499"/>
              <a:gd name="connsiteX185" fmla="*/ 4819650 w 4819650"/>
              <a:gd name="connsiteY185" fmla="*/ 0 h 5143499"/>
              <a:gd name="connsiteX186" fmla="*/ 4819650 w 4819650"/>
              <a:gd name="connsiteY186" fmla="*/ 5143499 h 5143499"/>
              <a:gd name="connsiteX187" fmla="*/ 0 w 4819650"/>
              <a:gd name="connsiteY187" fmla="*/ 5143499 h 5143499"/>
              <a:gd name="connsiteX188" fmla="*/ 0 w 4819650"/>
              <a:gd name="connsiteY188" fmla="*/ 5143498 h 5143499"/>
              <a:gd name="connsiteX189" fmla="*/ 371745 w 4819650"/>
              <a:gd name="connsiteY189" fmla="*/ 5143498 h 5143499"/>
              <a:gd name="connsiteX190" fmla="*/ 1206499 w 4819650"/>
              <a:gd name="connsiteY190" fmla="*/ 1821610 h 5143499"/>
              <a:gd name="connsiteX191" fmla="*/ 2048326 w 4819650"/>
              <a:gd name="connsiteY191" fmla="*/ 58253 h 5143499"/>
              <a:gd name="connsiteX192" fmla="*/ 2094551 w 4819650"/>
              <a:gd name="connsiteY192"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017496 w 4819650"/>
              <a:gd name="connsiteY122" fmla="*/ 4442289 h 5143499"/>
              <a:gd name="connsiteX123" fmla="*/ 4036704 w 4819650"/>
              <a:gd name="connsiteY123" fmla="*/ 4442881 h 5143499"/>
              <a:gd name="connsiteX124" fmla="*/ 4055864 w 4819650"/>
              <a:gd name="connsiteY124" fmla="*/ 4442289 h 5143499"/>
              <a:gd name="connsiteX125" fmla="*/ 4055272 w 4819650"/>
              <a:gd name="connsiteY125" fmla="*/ 4461497 h 5143499"/>
              <a:gd name="connsiteX126" fmla="*/ 4055864 w 4819650"/>
              <a:gd name="connsiteY126" fmla="*/ 4480658 h 5143499"/>
              <a:gd name="connsiteX127" fmla="*/ 4036656 w 4819650"/>
              <a:gd name="connsiteY127" fmla="*/ 4480066 h 5143499"/>
              <a:gd name="connsiteX128" fmla="*/ 4017496 w 4819650"/>
              <a:gd name="connsiteY128" fmla="*/ 4480658 h 5143499"/>
              <a:gd name="connsiteX129" fmla="*/ 4018088 w 4819650"/>
              <a:gd name="connsiteY129" fmla="*/ 4461450 h 5143499"/>
              <a:gd name="connsiteX130" fmla="*/ 4017496 w 4819650"/>
              <a:gd name="connsiteY130" fmla="*/ 4442289 h 5143499"/>
              <a:gd name="connsiteX131" fmla="*/ 3966316 w 4819650"/>
              <a:gd name="connsiteY131" fmla="*/ 4391133 h 5143499"/>
              <a:gd name="connsiteX132" fmla="*/ 3966362 w 4819650"/>
              <a:gd name="connsiteY132" fmla="*/ 4391155 h 5143499"/>
              <a:gd name="connsiteX133" fmla="*/ 3966338 w 4819650"/>
              <a:gd name="connsiteY133" fmla="*/ 4391179 h 5143499"/>
              <a:gd name="connsiteX134" fmla="*/ 3966316 w 4819650"/>
              <a:gd name="connsiteY134" fmla="*/ 4391133 h 5143499"/>
              <a:gd name="connsiteX135" fmla="*/ 3925909 w 4819650"/>
              <a:gd name="connsiteY135" fmla="*/ 4335687 h 5143499"/>
              <a:gd name="connsiteX136" fmla="*/ 3946088 w 4819650"/>
              <a:gd name="connsiteY136" fmla="*/ 4349802 h 5143499"/>
              <a:gd name="connsiteX137" fmla="*/ 3946633 w 4819650"/>
              <a:gd name="connsiteY137" fmla="*/ 4350513 h 5143499"/>
              <a:gd name="connsiteX138" fmla="*/ 3966316 w 4819650"/>
              <a:gd name="connsiteY138" fmla="*/ 4391133 h 5143499"/>
              <a:gd name="connsiteX139" fmla="*/ 3925696 w 4819650"/>
              <a:gd name="connsiteY139" fmla="*/ 4371450 h 5143499"/>
              <a:gd name="connsiteX140" fmla="*/ 3924985 w 4819650"/>
              <a:gd name="connsiteY140" fmla="*/ 4370905 h 5143499"/>
              <a:gd name="connsiteX141" fmla="*/ 3910870 w 4819650"/>
              <a:gd name="connsiteY141" fmla="*/ 4350726 h 5143499"/>
              <a:gd name="connsiteX142" fmla="*/ 3915962 w 4819650"/>
              <a:gd name="connsiteY142" fmla="*/ 4340779 h 5143499"/>
              <a:gd name="connsiteX143" fmla="*/ 3925909 w 4819650"/>
              <a:gd name="connsiteY143" fmla="*/ 4335687 h 5143499"/>
              <a:gd name="connsiteX144" fmla="*/ 4147427 w 4819650"/>
              <a:gd name="connsiteY144" fmla="*/ 4335639 h 5143499"/>
              <a:gd name="connsiteX145" fmla="*/ 4157375 w 4819650"/>
              <a:gd name="connsiteY145" fmla="*/ 4340731 h 5143499"/>
              <a:gd name="connsiteX146" fmla="*/ 4162467 w 4819650"/>
              <a:gd name="connsiteY146" fmla="*/ 4350679 h 5143499"/>
              <a:gd name="connsiteX147" fmla="*/ 4148351 w 4819650"/>
              <a:gd name="connsiteY147" fmla="*/ 4370858 h 5143499"/>
              <a:gd name="connsiteX148" fmla="*/ 4147641 w 4819650"/>
              <a:gd name="connsiteY148" fmla="*/ 4371402 h 5143499"/>
              <a:gd name="connsiteX149" fmla="*/ 4106975 w 4819650"/>
              <a:gd name="connsiteY149" fmla="*/ 4391108 h 5143499"/>
              <a:gd name="connsiteX150" fmla="*/ 4126680 w 4819650"/>
              <a:gd name="connsiteY150" fmla="*/ 4350442 h 5143499"/>
              <a:gd name="connsiteX151" fmla="*/ 4126704 w 4819650"/>
              <a:gd name="connsiteY151" fmla="*/ 4350466 h 5143499"/>
              <a:gd name="connsiteX152" fmla="*/ 4127248 w 4819650"/>
              <a:gd name="connsiteY152" fmla="*/ 4349755 h 5143499"/>
              <a:gd name="connsiteX153" fmla="*/ 4147427 w 4819650"/>
              <a:gd name="connsiteY153" fmla="*/ 4335639 h 5143499"/>
              <a:gd name="connsiteX154" fmla="*/ 4011977 w 4819650"/>
              <a:gd name="connsiteY154" fmla="*/ 4399658 h 5143499"/>
              <a:gd name="connsiteX155" fmla="*/ 3899691 w 4819650"/>
              <a:gd name="connsiteY155" fmla="*/ 4404466 h 5143499"/>
              <a:gd name="connsiteX156" fmla="*/ 3974912 w 4819650"/>
              <a:gd name="connsiteY156" fmla="*/ 4436723 h 5143499"/>
              <a:gd name="connsiteX157" fmla="*/ 3976048 w 4819650"/>
              <a:gd name="connsiteY157" fmla="*/ 4461473 h 5143499"/>
              <a:gd name="connsiteX158" fmla="*/ 3974912 w 4819650"/>
              <a:gd name="connsiteY158" fmla="*/ 4486152 h 5143499"/>
              <a:gd name="connsiteX159" fmla="*/ 3899691 w 4819650"/>
              <a:gd name="connsiteY159" fmla="*/ 4518410 h 5143499"/>
              <a:gd name="connsiteX160" fmla="*/ 3868948 w 4819650"/>
              <a:gd name="connsiteY160" fmla="*/ 4568929 h 5143499"/>
              <a:gd name="connsiteX161" fmla="*/ 3886238 w 4819650"/>
              <a:gd name="connsiteY161" fmla="*/ 4611892 h 5143499"/>
              <a:gd name="connsiteX162" fmla="*/ 3929201 w 4819650"/>
              <a:gd name="connsiteY162" fmla="*/ 4629181 h 5143499"/>
              <a:gd name="connsiteX163" fmla="*/ 3979720 w 4819650"/>
              <a:gd name="connsiteY163" fmla="*/ 4598439 h 5143499"/>
              <a:gd name="connsiteX164" fmla="*/ 4011977 w 4819650"/>
              <a:gd name="connsiteY164" fmla="*/ 4523218 h 5143499"/>
              <a:gd name="connsiteX165" fmla="*/ 4036656 w 4819650"/>
              <a:gd name="connsiteY165" fmla="*/ 4522081 h 5143499"/>
              <a:gd name="connsiteX166" fmla="*/ 4061406 w 4819650"/>
              <a:gd name="connsiteY166" fmla="*/ 4523218 h 5143499"/>
              <a:gd name="connsiteX167" fmla="*/ 4093664 w 4819650"/>
              <a:gd name="connsiteY167" fmla="*/ 4598439 h 5143499"/>
              <a:gd name="connsiteX168" fmla="*/ 4144183 w 4819650"/>
              <a:gd name="connsiteY168" fmla="*/ 4629181 h 5143499"/>
              <a:gd name="connsiteX169" fmla="*/ 4187146 w 4819650"/>
              <a:gd name="connsiteY169" fmla="*/ 4611892 h 5143499"/>
              <a:gd name="connsiteX170" fmla="*/ 4204435 w 4819650"/>
              <a:gd name="connsiteY170" fmla="*/ 4568929 h 5143499"/>
              <a:gd name="connsiteX171" fmla="*/ 4173693 w 4819650"/>
              <a:gd name="connsiteY171" fmla="*/ 4518410 h 5143499"/>
              <a:gd name="connsiteX172" fmla="*/ 4098472 w 4819650"/>
              <a:gd name="connsiteY172" fmla="*/ 4486152 h 5143499"/>
              <a:gd name="connsiteX173" fmla="*/ 4097335 w 4819650"/>
              <a:gd name="connsiteY173" fmla="*/ 4461402 h 5143499"/>
              <a:gd name="connsiteX174" fmla="*/ 4098472 w 4819650"/>
              <a:gd name="connsiteY174" fmla="*/ 4436723 h 5143499"/>
              <a:gd name="connsiteX175" fmla="*/ 4173693 w 4819650"/>
              <a:gd name="connsiteY175" fmla="*/ 4404466 h 5143499"/>
              <a:gd name="connsiteX176" fmla="*/ 4204435 w 4819650"/>
              <a:gd name="connsiteY176" fmla="*/ 4353947 h 5143499"/>
              <a:gd name="connsiteX177" fmla="*/ 4187146 w 4819650"/>
              <a:gd name="connsiteY177" fmla="*/ 4310984 h 5143499"/>
              <a:gd name="connsiteX178" fmla="*/ 4144183 w 4819650"/>
              <a:gd name="connsiteY178" fmla="*/ 4293694 h 5143499"/>
              <a:gd name="connsiteX179" fmla="*/ 4093664 w 4819650"/>
              <a:gd name="connsiteY179" fmla="*/ 4324437 h 5143499"/>
              <a:gd name="connsiteX180" fmla="*/ 4061406 w 4819650"/>
              <a:gd name="connsiteY180" fmla="*/ 4399658 h 5143499"/>
              <a:gd name="connsiteX181" fmla="*/ 4036727 w 4819650"/>
              <a:gd name="connsiteY181" fmla="*/ 4400794 h 5143499"/>
              <a:gd name="connsiteX182" fmla="*/ 4011977 w 4819650"/>
              <a:gd name="connsiteY182" fmla="*/ 4399658 h 5143499"/>
              <a:gd name="connsiteX183" fmla="*/ 2094551 w 4819650"/>
              <a:gd name="connsiteY183" fmla="*/ 0 h 5143499"/>
              <a:gd name="connsiteX184" fmla="*/ 4819650 w 4819650"/>
              <a:gd name="connsiteY184" fmla="*/ 0 h 5143499"/>
              <a:gd name="connsiteX185" fmla="*/ 4819650 w 4819650"/>
              <a:gd name="connsiteY185" fmla="*/ 5143499 h 5143499"/>
              <a:gd name="connsiteX186" fmla="*/ 0 w 4819650"/>
              <a:gd name="connsiteY186" fmla="*/ 5143499 h 5143499"/>
              <a:gd name="connsiteX187" fmla="*/ 0 w 4819650"/>
              <a:gd name="connsiteY187" fmla="*/ 5143498 h 5143499"/>
              <a:gd name="connsiteX188" fmla="*/ 371745 w 4819650"/>
              <a:gd name="connsiteY188" fmla="*/ 5143498 h 5143499"/>
              <a:gd name="connsiteX189" fmla="*/ 1206499 w 4819650"/>
              <a:gd name="connsiteY189" fmla="*/ 1821610 h 5143499"/>
              <a:gd name="connsiteX190" fmla="*/ 2048326 w 4819650"/>
              <a:gd name="connsiteY190" fmla="*/ 58253 h 5143499"/>
              <a:gd name="connsiteX191" fmla="*/ 2094551 w 4819650"/>
              <a:gd name="connsiteY191"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017496 w 4819650"/>
              <a:gd name="connsiteY122" fmla="*/ 4442289 h 5143499"/>
              <a:gd name="connsiteX123" fmla="*/ 4036704 w 4819650"/>
              <a:gd name="connsiteY123" fmla="*/ 4442881 h 5143499"/>
              <a:gd name="connsiteX124" fmla="*/ 4055864 w 4819650"/>
              <a:gd name="connsiteY124" fmla="*/ 4442289 h 5143499"/>
              <a:gd name="connsiteX125" fmla="*/ 4055272 w 4819650"/>
              <a:gd name="connsiteY125" fmla="*/ 4461497 h 5143499"/>
              <a:gd name="connsiteX126" fmla="*/ 4055864 w 4819650"/>
              <a:gd name="connsiteY126" fmla="*/ 4480658 h 5143499"/>
              <a:gd name="connsiteX127" fmla="*/ 4036656 w 4819650"/>
              <a:gd name="connsiteY127" fmla="*/ 4480066 h 5143499"/>
              <a:gd name="connsiteX128" fmla="*/ 4017496 w 4819650"/>
              <a:gd name="connsiteY128" fmla="*/ 4480658 h 5143499"/>
              <a:gd name="connsiteX129" fmla="*/ 4018088 w 4819650"/>
              <a:gd name="connsiteY129" fmla="*/ 4461450 h 5143499"/>
              <a:gd name="connsiteX130" fmla="*/ 4017496 w 4819650"/>
              <a:gd name="connsiteY130" fmla="*/ 4442289 h 5143499"/>
              <a:gd name="connsiteX131" fmla="*/ 3966316 w 4819650"/>
              <a:gd name="connsiteY131" fmla="*/ 4391133 h 5143499"/>
              <a:gd name="connsiteX132" fmla="*/ 3966362 w 4819650"/>
              <a:gd name="connsiteY132" fmla="*/ 4391155 h 5143499"/>
              <a:gd name="connsiteX133" fmla="*/ 3966338 w 4819650"/>
              <a:gd name="connsiteY133" fmla="*/ 4391179 h 5143499"/>
              <a:gd name="connsiteX134" fmla="*/ 3966316 w 4819650"/>
              <a:gd name="connsiteY134" fmla="*/ 4391133 h 5143499"/>
              <a:gd name="connsiteX135" fmla="*/ 3915962 w 4819650"/>
              <a:gd name="connsiteY135" fmla="*/ 4340779 h 5143499"/>
              <a:gd name="connsiteX136" fmla="*/ 3946088 w 4819650"/>
              <a:gd name="connsiteY136" fmla="*/ 4349802 h 5143499"/>
              <a:gd name="connsiteX137" fmla="*/ 3946633 w 4819650"/>
              <a:gd name="connsiteY137" fmla="*/ 4350513 h 5143499"/>
              <a:gd name="connsiteX138" fmla="*/ 3966316 w 4819650"/>
              <a:gd name="connsiteY138" fmla="*/ 4391133 h 5143499"/>
              <a:gd name="connsiteX139" fmla="*/ 3925696 w 4819650"/>
              <a:gd name="connsiteY139" fmla="*/ 4371450 h 5143499"/>
              <a:gd name="connsiteX140" fmla="*/ 3924985 w 4819650"/>
              <a:gd name="connsiteY140" fmla="*/ 4370905 h 5143499"/>
              <a:gd name="connsiteX141" fmla="*/ 3910870 w 4819650"/>
              <a:gd name="connsiteY141" fmla="*/ 4350726 h 5143499"/>
              <a:gd name="connsiteX142" fmla="*/ 3915962 w 4819650"/>
              <a:gd name="connsiteY142" fmla="*/ 4340779 h 5143499"/>
              <a:gd name="connsiteX143" fmla="*/ 4147427 w 4819650"/>
              <a:gd name="connsiteY143" fmla="*/ 4335639 h 5143499"/>
              <a:gd name="connsiteX144" fmla="*/ 4157375 w 4819650"/>
              <a:gd name="connsiteY144" fmla="*/ 4340731 h 5143499"/>
              <a:gd name="connsiteX145" fmla="*/ 4162467 w 4819650"/>
              <a:gd name="connsiteY145" fmla="*/ 4350679 h 5143499"/>
              <a:gd name="connsiteX146" fmla="*/ 4148351 w 4819650"/>
              <a:gd name="connsiteY146" fmla="*/ 4370858 h 5143499"/>
              <a:gd name="connsiteX147" fmla="*/ 4147641 w 4819650"/>
              <a:gd name="connsiteY147" fmla="*/ 4371402 h 5143499"/>
              <a:gd name="connsiteX148" fmla="*/ 4106975 w 4819650"/>
              <a:gd name="connsiteY148" fmla="*/ 4391108 h 5143499"/>
              <a:gd name="connsiteX149" fmla="*/ 4126680 w 4819650"/>
              <a:gd name="connsiteY149" fmla="*/ 4350442 h 5143499"/>
              <a:gd name="connsiteX150" fmla="*/ 4126704 w 4819650"/>
              <a:gd name="connsiteY150" fmla="*/ 4350466 h 5143499"/>
              <a:gd name="connsiteX151" fmla="*/ 4127248 w 4819650"/>
              <a:gd name="connsiteY151" fmla="*/ 4349755 h 5143499"/>
              <a:gd name="connsiteX152" fmla="*/ 4147427 w 4819650"/>
              <a:gd name="connsiteY152" fmla="*/ 4335639 h 5143499"/>
              <a:gd name="connsiteX153" fmla="*/ 4011977 w 4819650"/>
              <a:gd name="connsiteY153" fmla="*/ 4399658 h 5143499"/>
              <a:gd name="connsiteX154" fmla="*/ 3899691 w 4819650"/>
              <a:gd name="connsiteY154" fmla="*/ 4404466 h 5143499"/>
              <a:gd name="connsiteX155" fmla="*/ 3974912 w 4819650"/>
              <a:gd name="connsiteY155" fmla="*/ 4436723 h 5143499"/>
              <a:gd name="connsiteX156" fmla="*/ 3976048 w 4819650"/>
              <a:gd name="connsiteY156" fmla="*/ 4461473 h 5143499"/>
              <a:gd name="connsiteX157" fmla="*/ 3974912 w 4819650"/>
              <a:gd name="connsiteY157" fmla="*/ 4486152 h 5143499"/>
              <a:gd name="connsiteX158" fmla="*/ 3899691 w 4819650"/>
              <a:gd name="connsiteY158" fmla="*/ 4518410 h 5143499"/>
              <a:gd name="connsiteX159" fmla="*/ 3868948 w 4819650"/>
              <a:gd name="connsiteY159" fmla="*/ 4568929 h 5143499"/>
              <a:gd name="connsiteX160" fmla="*/ 3886238 w 4819650"/>
              <a:gd name="connsiteY160" fmla="*/ 4611892 h 5143499"/>
              <a:gd name="connsiteX161" fmla="*/ 3929201 w 4819650"/>
              <a:gd name="connsiteY161" fmla="*/ 4629181 h 5143499"/>
              <a:gd name="connsiteX162" fmla="*/ 3979720 w 4819650"/>
              <a:gd name="connsiteY162" fmla="*/ 4598439 h 5143499"/>
              <a:gd name="connsiteX163" fmla="*/ 4011977 w 4819650"/>
              <a:gd name="connsiteY163" fmla="*/ 4523218 h 5143499"/>
              <a:gd name="connsiteX164" fmla="*/ 4036656 w 4819650"/>
              <a:gd name="connsiteY164" fmla="*/ 4522081 h 5143499"/>
              <a:gd name="connsiteX165" fmla="*/ 4061406 w 4819650"/>
              <a:gd name="connsiteY165" fmla="*/ 4523218 h 5143499"/>
              <a:gd name="connsiteX166" fmla="*/ 4093664 w 4819650"/>
              <a:gd name="connsiteY166" fmla="*/ 4598439 h 5143499"/>
              <a:gd name="connsiteX167" fmla="*/ 4144183 w 4819650"/>
              <a:gd name="connsiteY167" fmla="*/ 4629181 h 5143499"/>
              <a:gd name="connsiteX168" fmla="*/ 4187146 w 4819650"/>
              <a:gd name="connsiteY168" fmla="*/ 4611892 h 5143499"/>
              <a:gd name="connsiteX169" fmla="*/ 4204435 w 4819650"/>
              <a:gd name="connsiteY169" fmla="*/ 4568929 h 5143499"/>
              <a:gd name="connsiteX170" fmla="*/ 4173693 w 4819650"/>
              <a:gd name="connsiteY170" fmla="*/ 4518410 h 5143499"/>
              <a:gd name="connsiteX171" fmla="*/ 4098472 w 4819650"/>
              <a:gd name="connsiteY171" fmla="*/ 4486152 h 5143499"/>
              <a:gd name="connsiteX172" fmla="*/ 4097335 w 4819650"/>
              <a:gd name="connsiteY172" fmla="*/ 4461402 h 5143499"/>
              <a:gd name="connsiteX173" fmla="*/ 4098472 w 4819650"/>
              <a:gd name="connsiteY173" fmla="*/ 4436723 h 5143499"/>
              <a:gd name="connsiteX174" fmla="*/ 4173693 w 4819650"/>
              <a:gd name="connsiteY174" fmla="*/ 4404466 h 5143499"/>
              <a:gd name="connsiteX175" fmla="*/ 4204435 w 4819650"/>
              <a:gd name="connsiteY175" fmla="*/ 4353947 h 5143499"/>
              <a:gd name="connsiteX176" fmla="*/ 4187146 w 4819650"/>
              <a:gd name="connsiteY176" fmla="*/ 4310984 h 5143499"/>
              <a:gd name="connsiteX177" fmla="*/ 4144183 w 4819650"/>
              <a:gd name="connsiteY177" fmla="*/ 4293694 h 5143499"/>
              <a:gd name="connsiteX178" fmla="*/ 4093664 w 4819650"/>
              <a:gd name="connsiteY178" fmla="*/ 4324437 h 5143499"/>
              <a:gd name="connsiteX179" fmla="*/ 4061406 w 4819650"/>
              <a:gd name="connsiteY179" fmla="*/ 4399658 h 5143499"/>
              <a:gd name="connsiteX180" fmla="*/ 4036727 w 4819650"/>
              <a:gd name="connsiteY180" fmla="*/ 4400794 h 5143499"/>
              <a:gd name="connsiteX181" fmla="*/ 4011977 w 4819650"/>
              <a:gd name="connsiteY181" fmla="*/ 4399658 h 5143499"/>
              <a:gd name="connsiteX182" fmla="*/ 2094551 w 4819650"/>
              <a:gd name="connsiteY182" fmla="*/ 0 h 5143499"/>
              <a:gd name="connsiteX183" fmla="*/ 4819650 w 4819650"/>
              <a:gd name="connsiteY183" fmla="*/ 0 h 5143499"/>
              <a:gd name="connsiteX184" fmla="*/ 4819650 w 4819650"/>
              <a:gd name="connsiteY184" fmla="*/ 5143499 h 5143499"/>
              <a:gd name="connsiteX185" fmla="*/ 0 w 4819650"/>
              <a:gd name="connsiteY185" fmla="*/ 5143499 h 5143499"/>
              <a:gd name="connsiteX186" fmla="*/ 0 w 4819650"/>
              <a:gd name="connsiteY186" fmla="*/ 5143498 h 5143499"/>
              <a:gd name="connsiteX187" fmla="*/ 371745 w 4819650"/>
              <a:gd name="connsiteY187" fmla="*/ 5143498 h 5143499"/>
              <a:gd name="connsiteX188" fmla="*/ 1206499 w 4819650"/>
              <a:gd name="connsiteY188" fmla="*/ 1821610 h 5143499"/>
              <a:gd name="connsiteX189" fmla="*/ 2048326 w 4819650"/>
              <a:gd name="connsiteY189" fmla="*/ 58253 h 5143499"/>
              <a:gd name="connsiteX190" fmla="*/ 2094551 w 4819650"/>
              <a:gd name="connsiteY190"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017496 w 4819650"/>
              <a:gd name="connsiteY122" fmla="*/ 4442289 h 5143499"/>
              <a:gd name="connsiteX123" fmla="*/ 4036704 w 4819650"/>
              <a:gd name="connsiteY123" fmla="*/ 4442881 h 5143499"/>
              <a:gd name="connsiteX124" fmla="*/ 4055864 w 4819650"/>
              <a:gd name="connsiteY124" fmla="*/ 4442289 h 5143499"/>
              <a:gd name="connsiteX125" fmla="*/ 4055272 w 4819650"/>
              <a:gd name="connsiteY125" fmla="*/ 4461497 h 5143499"/>
              <a:gd name="connsiteX126" fmla="*/ 4055864 w 4819650"/>
              <a:gd name="connsiteY126" fmla="*/ 4480658 h 5143499"/>
              <a:gd name="connsiteX127" fmla="*/ 4036656 w 4819650"/>
              <a:gd name="connsiteY127" fmla="*/ 4480066 h 5143499"/>
              <a:gd name="connsiteX128" fmla="*/ 4017496 w 4819650"/>
              <a:gd name="connsiteY128" fmla="*/ 4480658 h 5143499"/>
              <a:gd name="connsiteX129" fmla="*/ 4018088 w 4819650"/>
              <a:gd name="connsiteY129" fmla="*/ 4461450 h 5143499"/>
              <a:gd name="connsiteX130" fmla="*/ 4017496 w 4819650"/>
              <a:gd name="connsiteY130" fmla="*/ 4442289 h 5143499"/>
              <a:gd name="connsiteX131" fmla="*/ 3966316 w 4819650"/>
              <a:gd name="connsiteY131" fmla="*/ 4391133 h 5143499"/>
              <a:gd name="connsiteX132" fmla="*/ 3966362 w 4819650"/>
              <a:gd name="connsiteY132" fmla="*/ 4391155 h 5143499"/>
              <a:gd name="connsiteX133" fmla="*/ 3966338 w 4819650"/>
              <a:gd name="connsiteY133" fmla="*/ 4391179 h 5143499"/>
              <a:gd name="connsiteX134" fmla="*/ 3966316 w 4819650"/>
              <a:gd name="connsiteY134" fmla="*/ 4391133 h 5143499"/>
              <a:gd name="connsiteX135" fmla="*/ 3915962 w 4819650"/>
              <a:gd name="connsiteY135" fmla="*/ 4340779 h 5143499"/>
              <a:gd name="connsiteX136" fmla="*/ 3946088 w 4819650"/>
              <a:gd name="connsiteY136" fmla="*/ 4349802 h 5143499"/>
              <a:gd name="connsiteX137" fmla="*/ 3966316 w 4819650"/>
              <a:gd name="connsiteY137" fmla="*/ 4391133 h 5143499"/>
              <a:gd name="connsiteX138" fmla="*/ 3925696 w 4819650"/>
              <a:gd name="connsiteY138" fmla="*/ 4371450 h 5143499"/>
              <a:gd name="connsiteX139" fmla="*/ 3924985 w 4819650"/>
              <a:gd name="connsiteY139" fmla="*/ 4370905 h 5143499"/>
              <a:gd name="connsiteX140" fmla="*/ 3910870 w 4819650"/>
              <a:gd name="connsiteY140" fmla="*/ 4350726 h 5143499"/>
              <a:gd name="connsiteX141" fmla="*/ 3915962 w 4819650"/>
              <a:gd name="connsiteY141" fmla="*/ 4340779 h 5143499"/>
              <a:gd name="connsiteX142" fmla="*/ 4147427 w 4819650"/>
              <a:gd name="connsiteY142" fmla="*/ 4335639 h 5143499"/>
              <a:gd name="connsiteX143" fmla="*/ 4157375 w 4819650"/>
              <a:gd name="connsiteY143" fmla="*/ 4340731 h 5143499"/>
              <a:gd name="connsiteX144" fmla="*/ 4162467 w 4819650"/>
              <a:gd name="connsiteY144" fmla="*/ 4350679 h 5143499"/>
              <a:gd name="connsiteX145" fmla="*/ 4148351 w 4819650"/>
              <a:gd name="connsiteY145" fmla="*/ 4370858 h 5143499"/>
              <a:gd name="connsiteX146" fmla="*/ 4147641 w 4819650"/>
              <a:gd name="connsiteY146" fmla="*/ 4371402 h 5143499"/>
              <a:gd name="connsiteX147" fmla="*/ 4106975 w 4819650"/>
              <a:gd name="connsiteY147" fmla="*/ 4391108 h 5143499"/>
              <a:gd name="connsiteX148" fmla="*/ 4126680 w 4819650"/>
              <a:gd name="connsiteY148" fmla="*/ 4350442 h 5143499"/>
              <a:gd name="connsiteX149" fmla="*/ 4126704 w 4819650"/>
              <a:gd name="connsiteY149" fmla="*/ 4350466 h 5143499"/>
              <a:gd name="connsiteX150" fmla="*/ 4127248 w 4819650"/>
              <a:gd name="connsiteY150" fmla="*/ 4349755 h 5143499"/>
              <a:gd name="connsiteX151" fmla="*/ 4147427 w 4819650"/>
              <a:gd name="connsiteY151" fmla="*/ 4335639 h 5143499"/>
              <a:gd name="connsiteX152" fmla="*/ 4011977 w 4819650"/>
              <a:gd name="connsiteY152" fmla="*/ 4399658 h 5143499"/>
              <a:gd name="connsiteX153" fmla="*/ 3899691 w 4819650"/>
              <a:gd name="connsiteY153" fmla="*/ 4404466 h 5143499"/>
              <a:gd name="connsiteX154" fmla="*/ 3974912 w 4819650"/>
              <a:gd name="connsiteY154" fmla="*/ 4436723 h 5143499"/>
              <a:gd name="connsiteX155" fmla="*/ 3976048 w 4819650"/>
              <a:gd name="connsiteY155" fmla="*/ 4461473 h 5143499"/>
              <a:gd name="connsiteX156" fmla="*/ 3974912 w 4819650"/>
              <a:gd name="connsiteY156" fmla="*/ 4486152 h 5143499"/>
              <a:gd name="connsiteX157" fmla="*/ 3899691 w 4819650"/>
              <a:gd name="connsiteY157" fmla="*/ 4518410 h 5143499"/>
              <a:gd name="connsiteX158" fmla="*/ 3868948 w 4819650"/>
              <a:gd name="connsiteY158" fmla="*/ 4568929 h 5143499"/>
              <a:gd name="connsiteX159" fmla="*/ 3886238 w 4819650"/>
              <a:gd name="connsiteY159" fmla="*/ 4611892 h 5143499"/>
              <a:gd name="connsiteX160" fmla="*/ 3929201 w 4819650"/>
              <a:gd name="connsiteY160" fmla="*/ 4629181 h 5143499"/>
              <a:gd name="connsiteX161" fmla="*/ 3979720 w 4819650"/>
              <a:gd name="connsiteY161" fmla="*/ 4598439 h 5143499"/>
              <a:gd name="connsiteX162" fmla="*/ 4011977 w 4819650"/>
              <a:gd name="connsiteY162" fmla="*/ 4523218 h 5143499"/>
              <a:gd name="connsiteX163" fmla="*/ 4036656 w 4819650"/>
              <a:gd name="connsiteY163" fmla="*/ 4522081 h 5143499"/>
              <a:gd name="connsiteX164" fmla="*/ 4061406 w 4819650"/>
              <a:gd name="connsiteY164" fmla="*/ 4523218 h 5143499"/>
              <a:gd name="connsiteX165" fmla="*/ 4093664 w 4819650"/>
              <a:gd name="connsiteY165" fmla="*/ 4598439 h 5143499"/>
              <a:gd name="connsiteX166" fmla="*/ 4144183 w 4819650"/>
              <a:gd name="connsiteY166" fmla="*/ 4629181 h 5143499"/>
              <a:gd name="connsiteX167" fmla="*/ 4187146 w 4819650"/>
              <a:gd name="connsiteY167" fmla="*/ 4611892 h 5143499"/>
              <a:gd name="connsiteX168" fmla="*/ 4204435 w 4819650"/>
              <a:gd name="connsiteY168" fmla="*/ 4568929 h 5143499"/>
              <a:gd name="connsiteX169" fmla="*/ 4173693 w 4819650"/>
              <a:gd name="connsiteY169" fmla="*/ 4518410 h 5143499"/>
              <a:gd name="connsiteX170" fmla="*/ 4098472 w 4819650"/>
              <a:gd name="connsiteY170" fmla="*/ 4486152 h 5143499"/>
              <a:gd name="connsiteX171" fmla="*/ 4097335 w 4819650"/>
              <a:gd name="connsiteY171" fmla="*/ 4461402 h 5143499"/>
              <a:gd name="connsiteX172" fmla="*/ 4098472 w 4819650"/>
              <a:gd name="connsiteY172" fmla="*/ 4436723 h 5143499"/>
              <a:gd name="connsiteX173" fmla="*/ 4173693 w 4819650"/>
              <a:gd name="connsiteY173" fmla="*/ 4404466 h 5143499"/>
              <a:gd name="connsiteX174" fmla="*/ 4204435 w 4819650"/>
              <a:gd name="connsiteY174" fmla="*/ 4353947 h 5143499"/>
              <a:gd name="connsiteX175" fmla="*/ 4187146 w 4819650"/>
              <a:gd name="connsiteY175" fmla="*/ 4310984 h 5143499"/>
              <a:gd name="connsiteX176" fmla="*/ 4144183 w 4819650"/>
              <a:gd name="connsiteY176" fmla="*/ 4293694 h 5143499"/>
              <a:gd name="connsiteX177" fmla="*/ 4093664 w 4819650"/>
              <a:gd name="connsiteY177" fmla="*/ 4324437 h 5143499"/>
              <a:gd name="connsiteX178" fmla="*/ 4061406 w 4819650"/>
              <a:gd name="connsiteY178" fmla="*/ 4399658 h 5143499"/>
              <a:gd name="connsiteX179" fmla="*/ 4036727 w 4819650"/>
              <a:gd name="connsiteY179" fmla="*/ 4400794 h 5143499"/>
              <a:gd name="connsiteX180" fmla="*/ 4011977 w 4819650"/>
              <a:gd name="connsiteY180" fmla="*/ 4399658 h 5143499"/>
              <a:gd name="connsiteX181" fmla="*/ 2094551 w 4819650"/>
              <a:gd name="connsiteY181" fmla="*/ 0 h 5143499"/>
              <a:gd name="connsiteX182" fmla="*/ 4819650 w 4819650"/>
              <a:gd name="connsiteY182" fmla="*/ 0 h 5143499"/>
              <a:gd name="connsiteX183" fmla="*/ 4819650 w 4819650"/>
              <a:gd name="connsiteY183" fmla="*/ 5143499 h 5143499"/>
              <a:gd name="connsiteX184" fmla="*/ 0 w 4819650"/>
              <a:gd name="connsiteY184" fmla="*/ 5143499 h 5143499"/>
              <a:gd name="connsiteX185" fmla="*/ 0 w 4819650"/>
              <a:gd name="connsiteY185" fmla="*/ 5143498 h 5143499"/>
              <a:gd name="connsiteX186" fmla="*/ 371745 w 4819650"/>
              <a:gd name="connsiteY186" fmla="*/ 5143498 h 5143499"/>
              <a:gd name="connsiteX187" fmla="*/ 1206499 w 4819650"/>
              <a:gd name="connsiteY187" fmla="*/ 1821610 h 5143499"/>
              <a:gd name="connsiteX188" fmla="*/ 2048326 w 4819650"/>
              <a:gd name="connsiteY188" fmla="*/ 58253 h 5143499"/>
              <a:gd name="connsiteX189" fmla="*/ 2094551 w 4819650"/>
              <a:gd name="connsiteY189"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017496 w 4819650"/>
              <a:gd name="connsiteY122" fmla="*/ 4442289 h 5143499"/>
              <a:gd name="connsiteX123" fmla="*/ 4036704 w 4819650"/>
              <a:gd name="connsiteY123" fmla="*/ 4442881 h 5143499"/>
              <a:gd name="connsiteX124" fmla="*/ 4055864 w 4819650"/>
              <a:gd name="connsiteY124" fmla="*/ 4442289 h 5143499"/>
              <a:gd name="connsiteX125" fmla="*/ 4055272 w 4819650"/>
              <a:gd name="connsiteY125" fmla="*/ 4461497 h 5143499"/>
              <a:gd name="connsiteX126" fmla="*/ 4055864 w 4819650"/>
              <a:gd name="connsiteY126" fmla="*/ 4480658 h 5143499"/>
              <a:gd name="connsiteX127" fmla="*/ 4036656 w 4819650"/>
              <a:gd name="connsiteY127" fmla="*/ 4480066 h 5143499"/>
              <a:gd name="connsiteX128" fmla="*/ 4017496 w 4819650"/>
              <a:gd name="connsiteY128" fmla="*/ 4480658 h 5143499"/>
              <a:gd name="connsiteX129" fmla="*/ 4018088 w 4819650"/>
              <a:gd name="connsiteY129" fmla="*/ 4461450 h 5143499"/>
              <a:gd name="connsiteX130" fmla="*/ 4017496 w 4819650"/>
              <a:gd name="connsiteY130" fmla="*/ 4442289 h 5143499"/>
              <a:gd name="connsiteX131" fmla="*/ 3966316 w 4819650"/>
              <a:gd name="connsiteY131" fmla="*/ 4391133 h 5143499"/>
              <a:gd name="connsiteX132" fmla="*/ 3966362 w 4819650"/>
              <a:gd name="connsiteY132" fmla="*/ 4391155 h 5143499"/>
              <a:gd name="connsiteX133" fmla="*/ 3966338 w 4819650"/>
              <a:gd name="connsiteY133" fmla="*/ 4391179 h 5143499"/>
              <a:gd name="connsiteX134" fmla="*/ 3966316 w 4819650"/>
              <a:gd name="connsiteY134" fmla="*/ 4391133 h 5143499"/>
              <a:gd name="connsiteX135" fmla="*/ 3910870 w 4819650"/>
              <a:gd name="connsiteY135" fmla="*/ 4350726 h 5143499"/>
              <a:gd name="connsiteX136" fmla="*/ 3946088 w 4819650"/>
              <a:gd name="connsiteY136" fmla="*/ 4349802 h 5143499"/>
              <a:gd name="connsiteX137" fmla="*/ 3966316 w 4819650"/>
              <a:gd name="connsiteY137" fmla="*/ 4391133 h 5143499"/>
              <a:gd name="connsiteX138" fmla="*/ 3925696 w 4819650"/>
              <a:gd name="connsiteY138" fmla="*/ 4371450 h 5143499"/>
              <a:gd name="connsiteX139" fmla="*/ 3924985 w 4819650"/>
              <a:gd name="connsiteY139" fmla="*/ 4370905 h 5143499"/>
              <a:gd name="connsiteX140" fmla="*/ 3910870 w 4819650"/>
              <a:gd name="connsiteY140" fmla="*/ 4350726 h 5143499"/>
              <a:gd name="connsiteX141" fmla="*/ 4147427 w 4819650"/>
              <a:gd name="connsiteY141" fmla="*/ 4335639 h 5143499"/>
              <a:gd name="connsiteX142" fmla="*/ 4157375 w 4819650"/>
              <a:gd name="connsiteY142" fmla="*/ 4340731 h 5143499"/>
              <a:gd name="connsiteX143" fmla="*/ 4162467 w 4819650"/>
              <a:gd name="connsiteY143" fmla="*/ 4350679 h 5143499"/>
              <a:gd name="connsiteX144" fmla="*/ 4148351 w 4819650"/>
              <a:gd name="connsiteY144" fmla="*/ 4370858 h 5143499"/>
              <a:gd name="connsiteX145" fmla="*/ 4147641 w 4819650"/>
              <a:gd name="connsiteY145" fmla="*/ 4371402 h 5143499"/>
              <a:gd name="connsiteX146" fmla="*/ 4106975 w 4819650"/>
              <a:gd name="connsiteY146" fmla="*/ 4391108 h 5143499"/>
              <a:gd name="connsiteX147" fmla="*/ 4126680 w 4819650"/>
              <a:gd name="connsiteY147" fmla="*/ 4350442 h 5143499"/>
              <a:gd name="connsiteX148" fmla="*/ 4126704 w 4819650"/>
              <a:gd name="connsiteY148" fmla="*/ 4350466 h 5143499"/>
              <a:gd name="connsiteX149" fmla="*/ 4127248 w 4819650"/>
              <a:gd name="connsiteY149" fmla="*/ 4349755 h 5143499"/>
              <a:gd name="connsiteX150" fmla="*/ 4147427 w 4819650"/>
              <a:gd name="connsiteY150" fmla="*/ 4335639 h 5143499"/>
              <a:gd name="connsiteX151" fmla="*/ 4011977 w 4819650"/>
              <a:gd name="connsiteY151" fmla="*/ 4399658 h 5143499"/>
              <a:gd name="connsiteX152" fmla="*/ 3899691 w 4819650"/>
              <a:gd name="connsiteY152" fmla="*/ 4404466 h 5143499"/>
              <a:gd name="connsiteX153" fmla="*/ 3974912 w 4819650"/>
              <a:gd name="connsiteY153" fmla="*/ 4436723 h 5143499"/>
              <a:gd name="connsiteX154" fmla="*/ 3976048 w 4819650"/>
              <a:gd name="connsiteY154" fmla="*/ 4461473 h 5143499"/>
              <a:gd name="connsiteX155" fmla="*/ 3974912 w 4819650"/>
              <a:gd name="connsiteY155" fmla="*/ 4486152 h 5143499"/>
              <a:gd name="connsiteX156" fmla="*/ 3899691 w 4819650"/>
              <a:gd name="connsiteY156" fmla="*/ 4518410 h 5143499"/>
              <a:gd name="connsiteX157" fmla="*/ 3868948 w 4819650"/>
              <a:gd name="connsiteY157" fmla="*/ 4568929 h 5143499"/>
              <a:gd name="connsiteX158" fmla="*/ 3886238 w 4819650"/>
              <a:gd name="connsiteY158" fmla="*/ 4611892 h 5143499"/>
              <a:gd name="connsiteX159" fmla="*/ 3929201 w 4819650"/>
              <a:gd name="connsiteY159" fmla="*/ 4629181 h 5143499"/>
              <a:gd name="connsiteX160" fmla="*/ 3979720 w 4819650"/>
              <a:gd name="connsiteY160" fmla="*/ 4598439 h 5143499"/>
              <a:gd name="connsiteX161" fmla="*/ 4011977 w 4819650"/>
              <a:gd name="connsiteY161" fmla="*/ 4523218 h 5143499"/>
              <a:gd name="connsiteX162" fmla="*/ 4036656 w 4819650"/>
              <a:gd name="connsiteY162" fmla="*/ 4522081 h 5143499"/>
              <a:gd name="connsiteX163" fmla="*/ 4061406 w 4819650"/>
              <a:gd name="connsiteY163" fmla="*/ 4523218 h 5143499"/>
              <a:gd name="connsiteX164" fmla="*/ 4093664 w 4819650"/>
              <a:gd name="connsiteY164" fmla="*/ 4598439 h 5143499"/>
              <a:gd name="connsiteX165" fmla="*/ 4144183 w 4819650"/>
              <a:gd name="connsiteY165" fmla="*/ 4629181 h 5143499"/>
              <a:gd name="connsiteX166" fmla="*/ 4187146 w 4819650"/>
              <a:gd name="connsiteY166" fmla="*/ 4611892 h 5143499"/>
              <a:gd name="connsiteX167" fmla="*/ 4204435 w 4819650"/>
              <a:gd name="connsiteY167" fmla="*/ 4568929 h 5143499"/>
              <a:gd name="connsiteX168" fmla="*/ 4173693 w 4819650"/>
              <a:gd name="connsiteY168" fmla="*/ 4518410 h 5143499"/>
              <a:gd name="connsiteX169" fmla="*/ 4098472 w 4819650"/>
              <a:gd name="connsiteY169" fmla="*/ 4486152 h 5143499"/>
              <a:gd name="connsiteX170" fmla="*/ 4097335 w 4819650"/>
              <a:gd name="connsiteY170" fmla="*/ 4461402 h 5143499"/>
              <a:gd name="connsiteX171" fmla="*/ 4098472 w 4819650"/>
              <a:gd name="connsiteY171" fmla="*/ 4436723 h 5143499"/>
              <a:gd name="connsiteX172" fmla="*/ 4173693 w 4819650"/>
              <a:gd name="connsiteY172" fmla="*/ 4404466 h 5143499"/>
              <a:gd name="connsiteX173" fmla="*/ 4204435 w 4819650"/>
              <a:gd name="connsiteY173" fmla="*/ 4353947 h 5143499"/>
              <a:gd name="connsiteX174" fmla="*/ 4187146 w 4819650"/>
              <a:gd name="connsiteY174" fmla="*/ 4310984 h 5143499"/>
              <a:gd name="connsiteX175" fmla="*/ 4144183 w 4819650"/>
              <a:gd name="connsiteY175" fmla="*/ 4293694 h 5143499"/>
              <a:gd name="connsiteX176" fmla="*/ 4093664 w 4819650"/>
              <a:gd name="connsiteY176" fmla="*/ 4324437 h 5143499"/>
              <a:gd name="connsiteX177" fmla="*/ 4061406 w 4819650"/>
              <a:gd name="connsiteY177" fmla="*/ 4399658 h 5143499"/>
              <a:gd name="connsiteX178" fmla="*/ 4036727 w 4819650"/>
              <a:gd name="connsiteY178" fmla="*/ 4400794 h 5143499"/>
              <a:gd name="connsiteX179" fmla="*/ 4011977 w 4819650"/>
              <a:gd name="connsiteY179" fmla="*/ 4399658 h 5143499"/>
              <a:gd name="connsiteX180" fmla="*/ 2094551 w 4819650"/>
              <a:gd name="connsiteY180" fmla="*/ 0 h 5143499"/>
              <a:gd name="connsiteX181" fmla="*/ 4819650 w 4819650"/>
              <a:gd name="connsiteY181" fmla="*/ 0 h 5143499"/>
              <a:gd name="connsiteX182" fmla="*/ 4819650 w 4819650"/>
              <a:gd name="connsiteY182" fmla="*/ 5143499 h 5143499"/>
              <a:gd name="connsiteX183" fmla="*/ 0 w 4819650"/>
              <a:gd name="connsiteY183" fmla="*/ 5143499 h 5143499"/>
              <a:gd name="connsiteX184" fmla="*/ 0 w 4819650"/>
              <a:gd name="connsiteY184" fmla="*/ 5143498 h 5143499"/>
              <a:gd name="connsiteX185" fmla="*/ 371745 w 4819650"/>
              <a:gd name="connsiteY185" fmla="*/ 5143498 h 5143499"/>
              <a:gd name="connsiteX186" fmla="*/ 1206499 w 4819650"/>
              <a:gd name="connsiteY186" fmla="*/ 1821610 h 5143499"/>
              <a:gd name="connsiteX187" fmla="*/ 2048326 w 4819650"/>
              <a:gd name="connsiteY187" fmla="*/ 58253 h 5143499"/>
              <a:gd name="connsiteX188" fmla="*/ 2094551 w 4819650"/>
              <a:gd name="connsiteY188"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017496 w 4819650"/>
              <a:gd name="connsiteY122" fmla="*/ 4442289 h 5143499"/>
              <a:gd name="connsiteX123" fmla="*/ 4036704 w 4819650"/>
              <a:gd name="connsiteY123" fmla="*/ 4442881 h 5143499"/>
              <a:gd name="connsiteX124" fmla="*/ 4055864 w 4819650"/>
              <a:gd name="connsiteY124" fmla="*/ 4442289 h 5143499"/>
              <a:gd name="connsiteX125" fmla="*/ 4055272 w 4819650"/>
              <a:gd name="connsiteY125" fmla="*/ 4461497 h 5143499"/>
              <a:gd name="connsiteX126" fmla="*/ 4055864 w 4819650"/>
              <a:gd name="connsiteY126" fmla="*/ 4480658 h 5143499"/>
              <a:gd name="connsiteX127" fmla="*/ 4036656 w 4819650"/>
              <a:gd name="connsiteY127" fmla="*/ 4480066 h 5143499"/>
              <a:gd name="connsiteX128" fmla="*/ 4017496 w 4819650"/>
              <a:gd name="connsiteY128" fmla="*/ 4480658 h 5143499"/>
              <a:gd name="connsiteX129" fmla="*/ 4018088 w 4819650"/>
              <a:gd name="connsiteY129" fmla="*/ 4461450 h 5143499"/>
              <a:gd name="connsiteX130" fmla="*/ 4017496 w 4819650"/>
              <a:gd name="connsiteY130" fmla="*/ 4442289 h 5143499"/>
              <a:gd name="connsiteX131" fmla="*/ 3966316 w 4819650"/>
              <a:gd name="connsiteY131" fmla="*/ 4391133 h 5143499"/>
              <a:gd name="connsiteX132" fmla="*/ 3966362 w 4819650"/>
              <a:gd name="connsiteY132" fmla="*/ 4391155 h 5143499"/>
              <a:gd name="connsiteX133" fmla="*/ 3966338 w 4819650"/>
              <a:gd name="connsiteY133" fmla="*/ 4391179 h 5143499"/>
              <a:gd name="connsiteX134" fmla="*/ 3966316 w 4819650"/>
              <a:gd name="connsiteY134" fmla="*/ 4391133 h 5143499"/>
              <a:gd name="connsiteX135" fmla="*/ 3924985 w 4819650"/>
              <a:gd name="connsiteY135" fmla="*/ 4370905 h 5143499"/>
              <a:gd name="connsiteX136" fmla="*/ 3946088 w 4819650"/>
              <a:gd name="connsiteY136" fmla="*/ 4349802 h 5143499"/>
              <a:gd name="connsiteX137" fmla="*/ 3966316 w 4819650"/>
              <a:gd name="connsiteY137" fmla="*/ 4391133 h 5143499"/>
              <a:gd name="connsiteX138" fmla="*/ 3925696 w 4819650"/>
              <a:gd name="connsiteY138" fmla="*/ 4371450 h 5143499"/>
              <a:gd name="connsiteX139" fmla="*/ 3924985 w 4819650"/>
              <a:gd name="connsiteY139" fmla="*/ 4370905 h 5143499"/>
              <a:gd name="connsiteX140" fmla="*/ 4147427 w 4819650"/>
              <a:gd name="connsiteY140" fmla="*/ 4335639 h 5143499"/>
              <a:gd name="connsiteX141" fmla="*/ 4157375 w 4819650"/>
              <a:gd name="connsiteY141" fmla="*/ 4340731 h 5143499"/>
              <a:gd name="connsiteX142" fmla="*/ 4162467 w 4819650"/>
              <a:gd name="connsiteY142" fmla="*/ 4350679 h 5143499"/>
              <a:gd name="connsiteX143" fmla="*/ 4148351 w 4819650"/>
              <a:gd name="connsiteY143" fmla="*/ 4370858 h 5143499"/>
              <a:gd name="connsiteX144" fmla="*/ 4147641 w 4819650"/>
              <a:gd name="connsiteY144" fmla="*/ 4371402 h 5143499"/>
              <a:gd name="connsiteX145" fmla="*/ 4106975 w 4819650"/>
              <a:gd name="connsiteY145" fmla="*/ 4391108 h 5143499"/>
              <a:gd name="connsiteX146" fmla="*/ 4126680 w 4819650"/>
              <a:gd name="connsiteY146" fmla="*/ 4350442 h 5143499"/>
              <a:gd name="connsiteX147" fmla="*/ 4126704 w 4819650"/>
              <a:gd name="connsiteY147" fmla="*/ 4350466 h 5143499"/>
              <a:gd name="connsiteX148" fmla="*/ 4127248 w 4819650"/>
              <a:gd name="connsiteY148" fmla="*/ 4349755 h 5143499"/>
              <a:gd name="connsiteX149" fmla="*/ 4147427 w 4819650"/>
              <a:gd name="connsiteY149" fmla="*/ 4335639 h 5143499"/>
              <a:gd name="connsiteX150" fmla="*/ 4011977 w 4819650"/>
              <a:gd name="connsiteY150" fmla="*/ 4399658 h 5143499"/>
              <a:gd name="connsiteX151" fmla="*/ 3899691 w 4819650"/>
              <a:gd name="connsiteY151" fmla="*/ 4404466 h 5143499"/>
              <a:gd name="connsiteX152" fmla="*/ 3974912 w 4819650"/>
              <a:gd name="connsiteY152" fmla="*/ 4436723 h 5143499"/>
              <a:gd name="connsiteX153" fmla="*/ 3976048 w 4819650"/>
              <a:gd name="connsiteY153" fmla="*/ 4461473 h 5143499"/>
              <a:gd name="connsiteX154" fmla="*/ 3974912 w 4819650"/>
              <a:gd name="connsiteY154" fmla="*/ 4486152 h 5143499"/>
              <a:gd name="connsiteX155" fmla="*/ 3899691 w 4819650"/>
              <a:gd name="connsiteY155" fmla="*/ 4518410 h 5143499"/>
              <a:gd name="connsiteX156" fmla="*/ 3868948 w 4819650"/>
              <a:gd name="connsiteY156" fmla="*/ 4568929 h 5143499"/>
              <a:gd name="connsiteX157" fmla="*/ 3886238 w 4819650"/>
              <a:gd name="connsiteY157" fmla="*/ 4611892 h 5143499"/>
              <a:gd name="connsiteX158" fmla="*/ 3929201 w 4819650"/>
              <a:gd name="connsiteY158" fmla="*/ 4629181 h 5143499"/>
              <a:gd name="connsiteX159" fmla="*/ 3979720 w 4819650"/>
              <a:gd name="connsiteY159" fmla="*/ 4598439 h 5143499"/>
              <a:gd name="connsiteX160" fmla="*/ 4011977 w 4819650"/>
              <a:gd name="connsiteY160" fmla="*/ 4523218 h 5143499"/>
              <a:gd name="connsiteX161" fmla="*/ 4036656 w 4819650"/>
              <a:gd name="connsiteY161" fmla="*/ 4522081 h 5143499"/>
              <a:gd name="connsiteX162" fmla="*/ 4061406 w 4819650"/>
              <a:gd name="connsiteY162" fmla="*/ 4523218 h 5143499"/>
              <a:gd name="connsiteX163" fmla="*/ 4093664 w 4819650"/>
              <a:gd name="connsiteY163" fmla="*/ 4598439 h 5143499"/>
              <a:gd name="connsiteX164" fmla="*/ 4144183 w 4819650"/>
              <a:gd name="connsiteY164" fmla="*/ 4629181 h 5143499"/>
              <a:gd name="connsiteX165" fmla="*/ 4187146 w 4819650"/>
              <a:gd name="connsiteY165" fmla="*/ 4611892 h 5143499"/>
              <a:gd name="connsiteX166" fmla="*/ 4204435 w 4819650"/>
              <a:gd name="connsiteY166" fmla="*/ 4568929 h 5143499"/>
              <a:gd name="connsiteX167" fmla="*/ 4173693 w 4819650"/>
              <a:gd name="connsiteY167" fmla="*/ 4518410 h 5143499"/>
              <a:gd name="connsiteX168" fmla="*/ 4098472 w 4819650"/>
              <a:gd name="connsiteY168" fmla="*/ 4486152 h 5143499"/>
              <a:gd name="connsiteX169" fmla="*/ 4097335 w 4819650"/>
              <a:gd name="connsiteY169" fmla="*/ 4461402 h 5143499"/>
              <a:gd name="connsiteX170" fmla="*/ 4098472 w 4819650"/>
              <a:gd name="connsiteY170" fmla="*/ 4436723 h 5143499"/>
              <a:gd name="connsiteX171" fmla="*/ 4173693 w 4819650"/>
              <a:gd name="connsiteY171" fmla="*/ 4404466 h 5143499"/>
              <a:gd name="connsiteX172" fmla="*/ 4204435 w 4819650"/>
              <a:gd name="connsiteY172" fmla="*/ 4353947 h 5143499"/>
              <a:gd name="connsiteX173" fmla="*/ 4187146 w 4819650"/>
              <a:gd name="connsiteY173" fmla="*/ 4310984 h 5143499"/>
              <a:gd name="connsiteX174" fmla="*/ 4144183 w 4819650"/>
              <a:gd name="connsiteY174" fmla="*/ 4293694 h 5143499"/>
              <a:gd name="connsiteX175" fmla="*/ 4093664 w 4819650"/>
              <a:gd name="connsiteY175" fmla="*/ 4324437 h 5143499"/>
              <a:gd name="connsiteX176" fmla="*/ 4061406 w 4819650"/>
              <a:gd name="connsiteY176" fmla="*/ 4399658 h 5143499"/>
              <a:gd name="connsiteX177" fmla="*/ 4036727 w 4819650"/>
              <a:gd name="connsiteY177" fmla="*/ 4400794 h 5143499"/>
              <a:gd name="connsiteX178" fmla="*/ 4011977 w 4819650"/>
              <a:gd name="connsiteY178" fmla="*/ 4399658 h 5143499"/>
              <a:gd name="connsiteX179" fmla="*/ 2094551 w 4819650"/>
              <a:gd name="connsiteY179" fmla="*/ 0 h 5143499"/>
              <a:gd name="connsiteX180" fmla="*/ 4819650 w 4819650"/>
              <a:gd name="connsiteY180" fmla="*/ 0 h 5143499"/>
              <a:gd name="connsiteX181" fmla="*/ 4819650 w 4819650"/>
              <a:gd name="connsiteY181" fmla="*/ 5143499 h 5143499"/>
              <a:gd name="connsiteX182" fmla="*/ 0 w 4819650"/>
              <a:gd name="connsiteY182" fmla="*/ 5143499 h 5143499"/>
              <a:gd name="connsiteX183" fmla="*/ 0 w 4819650"/>
              <a:gd name="connsiteY183" fmla="*/ 5143498 h 5143499"/>
              <a:gd name="connsiteX184" fmla="*/ 371745 w 4819650"/>
              <a:gd name="connsiteY184" fmla="*/ 5143498 h 5143499"/>
              <a:gd name="connsiteX185" fmla="*/ 1206499 w 4819650"/>
              <a:gd name="connsiteY185" fmla="*/ 1821610 h 5143499"/>
              <a:gd name="connsiteX186" fmla="*/ 2048326 w 4819650"/>
              <a:gd name="connsiteY186" fmla="*/ 58253 h 5143499"/>
              <a:gd name="connsiteX187" fmla="*/ 2094551 w 4819650"/>
              <a:gd name="connsiteY187"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017496 w 4819650"/>
              <a:gd name="connsiteY122" fmla="*/ 4442289 h 5143499"/>
              <a:gd name="connsiteX123" fmla="*/ 4036704 w 4819650"/>
              <a:gd name="connsiteY123" fmla="*/ 4442881 h 5143499"/>
              <a:gd name="connsiteX124" fmla="*/ 4055864 w 4819650"/>
              <a:gd name="connsiteY124" fmla="*/ 4442289 h 5143499"/>
              <a:gd name="connsiteX125" fmla="*/ 4055272 w 4819650"/>
              <a:gd name="connsiteY125" fmla="*/ 4461497 h 5143499"/>
              <a:gd name="connsiteX126" fmla="*/ 4055864 w 4819650"/>
              <a:gd name="connsiteY126" fmla="*/ 4480658 h 5143499"/>
              <a:gd name="connsiteX127" fmla="*/ 4036656 w 4819650"/>
              <a:gd name="connsiteY127" fmla="*/ 4480066 h 5143499"/>
              <a:gd name="connsiteX128" fmla="*/ 4017496 w 4819650"/>
              <a:gd name="connsiteY128" fmla="*/ 4480658 h 5143499"/>
              <a:gd name="connsiteX129" fmla="*/ 4018088 w 4819650"/>
              <a:gd name="connsiteY129" fmla="*/ 4461450 h 5143499"/>
              <a:gd name="connsiteX130" fmla="*/ 4017496 w 4819650"/>
              <a:gd name="connsiteY130" fmla="*/ 4442289 h 5143499"/>
              <a:gd name="connsiteX131" fmla="*/ 3966316 w 4819650"/>
              <a:gd name="connsiteY131" fmla="*/ 4391133 h 5143499"/>
              <a:gd name="connsiteX132" fmla="*/ 3966362 w 4819650"/>
              <a:gd name="connsiteY132" fmla="*/ 4391155 h 5143499"/>
              <a:gd name="connsiteX133" fmla="*/ 3966338 w 4819650"/>
              <a:gd name="connsiteY133" fmla="*/ 4391179 h 5143499"/>
              <a:gd name="connsiteX134" fmla="*/ 3966316 w 4819650"/>
              <a:gd name="connsiteY134" fmla="*/ 4391133 h 5143499"/>
              <a:gd name="connsiteX135" fmla="*/ 3924985 w 4819650"/>
              <a:gd name="connsiteY135" fmla="*/ 4370905 h 5143499"/>
              <a:gd name="connsiteX136" fmla="*/ 3966316 w 4819650"/>
              <a:gd name="connsiteY136" fmla="*/ 4391133 h 5143499"/>
              <a:gd name="connsiteX137" fmla="*/ 3925696 w 4819650"/>
              <a:gd name="connsiteY137" fmla="*/ 4371450 h 5143499"/>
              <a:gd name="connsiteX138" fmla="*/ 3924985 w 4819650"/>
              <a:gd name="connsiteY138" fmla="*/ 4370905 h 5143499"/>
              <a:gd name="connsiteX139" fmla="*/ 4147427 w 4819650"/>
              <a:gd name="connsiteY139" fmla="*/ 4335639 h 5143499"/>
              <a:gd name="connsiteX140" fmla="*/ 4157375 w 4819650"/>
              <a:gd name="connsiteY140" fmla="*/ 4340731 h 5143499"/>
              <a:gd name="connsiteX141" fmla="*/ 4162467 w 4819650"/>
              <a:gd name="connsiteY141" fmla="*/ 4350679 h 5143499"/>
              <a:gd name="connsiteX142" fmla="*/ 4148351 w 4819650"/>
              <a:gd name="connsiteY142" fmla="*/ 4370858 h 5143499"/>
              <a:gd name="connsiteX143" fmla="*/ 4147641 w 4819650"/>
              <a:gd name="connsiteY143" fmla="*/ 4371402 h 5143499"/>
              <a:gd name="connsiteX144" fmla="*/ 4106975 w 4819650"/>
              <a:gd name="connsiteY144" fmla="*/ 4391108 h 5143499"/>
              <a:gd name="connsiteX145" fmla="*/ 4126680 w 4819650"/>
              <a:gd name="connsiteY145" fmla="*/ 4350442 h 5143499"/>
              <a:gd name="connsiteX146" fmla="*/ 4126704 w 4819650"/>
              <a:gd name="connsiteY146" fmla="*/ 4350466 h 5143499"/>
              <a:gd name="connsiteX147" fmla="*/ 4127248 w 4819650"/>
              <a:gd name="connsiteY147" fmla="*/ 4349755 h 5143499"/>
              <a:gd name="connsiteX148" fmla="*/ 4147427 w 4819650"/>
              <a:gd name="connsiteY148" fmla="*/ 4335639 h 5143499"/>
              <a:gd name="connsiteX149" fmla="*/ 4011977 w 4819650"/>
              <a:gd name="connsiteY149" fmla="*/ 4399658 h 5143499"/>
              <a:gd name="connsiteX150" fmla="*/ 3899691 w 4819650"/>
              <a:gd name="connsiteY150" fmla="*/ 4404466 h 5143499"/>
              <a:gd name="connsiteX151" fmla="*/ 3974912 w 4819650"/>
              <a:gd name="connsiteY151" fmla="*/ 4436723 h 5143499"/>
              <a:gd name="connsiteX152" fmla="*/ 3976048 w 4819650"/>
              <a:gd name="connsiteY152" fmla="*/ 4461473 h 5143499"/>
              <a:gd name="connsiteX153" fmla="*/ 3974912 w 4819650"/>
              <a:gd name="connsiteY153" fmla="*/ 4486152 h 5143499"/>
              <a:gd name="connsiteX154" fmla="*/ 3899691 w 4819650"/>
              <a:gd name="connsiteY154" fmla="*/ 4518410 h 5143499"/>
              <a:gd name="connsiteX155" fmla="*/ 3868948 w 4819650"/>
              <a:gd name="connsiteY155" fmla="*/ 4568929 h 5143499"/>
              <a:gd name="connsiteX156" fmla="*/ 3886238 w 4819650"/>
              <a:gd name="connsiteY156" fmla="*/ 4611892 h 5143499"/>
              <a:gd name="connsiteX157" fmla="*/ 3929201 w 4819650"/>
              <a:gd name="connsiteY157" fmla="*/ 4629181 h 5143499"/>
              <a:gd name="connsiteX158" fmla="*/ 3979720 w 4819650"/>
              <a:gd name="connsiteY158" fmla="*/ 4598439 h 5143499"/>
              <a:gd name="connsiteX159" fmla="*/ 4011977 w 4819650"/>
              <a:gd name="connsiteY159" fmla="*/ 4523218 h 5143499"/>
              <a:gd name="connsiteX160" fmla="*/ 4036656 w 4819650"/>
              <a:gd name="connsiteY160" fmla="*/ 4522081 h 5143499"/>
              <a:gd name="connsiteX161" fmla="*/ 4061406 w 4819650"/>
              <a:gd name="connsiteY161" fmla="*/ 4523218 h 5143499"/>
              <a:gd name="connsiteX162" fmla="*/ 4093664 w 4819650"/>
              <a:gd name="connsiteY162" fmla="*/ 4598439 h 5143499"/>
              <a:gd name="connsiteX163" fmla="*/ 4144183 w 4819650"/>
              <a:gd name="connsiteY163" fmla="*/ 4629181 h 5143499"/>
              <a:gd name="connsiteX164" fmla="*/ 4187146 w 4819650"/>
              <a:gd name="connsiteY164" fmla="*/ 4611892 h 5143499"/>
              <a:gd name="connsiteX165" fmla="*/ 4204435 w 4819650"/>
              <a:gd name="connsiteY165" fmla="*/ 4568929 h 5143499"/>
              <a:gd name="connsiteX166" fmla="*/ 4173693 w 4819650"/>
              <a:gd name="connsiteY166" fmla="*/ 4518410 h 5143499"/>
              <a:gd name="connsiteX167" fmla="*/ 4098472 w 4819650"/>
              <a:gd name="connsiteY167" fmla="*/ 4486152 h 5143499"/>
              <a:gd name="connsiteX168" fmla="*/ 4097335 w 4819650"/>
              <a:gd name="connsiteY168" fmla="*/ 4461402 h 5143499"/>
              <a:gd name="connsiteX169" fmla="*/ 4098472 w 4819650"/>
              <a:gd name="connsiteY169" fmla="*/ 4436723 h 5143499"/>
              <a:gd name="connsiteX170" fmla="*/ 4173693 w 4819650"/>
              <a:gd name="connsiteY170" fmla="*/ 4404466 h 5143499"/>
              <a:gd name="connsiteX171" fmla="*/ 4204435 w 4819650"/>
              <a:gd name="connsiteY171" fmla="*/ 4353947 h 5143499"/>
              <a:gd name="connsiteX172" fmla="*/ 4187146 w 4819650"/>
              <a:gd name="connsiteY172" fmla="*/ 4310984 h 5143499"/>
              <a:gd name="connsiteX173" fmla="*/ 4144183 w 4819650"/>
              <a:gd name="connsiteY173" fmla="*/ 4293694 h 5143499"/>
              <a:gd name="connsiteX174" fmla="*/ 4093664 w 4819650"/>
              <a:gd name="connsiteY174" fmla="*/ 4324437 h 5143499"/>
              <a:gd name="connsiteX175" fmla="*/ 4061406 w 4819650"/>
              <a:gd name="connsiteY175" fmla="*/ 4399658 h 5143499"/>
              <a:gd name="connsiteX176" fmla="*/ 4036727 w 4819650"/>
              <a:gd name="connsiteY176" fmla="*/ 4400794 h 5143499"/>
              <a:gd name="connsiteX177" fmla="*/ 4011977 w 4819650"/>
              <a:gd name="connsiteY177" fmla="*/ 4399658 h 5143499"/>
              <a:gd name="connsiteX178" fmla="*/ 2094551 w 4819650"/>
              <a:gd name="connsiteY178" fmla="*/ 0 h 5143499"/>
              <a:gd name="connsiteX179" fmla="*/ 4819650 w 4819650"/>
              <a:gd name="connsiteY179" fmla="*/ 0 h 5143499"/>
              <a:gd name="connsiteX180" fmla="*/ 4819650 w 4819650"/>
              <a:gd name="connsiteY180" fmla="*/ 5143499 h 5143499"/>
              <a:gd name="connsiteX181" fmla="*/ 0 w 4819650"/>
              <a:gd name="connsiteY181" fmla="*/ 5143499 h 5143499"/>
              <a:gd name="connsiteX182" fmla="*/ 0 w 4819650"/>
              <a:gd name="connsiteY182" fmla="*/ 5143498 h 5143499"/>
              <a:gd name="connsiteX183" fmla="*/ 371745 w 4819650"/>
              <a:gd name="connsiteY183" fmla="*/ 5143498 h 5143499"/>
              <a:gd name="connsiteX184" fmla="*/ 1206499 w 4819650"/>
              <a:gd name="connsiteY184" fmla="*/ 1821610 h 5143499"/>
              <a:gd name="connsiteX185" fmla="*/ 2048326 w 4819650"/>
              <a:gd name="connsiteY185" fmla="*/ 58253 h 5143499"/>
              <a:gd name="connsiteX186" fmla="*/ 2094551 w 4819650"/>
              <a:gd name="connsiteY186"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017496 w 4819650"/>
              <a:gd name="connsiteY122" fmla="*/ 4442289 h 5143499"/>
              <a:gd name="connsiteX123" fmla="*/ 4036704 w 4819650"/>
              <a:gd name="connsiteY123" fmla="*/ 4442881 h 5143499"/>
              <a:gd name="connsiteX124" fmla="*/ 4055864 w 4819650"/>
              <a:gd name="connsiteY124" fmla="*/ 4442289 h 5143499"/>
              <a:gd name="connsiteX125" fmla="*/ 4055272 w 4819650"/>
              <a:gd name="connsiteY125" fmla="*/ 4461497 h 5143499"/>
              <a:gd name="connsiteX126" fmla="*/ 4055864 w 4819650"/>
              <a:gd name="connsiteY126" fmla="*/ 4480658 h 5143499"/>
              <a:gd name="connsiteX127" fmla="*/ 4036656 w 4819650"/>
              <a:gd name="connsiteY127" fmla="*/ 4480066 h 5143499"/>
              <a:gd name="connsiteX128" fmla="*/ 4017496 w 4819650"/>
              <a:gd name="connsiteY128" fmla="*/ 4480658 h 5143499"/>
              <a:gd name="connsiteX129" fmla="*/ 4018088 w 4819650"/>
              <a:gd name="connsiteY129" fmla="*/ 4461450 h 5143499"/>
              <a:gd name="connsiteX130" fmla="*/ 4017496 w 4819650"/>
              <a:gd name="connsiteY130" fmla="*/ 4442289 h 5143499"/>
              <a:gd name="connsiteX131" fmla="*/ 3966316 w 4819650"/>
              <a:gd name="connsiteY131" fmla="*/ 4391133 h 5143499"/>
              <a:gd name="connsiteX132" fmla="*/ 3966362 w 4819650"/>
              <a:gd name="connsiteY132" fmla="*/ 4391155 h 5143499"/>
              <a:gd name="connsiteX133" fmla="*/ 3966338 w 4819650"/>
              <a:gd name="connsiteY133" fmla="*/ 4391179 h 5143499"/>
              <a:gd name="connsiteX134" fmla="*/ 3966316 w 4819650"/>
              <a:gd name="connsiteY134" fmla="*/ 4391133 h 5143499"/>
              <a:gd name="connsiteX135" fmla="*/ 3925696 w 4819650"/>
              <a:gd name="connsiteY135" fmla="*/ 4371450 h 5143499"/>
              <a:gd name="connsiteX136" fmla="*/ 3966316 w 4819650"/>
              <a:gd name="connsiteY136" fmla="*/ 4391133 h 5143499"/>
              <a:gd name="connsiteX137" fmla="*/ 3925696 w 4819650"/>
              <a:gd name="connsiteY137" fmla="*/ 4371450 h 5143499"/>
              <a:gd name="connsiteX138" fmla="*/ 4147427 w 4819650"/>
              <a:gd name="connsiteY138" fmla="*/ 4335639 h 5143499"/>
              <a:gd name="connsiteX139" fmla="*/ 4157375 w 4819650"/>
              <a:gd name="connsiteY139" fmla="*/ 4340731 h 5143499"/>
              <a:gd name="connsiteX140" fmla="*/ 4162467 w 4819650"/>
              <a:gd name="connsiteY140" fmla="*/ 4350679 h 5143499"/>
              <a:gd name="connsiteX141" fmla="*/ 4148351 w 4819650"/>
              <a:gd name="connsiteY141" fmla="*/ 4370858 h 5143499"/>
              <a:gd name="connsiteX142" fmla="*/ 4147641 w 4819650"/>
              <a:gd name="connsiteY142" fmla="*/ 4371402 h 5143499"/>
              <a:gd name="connsiteX143" fmla="*/ 4106975 w 4819650"/>
              <a:gd name="connsiteY143" fmla="*/ 4391108 h 5143499"/>
              <a:gd name="connsiteX144" fmla="*/ 4126680 w 4819650"/>
              <a:gd name="connsiteY144" fmla="*/ 4350442 h 5143499"/>
              <a:gd name="connsiteX145" fmla="*/ 4126704 w 4819650"/>
              <a:gd name="connsiteY145" fmla="*/ 4350466 h 5143499"/>
              <a:gd name="connsiteX146" fmla="*/ 4127248 w 4819650"/>
              <a:gd name="connsiteY146" fmla="*/ 4349755 h 5143499"/>
              <a:gd name="connsiteX147" fmla="*/ 4147427 w 4819650"/>
              <a:gd name="connsiteY147" fmla="*/ 4335639 h 5143499"/>
              <a:gd name="connsiteX148" fmla="*/ 4011977 w 4819650"/>
              <a:gd name="connsiteY148" fmla="*/ 4399658 h 5143499"/>
              <a:gd name="connsiteX149" fmla="*/ 3899691 w 4819650"/>
              <a:gd name="connsiteY149" fmla="*/ 4404466 h 5143499"/>
              <a:gd name="connsiteX150" fmla="*/ 3974912 w 4819650"/>
              <a:gd name="connsiteY150" fmla="*/ 4436723 h 5143499"/>
              <a:gd name="connsiteX151" fmla="*/ 3976048 w 4819650"/>
              <a:gd name="connsiteY151" fmla="*/ 4461473 h 5143499"/>
              <a:gd name="connsiteX152" fmla="*/ 3974912 w 4819650"/>
              <a:gd name="connsiteY152" fmla="*/ 4486152 h 5143499"/>
              <a:gd name="connsiteX153" fmla="*/ 3899691 w 4819650"/>
              <a:gd name="connsiteY153" fmla="*/ 4518410 h 5143499"/>
              <a:gd name="connsiteX154" fmla="*/ 3868948 w 4819650"/>
              <a:gd name="connsiteY154" fmla="*/ 4568929 h 5143499"/>
              <a:gd name="connsiteX155" fmla="*/ 3886238 w 4819650"/>
              <a:gd name="connsiteY155" fmla="*/ 4611892 h 5143499"/>
              <a:gd name="connsiteX156" fmla="*/ 3929201 w 4819650"/>
              <a:gd name="connsiteY156" fmla="*/ 4629181 h 5143499"/>
              <a:gd name="connsiteX157" fmla="*/ 3979720 w 4819650"/>
              <a:gd name="connsiteY157" fmla="*/ 4598439 h 5143499"/>
              <a:gd name="connsiteX158" fmla="*/ 4011977 w 4819650"/>
              <a:gd name="connsiteY158" fmla="*/ 4523218 h 5143499"/>
              <a:gd name="connsiteX159" fmla="*/ 4036656 w 4819650"/>
              <a:gd name="connsiteY159" fmla="*/ 4522081 h 5143499"/>
              <a:gd name="connsiteX160" fmla="*/ 4061406 w 4819650"/>
              <a:gd name="connsiteY160" fmla="*/ 4523218 h 5143499"/>
              <a:gd name="connsiteX161" fmla="*/ 4093664 w 4819650"/>
              <a:gd name="connsiteY161" fmla="*/ 4598439 h 5143499"/>
              <a:gd name="connsiteX162" fmla="*/ 4144183 w 4819650"/>
              <a:gd name="connsiteY162" fmla="*/ 4629181 h 5143499"/>
              <a:gd name="connsiteX163" fmla="*/ 4187146 w 4819650"/>
              <a:gd name="connsiteY163" fmla="*/ 4611892 h 5143499"/>
              <a:gd name="connsiteX164" fmla="*/ 4204435 w 4819650"/>
              <a:gd name="connsiteY164" fmla="*/ 4568929 h 5143499"/>
              <a:gd name="connsiteX165" fmla="*/ 4173693 w 4819650"/>
              <a:gd name="connsiteY165" fmla="*/ 4518410 h 5143499"/>
              <a:gd name="connsiteX166" fmla="*/ 4098472 w 4819650"/>
              <a:gd name="connsiteY166" fmla="*/ 4486152 h 5143499"/>
              <a:gd name="connsiteX167" fmla="*/ 4097335 w 4819650"/>
              <a:gd name="connsiteY167" fmla="*/ 4461402 h 5143499"/>
              <a:gd name="connsiteX168" fmla="*/ 4098472 w 4819650"/>
              <a:gd name="connsiteY168" fmla="*/ 4436723 h 5143499"/>
              <a:gd name="connsiteX169" fmla="*/ 4173693 w 4819650"/>
              <a:gd name="connsiteY169" fmla="*/ 4404466 h 5143499"/>
              <a:gd name="connsiteX170" fmla="*/ 4204435 w 4819650"/>
              <a:gd name="connsiteY170" fmla="*/ 4353947 h 5143499"/>
              <a:gd name="connsiteX171" fmla="*/ 4187146 w 4819650"/>
              <a:gd name="connsiteY171" fmla="*/ 4310984 h 5143499"/>
              <a:gd name="connsiteX172" fmla="*/ 4144183 w 4819650"/>
              <a:gd name="connsiteY172" fmla="*/ 4293694 h 5143499"/>
              <a:gd name="connsiteX173" fmla="*/ 4093664 w 4819650"/>
              <a:gd name="connsiteY173" fmla="*/ 4324437 h 5143499"/>
              <a:gd name="connsiteX174" fmla="*/ 4061406 w 4819650"/>
              <a:gd name="connsiteY174" fmla="*/ 4399658 h 5143499"/>
              <a:gd name="connsiteX175" fmla="*/ 4036727 w 4819650"/>
              <a:gd name="connsiteY175" fmla="*/ 4400794 h 5143499"/>
              <a:gd name="connsiteX176" fmla="*/ 4011977 w 4819650"/>
              <a:gd name="connsiteY176" fmla="*/ 4399658 h 5143499"/>
              <a:gd name="connsiteX177" fmla="*/ 2094551 w 4819650"/>
              <a:gd name="connsiteY177" fmla="*/ 0 h 5143499"/>
              <a:gd name="connsiteX178" fmla="*/ 4819650 w 4819650"/>
              <a:gd name="connsiteY178" fmla="*/ 0 h 5143499"/>
              <a:gd name="connsiteX179" fmla="*/ 4819650 w 4819650"/>
              <a:gd name="connsiteY179" fmla="*/ 5143499 h 5143499"/>
              <a:gd name="connsiteX180" fmla="*/ 0 w 4819650"/>
              <a:gd name="connsiteY180" fmla="*/ 5143499 h 5143499"/>
              <a:gd name="connsiteX181" fmla="*/ 0 w 4819650"/>
              <a:gd name="connsiteY181" fmla="*/ 5143498 h 5143499"/>
              <a:gd name="connsiteX182" fmla="*/ 371745 w 4819650"/>
              <a:gd name="connsiteY182" fmla="*/ 5143498 h 5143499"/>
              <a:gd name="connsiteX183" fmla="*/ 1206499 w 4819650"/>
              <a:gd name="connsiteY183" fmla="*/ 1821610 h 5143499"/>
              <a:gd name="connsiteX184" fmla="*/ 2048326 w 4819650"/>
              <a:gd name="connsiteY184" fmla="*/ 58253 h 5143499"/>
              <a:gd name="connsiteX185" fmla="*/ 2094551 w 4819650"/>
              <a:gd name="connsiteY185"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017496 w 4819650"/>
              <a:gd name="connsiteY122" fmla="*/ 4442289 h 5143499"/>
              <a:gd name="connsiteX123" fmla="*/ 4036704 w 4819650"/>
              <a:gd name="connsiteY123" fmla="*/ 4442881 h 5143499"/>
              <a:gd name="connsiteX124" fmla="*/ 4055864 w 4819650"/>
              <a:gd name="connsiteY124" fmla="*/ 4442289 h 5143499"/>
              <a:gd name="connsiteX125" fmla="*/ 4055272 w 4819650"/>
              <a:gd name="connsiteY125" fmla="*/ 4461497 h 5143499"/>
              <a:gd name="connsiteX126" fmla="*/ 4055864 w 4819650"/>
              <a:gd name="connsiteY126" fmla="*/ 4480658 h 5143499"/>
              <a:gd name="connsiteX127" fmla="*/ 4036656 w 4819650"/>
              <a:gd name="connsiteY127" fmla="*/ 4480066 h 5143499"/>
              <a:gd name="connsiteX128" fmla="*/ 4017496 w 4819650"/>
              <a:gd name="connsiteY128" fmla="*/ 4480658 h 5143499"/>
              <a:gd name="connsiteX129" fmla="*/ 4018088 w 4819650"/>
              <a:gd name="connsiteY129" fmla="*/ 4461450 h 5143499"/>
              <a:gd name="connsiteX130" fmla="*/ 4017496 w 4819650"/>
              <a:gd name="connsiteY130" fmla="*/ 4442289 h 5143499"/>
              <a:gd name="connsiteX131" fmla="*/ 3966316 w 4819650"/>
              <a:gd name="connsiteY131" fmla="*/ 4391133 h 5143499"/>
              <a:gd name="connsiteX132" fmla="*/ 3966362 w 4819650"/>
              <a:gd name="connsiteY132" fmla="*/ 4391155 h 5143499"/>
              <a:gd name="connsiteX133" fmla="*/ 3966338 w 4819650"/>
              <a:gd name="connsiteY133" fmla="*/ 4391179 h 5143499"/>
              <a:gd name="connsiteX134" fmla="*/ 3966316 w 4819650"/>
              <a:gd name="connsiteY134" fmla="*/ 4391133 h 5143499"/>
              <a:gd name="connsiteX135" fmla="*/ 4147427 w 4819650"/>
              <a:gd name="connsiteY135" fmla="*/ 4335639 h 5143499"/>
              <a:gd name="connsiteX136" fmla="*/ 4157375 w 4819650"/>
              <a:gd name="connsiteY136" fmla="*/ 4340731 h 5143499"/>
              <a:gd name="connsiteX137" fmla="*/ 4162467 w 4819650"/>
              <a:gd name="connsiteY137" fmla="*/ 4350679 h 5143499"/>
              <a:gd name="connsiteX138" fmla="*/ 4148351 w 4819650"/>
              <a:gd name="connsiteY138" fmla="*/ 4370858 h 5143499"/>
              <a:gd name="connsiteX139" fmla="*/ 4147641 w 4819650"/>
              <a:gd name="connsiteY139" fmla="*/ 4371402 h 5143499"/>
              <a:gd name="connsiteX140" fmla="*/ 4106975 w 4819650"/>
              <a:gd name="connsiteY140" fmla="*/ 4391108 h 5143499"/>
              <a:gd name="connsiteX141" fmla="*/ 4126680 w 4819650"/>
              <a:gd name="connsiteY141" fmla="*/ 4350442 h 5143499"/>
              <a:gd name="connsiteX142" fmla="*/ 4126704 w 4819650"/>
              <a:gd name="connsiteY142" fmla="*/ 4350466 h 5143499"/>
              <a:gd name="connsiteX143" fmla="*/ 4127248 w 4819650"/>
              <a:gd name="connsiteY143" fmla="*/ 4349755 h 5143499"/>
              <a:gd name="connsiteX144" fmla="*/ 4147427 w 4819650"/>
              <a:gd name="connsiteY144" fmla="*/ 4335639 h 5143499"/>
              <a:gd name="connsiteX145" fmla="*/ 4011977 w 4819650"/>
              <a:gd name="connsiteY145" fmla="*/ 4399658 h 5143499"/>
              <a:gd name="connsiteX146" fmla="*/ 3899691 w 4819650"/>
              <a:gd name="connsiteY146" fmla="*/ 4404466 h 5143499"/>
              <a:gd name="connsiteX147" fmla="*/ 3974912 w 4819650"/>
              <a:gd name="connsiteY147" fmla="*/ 4436723 h 5143499"/>
              <a:gd name="connsiteX148" fmla="*/ 3976048 w 4819650"/>
              <a:gd name="connsiteY148" fmla="*/ 4461473 h 5143499"/>
              <a:gd name="connsiteX149" fmla="*/ 3974912 w 4819650"/>
              <a:gd name="connsiteY149" fmla="*/ 4486152 h 5143499"/>
              <a:gd name="connsiteX150" fmla="*/ 3899691 w 4819650"/>
              <a:gd name="connsiteY150" fmla="*/ 4518410 h 5143499"/>
              <a:gd name="connsiteX151" fmla="*/ 3868948 w 4819650"/>
              <a:gd name="connsiteY151" fmla="*/ 4568929 h 5143499"/>
              <a:gd name="connsiteX152" fmla="*/ 3886238 w 4819650"/>
              <a:gd name="connsiteY152" fmla="*/ 4611892 h 5143499"/>
              <a:gd name="connsiteX153" fmla="*/ 3929201 w 4819650"/>
              <a:gd name="connsiteY153" fmla="*/ 4629181 h 5143499"/>
              <a:gd name="connsiteX154" fmla="*/ 3979720 w 4819650"/>
              <a:gd name="connsiteY154" fmla="*/ 4598439 h 5143499"/>
              <a:gd name="connsiteX155" fmla="*/ 4011977 w 4819650"/>
              <a:gd name="connsiteY155" fmla="*/ 4523218 h 5143499"/>
              <a:gd name="connsiteX156" fmla="*/ 4036656 w 4819650"/>
              <a:gd name="connsiteY156" fmla="*/ 4522081 h 5143499"/>
              <a:gd name="connsiteX157" fmla="*/ 4061406 w 4819650"/>
              <a:gd name="connsiteY157" fmla="*/ 4523218 h 5143499"/>
              <a:gd name="connsiteX158" fmla="*/ 4093664 w 4819650"/>
              <a:gd name="connsiteY158" fmla="*/ 4598439 h 5143499"/>
              <a:gd name="connsiteX159" fmla="*/ 4144183 w 4819650"/>
              <a:gd name="connsiteY159" fmla="*/ 4629181 h 5143499"/>
              <a:gd name="connsiteX160" fmla="*/ 4187146 w 4819650"/>
              <a:gd name="connsiteY160" fmla="*/ 4611892 h 5143499"/>
              <a:gd name="connsiteX161" fmla="*/ 4204435 w 4819650"/>
              <a:gd name="connsiteY161" fmla="*/ 4568929 h 5143499"/>
              <a:gd name="connsiteX162" fmla="*/ 4173693 w 4819650"/>
              <a:gd name="connsiteY162" fmla="*/ 4518410 h 5143499"/>
              <a:gd name="connsiteX163" fmla="*/ 4098472 w 4819650"/>
              <a:gd name="connsiteY163" fmla="*/ 4486152 h 5143499"/>
              <a:gd name="connsiteX164" fmla="*/ 4097335 w 4819650"/>
              <a:gd name="connsiteY164" fmla="*/ 4461402 h 5143499"/>
              <a:gd name="connsiteX165" fmla="*/ 4098472 w 4819650"/>
              <a:gd name="connsiteY165" fmla="*/ 4436723 h 5143499"/>
              <a:gd name="connsiteX166" fmla="*/ 4173693 w 4819650"/>
              <a:gd name="connsiteY166" fmla="*/ 4404466 h 5143499"/>
              <a:gd name="connsiteX167" fmla="*/ 4204435 w 4819650"/>
              <a:gd name="connsiteY167" fmla="*/ 4353947 h 5143499"/>
              <a:gd name="connsiteX168" fmla="*/ 4187146 w 4819650"/>
              <a:gd name="connsiteY168" fmla="*/ 4310984 h 5143499"/>
              <a:gd name="connsiteX169" fmla="*/ 4144183 w 4819650"/>
              <a:gd name="connsiteY169" fmla="*/ 4293694 h 5143499"/>
              <a:gd name="connsiteX170" fmla="*/ 4093664 w 4819650"/>
              <a:gd name="connsiteY170" fmla="*/ 4324437 h 5143499"/>
              <a:gd name="connsiteX171" fmla="*/ 4061406 w 4819650"/>
              <a:gd name="connsiteY171" fmla="*/ 4399658 h 5143499"/>
              <a:gd name="connsiteX172" fmla="*/ 4036727 w 4819650"/>
              <a:gd name="connsiteY172" fmla="*/ 4400794 h 5143499"/>
              <a:gd name="connsiteX173" fmla="*/ 4011977 w 4819650"/>
              <a:gd name="connsiteY173" fmla="*/ 4399658 h 5143499"/>
              <a:gd name="connsiteX174" fmla="*/ 2094551 w 4819650"/>
              <a:gd name="connsiteY174" fmla="*/ 0 h 5143499"/>
              <a:gd name="connsiteX175" fmla="*/ 4819650 w 4819650"/>
              <a:gd name="connsiteY175" fmla="*/ 0 h 5143499"/>
              <a:gd name="connsiteX176" fmla="*/ 4819650 w 4819650"/>
              <a:gd name="connsiteY176" fmla="*/ 5143499 h 5143499"/>
              <a:gd name="connsiteX177" fmla="*/ 0 w 4819650"/>
              <a:gd name="connsiteY177" fmla="*/ 5143499 h 5143499"/>
              <a:gd name="connsiteX178" fmla="*/ 0 w 4819650"/>
              <a:gd name="connsiteY178" fmla="*/ 5143498 h 5143499"/>
              <a:gd name="connsiteX179" fmla="*/ 371745 w 4819650"/>
              <a:gd name="connsiteY179" fmla="*/ 5143498 h 5143499"/>
              <a:gd name="connsiteX180" fmla="*/ 1206499 w 4819650"/>
              <a:gd name="connsiteY180" fmla="*/ 1821610 h 5143499"/>
              <a:gd name="connsiteX181" fmla="*/ 2048326 w 4819650"/>
              <a:gd name="connsiteY181" fmla="*/ 58253 h 5143499"/>
              <a:gd name="connsiteX182" fmla="*/ 2094551 w 4819650"/>
              <a:gd name="connsiteY182"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017496 w 4819650"/>
              <a:gd name="connsiteY122" fmla="*/ 4442289 h 5143499"/>
              <a:gd name="connsiteX123" fmla="*/ 4036704 w 4819650"/>
              <a:gd name="connsiteY123" fmla="*/ 4442881 h 5143499"/>
              <a:gd name="connsiteX124" fmla="*/ 4055864 w 4819650"/>
              <a:gd name="connsiteY124" fmla="*/ 4442289 h 5143499"/>
              <a:gd name="connsiteX125" fmla="*/ 4055272 w 4819650"/>
              <a:gd name="connsiteY125" fmla="*/ 4461497 h 5143499"/>
              <a:gd name="connsiteX126" fmla="*/ 4055864 w 4819650"/>
              <a:gd name="connsiteY126" fmla="*/ 4480658 h 5143499"/>
              <a:gd name="connsiteX127" fmla="*/ 4036656 w 4819650"/>
              <a:gd name="connsiteY127" fmla="*/ 4480066 h 5143499"/>
              <a:gd name="connsiteX128" fmla="*/ 4017496 w 4819650"/>
              <a:gd name="connsiteY128" fmla="*/ 4480658 h 5143499"/>
              <a:gd name="connsiteX129" fmla="*/ 4018088 w 4819650"/>
              <a:gd name="connsiteY129" fmla="*/ 4461450 h 5143499"/>
              <a:gd name="connsiteX130" fmla="*/ 4017496 w 4819650"/>
              <a:gd name="connsiteY130" fmla="*/ 4442289 h 5143499"/>
              <a:gd name="connsiteX131" fmla="*/ 3966338 w 4819650"/>
              <a:gd name="connsiteY131" fmla="*/ 4391179 h 5143499"/>
              <a:gd name="connsiteX132" fmla="*/ 3966362 w 4819650"/>
              <a:gd name="connsiteY132" fmla="*/ 4391155 h 5143499"/>
              <a:gd name="connsiteX133" fmla="*/ 3966338 w 4819650"/>
              <a:gd name="connsiteY133" fmla="*/ 4391179 h 5143499"/>
              <a:gd name="connsiteX134" fmla="*/ 4147427 w 4819650"/>
              <a:gd name="connsiteY134" fmla="*/ 4335639 h 5143499"/>
              <a:gd name="connsiteX135" fmla="*/ 4157375 w 4819650"/>
              <a:gd name="connsiteY135" fmla="*/ 4340731 h 5143499"/>
              <a:gd name="connsiteX136" fmla="*/ 4162467 w 4819650"/>
              <a:gd name="connsiteY136" fmla="*/ 4350679 h 5143499"/>
              <a:gd name="connsiteX137" fmla="*/ 4148351 w 4819650"/>
              <a:gd name="connsiteY137" fmla="*/ 4370858 h 5143499"/>
              <a:gd name="connsiteX138" fmla="*/ 4147641 w 4819650"/>
              <a:gd name="connsiteY138" fmla="*/ 4371402 h 5143499"/>
              <a:gd name="connsiteX139" fmla="*/ 4106975 w 4819650"/>
              <a:gd name="connsiteY139" fmla="*/ 4391108 h 5143499"/>
              <a:gd name="connsiteX140" fmla="*/ 4126680 w 4819650"/>
              <a:gd name="connsiteY140" fmla="*/ 4350442 h 5143499"/>
              <a:gd name="connsiteX141" fmla="*/ 4126704 w 4819650"/>
              <a:gd name="connsiteY141" fmla="*/ 4350466 h 5143499"/>
              <a:gd name="connsiteX142" fmla="*/ 4127248 w 4819650"/>
              <a:gd name="connsiteY142" fmla="*/ 4349755 h 5143499"/>
              <a:gd name="connsiteX143" fmla="*/ 4147427 w 4819650"/>
              <a:gd name="connsiteY143" fmla="*/ 4335639 h 5143499"/>
              <a:gd name="connsiteX144" fmla="*/ 4011977 w 4819650"/>
              <a:gd name="connsiteY144" fmla="*/ 4399658 h 5143499"/>
              <a:gd name="connsiteX145" fmla="*/ 3899691 w 4819650"/>
              <a:gd name="connsiteY145" fmla="*/ 4404466 h 5143499"/>
              <a:gd name="connsiteX146" fmla="*/ 3974912 w 4819650"/>
              <a:gd name="connsiteY146" fmla="*/ 4436723 h 5143499"/>
              <a:gd name="connsiteX147" fmla="*/ 3976048 w 4819650"/>
              <a:gd name="connsiteY147" fmla="*/ 4461473 h 5143499"/>
              <a:gd name="connsiteX148" fmla="*/ 3974912 w 4819650"/>
              <a:gd name="connsiteY148" fmla="*/ 4486152 h 5143499"/>
              <a:gd name="connsiteX149" fmla="*/ 3899691 w 4819650"/>
              <a:gd name="connsiteY149" fmla="*/ 4518410 h 5143499"/>
              <a:gd name="connsiteX150" fmla="*/ 3868948 w 4819650"/>
              <a:gd name="connsiteY150" fmla="*/ 4568929 h 5143499"/>
              <a:gd name="connsiteX151" fmla="*/ 3886238 w 4819650"/>
              <a:gd name="connsiteY151" fmla="*/ 4611892 h 5143499"/>
              <a:gd name="connsiteX152" fmla="*/ 3929201 w 4819650"/>
              <a:gd name="connsiteY152" fmla="*/ 4629181 h 5143499"/>
              <a:gd name="connsiteX153" fmla="*/ 3979720 w 4819650"/>
              <a:gd name="connsiteY153" fmla="*/ 4598439 h 5143499"/>
              <a:gd name="connsiteX154" fmla="*/ 4011977 w 4819650"/>
              <a:gd name="connsiteY154" fmla="*/ 4523218 h 5143499"/>
              <a:gd name="connsiteX155" fmla="*/ 4036656 w 4819650"/>
              <a:gd name="connsiteY155" fmla="*/ 4522081 h 5143499"/>
              <a:gd name="connsiteX156" fmla="*/ 4061406 w 4819650"/>
              <a:gd name="connsiteY156" fmla="*/ 4523218 h 5143499"/>
              <a:gd name="connsiteX157" fmla="*/ 4093664 w 4819650"/>
              <a:gd name="connsiteY157" fmla="*/ 4598439 h 5143499"/>
              <a:gd name="connsiteX158" fmla="*/ 4144183 w 4819650"/>
              <a:gd name="connsiteY158" fmla="*/ 4629181 h 5143499"/>
              <a:gd name="connsiteX159" fmla="*/ 4187146 w 4819650"/>
              <a:gd name="connsiteY159" fmla="*/ 4611892 h 5143499"/>
              <a:gd name="connsiteX160" fmla="*/ 4204435 w 4819650"/>
              <a:gd name="connsiteY160" fmla="*/ 4568929 h 5143499"/>
              <a:gd name="connsiteX161" fmla="*/ 4173693 w 4819650"/>
              <a:gd name="connsiteY161" fmla="*/ 4518410 h 5143499"/>
              <a:gd name="connsiteX162" fmla="*/ 4098472 w 4819650"/>
              <a:gd name="connsiteY162" fmla="*/ 4486152 h 5143499"/>
              <a:gd name="connsiteX163" fmla="*/ 4097335 w 4819650"/>
              <a:gd name="connsiteY163" fmla="*/ 4461402 h 5143499"/>
              <a:gd name="connsiteX164" fmla="*/ 4098472 w 4819650"/>
              <a:gd name="connsiteY164" fmla="*/ 4436723 h 5143499"/>
              <a:gd name="connsiteX165" fmla="*/ 4173693 w 4819650"/>
              <a:gd name="connsiteY165" fmla="*/ 4404466 h 5143499"/>
              <a:gd name="connsiteX166" fmla="*/ 4204435 w 4819650"/>
              <a:gd name="connsiteY166" fmla="*/ 4353947 h 5143499"/>
              <a:gd name="connsiteX167" fmla="*/ 4187146 w 4819650"/>
              <a:gd name="connsiteY167" fmla="*/ 4310984 h 5143499"/>
              <a:gd name="connsiteX168" fmla="*/ 4144183 w 4819650"/>
              <a:gd name="connsiteY168" fmla="*/ 4293694 h 5143499"/>
              <a:gd name="connsiteX169" fmla="*/ 4093664 w 4819650"/>
              <a:gd name="connsiteY169" fmla="*/ 4324437 h 5143499"/>
              <a:gd name="connsiteX170" fmla="*/ 4061406 w 4819650"/>
              <a:gd name="connsiteY170" fmla="*/ 4399658 h 5143499"/>
              <a:gd name="connsiteX171" fmla="*/ 4036727 w 4819650"/>
              <a:gd name="connsiteY171" fmla="*/ 4400794 h 5143499"/>
              <a:gd name="connsiteX172" fmla="*/ 4011977 w 4819650"/>
              <a:gd name="connsiteY172" fmla="*/ 4399658 h 5143499"/>
              <a:gd name="connsiteX173" fmla="*/ 2094551 w 4819650"/>
              <a:gd name="connsiteY173" fmla="*/ 0 h 5143499"/>
              <a:gd name="connsiteX174" fmla="*/ 4819650 w 4819650"/>
              <a:gd name="connsiteY174" fmla="*/ 0 h 5143499"/>
              <a:gd name="connsiteX175" fmla="*/ 4819650 w 4819650"/>
              <a:gd name="connsiteY175" fmla="*/ 5143499 h 5143499"/>
              <a:gd name="connsiteX176" fmla="*/ 0 w 4819650"/>
              <a:gd name="connsiteY176" fmla="*/ 5143499 h 5143499"/>
              <a:gd name="connsiteX177" fmla="*/ 0 w 4819650"/>
              <a:gd name="connsiteY177" fmla="*/ 5143498 h 5143499"/>
              <a:gd name="connsiteX178" fmla="*/ 371745 w 4819650"/>
              <a:gd name="connsiteY178" fmla="*/ 5143498 h 5143499"/>
              <a:gd name="connsiteX179" fmla="*/ 1206499 w 4819650"/>
              <a:gd name="connsiteY179" fmla="*/ 1821610 h 5143499"/>
              <a:gd name="connsiteX180" fmla="*/ 2048326 w 4819650"/>
              <a:gd name="connsiteY180" fmla="*/ 58253 h 5143499"/>
              <a:gd name="connsiteX181" fmla="*/ 2094551 w 4819650"/>
              <a:gd name="connsiteY181"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017496 w 4819650"/>
              <a:gd name="connsiteY122" fmla="*/ 4442289 h 5143499"/>
              <a:gd name="connsiteX123" fmla="*/ 4036704 w 4819650"/>
              <a:gd name="connsiteY123" fmla="*/ 4442881 h 5143499"/>
              <a:gd name="connsiteX124" fmla="*/ 4055864 w 4819650"/>
              <a:gd name="connsiteY124" fmla="*/ 4442289 h 5143499"/>
              <a:gd name="connsiteX125" fmla="*/ 4055272 w 4819650"/>
              <a:gd name="connsiteY125" fmla="*/ 4461497 h 5143499"/>
              <a:gd name="connsiteX126" fmla="*/ 4055864 w 4819650"/>
              <a:gd name="connsiteY126" fmla="*/ 4480658 h 5143499"/>
              <a:gd name="connsiteX127" fmla="*/ 4036656 w 4819650"/>
              <a:gd name="connsiteY127" fmla="*/ 4480066 h 5143499"/>
              <a:gd name="connsiteX128" fmla="*/ 4017496 w 4819650"/>
              <a:gd name="connsiteY128" fmla="*/ 4480658 h 5143499"/>
              <a:gd name="connsiteX129" fmla="*/ 4018088 w 4819650"/>
              <a:gd name="connsiteY129" fmla="*/ 4461450 h 5143499"/>
              <a:gd name="connsiteX130" fmla="*/ 4017496 w 4819650"/>
              <a:gd name="connsiteY130" fmla="*/ 4442289 h 5143499"/>
              <a:gd name="connsiteX131" fmla="*/ 3966338 w 4819650"/>
              <a:gd name="connsiteY131" fmla="*/ 4391179 h 5143499"/>
              <a:gd name="connsiteX132" fmla="*/ 3966362 w 4819650"/>
              <a:gd name="connsiteY132" fmla="*/ 4391155 h 5143499"/>
              <a:gd name="connsiteX133" fmla="*/ 3966338 w 4819650"/>
              <a:gd name="connsiteY133" fmla="*/ 4391179 h 5143499"/>
              <a:gd name="connsiteX134" fmla="*/ 4147427 w 4819650"/>
              <a:gd name="connsiteY134" fmla="*/ 4335639 h 5143499"/>
              <a:gd name="connsiteX135" fmla="*/ 4157375 w 4819650"/>
              <a:gd name="connsiteY135" fmla="*/ 4340731 h 5143499"/>
              <a:gd name="connsiteX136" fmla="*/ 4162467 w 4819650"/>
              <a:gd name="connsiteY136" fmla="*/ 4350679 h 5143499"/>
              <a:gd name="connsiteX137" fmla="*/ 4148351 w 4819650"/>
              <a:gd name="connsiteY137" fmla="*/ 4370858 h 5143499"/>
              <a:gd name="connsiteX138" fmla="*/ 4147641 w 4819650"/>
              <a:gd name="connsiteY138" fmla="*/ 4371402 h 5143499"/>
              <a:gd name="connsiteX139" fmla="*/ 4106975 w 4819650"/>
              <a:gd name="connsiteY139" fmla="*/ 4391108 h 5143499"/>
              <a:gd name="connsiteX140" fmla="*/ 4126680 w 4819650"/>
              <a:gd name="connsiteY140" fmla="*/ 4350442 h 5143499"/>
              <a:gd name="connsiteX141" fmla="*/ 4126704 w 4819650"/>
              <a:gd name="connsiteY141" fmla="*/ 4350466 h 5143499"/>
              <a:gd name="connsiteX142" fmla="*/ 4127248 w 4819650"/>
              <a:gd name="connsiteY142" fmla="*/ 4349755 h 5143499"/>
              <a:gd name="connsiteX143" fmla="*/ 4147427 w 4819650"/>
              <a:gd name="connsiteY143" fmla="*/ 4335639 h 5143499"/>
              <a:gd name="connsiteX144" fmla="*/ 4011977 w 4819650"/>
              <a:gd name="connsiteY144" fmla="*/ 4399658 h 5143499"/>
              <a:gd name="connsiteX145" fmla="*/ 3974912 w 4819650"/>
              <a:gd name="connsiteY145" fmla="*/ 4436723 h 5143499"/>
              <a:gd name="connsiteX146" fmla="*/ 3976048 w 4819650"/>
              <a:gd name="connsiteY146" fmla="*/ 4461473 h 5143499"/>
              <a:gd name="connsiteX147" fmla="*/ 3974912 w 4819650"/>
              <a:gd name="connsiteY147" fmla="*/ 4486152 h 5143499"/>
              <a:gd name="connsiteX148" fmla="*/ 3899691 w 4819650"/>
              <a:gd name="connsiteY148" fmla="*/ 4518410 h 5143499"/>
              <a:gd name="connsiteX149" fmla="*/ 3868948 w 4819650"/>
              <a:gd name="connsiteY149" fmla="*/ 4568929 h 5143499"/>
              <a:gd name="connsiteX150" fmla="*/ 3886238 w 4819650"/>
              <a:gd name="connsiteY150" fmla="*/ 4611892 h 5143499"/>
              <a:gd name="connsiteX151" fmla="*/ 3929201 w 4819650"/>
              <a:gd name="connsiteY151" fmla="*/ 4629181 h 5143499"/>
              <a:gd name="connsiteX152" fmla="*/ 3979720 w 4819650"/>
              <a:gd name="connsiteY152" fmla="*/ 4598439 h 5143499"/>
              <a:gd name="connsiteX153" fmla="*/ 4011977 w 4819650"/>
              <a:gd name="connsiteY153" fmla="*/ 4523218 h 5143499"/>
              <a:gd name="connsiteX154" fmla="*/ 4036656 w 4819650"/>
              <a:gd name="connsiteY154" fmla="*/ 4522081 h 5143499"/>
              <a:gd name="connsiteX155" fmla="*/ 4061406 w 4819650"/>
              <a:gd name="connsiteY155" fmla="*/ 4523218 h 5143499"/>
              <a:gd name="connsiteX156" fmla="*/ 4093664 w 4819650"/>
              <a:gd name="connsiteY156" fmla="*/ 4598439 h 5143499"/>
              <a:gd name="connsiteX157" fmla="*/ 4144183 w 4819650"/>
              <a:gd name="connsiteY157" fmla="*/ 4629181 h 5143499"/>
              <a:gd name="connsiteX158" fmla="*/ 4187146 w 4819650"/>
              <a:gd name="connsiteY158" fmla="*/ 4611892 h 5143499"/>
              <a:gd name="connsiteX159" fmla="*/ 4204435 w 4819650"/>
              <a:gd name="connsiteY159" fmla="*/ 4568929 h 5143499"/>
              <a:gd name="connsiteX160" fmla="*/ 4173693 w 4819650"/>
              <a:gd name="connsiteY160" fmla="*/ 4518410 h 5143499"/>
              <a:gd name="connsiteX161" fmla="*/ 4098472 w 4819650"/>
              <a:gd name="connsiteY161" fmla="*/ 4486152 h 5143499"/>
              <a:gd name="connsiteX162" fmla="*/ 4097335 w 4819650"/>
              <a:gd name="connsiteY162" fmla="*/ 4461402 h 5143499"/>
              <a:gd name="connsiteX163" fmla="*/ 4098472 w 4819650"/>
              <a:gd name="connsiteY163" fmla="*/ 4436723 h 5143499"/>
              <a:gd name="connsiteX164" fmla="*/ 4173693 w 4819650"/>
              <a:gd name="connsiteY164" fmla="*/ 4404466 h 5143499"/>
              <a:gd name="connsiteX165" fmla="*/ 4204435 w 4819650"/>
              <a:gd name="connsiteY165" fmla="*/ 4353947 h 5143499"/>
              <a:gd name="connsiteX166" fmla="*/ 4187146 w 4819650"/>
              <a:gd name="connsiteY166" fmla="*/ 4310984 h 5143499"/>
              <a:gd name="connsiteX167" fmla="*/ 4144183 w 4819650"/>
              <a:gd name="connsiteY167" fmla="*/ 4293694 h 5143499"/>
              <a:gd name="connsiteX168" fmla="*/ 4093664 w 4819650"/>
              <a:gd name="connsiteY168" fmla="*/ 4324437 h 5143499"/>
              <a:gd name="connsiteX169" fmla="*/ 4061406 w 4819650"/>
              <a:gd name="connsiteY169" fmla="*/ 4399658 h 5143499"/>
              <a:gd name="connsiteX170" fmla="*/ 4036727 w 4819650"/>
              <a:gd name="connsiteY170" fmla="*/ 4400794 h 5143499"/>
              <a:gd name="connsiteX171" fmla="*/ 4011977 w 4819650"/>
              <a:gd name="connsiteY171" fmla="*/ 4399658 h 5143499"/>
              <a:gd name="connsiteX172" fmla="*/ 2094551 w 4819650"/>
              <a:gd name="connsiteY172" fmla="*/ 0 h 5143499"/>
              <a:gd name="connsiteX173" fmla="*/ 4819650 w 4819650"/>
              <a:gd name="connsiteY173" fmla="*/ 0 h 5143499"/>
              <a:gd name="connsiteX174" fmla="*/ 4819650 w 4819650"/>
              <a:gd name="connsiteY174" fmla="*/ 5143499 h 5143499"/>
              <a:gd name="connsiteX175" fmla="*/ 0 w 4819650"/>
              <a:gd name="connsiteY175" fmla="*/ 5143499 h 5143499"/>
              <a:gd name="connsiteX176" fmla="*/ 0 w 4819650"/>
              <a:gd name="connsiteY176" fmla="*/ 5143498 h 5143499"/>
              <a:gd name="connsiteX177" fmla="*/ 371745 w 4819650"/>
              <a:gd name="connsiteY177" fmla="*/ 5143498 h 5143499"/>
              <a:gd name="connsiteX178" fmla="*/ 1206499 w 4819650"/>
              <a:gd name="connsiteY178" fmla="*/ 1821610 h 5143499"/>
              <a:gd name="connsiteX179" fmla="*/ 2048326 w 4819650"/>
              <a:gd name="connsiteY179" fmla="*/ 58253 h 5143499"/>
              <a:gd name="connsiteX180" fmla="*/ 2094551 w 4819650"/>
              <a:gd name="connsiteY180"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017496 w 4819650"/>
              <a:gd name="connsiteY122" fmla="*/ 4442289 h 5143499"/>
              <a:gd name="connsiteX123" fmla="*/ 4036704 w 4819650"/>
              <a:gd name="connsiteY123" fmla="*/ 4442881 h 5143499"/>
              <a:gd name="connsiteX124" fmla="*/ 4055864 w 4819650"/>
              <a:gd name="connsiteY124" fmla="*/ 4442289 h 5143499"/>
              <a:gd name="connsiteX125" fmla="*/ 4055272 w 4819650"/>
              <a:gd name="connsiteY125" fmla="*/ 4461497 h 5143499"/>
              <a:gd name="connsiteX126" fmla="*/ 4055864 w 4819650"/>
              <a:gd name="connsiteY126" fmla="*/ 4480658 h 5143499"/>
              <a:gd name="connsiteX127" fmla="*/ 4036656 w 4819650"/>
              <a:gd name="connsiteY127" fmla="*/ 4480066 h 5143499"/>
              <a:gd name="connsiteX128" fmla="*/ 4017496 w 4819650"/>
              <a:gd name="connsiteY128" fmla="*/ 4480658 h 5143499"/>
              <a:gd name="connsiteX129" fmla="*/ 4018088 w 4819650"/>
              <a:gd name="connsiteY129" fmla="*/ 4461450 h 5143499"/>
              <a:gd name="connsiteX130" fmla="*/ 4017496 w 4819650"/>
              <a:gd name="connsiteY130" fmla="*/ 4442289 h 5143499"/>
              <a:gd name="connsiteX131" fmla="*/ 4147427 w 4819650"/>
              <a:gd name="connsiteY131" fmla="*/ 4335639 h 5143499"/>
              <a:gd name="connsiteX132" fmla="*/ 4157375 w 4819650"/>
              <a:gd name="connsiteY132" fmla="*/ 4340731 h 5143499"/>
              <a:gd name="connsiteX133" fmla="*/ 4162467 w 4819650"/>
              <a:gd name="connsiteY133" fmla="*/ 4350679 h 5143499"/>
              <a:gd name="connsiteX134" fmla="*/ 4148351 w 4819650"/>
              <a:gd name="connsiteY134" fmla="*/ 4370858 h 5143499"/>
              <a:gd name="connsiteX135" fmla="*/ 4147641 w 4819650"/>
              <a:gd name="connsiteY135" fmla="*/ 4371402 h 5143499"/>
              <a:gd name="connsiteX136" fmla="*/ 4106975 w 4819650"/>
              <a:gd name="connsiteY136" fmla="*/ 4391108 h 5143499"/>
              <a:gd name="connsiteX137" fmla="*/ 4126680 w 4819650"/>
              <a:gd name="connsiteY137" fmla="*/ 4350442 h 5143499"/>
              <a:gd name="connsiteX138" fmla="*/ 4126704 w 4819650"/>
              <a:gd name="connsiteY138" fmla="*/ 4350466 h 5143499"/>
              <a:gd name="connsiteX139" fmla="*/ 4127248 w 4819650"/>
              <a:gd name="connsiteY139" fmla="*/ 4349755 h 5143499"/>
              <a:gd name="connsiteX140" fmla="*/ 4147427 w 4819650"/>
              <a:gd name="connsiteY140" fmla="*/ 4335639 h 5143499"/>
              <a:gd name="connsiteX141" fmla="*/ 4011977 w 4819650"/>
              <a:gd name="connsiteY141" fmla="*/ 4399658 h 5143499"/>
              <a:gd name="connsiteX142" fmla="*/ 3974912 w 4819650"/>
              <a:gd name="connsiteY142" fmla="*/ 4436723 h 5143499"/>
              <a:gd name="connsiteX143" fmla="*/ 3976048 w 4819650"/>
              <a:gd name="connsiteY143" fmla="*/ 4461473 h 5143499"/>
              <a:gd name="connsiteX144" fmla="*/ 3974912 w 4819650"/>
              <a:gd name="connsiteY144" fmla="*/ 4486152 h 5143499"/>
              <a:gd name="connsiteX145" fmla="*/ 3899691 w 4819650"/>
              <a:gd name="connsiteY145" fmla="*/ 4518410 h 5143499"/>
              <a:gd name="connsiteX146" fmla="*/ 3868948 w 4819650"/>
              <a:gd name="connsiteY146" fmla="*/ 4568929 h 5143499"/>
              <a:gd name="connsiteX147" fmla="*/ 3886238 w 4819650"/>
              <a:gd name="connsiteY147" fmla="*/ 4611892 h 5143499"/>
              <a:gd name="connsiteX148" fmla="*/ 3929201 w 4819650"/>
              <a:gd name="connsiteY148" fmla="*/ 4629181 h 5143499"/>
              <a:gd name="connsiteX149" fmla="*/ 3979720 w 4819650"/>
              <a:gd name="connsiteY149" fmla="*/ 4598439 h 5143499"/>
              <a:gd name="connsiteX150" fmla="*/ 4011977 w 4819650"/>
              <a:gd name="connsiteY150" fmla="*/ 4523218 h 5143499"/>
              <a:gd name="connsiteX151" fmla="*/ 4036656 w 4819650"/>
              <a:gd name="connsiteY151" fmla="*/ 4522081 h 5143499"/>
              <a:gd name="connsiteX152" fmla="*/ 4061406 w 4819650"/>
              <a:gd name="connsiteY152" fmla="*/ 4523218 h 5143499"/>
              <a:gd name="connsiteX153" fmla="*/ 4093664 w 4819650"/>
              <a:gd name="connsiteY153" fmla="*/ 4598439 h 5143499"/>
              <a:gd name="connsiteX154" fmla="*/ 4144183 w 4819650"/>
              <a:gd name="connsiteY154" fmla="*/ 4629181 h 5143499"/>
              <a:gd name="connsiteX155" fmla="*/ 4187146 w 4819650"/>
              <a:gd name="connsiteY155" fmla="*/ 4611892 h 5143499"/>
              <a:gd name="connsiteX156" fmla="*/ 4204435 w 4819650"/>
              <a:gd name="connsiteY156" fmla="*/ 4568929 h 5143499"/>
              <a:gd name="connsiteX157" fmla="*/ 4173693 w 4819650"/>
              <a:gd name="connsiteY157" fmla="*/ 4518410 h 5143499"/>
              <a:gd name="connsiteX158" fmla="*/ 4098472 w 4819650"/>
              <a:gd name="connsiteY158" fmla="*/ 4486152 h 5143499"/>
              <a:gd name="connsiteX159" fmla="*/ 4097335 w 4819650"/>
              <a:gd name="connsiteY159" fmla="*/ 4461402 h 5143499"/>
              <a:gd name="connsiteX160" fmla="*/ 4098472 w 4819650"/>
              <a:gd name="connsiteY160" fmla="*/ 4436723 h 5143499"/>
              <a:gd name="connsiteX161" fmla="*/ 4173693 w 4819650"/>
              <a:gd name="connsiteY161" fmla="*/ 4404466 h 5143499"/>
              <a:gd name="connsiteX162" fmla="*/ 4204435 w 4819650"/>
              <a:gd name="connsiteY162" fmla="*/ 4353947 h 5143499"/>
              <a:gd name="connsiteX163" fmla="*/ 4187146 w 4819650"/>
              <a:gd name="connsiteY163" fmla="*/ 4310984 h 5143499"/>
              <a:gd name="connsiteX164" fmla="*/ 4144183 w 4819650"/>
              <a:gd name="connsiteY164" fmla="*/ 4293694 h 5143499"/>
              <a:gd name="connsiteX165" fmla="*/ 4093664 w 4819650"/>
              <a:gd name="connsiteY165" fmla="*/ 4324437 h 5143499"/>
              <a:gd name="connsiteX166" fmla="*/ 4061406 w 4819650"/>
              <a:gd name="connsiteY166" fmla="*/ 4399658 h 5143499"/>
              <a:gd name="connsiteX167" fmla="*/ 4036727 w 4819650"/>
              <a:gd name="connsiteY167" fmla="*/ 4400794 h 5143499"/>
              <a:gd name="connsiteX168" fmla="*/ 4011977 w 4819650"/>
              <a:gd name="connsiteY168" fmla="*/ 4399658 h 5143499"/>
              <a:gd name="connsiteX169" fmla="*/ 2094551 w 4819650"/>
              <a:gd name="connsiteY169" fmla="*/ 0 h 5143499"/>
              <a:gd name="connsiteX170" fmla="*/ 4819650 w 4819650"/>
              <a:gd name="connsiteY170" fmla="*/ 0 h 5143499"/>
              <a:gd name="connsiteX171" fmla="*/ 4819650 w 4819650"/>
              <a:gd name="connsiteY171" fmla="*/ 5143499 h 5143499"/>
              <a:gd name="connsiteX172" fmla="*/ 0 w 4819650"/>
              <a:gd name="connsiteY172" fmla="*/ 5143499 h 5143499"/>
              <a:gd name="connsiteX173" fmla="*/ 0 w 4819650"/>
              <a:gd name="connsiteY173" fmla="*/ 5143498 h 5143499"/>
              <a:gd name="connsiteX174" fmla="*/ 371745 w 4819650"/>
              <a:gd name="connsiteY174" fmla="*/ 5143498 h 5143499"/>
              <a:gd name="connsiteX175" fmla="*/ 1206499 w 4819650"/>
              <a:gd name="connsiteY175" fmla="*/ 1821610 h 5143499"/>
              <a:gd name="connsiteX176" fmla="*/ 2048326 w 4819650"/>
              <a:gd name="connsiteY176" fmla="*/ 58253 h 5143499"/>
              <a:gd name="connsiteX177" fmla="*/ 2094551 w 4819650"/>
              <a:gd name="connsiteY177"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017496 w 4819650"/>
              <a:gd name="connsiteY122" fmla="*/ 4442289 h 5143499"/>
              <a:gd name="connsiteX123" fmla="*/ 4036704 w 4819650"/>
              <a:gd name="connsiteY123" fmla="*/ 4442881 h 5143499"/>
              <a:gd name="connsiteX124" fmla="*/ 4055864 w 4819650"/>
              <a:gd name="connsiteY124" fmla="*/ 4442289 h 5143499"/>
              <a:gd name="connsiteX125" fmla="*/ 4055272 w 4819650"/>
              <a:gd name="connsiteY125" fmla="*/ 4461497 h 5143499"/>
              <a:gd name="connsiteX126" fmla="*/ 4055864 w 4819650"/>
              <a:gd name="connsiteY126" fmla="*/ 4480658 h 5143499"/>
              <a:gd name="connsiteX127" fmla="*/ 4036656 w 4819650"/>
              <a:gd name="connsiteY127" fmla="*/ 4480066 h 5143499"/>
              <a:gd name="connsiteX128" fmla="*/ 4017496 w 4819650"/>
              <a:gd name="connsiteY128" fmla="*/ 4480658 h 5143499"/>
              <a:gd name="connsiteX129" fmla="*/ 4018088 w 4819650"/>
              <a:gd name="connsiteY129" fmla="*/ 4461450 h 5143499"/>
              <a:gd name="connsiteX130" fmla="*/ 4017496 w 4819650"/>
              <a:gd name="connsiteY130" fmla="*/ 4442289 h 5143499"/>
              <a:gd name="connsiteX131" fmla="*/ 4147427 w 4819650"/>
              <a:gd name="connsiteY131" fmla="*/ 4335639 h 5143499"/>
              <a:gd name="connsiteX132" fmla="*/ 4157375 w 4819650"/>
              <a:gd name="connsiteY132" fmla="*/ 4340731 h 5143499"/>
              <a:gd name="connsiteX133" fmla="*/ 4162467 w 4819650"/>
              <a:gd name="connsiteY133" fmla="*/ 4350679 h 5143499"/>
              <a:gd name="connsiteX134" fmla="*/ 4148351 w 4819650"/>
              <a:gd name="connsiteY134" fmla="*/ 4370858 h 5143499"/>
              <a:gd name="connsiteX135" fmla="*/ 4147641 w 4819650"/>
              <a:gd name="connsiteY135" fmla="*/ 4371402 h 5143499"/>
              <a:gd name="connsiteX136" fmla="*/ 4106975 w 4819650"/>
              <a:gd name="connsiteY136" fmla="*/ 4391108 h 5143499"/>
              <a:gd name="connsiteX137" fmla="*/ 4126680 w 4819650"/>
              <a:gd name="connsiteY137" fmla="*/ 4350442 h 5143499"/>
              <a:gd name="connsiteX138" fmla="*/ 4126704 w 4819650"/>
              <a:gd name="connsiteY138" fmla="*/ 4350466 h 5143499"/>
              <a:gd name="connsiteX139" fmla="*/ 4127248 w 4819650"/>
              <a:gd name="connsiteY139" fmla="*/ 4349755 h 5143499"/>
              <a:gd name="connsiteX140" fmla="*/ 4147427 w 4819650"/>
              <a:gd name="connsiteY140" fmla="*/ 4335639 h 5143499"/>
              <a:gd name="connsiteX141" fmla="*/ 4011977 w 4819650"/>
              <a:gd name="connsiteY141" fmla="*/ 4399658 h 5143499"/>
              <a:gd name="connsiteX142" fmla="*/ 3974912 w 4819650"/>
              <a:gd name="connsiteY142" fmla="*/ 4436723 h 5143499"/>
              <a:gd name="connsiteX143" fmla="*/ 3976048 w 4819650"/>
              <a:gd name="connsiteY143" fmla="*/ 4461473 h 5143499"/>
              <a:gd name="connsiteX144" fmla="*/ 3974912 w 4819650"/>
              <a:gd name="connsiteY144" fmla="*/ 4486152 h 5143499"/>
              <a:gd name="connsiteX145" fmla="*/ 3899691 w 4819650"/>
              <a:gd name="connsiteY145" fmla="*/ 4518410 h 5143499"/>
              <a:gd name="connsiteX146" fmla="*/ 3868948 w 4819650"/>
              <a:gd name="connsiteY146" fmla="*/ 4568929 h 5143499"/>
              <a:gd name="connsiteX147" fmla="*/ 3886238 w 4819650"/>
              <a:gd name="connsiteY147" fmla="*/ 4611892 h 5143499"/>
              <a:gd name="connsiteX148" fmla="*/ 3929201 w 4819650"/>
              <a:gd name="connsiteY148" fmla="*/ 4629181 h 5143499"/>
              <a:gd name="connsiteX149" fmla="*/ 3979720 w 4819650"/>
              <a:gd name="connsiteY149" fmla="*/ 4598439 h 5143499"/>
              <a:gd name="connsiteX150" fmla="*/ 4011977 w 4819650"/>
              <a:gd name="connsiteY150" fmla="*/ 4523218 h 5143499"/>
              <a:gd name="connsiteX151" fmla="*/ 4036656 w 4819650"/>
              <a:gd name="connsiteY151" fmla="*/ 4522081 h 5143499"/>
              <a:gd name="connsiteX152" fmla="*/ 4061406 w 4819650"/>
              <a:gd name="connsiteY152" fmla="*/ 4523218 h 5143499"/>
              <a:gd name="connsiteX153" fmla="*/ 4093664 w 4819650"/>
              <a:gd name="connsiteY153" fmla="*/ 4598439 h 5143499"/>
              <a:gd name="connsiteX154" fmla="*/ 4144183 w 4819650"/>
              <a:gd name="connsiteY154" fmla="*/ 4629181 h 5143499"/>
              <a:gd name="connsiteX155" fmla="*/ 4187146 w 4819650"/>
              <a:gd name="connsiteY155" fmla="*/ 4611892 h 5143499"/>
              <a:gd name="connsiteX156" fmla="*/ 4204435 w 4819650"/>
              <a:gd name="connsiteY156" fmla="*/ 4568929 h 5143499"/>
              <a:gd name="connsiteX157" fmla="*/ 4173693 w 4819650"/>
              <a:gd name="connsiteY157" fmla="*/ 4518410 h 5143499"/>
              <a:gd name="connsiteX158" fmla="*/ 4098472 w 4819650"/>
              <a:gd name="connsiteY158" fmla="*/ 4486152 h 5143499"/>
              <a:gd name="connsiteX159" fmla="*/ 4097335 w 4819650"/>
              <a:gd name="connsiteY159" fmla="*/ 4461402 h 5143499"/>
              <a:gd name="connsiteX160" fmla="*/ 4098472 w 4819650"/>
              <a:gd name="connsiteY160" fmla="*/ 4436723 h 5143499"/>
              <a:gd name="connsiteX161" fmla="*/ 4173693 w 4819650"/>
              <a:gd name="connsiteY161" fmla="*/ 4404466 h 5143499"/>
              <a:gd name="connsiteX162" fmla="*/ 4204435 w 4819650"/>
              <a:gd name="connsiteY162" fmla="*/ 4353947 h 5143499"/>
              <a:gd name="connsiteX163" fmla="*/ 4187146 w 4819650"/>
              <a:gd name="connsiteY163" fmla="*/ 4310984 h 5143499"/>
              <a:gd name="connsiteX164" fmla="*/ 4093664 w 4819650"/>
              <a:gd name="connsiteY164" fmla="*/ 4324437 h 5143499"/>
              <a:gd name="connsiteX165" fmla="*/ 4061406 w 4819650"/>
              <a:gd name="connsiteY165" fmla="*/ 4399658 h 5143499"/>
              <a:gd name="connsiteX166" fmla="*/ 4036727 w 4819650"/>
              <a:gd name="connsiteY166" fmla="*/ 4400794 h 5143499"/>
              <a:gd name="connsiteX167" fmla="*/ 4011977 w 4819650"/>
              <a:gd name="connsiteY167" fmla="*/ 4399658 h 5143499"/>
              <a:gd name="connsiteX168" fmla="*/ 2094551 w 4819650"/>
              <a:gd name="connsiteY168" fmla="*/ 0 h 5143499"/>
              <a:gd name="connsiteX169" fmla="*/ 4819650 w 4819650"/>
              <a:gd name="connsiteY169" fmla="*/ 0 h 5143499"/>
              <a:gd name="connsiteX170" fmla="*/ 4819650 w 4819650"/>
              <a:gd name="connsiteY170" fmla="*/ 5143499 h 5143499"/>
              <a:gd name="connsiteX171" fmla="*/ 0 w 4819650"/>
              <a:gd name="connsiteY171" fmla="*/ 5143499 h 5143499"/>
              <a:gd name="connsiteX172" fmla="*/ 0 w 4819650"/>
              <a:gd name="connsiteY172" fmla="*/ 5143498 h 5143499"/>
              <a:gd name="connsiteX173" fmla="*/ 371745 w 4819650"/>
              <a:gd name="connsiteY173" fmla="*/ 5143498 h 5143499"/>
              <a:gd name="connsiteX174" fmla="*/ 1206499 w 4819650"/>
              <a:gd name="connsiteY174" fmla="*/ 1821610 h 5143499"/>
              <a:gd name="connsiteX175" fmla="*/ 2048326 w 4819650"/>
              <a:gd name="connsiteY175" fmla="*/ 58253 h 5143499"/>
              <a:gd name="connsiteX176" fmla="*/ 2094551 w 4819650"/>
              <a:gd name="connsiteY176"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017496 w 4819650"/>
              <a:gd name="connsiteY122" fmla="*/ 4442289 h 5143499"/>
              <a:gd name="connsiteX123" fmla="*/ 4036704 w 4819650"/>
              <a:gd name="connsiteY123" fmla="*/ 4442881 h 5143499"/>
              <a:gd name="connsiteX124" fmla="*/ 4055864 w 4819650"/>
              <a:gd name="connsiteY124" fmla="*/ 4442289 h 5143499"/>
              <a:gd name="connsiteX125" fmla="*/ 4055272 w 4819650"/>
              <a:gd name="connsiteY125" fmla="*/ 4461497 h 5143499"/>
              <a:gd name="connsiteX126" fmla="*/ 4055864 w 4819650"/>
              <a:gd name="connsiteY126" fmla="*/ 4480658 h 5143499"/>
              <a:gd name="connsiteX127" fmla="*/ 4036656 w 4819650"/>
              <a:gd name="connsiteY127" fmla="*/ 4480066 h 5143499"/>
              <a:gd name="connsiteX128" fmla="*/ 4017496 w 4819650"/>
              <a:gd name="connsiteY128" fmla="*/ 4480658 h 5143499"/>
              <a:gd name="connsiteX129" fmla="*/ 4018088 w 4819650"/>
              <a:gd name="connsiteY129" fmla="*/ 4461450 h 5143499"/>
              <a:gd name="connsiteX130" fmla="*/ 4017496 w 4819650"/>
              <a:gd name="connsiteY130" fmla="*/ 4442289 h 5143499"/>
              <a:gd name="connsiteX131" fmla="*/ 4147427 w 4819650"/>
              <a:gd name="connsiteY131" fmla="*/ 4335639 h 5143499"/>
              <a:gd name="connsiteX132" fmla="*/ 4157375 w 4819650"/>
              <a:gd name="connsiteY132" fmla="*/ 4340731 h 5143499"/>
              <a:gd name="connsiteX133" fmla="*/ 4162467 w 4819650"/>
              <a:gd name="connsiteY133" fmla="*/ 4350679 h 5143499"/>
              <a:gd name="connsiteX134" fmla="*/ 4148351 w 4819650"/>
              <a:gd name="connsiteY134" fmla="*/ 4370858 h 5143499"/>
              <a:gd name="connsiteX135" fmla="*/ 4147641 w 4819650"/>
              <a:gd name="connsiteY135" fmla="*/ 4371402 h 5143499"/>
              <a:gd name="connsiteX136" fmla="*/ 4106975 w 4819650"/>
              <a:gd name="connsiteY136" fmla="*/ 4391108 h 5143499"/>
              <a:gd name="connsiteX137" fmla="*/ 4126680 w 4819650"/>
              <a:gd name="connsiteY137" fmla="*/ 4350442 h 5143499"/>
              <a:gd name="connsiteX138" fmla="*/ 4126704 w 4819650"/>
              <a:gd name="connsiteY138" fmla="*/ 4350466 h 5143499"/>
              <a:gd name="connsiteX139" fmla="*/ 4127248 w 4819650"/>
              <a:gd name="connsiteY139" fmla="*/ 4349755 h 5143499"/>
              <a:gd name="connsiteX140" fmla="*/ 4147427 w 4819650"/>
              <a:gd name="connsiteY140" fmla="*/ 4335639 h 5143499"/>
              <a:gd name="connsiteX141" fmla="*/ 4011977 w 4819650"/>
              <a:gd name="connsiteY141" fmla="*/ 4399658 h 5143499"/>
              <a:gd name="connsiteX142" fmla="*/ 3974912 w 4819650"/>
              <a:gd name="connsiteY142" fmla="*/ 4436723 h 5143499"/>
              <a:gd name="connsiteX143" fmla="*/ 3976048 w 4819650"/>
              <a:gd name="connsiteY143" fmla="*/ 4461473 h 5143499"/>
              <a:gd name="connsiteX144" fmla="*/ 3974912 w 4819650"/>
              <a:gd name="connsiteY144" fmla="*/ 4486152 h 5143499"/>
              <a:gd name="connsiteX145" fmla="*/ 3899691 w 4819650"/>
              <a:gd name="connsiteY145" fmla="*/ 4518410 h 5143499"/>
              <a:gd name="connsiteX146" fmla="*/ 3868948 w 4819650"/>
              <a:gd name="connsiteY146" fmla="*/ 4568929 h 5143499"/>
              <a:gd name="connsiteX147" fmla="*/ 3886238 w 4819650"/>
              <a:gd name="connsiteY147" fmla="*/ 4611892 h 5143499"/>
              <a:gd name="connsiteX148" fmla="*/ 3929201 w 4819650"/>
              <a:gd name="connsiteY148" fmla="*/ 4629181 h 5143499"/>
              <a:gd name="connsiteX149" fmla="*/ 3979720 w 4819650"/>
              <a:gd name="connsiteY149" fmla="*/ 4598439 h 5143499"/>
              <a:gd name="connsiteX150" fmla="*/ 4011977 w 4819650"/>
              <a:gd name="connsiteY150" fmla="*/ 4523218 h 5143499"/>
              <a:gd name="connsiteX151" fmla="*/ 4036656 w 4819650"/>
              <a:gd name="connsiteY151" fmla="*/ 4522081 h 5143499"/>
              <a:gd name="connsiteX152" fmla="*/ 4061406 w 4819650"/>
              <a:gd name="connsiteY152" fmla="*/ 4523218 h 5143499"/>
              <a:gd name="connsiteX153" fmla="*/ 4093664 w 4819650"/>
              <a:gd name="connsiteY153" fmla="*/ 4598439 h 5143499"/>
              <a:gd name="connsiteX154" fmla="*/ 4144183 w 4819650"/>
              <a:gd name="connsiteY154" fmla="*/ 4629181 h 5143499"/>
              <a:gd name="connsiteX155" fmla="*/ 4187146 w 4819650"/>
              <a:gd name="connsiteY155" fmla="*/ 4611892 h 5143499"/>
              <a:gd name="connsiteX156" fmla="*/ 4204435 w 4819650"/>
              <a:gd name="connsiteY156" fmla="*/ 4568929 h 5143499"/>
              <a:gd name="connsiteX157" fmla="*/ 4173693 w 4819650"/>
              <a:gd name="connsiteY157" fmla="*/ 4518410 h 5143499"/>
              <a:gd name="connsiteX158" fmla="*/ 4098472 w 4819650"/>
              <a:gd name="connsiteY158" fmla="*/ 4486152 h 5143499"/>
              <a:gd name="connsiteX159" fmla="*/ 4097335 w 4819650"/>
              <a:gd name="connsiteY159" fmla="*/ 4461402 h 5143499"/>
              <a:gd name="connsiteX160" fmla="*/ 4098472 w 4819650"/>
              <a:gd name="connsiteY160" fmla="*/ 4436723 h 5143499"/>
              <a:gd name="connsiteX161" fmla="*/ 4173693 w 4819650"/>
              <a:gd name="connsiteY161" fmla="*/ 4404466 h 5143499"/>
              <a:gd name="connsiteX162" fmla="*/ 4204435 w 4819650"/>
              <a:gd name="connsiteY162" fmla="*/ 4353947 h 5143499"/>
              <a:gd name="connsiteX163" fmla="*/ 4187147 w 4819650"/>
              <a:gd name="connsiteY163" fmla="*/ 4310984 h 5143499"/>
              <a:gd name="connsiteX164" fmla="*/ 4093664 w 4819650"/>
              <a:gd name="connsiteY164" fmla="*/ 4324437 h 5143499"/>
              <a:gd name="connsiteX165" fmla="*/ 4061406 w 4819650"/>
              <a:gd name="connsiteY165" fmla="*/ 4399658 h 5143499"/>
              <a:gd name="connsiteX166" fmla="*/ 4036727 w 4819650"/>
              <a:gd name="connsiteY166" fmla="*/ 4400794 h 5143499"/>
              <a:gd name="connsiteX167" fmla="*/ 4011977 w 4819650"/>
              <a:gd name="connsiteY167" fmla="*/ 4399658 h 5143499"/>
              <a:gd name="connsiteX168" fmla="*/ 2094551 w 4819650"/>
              <a:gd name="connsiteY168" fmla="*/ 0 h 5143499"/>
              <a:gd name="connsiteX169" fmla="*/ 4819650 w 4819650"/>
              <a:gd name="connsiteY169" fmla="*/ 0 h 5143499"/>
              <a:gd name="connsiteX170" fmla="*/ 4819650 w 4819650"/>
              <a:gd name="connsiteY170" fmla="*/ 5143499 h 5143499"/>
              <a:gd name="connsiteX171" fmla="*/ 0 w 4819650"/>
              <a:gd name="connsiteY171" fmla="*/ 5143499 h 5143499"/>
              <a:gd name="connsiteX172" fmla="*/ 0 w 4819650"/>
              <a:gd name="connsiteY172" fmla="*/ 5143498 h 5143499"/>
              <a:gd name="connsiteX173" fmla="*/ 371745 w 4819650"/>
              <a:gd name="connsiteY173" fmla="*/ 5143498 h 5143499"/>
              <a:gd name="connsiteX174" fmla="*/ 1206499 w 4819650"/>
              <a:gd name="connsiteY174" fmla="*/ 1821610 h 5143499"/>
              <a:gd name="connsiteX175" fmla="*/ 2048326 w 4819650"/>
              <a:gd name="connsiteY175" fmla="*/ 58253 h 5143499"/>
              <a:gd name="connsiteX176" fmla="*/ 2094551 w 4819650"/>
              <a:gd name="connsiteY176"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017496 w 4819650"/>
              <a:gd name="connsiteY122" fmla="*/ 4442289 h 5143499"/>
              <a:gd name="connsiteX123" fmla="*/ 4036704 w 4819650"/>
              <a:gd name="connsiteY123" fmla="*/ 4442881 h 5143499"/>
              <a:gd name="connsiteX124" fmla="*/ 4055864 w 4819650"/>
              <a:gd name="connsiteY124" fmla="*/ 4442289 h 5143499"/>
              <a:gd name="connsiteX125" fmla="*/ 4055272 w 4819650"/>
              <a:gd name="connsiteY125" fmla="*/ 4461497 h 5143499"/>
              <a:gd name="connsiteX126" fmla="*/ 4055864 w 4819650"/>
              <a:gd name="connsiteY126" fmla="*/ 4480658 h 5143499"/>
              <a:gd name="connsiteX127" fmla="*/ 4036656 w 4819650"/>
              <a:gd name="connsiteY127" fmla="*/ 4480066 h 5143499"/>
              <a:gd name="connsiteX128" fmla="*/ 4017496 w 4819650"/>
              <a:gd name="connsiteY128" fmla="*/ 4480658 h 5143499"/>
              <a:gd name="connsiteX129" fmla="*/ 4018088 w 4819650"/>
              <a:gd name="connsiteY129" fmla="*/ 4461450 h 5143499"/>
              <a:gd name="connsiteX130" fmla="*/ 4017496 w 4819650"/>
              <a:gd name="connsiteY130" fmla="*/ 4442289 h 5143499"/>
              <a:gd name="connsiteX131" fmla="*/ 4147427 w 4819650"/>
              <a:gd name="connsiteY131" fmla="*/ 4335639 h 5143499"/>
              <a:gd name="connsiteX132" fmla="*/ 4157375 w 4819650"/>
              <a:gd name="connsiteY132" fmla="*/ 4340731 h 5143499"/>
              <a:gd name="connsiteX133" fmla="*/ 4162467 w 4819650"/>
              <a:gd name="connsiteY133" fmla="*/ 4350679 h 5143499"/>
              <a:gd name="connsiteX134" fmla="*/ 4148351 w 4819650"/>
              <a:gd name="connsiteY134" fmla="*/ 4370858 h 5143499"/>
              <a:gd name="connsiteX135" fmla="*/ 4147641 w 4819650"/>
              <a:gd name="connsiteY135" fmla="*/ 4371402 h 5143499"/>
              <a:gd name="connsiteX136" fmla="*/ 4106975 w 4819650"/>
              <a:gd name="connsiteY136" fmla="*/ 4391108 h 5143499"/>
              <a:gd name="connsiteX137" fmla="*/ 4126680 w 4819650"/>
              <a:gd name="connsiteY137" fmla="*/ 4350442 h 5143499"/>
              <a:gd name="connsiteX138" fmla="*/ 4126704 w 4819650"/>
              <a:gd name="connsiteY138" fmla="*/ 4350466 h 5143499"/>
              <a:gd name="connsiteX139" fmla="*/ 4127248 w 4819650"/>
              <a:gd name="connsiteY139" fmla="*/ 4349755 h 5143499"/>
              <a:gd name="connsiteX140" fmla="*/ 4147427 w 4819650"/>
              <a:gd name="connsiteY140" fmla="*/ 4335639 h 5143499"/>
              <a:gd name="connsiteX141" fmla="*/ 4011977 w 4819650"/>
              <a:gd name="connsiteY141" fmla="*/ 4399658 h 5143499"/>
              <a:gd name="connsiteX142" fmla="*/ 3974912 w 4819650"/>
              <a:gd name="connsiteY142" fmla="*/ 4436723 h 5143499"/>
              <a:gd name="connsiteX143" fmla="*/ 3976048 w 4819650"/>
              <a:gd name="connsiteY143" fmla="*/ 4461473 h 5143499"/>
              <a:gd name="connsiteX144" fmla="*/ 3974912 w 4819650"/>
              <a:gd name="connsiteY144" fmla="*/ 4486152 h 5143499"/>
              <a:gd name="connsiteX145" fmla="*/ 3899691 w 4819650"/>
              <a:gd name="connsiteY145" fmla="*/ 4518410 h 5143499"/>
              <a:gd name="connsiteX146" fmla="*/ 3868948 w 4819650"/>
              <a:gd name="connsiteY146" fmla="*/ 4568929 h 5143499"/>
              <a:gd name="connsiteX147" fmla="*/ 3886238 w 4819650"/>
              <a:gd name="connsiteY147" fmla="*/ 4611892 h 5143499"/>
              <a:gd name="connsiteX148" fmla="*/ 3929201 w 4819650"/>
              <a:gd name="connsiteY148" fmla="*/ 4629181 h 5143499"/>
              <a:gd name="connsiteX149" fmla="*/ 3979720 w 4819650"/>
              <a:gd name="connsiteY149" fmla="*/ 4598439 h 5143499"/>
              <a:gd name="connsiteX150" fmla="*/ 4011977 w 4819650"/>
              <a:gd name="connsiteY150" fmla="*/ 4523218 h 5143499"/>
              <a:gd name="connsiteX151" fmla="*/ 4036656 w 4819650"/>
              <a:gd name="connsiteY151" fmla="*/ 4522081 h 5143499"/>
              <a:gd name="connsiteX152" fmla="*/ 4061406 w 4819650"/>
              <a:gd name="connsiteY152" fmla="*/ 4523218 h 5143499"/>
              <a:gd name="connsiteX153" fmla="*/ 4093664 w 4819650"/>
              <a:gd name="connsiteY153" fmla="*/ 4598439 h 5143499"/>
              <a:gd name="connsiteX154" fmla="*/ 4144183 w 4819650"/>
              <a:gd name="connsiteY154" fmla="*/ 4629181 h 5143499"/>
              <a:gd name="connsiteX155" fmla="*/ 4187146 w 4819650"/>
              <a:gd name="connsiteY155" fmla="*/ 4611892 h 5143499"/>
              <a:gd name="connsiteX156" fmla="*/ 4204435 w 4819650"/>
              <a:gd name="connsiteY156" fmla="*/ 4568929 h 5143499"/>
              <a:gd name="connsiteX157" fmla="*/ 4173693 w 4819650"/>
              <a:gd name="connsiteY157" fmla="*/ 4518410 h 5143499"/>
              <a:gd name="connsiteX158" fmla="*/ 4098472 w 4819650"/>
              <a:gd name="connsiteY158" fmla="*/ 4486152 h 5143499"/>
              <a:gd name="connsiteX159" fmla="*/ 4097335 w 4819650"/>
              <a:gd name="connsiteY159" fmla="*/ 4461402 h 5143499"/>
              <a:gd name="connsiteX160" fmla="*/ 4098472 w 4819650"/>
              <a:gd name="connsiteY160" fmla="*/ 4436723 h 5143499"/>
              <a:gd name="connsiteX161" fmla="*/ 4173693 w 4819650"/>
              <a:gd name="connsiteY161" fmla="*/ 4404466 h 5143499"/>
              <a:gd name="connsiteX162" fmla="*/ 4204435 w 4819650"/>
              <a:gd name="connsiteY162" fmla="*/ 4353947 h 5143499"/>
              <a:gd name="connsiteX163" fmla="*/ 4187147 w 4819650"/>
              <a:gd name="connsiteY163" fmla="*/ 4310984 h 5143499"/>
              <a:gd name="connsiteX164" fmla="*/ 4061406 w 4819650"/>
              <a:gd name="connsiteY164" fmla="*/ 4399658 h 5143499"/>
              <a:gd name="connsiteX165" fmla="*/ 4036727 w 4819650"/>
              <a:gd name="connsiteY165" fmla="*/ 4400794 h 5143499"/>
              <a:gd name="connsiteX166" fmla="*/ 4011977 w 4819650"/>
              <a:gd name="connsiteY166" fmla="*/ 4399658 h 5143499"/>
              <a:gd name="connsiteX167" fmla="*/ 2094551 w 4819650"/>
              <a:gd name="connsiteY167" fmla="*/ 0 h 5143499"/>
              <a:gd name="connsiteX168" fmla="*/ 4819650 w 4819650"/>
              <a:gd name="connsiteY168" fmla="*/ 0 h 5143499"/>
              <a:gd name="connsiteX169" fmla="*/ 4819650 w 4819650"/>
              <a:gd name="connsiteY169" fmla="*/ 5143499 h 5143499"/>
              <a:gd name="connsiteX170" fmla="*/ 0 w 4819650"/>
              <a:gd name="connsiteY170" fmla="*/ 5143499 h 5143499"/>
              <a:gd name="connsiteX171" fmla="*/ 0 w 4819650"/>
              <a:gd name="connsiteY171" fmla="*/ 5143498 h 5143499"/>
              <a:gd name="connsiteX172" fmla="*/ 371745 w 4819650"/>
              <a:gd name="connsiteY172" fmla="*/ 5143498 h 5143499"/>
              <a:gd name="connsiteX173" fmla="*/ 1206499 w 4819650"/>
              <a:gd name="connsiteY173" fmla="*/ 1821610 h 5143499"/>
              <a:gd name="connsiteX174" fmla="*/ 2048326 w 4819650"/>
              <a:gd name="connsiteY174" fmla="*/ 58253 h 5143499"/>
              <a:gd name="connsiteX175" fmla="*/ 2094551 w 4819650"/>
              <a:gd name="connsiteY175"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017496 w 4819650"/>
              <a:gd name="connsiteY122" fmla="*/ 4442289 h 5143499"/>
              <a:gd name="connsiteX123" fmla="*/ 4036704 w 4819650"/>
              <a:gd name="connsiteY123" fmla="*/ 4442881 h 5143499"/>
              <a:gd name="connsiteX124" fmla="*/ 4055864 w 4819650"/>
              <a:gd name="connsiteY124" fmla="*/ 4442289 h 5143499"/>
              <a:gd name="connsiteX125" fmla="*/ 4055272 w 4819650"/>
              <a:gd name="connsiteY125" fmla="*/ 4461497 h 5143499"/>
              <a:gd name="connsiteX126" fmla="*/ 4055864 w 4819650"/>
              <a:gd name="connsiteY126" fmla="*/ 4480658 h 5143499"/>
              <a:gd name="connsiteX127" fmla="*/ 4036656 w 4819650"/>
              <a:gd name="connsiteY127" fmla="*/ 4480066 h 5143499"/>
              <a:gd name="connsiteX128" fmla="*/ 4017496 w 4819650"/>
              <a:gd name="connsiteY128" fmla="*/ 4480658 h 5143499"/>
              <a:gd name="connsiteX129" fmla="*/ 4018088 w 4819650"/>
              <a:gd name="connsiteY129" fmla="*/ 4461450 h 5143499"/>
              <a:gd name="connsiteX130" fmla="*/ 4017496 w 4819650"/>
              <a:gd name="connsiteY130" fmla="*/ 4442289 h 5143499"/>
              <a:gd name="connsiteX131" fmla="*/ 4147427 w 4819650"/>
              <a:gd name="connsiteY131" fmla="*/ 4335639 h 5143499"/>
              <a:gd name="connsiteX132" fmla="*/ 4157375 w 4819650"/>
              <a:gd name="connsiteY132" fmla="*/ 4340731 h 5143499"/>
              <a:gd name="connsiteX133" fmla="*/ 4162467 w 4819650"/>
              <a:gd name="connsiteY133" fmla="*/ 4350679 h 5143499"/>
              <a:gd name="connsiteX134" fmla="*/ 4148351 w 4819650"/>
              <a:gd name="connsiteY134" fmla="*/ 4370858 h 5143499"/>
              <a:gd name="connsiteX135" fmla="*/ 4147641 w 4819650"/>
              <a:gd name="connsiteY135" fmla="*/ 4371402 h 5143499"/>
              <a:gd name="connsiteX136" fmla="*/ 4106975 w 4819650"/>
              <a:gd name="connsiteY136" fmla="*/ 4391108 h 5143499"/>
              <a:gd name="connsiteX137" fmla="*/ 4126680 w 4819650"/>
              <a:gd name="connsiteY137" fmla="*/ 4350442 h 5143499"/>
              <a:gd name="connsiteX138" fmla="*/ 4126704 w 4819650"/>
              <a:gd name="connsiteY138" fmla="*/ 4350466 h 5143499"/>
              <a:gd name="connsiteX139" fmla="*/ 4127248 w 4819650"/>
              <a:gd name="connsiteY139" fmla="*/ 4349755 h 5143499"/>
              <a:gd name="connsiteX140" fmla="*/ 4147427 w 4819650"/>
              <a:gd name="connsiteY140" fmla="*/ 4335639 h 5143499"/>
              <a:gd name="connsiteX141" fmla="*/ 4011977 w 4819650"/>
              <a:gd name="connsiteY141" fmla="*/ 4399658 h 5143499"/>
              <a:gd name="connsiteX142" fmla="*/ 3974912 w 4819650"/>
              <a:gd name="connsiteY142" fmla="*/ 4436723 h 5143499"/>
              <a:gd name="connsiteX143" fmla="*/ 3976048 w 4819650"/>
              <a:gd name="connsiteY143" fmla="*/ 4461473 h 5143499"/>
              <a:gd name="connsiteX144" fmla="*/ 3974912 w 4819650"/>
              <a:gd name="connsiteY144" fmla="*/ 4486152 h 5143499"/>
              <a:gd name="connsiteX145" fmla="*/ 3899691 w 4819650"/>
              <a:gd name="connsiteY145" fmla="*/ 4518410 h 5143499"/>
              <a:gd name="connsiteX146" fmla="*/ 3868948 w 4819650"/>
              <a:gd name="connsiteY146" fmla="*/ 4568929 h 5143499"/>
              <a:gd name="connsiteX147" fmla="*/ 3886238 w 4819650"/>
              <a:gd name="connsiteY147" fmla="*/ 4611892 h 5143499"/>
              <a:gd name="connsiteX148" fmla="*/ 3929201 w 4819650"/>
              <a:gd name="connsiteY148" fmla="*/ 4629181 h 5143499"/>
              <a:gd name="connsiteX149" fmla="*/ 3979720 w 4819650"/>
              <a:gd name="connsiteY149" fmla="*/ 4598439 h 5143499"/>
              <a:gd name="connsiteX150" fmla="*/ 4011977 w 4819650"/>
              <a:gd name="connsiteY150" fmla="*/ 4523218 h 5143499"/>
              <a:gd name="connsiteX151" fmla="*/ 4036656 w 4819650"/>
              <a:gd name="connsiteY151" fmla="*/ 4522081 h 5143499"/>
              <a:gd name="connsiteX152" fmla="*/ 4061406 w 4819650"/>
              <a:gd name="connsiteY152" fmla="*/ 4523218 h 5143499"/>
              <a:gd name="connsiteX153" fmla="*/ 4093664 w 4819650"/>
              <a:gd name="connsiteY153" fmla="*/ 4598439 h 5143499"/>
              <a:gd name="connsiteX154" fmla="*/ 4144183 w 4819650"/>
              <a:gd name="connsiteY154" fmla="*/ 4629181 h 5143499"/>
              <a:gd name="connsiteX155" fmla="*/ 4187146 w 4819650"/>
              <a:gd name="connsiteY155" fmla="*/ 4611892 h 5143499"/>
              <a:gd name="connsiteX156" fmla="*/ 4204435 w 4819650"/>
              <a:gd name="connsiteY156" fmla="*/ 4568929 h 5143499"/>
              <a:gd name="connsiteX157" fmla="*/ 4173693 w 4819650"/>
              <a:gd name="connsiteY157" fmla="*/ 4518410 h 5143499"/>
              <a:gd name="connsiteX158" fmla="*/ 4098472 w 4819650"/>
              <a:gd name="connsiteY158" fmla="*/ 4486152 h 5143499"/>
              <a:gd name="connsiteX159" fmla="*/ 4097335 w 4819650"/>
              <a:gd name="connsiteY159" fmla="*/ 4461402 h 5143499"/>
              <a:gd name="connsiteX160" fmla="*/ 4098472 w 4819650"/>
              <a:gd name="connsiteY160" fmla="*/ 4436723 h 5143499"/>
              <a:gd name="connsiteX161" fmla="*/ 4173693 w 4819650"/>
              <a:gd name="connsiteY161" fmla="*/ 4404466 h 5143499"/>
              <a:gd name="connsiteX162" fmla="*/ 4204435 w 4819650"/>
              <a:gd name="connsiteY162" fmla="*/ 4353947 h 5143499"/>
              <a:gd name="connsiteX163" fmla="*/ 4061406 w 4819650"/>
              <a:gd name="connsiteY163" fmla="*/ 4399658 h 5143499"/>
              <a:gd name="connsiteX164" fmla="*/ 4036727 w 4819650"/>
              <a:gd name="connsiteY164" fmla="*/ 4400794 h 5143499"/>
              <a:gd name="connsiteX165" fmla="*/ 4011977 w 4819650"/>
              <a:gd name="connsiteY165" fmla="*/ 4399658 h 5143499"/>
              <a:gd name="connsiteX166" fmla="*/ 2094551 w 4819650"/>
              <a:gd name="connsiteY166" fmla="*/ 0 h 5143499"/>
              <a:gd name="connsiteX167" fmla="*/ 4819650 w 4819650"/>
              <a:gd name="connsiteY167" fmla="*/ 0 h 5143499"/>
              <a:gd name="connsiteX168" fmla="*/ 4819650 w 4819650"/>
              <a:gd name="connsiteY168" fmla="*/ 5143499 h 5143499"/>
              <a:gd name="connsiteX169" fmla="*/ 0 w 4819650"/>
              <a:gd name="connsiteY169" fmla="*/ 5143499 h 5143499"/>
              <a:gd name="connsiteX170" fmla="*/ 0 w 4819650"/>
              <a:gd name="connsiteY170" fmla="*/ 5143498 h 5143499"/>
              <a:gd name="connsiteX171" fmla="*/ 371745 w 4819650"/>
              <a:gd name="connsiteY171" fmla="*/ 5143498 h 5143499"/>
              <a:gd name="connsiteX172" fmla="*/ 1206499 w 4819650"/>
              <a:gd name="connsiteY172" fmla="*/ 1821610 h 5143499"/>
              <a:gd name="connsiteX173" fmla="*/ 2048326 w 4819650"/>
              <a:gd name="connsiteY173" fmla="*/ 58253 h 5143499"/>
              <a:gd name="connsiteX174" fmla="*/ 2094551 w 4819650"/>
              <a:gd name="connsiteY174"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017496 w 4819650"/>
              <a:gd name="connsiteY122" fmla="*/ 4442289 h 5143499"/>
              <a:gd name="connsiteX123" fmla="*/ 4036704 w 4819650"/>
              <a:gd name="connsiteY123" fmla="*/ 4442881 h 5143499"/>
              <a:gd name="connsiteX124" fmla="*/ 4055864 w 4819650"/>
              <a:gd name="connsiteY124" fmla="*/ 4442289 h 5143499"/>
              <a:gd name="connsiteX125" fmla="*/ 4055272 w 4819650"/>
              <a:gd name="connsiteY125" fmla="*/ 4461497 h 5143499"/>
              <a:gd name="connsiteX126" fmla="*/ 4055864 w 4819650"/>
              <a:gd name="connsiteY126" fmla="*/ 4480658 h 5143499"/>
              <a:gd name="connsiteX127" fmla="*/ 4036656 w 4819650"/>
              <a:gd name="connsiteY127" fmla="*/ 4480066 h 5143499"/>
              <a:gd name="connsiteX128" fmla="*/ 4017496 w 4819650"/>
              <a:gd name="connsiteY128" fmla="*/ 4480658 h 5143499"/>
              <a:gd name="connsiteX129" fmla="*/ 4018088 w 4819650"/>
              <a:gd name="connsiteY129" fmla="*/ 4461450 h 5143499"/>
              <a:gd name="connsiteX130" fmla="*/ 4017496 w 4819650"/>
              <a:gd name="connsiteY130" fmla="*/ 4442289 h 5143499"/>
              <a:gd name="connsiteX131" fmla="*/ 4147427 w 4819650"/>
              <a:gd name="connsiteY131" fmla="*/ 4335639 h 5143499"/>
              <a:gd name="connsiteX132" fmla="*/ 4157375 w 4819650"/>
              <a:gd name="connsiteY132" fmla="*/ 4340731 h 5143499"/>
              <a:gd name="connsiteX133" fmla="*/ 4162467 w 4819650"/>
              <a:gd name="connsiteY133" fmla="*/ 4350679 h 5143499"/>
              <a:gd name="connsiteX134" fmla="*/ 4148351 w 4819650"/>
              <a:gd name="connsiteY134" fmla="*/ 4370858 h 5143499"/>
              <a:gd name="connsiteX135" fmla="*/ 4147641 w 4819650"/>
              <a:gd name="connsiteY135" fmla="*/ 4371402 h 5143499"/>
              <a:gd name="connsiteX136" fmla="*/ 4106975 w 4819650"/>
              <a:gd name="connsiteY136" fmla="*/ 4391108 h 5143499"/>
              <a:gd name="connsiteX137" fmla="*/ 4126680 w 4819650"/>
              <a:gd name="connsiteY137" fmla="*/ 4350442 h 5143499"/>
              <a:gd name="connsiteX138" fmla="*/ 4126704 w 4819650"/>
              <a:gd name="connsiteY138" fmla="*/ 4350466 h 5143499"/>
              <a:gd name="connsiteX139" fmla="*/ 4127248 w 4819650"/>
              <a:gd name="connsiteY139" fmla="*/ 4349755 h 5143499"/>
              <a:gd name="connsiteX140" fmla="*/ 4147427 w 4819650"/>
              <a:gd name="connsiteY140" fmla="*/ 4335639 h 5143499"/>
              <a:gd name="connsiteX141" fmla="*/ 4011977 w 4819650"/>
              <a:gd name="connsiteY141" fmla="*/ 4399658 h 5143499"/>
              <a:gd name="connsiteX142" fmla="*/ 3974912 w 4819650"/>
              <a:gd name="connsiteY142" fmla="*/ 4436723 h 5143499"/>
              <a:gd name="connsiteX143" fmla="*/ 3976048 w 4819650"/>
              <a:gd name="connsiteY143" fmla="*/ 4461473 h 5143499"/>
              <a:gd name="connsiteX144" fmla="*/ 3974912 w 4819650"/>
              <a:gd name="connsiteY144" fmla="*/ 4486152 h 5143499"/>
              <a:gd name="connsiteX145" fmla="*/ 3899691 w 4819650"/>
              <a:gd name="connsiteY145" fmla="*/ 4518410 h 5143499"/>
              <a:gd name="connsiteX146" fmla="*/ 3868948 w 4819650"/>
              <a:gd name="connsiteY146" fmla="*/ 4568929 h 5143499"/>
              <a:gd name="connsiteX147" fmla="*/ 3886238 w 4819650"/>
              <a:gd name="connsiteY147" fmla="*/ 4611892 h 5143499"/>
              <a:gd name="connsiteX148" fmla="*/ 3929201 w 4819650"/>
              <a:gd name="connsiteY148" fmla="*/ 4629181 h 5143499"/>
              <a:gd name="connsiteX149" fmla="*/ 3979720 w 4819650"/>
              <a:gd name="connsiteY149" fmla="*/ 4598439 h 5143499"/>
              <a:gd name="connsiteX150" fmla="*/ 4011977 w 4819650"/>
              <a:gd name="connsiteY150" fmla="*/ 4523218 h 5143499"/>
              <a:gd name="connsiteX151" fmla="*/ 4036656 w 4819650"/>
              <a:gd name="connsiteY151" fmla="*/ 4522081 h 5143499"/>
              <a:gd name="connsiteX152" fmla="*/ 4061406 w 4819650"/>
              <a:gd name="connsiteY152" fmla="*/ 4523218 h 5143499"/>
              <a:gd name="connsiteX153" fmla="*/ 4093664 w 4819650"/>
              <a:gd name="connsiteY153" fmla="*/ 4598439 h 5143499"/>
              <a:gd name="connsiteX154" fmla="*/ 4144183 w 4819650"/>
              <a:gd name="connsiteY154" fmla="*/ 4629181 h 5143499"/>
              <a:gd name="connsiteX155" fmla="*/ 4187146 w 4819650"/>
              <a:gd name="connsiteY155" fmla="*/ 4611892 h 5143499"/>
              <a:gd name="connsiteX156" fmla="*/ 4204435 w 4819650"/>
              <a:gd name="connsiteY156" fmla="*/ 4568929 h 5143499"/>
              <a:gd name="connsiteX157" fmla="*/ 4173693 w 4819650"/>
              <a:gd name="connsiteY157" fmla="*/ 4518410 h 5143499"/>
              <a:gd name="connsiteX158" fmla="*/ 4098472 w 4819650"/>
              <a:gd name="connsiteY158" fmla="*/ 4486152 h 5143499"/>
              <a:gd name="connsiteX159" fmla="*/ 4097335 w 4819650"/>
              <a:gd name="connsiteY159" fmla="*/ 4461402 h 5143499"/>
              <a:gd name="connsiteX160" fmla="*/ 4098472 w 4819650"/>
              <a:gd name="connsiteY160" fmla="*/ 4436723 h 5143499"/>
              <a:gd name="connsiteX161" fmla="*/ 4173693 w 4819650"/>
              <a:gd name="connsiteY161" fmla="*/ 4404466 h 5143499"/>
              <a:gd name="connsiteX162" fmla="*/ 4061406 w 4819650"/>
              <a:gd name="connsiteY162" fmla="*/ 4399658 h 5143499"/>
              <a:gd name="connsiteX163" fmla="*/ 4036727 w 4819650"/>
              <a:gd name="connsiteY163" fmla="*/ 4400794 h 5143499"/>
              <a:gd name="connsiteX164" fmla="*/ 4011977 w 4819650"/>
              <a:gd name="connsiteY164" fmla="*/ 4399658 h 5143499"/>
              <a:gd name="connsiteX165" fmla="*/ 2094551 w 4819650"/>
              <a:gd name="connsiteY165" fmla="*/ 0 h 5143499"/>
              <a:gd name="connsiteX166" fmla="*/ 4819650 w 4819650"/>
              <a:gd name="connsiteY166" fmla="*/ 0 h 5143499"/>
              <a:gd name="connsiteX167" fmla="*/ 4819650 w 4819650"/>
              <a:gd name="connsiteY167" fmla="*/ 5143499 h 5143499"/>
              <a:gd name="connsiteX168" fmla="*/ 0 w 4819650"/>
              <a:gd name="connsiteY168" fmla="*/ 5143499 h 5143499"/>
              <a:gd name="connsiteX169" fmla="*/ 0 w 4819650"/>
              <a:gd name="connsiteY169" fmla="*/ 5143498 h 5143499"/>
              <a:gd name="connsiteX170" fmla="*/ 371745 w 4819650"/>
              <a:gd name="connsiteY170" fmla="*/ 5143498 h 5143499"/>
              <a:gd name="connsiteX171" fmla="*/ 1206499 w 4819650"/>
              <a:gd name="connsiteY171" fmla="*/ 1821610 h 5143499"/>
              <a:gd name="connsiteX172" fmla="*/ 2048326 w 4819650"/>
              <a:gd name="connsiteY172" fmla="*/ 58253 h 5143499"/>
              <a:gd name="connsiteX173" fmla="*/ 2094551 w 4819650"/>
              <a:gd name="connsiteY173"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017496 w 4819650"/>
              <a:gd name="connsiteY122" fmla="*/ 4442289 h 5143499"/>
              <a:gd name="connsiteX123" fmla="*/ 4036704 w 4819650"/>
              <a:gd name="connsiteY123" fmla="*/ 4442881 h 5143499"/>
              <a:gd name="connsiteX124" fmla="*/ 4055864 w 4819650"/>
              <a:gd name="connsiteY124" fmla="*/ 4442289 h 5143499"/>
              <a:gd name="connsiteX125" fmla="*/ 4055272 w 4819650"/>
              <a:gd name="connsiteY125" fmla="*/ 4461497 h 5143499"/>
              <a:gd name="connsiteX126" fmla="*/ 4055864 w 4819650"/>
              <a:gd name="connsiteY126" fmla="*/ 4480658 h 5143499"/>
              <a:gd name="connsiteX127" fmla="*/ 4036656 w 4819650"/>
              <a:gd name="connsiteY127" fmla="*/ 4480066 h 5143499"/>
              <a:gd name="connsiteX128" fmla="*/ 4017496 w 4819650"/>
              <a:gd name="connsiteY128" fmla="*/ 4480658 h 5143499"/>
              <a:gd name="connsiteX129" fmla="*/ 4018088 w 4819650"/>
              <a:gd name="connsiteY129" fmla="*/ 4461450 h 5143499"/>
              <a:gd name="connsiteX130" fmla="*/ 4017496 w 4819650"/>
              <a:gd name="connsiteY130" fmla="*/ 4442289 h 5143499"/>
              <a:gd name="connsiteX131" fmla="*/ 4127248 w 4819650"/>
              <a:gd name="connsiteY131" fmla="*/ 4349755 h 5143499"/>
              <a:gd name="connsiteX132" fmla="*/ 4157375 w 4819650"/>
              <a:gd name="connsiteY132" fmla="*/ 4340731 h 5143499"/>
              <a:gd name="connsiteX133" fmla="*/ 4162467 w 4819650"/>
              <a:gd name="connsiteY133" fmla="*/ 4350679 h 5143499"/>
              <a:gd name="connsiteX134" fmla="*/ 4148351 w 4819650"/>
              <a:gd name="connsiteY134" fmla="*/ 4370858 h 5143499"/>
              <a:gd name="connsiteX135" fmla="*/ 4147641 w 4819650"/>
              <a:gd name="connsiteY135" fmla="*/ 4371402 h 5143499"/>
              <a:gd name="connsiteX136" fmla="*/ 4106975 w 4819650"/>
              <a:gd name="connsiteY136" fmla="*/ 4391108 h 5143499"/>
              <a:gd name="connsiteX137" fmla="*/ 4126680 w 4819650"/>
              <a:gd name="connsiteY137" fmla="*/ 4350442 h 5143499"/>
              <a:gd name="connsiteX138" fmla="*/ 4126704 w 4819650"/>
              <a:gd name="connsiteY138" fmla="*/ 4350466 h 5143499"/>
              <a:gd name="connsiteX139" fmla="*/ 4127248 w 4819650"/>
              <a:gd name="connsiteY139" fmla="*/ 4349755 h 5143499"/>
              <a:gd name="connsiteX140" fmla="*/ 4011977 w 4819650"/>
              <a:gd name="connsiteY140" fmla="*/ 4399658 h 5143499"/>
              <a:gd name="connsiteX141" fmla="*/ 3974912 w 4819650"/>
              <a:gd name="connsiteY141" fmla="*/ 4436723 h 5143499"/>
              <a:gd name="connsiteX142" fmla="*/ 3976048 w 4819650"/>
              <a:gd name="connsiteY142" fmla="*/ 4461473 h 5143499"/>
              <a:gd name="connsiteX143" fmla="*/ 3974912 w 4819650"/>
              <a:gd name="connsiteY143" fmla="*/ 4486152 h 5143499"/>
              <a:gd name="connsiteX144" fmla="*/ 3899691 w 4819650"/>
              <a:gd name="connsiteY144" fmla="*/ 4518410 h 5143499"/>
              <a:gd name="connsiteX145" fmla="*/ 3868948 w 4819650"/>
              <a:gd name="connsiteY145" fmla="*/ 4568929 h 5143499"/>
              <a:gd name="connsiteX146" fmla="*/ 3886238 w 4819650"/>
              <a:gd name="connsiteY146" fmla="*/ 4611892 h 5143499"/>
              <a:gd name="connsiteX147" fmla="*/ 3929201 w 4819650"/>
              <a:gd name="connsiteY147" fmla="*/ 4629181 h 5143499"/>
              <a:gd name="connsiteX148" fmla="*/ 3979720 w 4819650"/>
              <a:gd name="connsiteY148" fmla="*/ 4598439 h 5143499"/>
              <a:gd name="connsiteX149" fmla="*/ 4011977 w 4819650"/>
              <a:gd name="connsiteY149" fmla="*/ 4523218 h 5143499"/>
              <a:gd name="connsiteX150" fmla="*/ 4036656 w 4819650"/>
              <a:gd name="connsiteY150" fmla="*/ 4522081 h 5143499"/>
              <a:gd name="connsiteX151" fmla="*/ 4061406 w 4819650"/>
              <a:gd name="connsiteY151" fmla="*/ 4523218 h 5143499"/>
              <a:gd name="connsiteX152" fmla="*/ 4093664 w 4819650"/>
              <a:gd name="connsiteY152" fmla="*/ 4598439 h 5143499"/>
              <a:gd name="connsiteX153" fmla="*/ 4144183 w 4819650"/>
              <a:gd name="connsiteY153" fmla="*/ 4629181 h 5143499"/>
              <a:gd name="connsiteX154" fmla="*/ 4187146 w 4819650"/>
              <a:gd name="connsiteY154" fmla="*/ 4611892 h 5143499"/>
              <a:gd name="connsiteX155" fmla="*/ 4204435 w 4819650"/>
              <a:gd name="connsiteY155" fmla="*/ 4568929 h 5143499"/>
              <a:gd name="connsiteX156" fmla="*/ 4173693 w 4819650"/>
              <a:gd name="connsiteY156" fmla="*/ 4518410 h 5143499"/>
              <a:gd name="connsiteX157" fmla="*/ 4098472 w 4819650"/>
              <a:gd name="connsiteY157" fmla="*/ 4486152 h 5143499"/>
              <a:gd name="connsiteX158" fmla="*/ 4097335 w 4819650"/>
              <a:gd name="connsiteY158" fmla="*/ 4461402 h 5143499"/>
              <a:gd name="connsiteX159" fmla="*/ 4098472 w 4819650"/>
              <a:gd name="connsiteY159" fmla="*/ 4436723 h 5143499"/>
              <a:gd name="connsiteX160" fmla="*/ 4173693 w 4819650"/>
              <a:gd name="connsiteY160" fmla="*/ 4404466 h 5143499"/>
              <a:gd name="connsiteX161" fmla="*/ 4061406 w 4819650"/>
              <a:gd name="connsiteY161" fmla="*/ 4399658 h 5143499"/>
              <a:gd name="connsiteX162" fmla="*/ 4036727 w 4819650"/>
              <a:gd name="connsiteY162" fmla="*/ 4400794 h 5143499"/>
              <a:gd name="connsiteX163" fmla="*/ 4011977 w 4819650"/>
              <a:gd name="connsiteY163" fmla="*/ 4399658 h 5143499"/>
              <a:gd name="connsiteX164" fmla="*/ 2094551 w 4819650"/>
              <a:gd name="connsiteY164" fmla="*/ 0 h 5143499"/>
              <a:gd name="connsiteX165" fmla="*/ 4819650 w 4819650"/>
              <a:gd name="connsiteY165" fmla="*/ 0 h 5143499"/>
              <a:gd name="connsiteX166" fmla="*/ 4819650 w 4819650"/>
              <a:gd name="connsiteY166" fmla="*/ 5143499 h 5143499"/>
              <a:gd name="connsiteX167" fmla="*/ 0 w 4819650"/>
              <a:gd name="connsiteY167" fmla="*/ 5143499 h 5143499"/>
              <a:gd name="connsiteX168" fmla="*/ 0 w 4819650"/>
              <a:gd name="connsiteY168" fmla="*/ 5143498 h 5143499"/>
              <a:gd name="connsiteX169" fmla="*/ 371745 w 4819650"/>
              <a:gd name="connsiteY169" fmla="*/ 5143498 h 5143499"/>
              <a:gd name="connsiteX170" fmla="*/ 1206499 w 4819650"/>
              <a:gd name="connsiteY170" fmla="*/ 1821610 h 5143499"/>
              <a:gd name="connsiteX171" fmla="*/ 2048326 w 4819650"/>
              <a:gd name="connsiteY171" fmla="*/ 58253 h 5143499"/>
              <a:gd name="connsiteX172" fmla="*/ 2094551 w 4819650"/>
              <a:gd name="connsiteY172"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017496 w 4819650"/>
              <a:gd name="connsiteY122" fmla="*/ 4442289 h 5143499"/>
              <a:gd name="connsiteX123" fmla="*/ 4036704 w 4819650"/>
              <a:gd name="connsiteY123" fmla="*/ 4442881 h 5143499"/>
              <a:gd name="connsiteX124" fmla="*/ 4055864 w 4819650"/>
              <a:gd name="connsiteY124" fmla="*/ 4442289 h 5143499"/>
              <a:gd name="connsiteX125" fmla="*/ 4055272 w 4819650"/>
              <a:gd name="connsiteY125" fmla="*/ 4461497 h 5143499"/>
              <a:gd name="connsiteX126" fmla="*/ 4055864 w 4819650"/>
              <a:gd name="connsiteY126" fmla="*/ 4480658 h 5143499"/>
              <a:gd name="connsiteX127" fmla="*/ 4036656 w 4819650"/>
              <a:gd name="connsiteY127" fmla="*/ 4480066 h 5143499"/>
              <a:gd name="connsiteX128" fmla="*/ 4017496 w 4819650"/>
              <a:gd name="connsiteY128" fmla="*/ 4480658 h 5143499"/>
              <a:gd name="connsiteX129" fmla="*/ 4018088 w 4819650"/>
              <a:gd name="connsiteY129" fmla="*/ 4461450 h 5143499"/>
              <a:gd name="connsiteX130" fmla="*/ 4017496 w 4819650"/>
              <a:gd name="connsiteY130" fmla="*/ 4442289 h 5143499"/>
              <a:gd name="connsiteX131" fmla="*/ 4127248 w 4819650"/>
              <a:gd name="connsiteY131" fmla="*/ 4349755 h 5143499"/>
              <a:gd name="connsiteX132" fmla="*/ 4157375 w 4819650"/>
              <a:gd name="connsiteY132" fmla="*/ 4340731 h 5143499"/>
              <a:gd name="connsiteX133" fmla="*/ 4148351 w 4819650"/>
              <a:gd name="connsiteY133" fmla="*/ 4370858 h 5143499"/>
              <a:gd name="connsiteX134" fmla="*/ 4147641 w 4819650"/>
              <a:gd name="connsiteY134" fmla="*/ 4371402 h 5143499"/>
              <a:gd name="connsiteX135" fmla="*/ 4106975 w 4819650"/>
              <a:gd name="connsiteY135" fmla="*/ 4391108 h 5143499"/>
              <a:gd name="connsiteX136" fmla="*/ 4126680 w 4819650"/>
              <a:gd name="connsiteY136" fmla="*/ 4350442 h 5143499"/>
              <a:gd name="connsiteX137" fmla="*/ 4126704 w 4819650"/>
              <a:gd name="connsiteY137" fmla="*/ 4350466 h 5143499"/>
              <a:gd name="connsiteX138" fmla="*/ 4127248 w 4819650"/>
              <a:gd name="connsiteY138" fmla="*/ 4349755 h 5143499"/>
              <a:gd name="connsiteX139" fmla="*/ 4011977 w 4819650"/>
              <a:gd name="connsiteY139" fmla="*/ 4399658 h 5143499"/>
              <a:gd name="connsiteX140" fmla="*/ 3974912 w 4819650"/>
              <a:gd name="connsiteY140" fmla="*/ 4436723 h 5143499"/>
              <a:gd name="connsiteX141" fmla="*/ 3976048 w 4819650"/>
              <a:gd name="connsiteY141" fmla="*/ 4461473 h 5143499"/>
              <a:gd name="connsiteX142" fmla="*/ 3974912 w 4819650"/>
              <a:gd name="connsiteY142" fmla="*/ 4486152 h 5143499"/>
              <a:gd name="connsiteX143" fmla="*/ 3899691 w 4819650"/>
              <a:gd name="connsiteY143" fmla="*/ 4518410 h 5143499"/>
              <a:gd name="connsiteX144" fmla="*/ 3868948 w 4819650"/>
              <a:gd name="connsiteY144" fmla="*/ 4568929 h 5143499"/>
              <a:gd name="connsiteX145" fmla="*/ 3886238 w 4819650"/>
              <a:gd name="connsiteY145" fmla="*/ 4611892 h 5143499"/>
              <a:gd name="connsiteX146" fmla="*/ 3929201 w 4819650"/>
              <a:gd name="connsiteY146" fmla="*/ 4629181 h 5143499"/>
              <a:gd name="connsiteX147" fmla="*/ 3979720 w 4819650"/>
              <a:gd name="connsiteY147" fmla="*/ 4598439 h 5143499"/>
              <a:gd name="connsiteX148" fmla="*/ 4011977 w 4819650"/>
              <a:gd name="connsiteY148" fmla="*/ 4523218 h 5143499"/>
              <a:gd name="connsiteX149" fmla="*/ 4036656 w 4819650"/>
              <a:gd name="connsiteY149" fmla="*/ 4522081 h 5143499"/>
              <a:gd name="connsiteX150" fmla="*/ 4061406 w 4819650"/>
              <a:gd name="connsiteY150" fmla="*/ 4523218 h 5143499"/>
              <a:gd name="connsiteX151" fmla="*/ 4093664 w 4819650"/>
              <a:gd name="connsiteY151" fmla="*/ 4598439 h 5143499"/>
              <a:gd name="connsiteX152" fmla="*/ 4144183 w 4819650"/>
              <a:gd name="connsiteY152" fmla="*/ 4629181 h 5143499"/>
              <a:gd name="connsiteX153" fmla="*/ 4187146 w 4819650"/>
              <a:gd name="connsiteY153" fmla="*/ 4611892 h 5143499"/>
              <a:gd name="connsiteX154" fmla="*/ 4204435 w 4819650"/>
              <a:gd name="connsiteY154" fmla="*/ 4568929 h 5143499"/>
              <a:gd name="connsiteX155" fmla="*/ 4173693 w 4819650"/>
              <a:gd name="connsiteY155" fmla="*/ 4518410 h 5143499"/>
              <a:gd name="connsiteX156" fmla="*/ 4098472 w 4819650"/>
              <a:gd name="connsiteY156" fmla="*/ 4486152 h 5143499"/>
              <a:gd name="connsiteX157" fmla="*/ 4097335 w 4819650"/>
              <a:gd name="connsiteY157" fmla="*/ 4461402 h 5143499"/>
              <a:gd name="connsiteX158" fmla="*/ 4098472 w 4819650"/>
              <a:gd name="connsiteY158" fmla="*/ 4436723 h 5143499"/>
              <a:gd name="connsiteX159" fmla="*/ 4173693 w 4819650"/>
              <a:gd name="connsiteY159" fmla="*/ 4404466 h 5143499"/>
              <a:gd name="connsiteX160" fmla="*/ 4061406 w 4819650"/>
              <a:gd name="connsiteY160" fmla="*/ 4399658 h 5143499"/>
              <a:gd name="connsiteX161" fmla="*/ 4036727 w 4819650"/>
              <a:gd name="connsiteY161" fmla="*/ 4400794 h 5143499"/>
              <a:gd name="connsiteX162" fmla="*/ 4011977 w 4819650"/>
              <a:gd name="connsiteY162" fmla="*/ 4399658 h 5143499"/>
              <a:gd name="connsiteX163" fmla="*/ 2094551 w 4819650"/>
              <a:gd name="connsiteY163" fmla="*/ 0 h 5143499"/>
              <a:gd name="connsiteX164" fmla="*/ 4819650 w 4819650"/>
              <a:gd name="connsiteY164" fmla="*/ 0 h 5143499"/>
              <a:gd name="connsiteX165" fmla="*/ 4819650 w 4819650"/>
              <a:gd name="connsiteY165" fmla="*/ 5143499 h 5143499"/>
              <a:gd name="connsiteX166" fmla="*/ 0 w 4819650"/>
              <a:gd name="connsiteY166" fmla="*/ 5143499 h 5143499"/>
              <a:gd name="connsiteX167" fmla="*/ 0 w 4819650"/>
              <a:gd name="connsiteY167" fmla="*/ 5143498 h 5143499"/>
              <a:gd name="connsiteX168" fmla="*/ 371745 w 4819650"/>
              <a:gd name="connsiteY168" fmla="*/ 5143498 h 5143499"/>
              <a:gd name="connsiteX169" fmla="*/ 1206499 w 4819650"/>
              <a:gd name="connsiteY169" fmla="*/ 1821610 h 5143499"/>
              <a:gd name="connsiteX170" fmla="*/ 2048326 w 4819650"/>
              <a:gd name="connsiteY170" fmla="*/ 58253 h 5143499"/>
              <a:gd name="connsiteX171" fmla="*/ 2094551 w 4819650"/>
              <a:gd name="connsiteY171"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017496 w 4819650"/>
              <a:gd name="connsiteY122" fmla="*/ 4442289 h 5143499"/>
              <a:gd name="connsiteX123" fmla="*/ 4036704 w 4819650"/>
              <a:gd name="connsiteY123" fmla="*/ 4442881 h 5143499"/>
              <a:gd name="connsiteX124" fmla="*/ 4055864 w 4819650"/>
              <a:gd name="connsiteY124" fmla="*/ 4442289 h 5143499"/>
              <a:gd name="connsiteX125" fmla="*/ 4055272 w 4819650"/>
              <a:gd name="connsiteY125" fmla="*/ 4461497 h 5143499"/>
              <a:gd name="connsiteX126" fmla="*/ 4055864 w 4819650"/>
              <a:gd name="connsiteY126" fmla="*/ 4480658 h 5143499"/>
              <a:gd name="connsiteX127" fmla="*/ 4036656 w 4819650"/>
              <a:gd name="connsiteY127" fmla="*/ 4480066 h 5143499"/>
              <a:gd name="connsiteX128" fmla="*/ 4017496 w 4819650"/>
              <a:gd name="connsiteY128" fmla="*/ 4480658 h 5143499"/>
              <a:gd name="connsiteX129" fmla="*/ 4018088 w 4819650"/>
              <a:gd name="connsiteY129" fmla="*/ 4461450 h 5143499"/>
              <a:gd name="connsiteX130" fmla="*/ 4017496 w 4819650"/>
              <a:gd name="connsiteY130" fmla="*/ 4442289 h 5143499"/>
              <a:gd name="connsiteX131" fmla="*/ 4127248 w 4819650"/>
              <a:gd name="connsiteY131" fmla="*/ 4349755 h 5143499"/>
              <a:gd name="connsiteX132" fmla="*/ 4148351 w 4819650"/>
              <a:gd name="connsiteY132" fmla="*/ 4370858 h 5143499"/>
              <a:gd name="connsiteX133" fmla="*/ 4147641 w 4819650"/>
              <a:gd name="connsiteY133" fmla="*/ 4371402 h 5143499"/>
              <a:gd name="connsiteX134" fmla="*/ 4106975 w 4819650"/>
              <a:gd name="connsiteY134" fmla="*/ 4391108 h 5143499"/>
              <a:gd name="connsiteX135" fmla="*/ 4126680 w 4819650"/>
              <a:gd name="connsiteY135" fmla="*/ 4350442 h 5143499"/>
              <a:gd name="connsiteX136" fmla="*/ 4126704 w 4819650"/>
              <a:gd name="connsiteY136" fmla="*/ 4350466 h 5143499"/>
              <a:gd name="connsiteX137" fmla="*/ 4127248 w 4819650"/>
              <a:gd name="connsiteY137" fmla="*/ 4349755 h 5143499"/>
              <a:gd name="connsiteX138" fmla="*/ 4011977 w 4819650"/>
              <a:gd name="connsiteY138" fmla="*/ 4399658 h 5143499"/>
              <a:gd name="connsiteX139" fmla="*/ 3974912 w 4819650"/>
              <a:gd name="connsiteY139" fmla="*/ 4436723 h 5143499"/>
              <a:gd name="connsiteX140" fmla="*/ 3976048 w 4819650"/>
              <a:gd name="connsiteY140" fmla="*/ 4461473 h 5143499"/>
              <a:gd name="connsiteX141" fmla="*/ 3974912 w 4819650"/>
              <a:gd name="connsiteY141" fmla="*/ 4486152 h 5143499"/>
              <a:gd name="connsiteX142" fmla="*/ 3899691 w 4819650"/>
              <a:gd name="connsiteY142" fmla="*/ 4518410 h 5143499"/>
              <a:gd name="connsiteX143" fmla="*/ 3868948 w 4819650"/>
              <a:gd name="connsiteY143" fmla="*/ 4568929 h 5143499"/>
              <a:gd name="connsiteX144" fmla="*/ 3886238 w 4819650"/>
              <a:gd name="connsiteY144" fmla="*/ 4611892 h 5143499"/>
              <a:gd name="connsiteX145" fmla="*/ 3929201 w 4819650"/>
              <a:gd name="connsiteY145" fmla="*/ 4629181 h 5143499"/>
              <a:gd name="connsiteX146" fmla="*/ 3979720 w 4819650"/>
              <a:gd name="connsiteY146" fmla="*/ 4598439 h 5143499"/>
              <a:gd name="connsiteX147" fmla="*/ 4011977 w 4819650"/>
              <a:gd name="connsiteY147" fmla="*/ 4523218 h 5143499"/>
              <a:gd name="connsiteX148" fmla="*/ 4036656 w 4819650"/>
              <a:gd name="connsiteY148" fmla="*/ 4522081 h 5143499"/>
              <a:gd name="connsiteX149" fmla="*/ 4061406 w 4819650"/>
              <a:gd name="connsiteY149" fmla="*/ 4523218 h 5143499"/>
              <a:gd name="connsiteX150" fmla="*/ 4093664 w 4819650"/>
              <a:gd name="connsiteY150" fmla="*/ 4598439 h 5143499"/>
              <a:gd name="connsiteX151" fmla="*/ 4144183 w 4819650"/>
              <a:gd name="connsiteY151" fmla="*/ 4629181 h 5143499"/>
              <a:gd name="connsiteX152" fmla="*/ 4187146 w 4819650"/>
              <a:gd name="connsiteY152" fmla="*/ 4611892 h 5143499"/>
              <a:gd name="connsiteX153" fmla="*/ 4204435 w 4819650"/>
              <a:gd name="connsiteY153" fmla="*/ 4568929 h 5143499"/>
              <a:gd name="connsiteX154" fmla="*/ 4173693 w 4819650"/>
              <a:gd name="connsiteY154" fmla="*/ 4518410 h 5143499"/>
              <a:gd name="connsiteX155" fmla="*/ 4098472 w 4819650"/>
              <a:gd name="connsiteY155" fmla="*/ 4486152 h 5143499"/>
              <a:gd name="connsiteX156" fmla="*/ 4097335 w 4819650"/>
              <a:gd name="connsiteY156" fmla="*/ 4461402 h 5143499"/>
              <a:gd name="connsiteX157" fmla="*/ 4098472 w 4819650"/>
              <a:gd name="connsiteY157" fmla="*/ 4436723 h 5143499"/>
              <a:gd name="connsiteX158" fmla="*/ 4173693 w 4819650"/>
              <a:gd name="connsiteY158" fmla="*/ 4404466 h 5143499"/>
              <a:gd name="connsiteX159" fmla="*/ 4061406 w 4819650"/>
              <a:gd name="connsiteY159" fmla="*/ 4399658 h 5143499"/>
              <a:gd name="connsiteX160" fmla="*/ 4036727 w 4819650"/>
              <a:gd name="connsiteY160" fmla="*/ 4400794 h 5143499"/>
              <a:gd name="connsiteX161" fmla="*/ 4011977 w 4819650"/>
              <a:gd name="connsiteY161" fmla="*/ 4399658 h 5143499"/>
              <a:gd name="connsiteX162" fmla="*/ 2094551 w 4819650"/>
              <a:gd name="connsiteY162" fmla="*/ 0 h 5143499"/>
              <a:gd name="connsiteX163" fmla="*/ 4819650 w 4819650"/>
              <a:gd name="connsiteY163" fmla="*/ 0 h 5143499"/>
              <a:gd name="connsiteX164" fmla="*/ 4819650 w 4819650"/>
              <a:gd name="connsiteY164" fmla="*/ 5143499 h 5143499"/>
              <a:gd name="connsiteX165" fmla="*/ 0 w 4819650"/>
              <a:gd name="connsiteY165" fmla="*/ 5143499 h 5143499"/>
              <a:gd name="connsiteX166" fmla="*/ 0 w 4819650"/>
              <a:gd name="connsiteY166" fmla="*/ 5143498 h 5143499"/>
              <a:gd name="connsiteX167" fmla="*/ 371745 w 4819650"/>
              <a:gd name="connsiteY167" fmla="*/ 5143498 h 5143499"/>
              <a:gd name="connsiteX168" fmla="*/ 1206499 w 4819650"/>
              <a:gd name="connsiteY168" fmla="*/ 1821610 h 5143499"/>
              <a:gd name="connsiteX169" fmla="*/ 2048326 w 4819650"/>
              <a:gd name="connsiteY169" fmla="*/ 58253 h 5143499"/>
              <a:gd name="connsiteX170" fmla="*/ 2094551 w 4819650"/>
              <a:gd name="connsiteY170"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017496 w 4819650"/>
              <a:gd name="connsiteY122" fmla="*/ 4442289 h 5143499"/>
              <a:gd name="connsiteX123" fmla="*/ 4036704 w 4819650"/>
              <a:gd name="connsiteY123" fmla="*/ 4442881 h 5143499"/>
              <a:gd name="connsiteX124" fmla="*/ 4055864 w 4819650"/>
              <a:gd name="connsiteY124" fmla="*/ 4442289 h 5143499"/>
              <a:gd name="connsiteX125" fmla="*/ 4055272 w 4819650"/>
              <a:gd name="connsiteY125" fmla="*/ 4461497 h 5143499"/>
              <a:gd name="connsiteX126" fmla="*/ 4055864 w 4819650"/>
              <a:gd name="connsiteY126" fmla="*/ 4480658 h 5143499"/>
              <a:gd name="connsiteX127" fmla="*/ 4036656 w 4819650"/>
              <a:gd name="connsiteY127" fmla="*/ 4480066 h 5143499"/>
              <a:gd name="connsiteX128" fmla="*/ 4017496 w 4819650"/>
              <a:gd name="connsiteY128" fmla="*/ 4480658 h 5143499"/>
              <a:gd name="connsiteX129" fmla="*/ 4018088 w 4819650"/>
              <a:gd name="connsiteY129" fmla="*/ 4461450 h 5143499"/>
              <a:gd name="connsiteX130" fmla="*/ 4017496 w 4819650"/>
              <a:gd name="connsiteY130" fmla="*/ 4442289 h 5143499"/>
              <a:gd name="connsiteX131" fmla="*/ 4126704 w 4819650"/>
              <a:gd name="connsiteY131" fmla="*/ 4350466 h 5143499"/>
              <a:gd name="connsiteX132" fmla="*/ 4148351 w 4819650"/>
              <a:gd name="connsiteY132" fmla="*/ 4370858 h 5143499"/>
              <a:gd name="connsiteX133" fmla="*/ 4147641 w 4819650"/>
              <a:gd name="connsiteY133" fmla="*/ 4371402 h 5143499"/>
              <a:gd name="connsiteX134" fmla="*/ 4106975 w 4819650"/>
              <a:gd name="connsiteY134" fmla="*/ 4391108 h 5143499"/>
              <a:gd name="connsiteX135" fmla="*/ 4126680 w 4819650"/>
              <a:gd name="connsiteY135" fmla="*/ 4350442 h 5143499"/>
              <a:gd name="connsiteX136" fmla="*/ 4126704 w 4819650"/>
              <a:gd name="connsiteY136" fmla="*/ 4350466 h 5143499"/>
              <a:gd name="connsiteX137" fmla="*/ 4011977 w 4819650"/>
              <a:gd name="connsiteY137" fmla="*/ 4399658 h 5143499"/>
              <a:gd name="connsiteX138" fmla="*/ 3974912 w 4819650"/>
              <a:gd name="connsiteY138" fmla="*/ 4436723 h 5143499"/>
              <a:gd name="connsiteX139" fmla="*/ 3976048 w 4819650"/>
              <a:gd name="connsiteY139" fmla="*/ 4461473 h 5143499"/>
              <a:gd name="connsiteX140" fmla="*/ 3974912 w 4819650"/>
              <a:gd name="connsiteY140" fmla="*/ 4486152 h 5143499"/>
              <a:gd name="connsiteX141" fmla="*/ 3899691 w 4819650"/>
              <a:gd name="connsiteY141" fmla="*/ 4518410 h 5143499"/>
              <a:gd name="connsiteX142" fmla="*/ 3868948 w 4819650"/>
              <a:gd name="connsiteY142" fmla="*/ 4568929 h 5143499"/>
              <a:gd name="connsiteX143" fmla="*/ 3886238 w 4819650"/>
              <a:gd name="connsiteY143" fmla="*/ 4611892 h 5143499"/>
              <a:gd name="connsiteX144" fmla="*/ 3929201 w 4819650"/>
              <a:gd name="connsiteY144" fmla="*/ 4629181 h 5143499"/>
              <a:gd name="connsiteX145" fmla="*/ 3979720 w 4819650"/>
              <a:gd name="connsiteY145" fmla="*/ 4598439 h 5143499"/>
              <a:gd name="connsiteX146" fmla="*/ 4011977 w 4819650"/>
              <a:gd name="connsiteY146" fmla="*/ 4523218 h 5143499"/>
              <a:gd name="connsiteX147" fmla="*/ 4036656 w 4819650"/>
              <a:gd name="connsiteY147" fmla="*/ 4522081 h 5143499"/>
              <a:gd name="connsiteX148" fmla="*/ 4061406 w 4819650"/>
              <a:gd name="connsiteY148" fmla="*/ 4523218 h 5143499"/>
              <a:gd name="connsiteX149" fmla="*/ 4093664 w 4819650"/>
              <a:gd name="connsiteY149" fmla="*/ 4598439 h 5143499"/>
              <a:gd name="connsiteX150" fmla="*/ 4144183 w 4819650"/>
              <a:gd name="connsiteY150" fmla="*/ 4629181 h 5143499"/>
              <a:gd name="connsiteX151" fmla="*/ 4187146 w 4819650"/>
              <a:gd name="connsiteY151" fmla="*/ 4611892 h 5143499"/>
              <a:gd name="connsiteX152" fmla="*/ 4204435 w 4819650"/>
              <a:gd name="connsiteY152" fmla="*/ 4568929 h 5143499"/>
              <a:gd name="connsiteX153" fmla="*/ 4173693 w 4819650"/>
              <a:gd name="connsiteY153" fmla="*/ 4518410 h 5143499"/>
              <a:gd name="connsiteX154" fmla="*/ 4098472 w 4819650"/>
              <a:gd name="connsiteY154" fmla="*/ 4486152 h 5143499"/>
              <a:gd name="connsiteX155" fmla="*/ 4097335 w 4819650"/>
              <a:gd name="connsiteY155" fmla="*/ 4461402 h 5143499"/>
              <a:gd name="connsiteX156" fmla="*/ 4098472 w 4819650"/>
              <a:gd name="connsiteY156" fmla="*/ 4436723 h 5143499"/>
              <a:gd name="connsiteX157" fmla="*/ 4173693 w 4819650"/>
              <a:gd name="connsiteY157" fmla="*/ 4404466 h 5143499"/>
              <a:gd name="connsiteX158" fmla="*/ 4061406 w 4819650"/>
              <a:gd name="connsiteY158" fmla="*/ 4399658 h 5143499"/>
              <a:gd name="connsiteX159" fmla="*/ 4036727 w 4819650"/>
              <a:gd name="connsiteY159" fmla="*/ 4400794 h 5143499"/>
              <a:gd name="connsiteX160" fmla="*/ 4011977 w 4819650"/>
              <a:gd name="connsiteY160" fmla="*/ 4399658 h 5143499"/>
              <a:gd name="connsiteX161" fmla="*/ 2094551 w 4819650"/>
              <a:gd name="connsiteY161" fmla="*/ 0 h 5143499"/>
              <a:gd name="connsiteX162" fmla="*/ 4819650 w 4819650"/>
              <a:gd name="connsiteY162" fmla="*/ 0 h 5143499"/>
              <a:gd name="connsiteX163" fmla="*/ 4819650 w 4819650"/>
              <a:gd name="connsiteY163" fmla="*/ 5143499 h 5143499"/>
              <a:gd name="connsiteX164" fmla="*/ 0 w 4819650"/>
              <a:gd name="connsiteY164" fmla="*/ 5143499 h 5143499"/>
              <a:gd name="connsiteX165" fmla="*/ 0 w 4819650"/>
              <a:gd name="connsiteY165" fmla="*/ 5143498 h 5143499"/>
              <a:gd name="connsiteX166" fmla="*/ 371745 w 4819650"/>
              <a:gd name="connsiteY166" fmla="*/ 5143498 h 5143499"/>
              <a:gd name="connsiteX167" fmla="*/ 1206499 w 4819650"/>
              <a:gd name="connsiteY167" fmla="*/ 1821610 h 5143499"/>
              <a:gd name="connsiteX168" fmla="*/ 2048326 w 4819650"/>
              <a:gd name="connsiteY168" fmla="*/ 58253 h 5143499"/>
              <a:gd name="connsiteX169" fmla="*/ 2094551 w 4819650"/>
              <a:gd name="connsiteY169"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017496 w 4819650"/>
              <a:gd name="connsiteY122" fmla="*/ 4442289 h 5143499"/>
              <a:gd name="connsiteX123" fmla="*/ 4036704 w 4819650"/>
              <a:gd name="connsiteY123" fmla="*/ 4442881 h 5143499"/>
              <a:gd name="connsiteX124" fmla="*/ 4055864 w 4819650"/>
              <a:gd name="connsiteY124" fmla="*/ 4442289 h 5143499"/>
              <a:gd name="connsiteX125" fmla="*/ 4055272 w 4819650"/>
              <a:gd name="connsiteY125" fmla="*/ 4461497 h 5143499"/>
              <a:gd name="connsiteX126" fmla="*/ 4055864 w 4819650"/>
              <a:gd name="connsiteY126" fmla="*/ 4480658 h 5143499"/>
              <a:gd name="connsiteX127" fmla="*/ 4036656 w 4819650"/>
              <a:gd name="connsiteY127" fmla="*/ 4480066 h 5143499"/>
              <a:gd name="connsiteX128" fmla="*/ 4017496 w 4819650"/>
              <a:gd name="connsiteY128" fmla="*/ 4480658 h 5143499"/>
              <a:gd name="connsiteX129" fmla="*/ 4018088 w 4819650"/>
              <a:gd name="connsiteY129" fmla="*/ 4461450 h 5143499"/>
              <a:gd name="connsiteX130" fmla="*/ 4017496 w 4819650"/>
              <a:gd name="connsiteY130" fmla="*/ 4442289 h 5143499"/>
              <a:gd name="connsiteX131" fmla="*/ 4126680 w 4819650"/>
              <a:gd name="connsiteY131" fmla="*/ 4350442 h 5143499"/>
              <a:gd name="connsiteX132" fmla="*/ 4148351 w 4819650"/>
              <a:gd name="connsiteY132" fmla="*/ 4370858 h 5143499"/>
              <a:gd name="connsiteX133" fmla="*/ 4147641 w 4819650"/>
              <a:gd name="connsiteY133" fmla="*/ 4371402 h 5143499"/>
              <a:gd name="connsiteX134" fmla="*/ 4106975 w 4819650"/>
              <a:gd name="connsiteY134" fmla="*/ 4391108 h 5143499"/>
              <a:gd name="connsiteX135" fmla="*/ 4126680 w 4819650"/>
              <a:gd name="connsiteY135" fmla="*/ 4350442 h 5143499"/>
              <a:gd name="connsiteX136" fmla="*/ 4011977 w 4819650"/>
              <a:gd name="connsiteY136" fmla="*/ 4399658 h 5143499"/>
              <a:gd name="connsiteX137" fmla="*/ 3974912 w 4819650"/>
              <a:gd name="connsiteY137" fmla="*/ 4436723 h 5143499"/>
              <a:gd name="connsiteX138" fmla="*/ 3976048 w 4819650"/>
              <a:gd name="connsiteY138" fmla="*/ 4461473 h 5143499"/>
              <a:gd name="connsiteX139" fmla="*/ 3974912 w 4819650"/>
              <a:gd name="connsiteY139" fmla="*/ 4486152 h 5143499"/>
              <a:gd name="connsiteX140" fmla="*/ 3899691 w 4819650"/>
              <a:gd name="connsiteY140" fmla="*/ 4518410 h 5143499"/>
              <a:gd name="connsiteX141" fmla="*/ 3868948 w 4819650"/>
              <a:gd name="connsiteY141" fmla="*/ 4568929 h 5143499"/>
              <a:gd name="connsiteX142" fmla="*/ 3886238 w 4819650"/>
              <a:gd name="connsiteY142" fmla="*/ 4611892 h 5143499"/>
              <a:gd name="connsiteX143" fmla="*/ 3929201 w 4819650"/>
              <a:gd name="connsiteY143" fmla="*/ 4629181 h 5143499"/>
              <a:gd name="connsiteX144" fmla="*/ 3979720 w 4819650"/>
              <a:gd name="connsiteY144" fmla="*/ 4598439 h 5143499"/>
              <a:gd name="connsiteX145" fmla="*/ 4011977 w 4819650"/>
              <a:gd name="connsiteY145" fmla="*/ 4523218 h 5143499"/>
              <a:gd name="connsiteX146" fmla="*/ 4036656 w 4819650"/>
              <a:gd name="connsiteY146" fmla="*/ 4522081 h 5143499"/>
              <a:gd name="connsiteX147" fmla="*/ 4061406 w 4819650"/>
              <a:gd name="connsiteY147" fmla="*/ 4523218 h 5143499"/>
              <a:gd name="connsiteX148" fmla="*/ 4093664 w 4819650"/>
              <a:gd name="connsiteY148" fmla="*/ 4598439 h 5143499"/>
              <a:gd name="connsiteX149" fmla="*/ 4144183 w 4819650"/>
              <a:gd name="connsiteY149" fmla="*/ 4629181 h 5143499"/>
              <a:gd name="connsiteX150" fmla="*/ 4187146 w 4819650"/>
              <a:gd name="connsiteY150" fmla="*/ 4611892 h 5143499"/>
              <a:gd name="connsiteX151" fmla="*/ 4204435 w 4819650"/>
              <a:gd name="connsiteY151" fmla="*/ 4568929 h 5143499"/>
              <a:gd name="connsiteX152" fmla="*/ 4173693 w 4819650"/>
              <a:gd name="connsiteY152" fmla="*/ 4518410 h 5143499"/>
              <a:gd name="connsiteX153" fmla="*/ 4098472 w 4819650"/>
              <a:gd name="connsiteY153" fmla="*/ 4486152 h 5143499"/>
              <a:gd name="connsiteX154" fmla="*/ 4097335 w 4819650"/>
              <a:gd name="connsiteY154" fmla="*/ 4461402 h 5143499"/>
              <a:gd name="connsiteX155" fmla="*/ 4098472 w 4819650"/>
              <a:gd name="connsiteY155" fmla="*/ 4436723 h 5143499"/>
              <a:gd name="connsiteX156" fmla="*/ 4173693 w 4819650"/>
              <a:gd name="connsiteY156" fmla="*/ 4404466 h 5143499"/>
              <a:gd name="connsiteX157" fmla="*/ 4061406 w 4819650"/>
              <a:gd name="connsiteY157" fmla="*/ 4399658 h 5143499"/>
              <a:gd name="connsiteX158" fmla="*/ 4036727 w 4819650"/>
              <a:gd name="connsiteY158" fmla="*/ 4400794 h 5143499"/>
              <a:gd name="connsiteX159" fmla="*/ 4011977 w 4819650"/>
              <a:gd name="connsiteY159" fmla="*/ 4399658 h 5143499"/>
              <a:gd name="connsiteX160" fmla="*/ 2094551 w 4819650"/>
              <a:gd name="connsiteY160" fmla="*/ 0 h 5143499"/>
              <a:gd name="connsiteX161" fmla="*/ 4819650 w 4819650"/>
              <a:gd name="connsiteY161" fmla="*/ 0 h 5143499"/>
              <a:gd name="connsiteX162" fmla="*/ 4819650 w 4819650"/>
              <a:gd name="connsiteY162" fmla="*/ 5143499 h 5143499"/>
              <a:gd name="connsiteX163" fmla="*/ 0 w 4819650"/>
              <a:gd name="connsiteY163" fmla="*/ 5143499 h 5143499"/>
              <a:gd name="connsiteX164" fmla="*/ 0 w 4819650"/>
              <a:gd name="connsiteY164" fmla="*/ 5143498 h 5143499"/>
              <a:gd name="connsiteX165" fmla="*/ 371745 w 4819650"/>
              <a:gd name="connsiteY165" fmla="*/ 5143498 h 5143499"/>
              <a:gd name="connsiteX166" fmla="*/ 1206499 w 4819650"/>
              <a:gd name="connsiteY166" fmla="*/ 1821610 h 5143499"/>
              <a:gd name="connsiteX167" fmla="*/ 2048326 w 4819650"/>
              <a:gd name="connsiteY167" fmla="*/ 58253 h 5143499"/>
              <a:gd name="connsiteX168" fmla="*/ 2094551 w 4819650"/>
              <a:gd name="connsiteY168"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017496 w 4819650"/>
              <a:gd name="connsiteY122" fmla="*/ 4442289 h 5143499"/>
              <a:gd name="connsiteX123" fmla="*/ 4036704 w 4819650"/>
              <a:gd name="connsiteY123" fmla="*/ 4442881 h 5143499"/>
              <a:gd name="connsiteX124" fmla="*/ 4055864 w 4819650"/>
              <a:gd name="connsiteY124" fmla="*/ 4442289 h 5143499"/>
              <a:gd name="connsiteX125" fmla="*/ 4055272 w 4819650"/>
              <a:gd name="connsiteY125" fmla="*/ 4461497 h 5143499"/>
              <a:gd name="connsiteX126" fmla="*/ 4055864 w 4819650"/>
              <a:gd name="connsiteY126" fmla="*/ 4480658 h 5143499"/>
              <a:gd name="connsiteX127" fmla="*/ 4036656 w 4819650"/>
              <a:gd name="connsiteY127" fmla="*/ 4480066 h 5143499"/>
              <a:gd name="connsiteX128" fmla="*/ 4017496 w 4819650"/>
              <a:gd name="connsiteY128" fmla="*/ 4480658 h 5143499"/>
              <a:gd name="connsiteX129" fmla="*/ 4018088 w 4819650"/>
              <a:gd name="connsiteY129" fmla="*/ 4461450 h 5143499"/>
              <a:gd name="connsiteX130" fmla="*/ 4017496 w 4819650"/>
              <a:gd name="connsiteY130" fmla="*/ 4442289 h 5143499"/>
              <a:gd name="connsiteX131" fmla="*/ 4106975 w 4819650"/>
              <a:gd name="connsiteY131" fmla="*/ 4391108 h 5143499"/>
              <a:gd name="connsiteX132" fmla="*/ 4148351 w 4819650"/>
              <a:gd name="connsiteY132" fmla="*/ 4370858 h 5143499"/>
              <a:gd name="connsiteX133" fmla="*/ 4147641 w 4819650"/>
              <a:gd name="connsiteY133" fmla="*/ 4371402 h 5143499"/>
              <a:gd name="connsiteX134" fmla="*/ 4106975 w 4819650"/>
              <a:gd name="connsiteY134" fmla="*/ 4391108 h 5143499"/>
              <a:gd name="connsiteX135" fmla="*/ 4011977 w 4819650"/>
              <a:gd name="connsiteY135" fmla="*/ 4399658 h 5143499"/>
              <a:gd name="connsiteX136" fmla="*/ 3974912 w 4819650"/>
              <a:gd name="connsiteY136" fmla="*/ 4436723 h 5143499"/>
              <a:gd name="connsiteX137" fmla="*/ 3976048 w 4819650"/>
              <a:gd name="connsiteY137" fmla="*/ 4461473 h 5143499"/>
              <a:gd name="connsiteX138" fmla="*/ 3974912 w 4819650"/>
              <a:gd name="connsiteY138" fmla="*/ 4486152 h 5143499"/>
              <a:gd name="connsiteX139" fmla="*/ 3899691 w 4819650"/>
              <a:gd name="connsiteY139" fmla="*/ 4518410 h 5143499"/>
              <a:gd name="connsiteX140" fmla="*/ 3868948 w 4819650"/>
              <a:gd name="connsiteY140" fmla="*/ 4568929 h 5143499"/>
              <a:gd name="connsiteX141" fmla="*/ 3886238 w 4819650"/>
              <a:gd name="connsiteY141" fmla="*/ 4611892 h 5143499"/>
              <a:gd name="connsiteX142" fmla="*/ 3929201 w 4819650"/>
              <a:gd name="connsiteY142" fmla="*/ 4629181 h 5143499"/>
              <a:gd name="connsiteX143" fmla="*/ 3979720 w 4819650"/>
              <a:gd name="connsiteY143" fmla="*/ 4598439 h 5143499"/>
              <a:gd name="connsiteX144" fmla="*/ 4011977 w 4819650"/>
              <a:gd name="connsiteY144" fmla="*/ 4523218 h 5143499"/>
              <a:gd name="connsiteX145" fmla="*/ 4036656 w 4819650"/>
              <a:gd name="connsiteY145" fmla="*/ 4522081 h 5143499"/>
              <a:gd name="connsiteX146" fmla="*/ 4061406 w 4819650"/>
              <a:gd name="connsiteY146" fmla="*/ 4523218 h 5143499"/>
              <a:gd name="connsiteX147" fmla="*/ 4093664 w 4819650"/>
              <a:gd name="connsiteY147" fmla="*/ 4598439 h 5143499"/>
              <a:gd name="connsiteX148" fmla="*/ 4144183 w 4819650"/>
              <a:gd name="connsiteY148" fmla="*/ 4629181 h 5143499"/>
              <a:gd name="connsiteX149" fmla="*/ 4187146 w 4819650"/>
              <a:gd name="connsiteY149" fmla="*/ 4611892 h 5143499"/>
              <a:gd name="connsiteX150" fmla="*/ 4204435 w 4819650"/>
              <a:gd name="connsiteY150" fmla="*/ 4568929 h 5143499"/>
              <a:gd name="connsiteX151" fmla="*/ 4173693 w 4819650"/>
              <a:gd name="connsiteY151" fmla="*/ 4518410 h 5143499"/>
              <a:gd name="connsiteX152" fmla="*/ 4098472 w 4819650"/>
              <a:gd name="connsiteY152" fmla="*/ 4486152 h 5143499"/>
              <a:gd name="connsiteX153" fmla="*/ 4097335 w 4819650"/>
              <a:gd name="connsiteY153" fmla="*/ 4461402 h 5143499"/>
              <a:gd name="connsiteX154" fmla="*/ 4098472 w 4819650"/>
              <a:gd name="connsiteY154" fmla="*/ 4436723 h 5143499"/>
              <a:gd name="connsiteX155" fmla="*/ 4173693 w 4819650"/>
              <a:gd name="connsiteY155" fmla="*/ 4404466 h 5143499"/>
              <a:gd name="connsiteX156" fmla="*/ 4061406 w 4819650"/>
              <a:gd name="connsiteY156" fmla="*/ 4399658 h 5143499"/>
              <a:gd name="connsiteX157" fmla="*/ 4036727 w 4819650"/>
              <a:gd name="connsiteY157" fmla="*/ 4400794 h 5143499"/>
              <a:gd name="connsiteX158" fmla="*/ 4011977 w 4819650"/>
              <a:gd name="connsiteY158" fmla="*/ 4399658 h 5143499"/>
              <a:gd name="connsiteX159" fmla="*/ 2094551 w 4819650"/>
              <a:gd name="connsiteY159" fmla="*/ 0 h 5143499"/>
              <a:gd name="connsiteX160" fmla="*/ 4819650 w 4819650"/>
              <a:gd name="connsiteY160" fmla="*/ 0 h 5143499"/>
              <a:gd name="connsiteX161" fmla="*/ 4819650 w 4819650"/>
              <a:gd name="connsiteY161" fmla="*/ 5143499 h 5143499"/>
              <a:gd name="connsiteX162" fmla="*/ 0 w 4819650"/>
              <a:gd name="connsiteY162" fmla="*/ 5143499 h 5143499"/>
              <a:gd name="connsiteX163" fmla="*/ 0 w 4819650"/>
              <a:gd name="connsiteY163" fmla="*/ 5143498 h 5143499"/>
              <a:gd name="connsiteX164" fmla="*/ 371745 w 4819650"/>
              <a:gd name="connsiteY164" fmla="*/ 5143498 h 5143499"/>
              <a:gd name="connsiteX165" fmla="*/ 1206499 w 4819650"/>
              <a:gd name="connsiteY165" fmla="*/ 1821610 h 5143499"/>
              <a:gd name="connsiteX166" fmla="*/ 2048326 w 4819650"/>
              <a:gd name="connsiteY166" fmla="*/ 58253 h 5143499"/>
              <a:gd name="connsiteX167" fmla="*/ 2094551 w 4819650"/>
              <a:gd name="connsiteY167"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017496 w 4819650"/>
              <a:gd name="connsiteY122" fmla="*/ 4442289 h 5143499"/>
              <a:gd name="connsiteX123" fmla="*/ 4036704 w 4819650"/>
              <a:gd name="connsiteY123" fmla="*/ 4442881 h 5143499"/>
              <a:gd name="connsiteX124" fmla="*/ 4055864 w 4819650"/>
              <a:gd name="connsiteY124" fmla="*/ 4442289 h 5143499"/>
              <a:gd name="connsiteX125" fmla="*/ 4055272 w 4819650"/>
              <a:gd name="connsiteY125" fmla="*/ 4461497 h 5143499"/>
              <a:gd name="connsiteX126" fmla="*/ 4055864 w 4819650"/>
              <a:gd name="connsiteY126" fmla="*/ 4480658 h 5143499"/>
              <a:gd name="connsiteX127" fmla="*/ 4036656 w 4819650"/>
              <a:gd name="connsiteY127" fmla="*/ 4480066 h 5143499"/>
              <a:gd name="connsiteX128" fmla="*/ 4017496 w 4819650"/>
              <a:gd name="connsiteY128" fmla="*/ 4480658 h 5143499"/>
              <a:gd name="connsiteX129" fmla="*/ 4018088 w 4819650"/>
              <a:gd name="connsiteY129" fmla="*/ 4461450 h 5143499"/>
              <a:gd name="connsiteX130" fmla="*/ 4017496 w 4819650"/>
              <a:gd name="connsiteY130" fmla="*/ 4442289 h 5143499"/>
              <a:gd name="connsiteX131" fmla="*/ 4106975 w 4819650"/>
              <a:gd name="connsiteY131" fmla="*/ 4391108 h 5143499"/>
              <a:gd name="connsiteX132" fmla="*/ 4148351 w 4819650"/>
              <a:gd name="connsiteY132" fmla="*/ 4370858 h 5143499"/>
              <a:gd name="connsiteX133" fmla="*/ 4106975 w 4819650"/>
              <a:gd name="connsiteY133" fmla="*/ 4391108 h 5143499"/>
              <a:gd name="connsiteX134" fmla="*/ 4011977 w 4819650"/>
              <a:gd name="connsiteY134" fmla="*/ 4399658 h 5143499"/>
              <a:gd name="connsiteX135" fmla="*/ 3974912 w 4819650"/>
              <a:gd name="connsiteY135" fmla="*/ 4436723 h 5143499"/>
              <a:gd name="connsiteX136" fmla="*/ 3976048 w 4819650"/>
              <a:gd name="connsiteY136" fmla="*/ 4461473 h 5143499"/>
              <a:gd name="connsiteX137" fmla="*/ 3974912 w 4819650"/>
              <a:gd name="connsiteY137" fmla="*/ 4486152 h 5143499"/>
              <a:gd name="connsiteX138" fmla="*/ 3899691 w 4819650"/>
              <a:gd name="connsiteY138" fmla="*/ 4518410 h 5143499"/>
              <a:gd name="connsiteX139" fmla="*/ 3868948 w 4819650"/>
              <a:gd name="connsiteY139" fmla="*/ 4568929 h 5143499"/>
              <a:gd name="connsiteX140" fmla="*/ 3886238 w 4819650"/>
              <a:gd name="connsiteY140" fmla="*/ 4611892 h 5143499"/>
              <a:gd name="connsiteX141" fmla="*/ 3929201 w 4819650"/>
              <a:gd name="connsiteY141" fmla="*/ 4629181 h 5143499"/>
              <a:gd name="connsiteX142" fmla="*/ 3979720 w 4819650"/>
              <a:gd name="connsiteY142" fmla="*/ 4598439 h 5143499"/>
              <a:gd name="connsiteX143" fmla="*/ 4011977 w 4819650"/>
              <a:gd name="connsiteY143" fmla="*/ 4523218 h 5143499"/>
              <a:gd name="connsiteX144" fmla="*/ 4036656 w 4819650"/>
              <a:gd name="connsiteY144" fmla="*/ 4522081 h 5143499"/>
              <a:gd name="connsiteX145" fmla="*/ 4061406 w 4819650"/>
              <a:gd name="connsiteY145" fmla="*/ 4523218 h 5143499"/>
              <a:gd name="connsiteX146" fmla="*/ 4093664 w 4819650"/>
              <a:gd name="connsiteY146" fmla="*/ 4598439 h 5143499"/>
              <a:gd name="connsiteX147" fmla="*/ 4144183 w 4819650"/>
              <a:gd name="connsiteY147" fmla="*/ 4629181 h 5143499"/>
              <a:gd name="connsiteX148" fmla="*/ 4187146 w 4819650"/>
              <a:gd name="connsiteY148" fmla="*/ 4611892 h 5143499"/>
              <a:gd name="connsiteX149" fmla="*/ 4204435 w 4819650"/>
              <a:gd name="connsiteY149" fmla="*/ 4568929 h 5143499"/>
              <a:gd name="connsiteX150" fmla="*/ 4173693 w 4819650"/>
              <a:gd name="connsiteY150" fmla="*/ 4518410 h 5143499"/>
              <a:gd name="connsiteX151" fmla="*/ 4098472 w 4819650"/>
              <a:gd name="connsiteY151" fmla="*/ 4486152 h 5143499"/>
              <a:gd name="connsiteX152" fmla="*/ 4097335 w 4819650"/>
              <a:gd name="connsiteY152" fmla="*/ 4461402 h 5143499"/>
              <a:gd name="connsiteX153" fmla="*/ 4098472 w 4819650"/>
              <a:gd name="connsiteY153" fmla="*/ 4436723 h 5143499"/>
              <a:gd name="connsiteX154" fmla="*/ 4173693 w 4819650"/>
              <a:gd name="connsiteY154" fmla="*/ 4404466 h 5143499"/>
              <a:gd name="connsiteX155" fmla="*/ 4061406 w 4819650"/>
              <a:gd name="connsiteY155" fmla="*/ 4399658 h 5143499"/>
              <a:gd name="connsiteX156" fmla="*/ 4036727 w 4819650"/>
              <a:gd name="connsiteY156" fmla="*/ 4400794 h 5143499"/>
              <a:gd name="connsiteX157" fmla="*/ 4011977 w 4819650"/>
              <a:gd name="connsiteY157" fmla="*/ 4399658 h 5143499"/>
              <a:gd name="connsiteX158" fmla="*/ 2094551 w 4819650"/>
              <a:gd name="connsiteY158" fmla="*/ 0 h 5143499"/>
              <a:gd name="connsiteX159" fmla="*/ 4819650 w 4819650"/>
              <a:gd name="connsiteY159" fmla="*/ 0 h 5143499"/>
              <a:gd name="connsiteX160" fmla="*/ 4819650 w 4819650"/>
              <a:gd name="connsiteY160" fmla="*/ 5143499 h 5143499"/>
              <a:gd name="connsiteX161" fmla="*/ 0 w 4819650"/>
              <a:gd name="connsiteY161" fmla="*/ 5143499 h 5143499"/>
              <a:gd name="connsiteX162" fmla="*/ 0 w 4819650"/>
              <a:gd name="connsiteY162" fmla="*/ 5143498 h 5143499"/>
              <a:gd name="connsiteX163" fmla="*/ 371745 w 4819650"/>
              <a:gd name="connsiteY163" fmla="*/ 5143498 h 5143499"/>
              <a:gd name="connsiteX164" fmla="*/ 1206499 w 4819650"/>
              <a:gd name="connsiteY164" fmla="*/ 1821610 h 5143499"/>
              <a:gd name="connsiteX165" fmla="*/ 2048326 w 4819650"/>
              <a:gd name="connsiteY165" fmla="*/ 58253 h 5143499"/>
              <a:gd name="connsiteX166" fmla="*/ 2094551 w 4819650"/>
              <a:gd name="connsiteY166"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017496 w 4819650"/>
              <a:gd name="connsiteY122" fmla="*/ 4442289 h 5143499"/>
              <a:gd name="connsiteX123" fmla="*/ 4036704 w 4819650"/>
              <a:gd name="connsiteY123" fmla="*/ 4442881 h 5143499"/>
              <a:gd name="connsiteX124" fmla="*/ 4055864 w 4819650"/>
              <a:gd name="connsiteY124" fmla="*/ 4442289 h 5143499"/>
              <a:gd name="connsiteX125" fmla="*/ 4055272 w 4819650"/>
              <a:gd name="connsiteY125" fmla="*/ 4461497 h 5143499"/>
              <a:gd name="connsiteX126" fmla="*/ 4055864 w 4819650"/>
              <a:gd name="connsiteY126" fmla="*/ 4480658 h 5143499"/>
              <a:gd name="connsiteX127" fmla="*/ 4036656 w 4819650"/>
              <a:gd name="connsiteY127" fmla="*/ 4480066 h 5143499"/>
              <a:gd name="connsiteX128" fmla="*/ 4017496 w 4819650"/>
              <a:gd name="connsiteY128" fmla="*/ 4480658 h 5143499"/>
              <a:gd name="connsiteX129" fmla="*/ 4018088 w 4819650"/>
              <a:gd name="connsiteY129" fmla="*/ 4461450 h 5143499"/>
              <a:gd name="connsiteX130" fmla="*/ 4017496 w 4819650"/>
              <a:gd name="connsiteY130" fmla="*/ 4442289 h 5143499"/>
              <a:gd name="connsiteX131" fmla="*/ 4011977 w 4819650"/>
              <a:gd name="connsiteY131" fmla="*/ 4399658 h 5143499"/>
              <a:gd name="connsiteX132" fmla="*/ 3974912 w 4819650"/>
              <a:gd name="connsiteY132" fmla="*/ 4436723 h 5143499"/>
              <a:gd name="connsiteX133" fmla="*/ 3976048 w 4819650"/>
              <a:gd name="connsiteY133" fmla="*/ 4461473 h 5143499"/>
              <a:gd name="connsiteX134" fmla="*/ 3974912 w 4819650"/>
              <a:gd name="connsiteY134" fmla="*/ 4486152 h 5143499"/>
              <a:gd name="connsiteX135" fmla="*/ 3899691 w 4819650"/>
              <a:gd name="connsiteY135" fmla="*/ 4518410 h 5143499"/>
              <a:gd name="connsiteX136" fmla="*/ 3868948 w 4819650"/>
              <a:gd name="connsiteY136" fmla="*/ 4568929 h 5143499"/>
              <a:gd name="connsiteX137" fmla="*/ 3886238 w 4819650"/>
              <a:gd name="connsiteY137" fmla="*/ 4611892 h 5143499"/>
              <a:gd name="connsiteX138" fmla="*/ 3929201 w 4819650"/>
              <a:gd name="connsiteY138" fmla="*/ 4629181 h 5143499"/>
              <a:gd name="connsiteX139" fmla="*/ 3979720 w 4819650"/>
              <a:gd name="connsiteY139" fmla="*/ 4598439 h 5143499"/>
              <a:gd name="connsiteX140" fmla="*/ 4011977 w 4819650"/>
              <a:gd name="connsiteY140" fmla="*/ 4523218 h 5143499"/>
              <a:gd name="connsiteX141" fmla="*/ 4036656 w 4819650"/>
              <a:gd name="connsiteY141" fmla="*/ 4522081 h 5143499"/>
              <a:gd name="connsiteX142" fmla="*/ 4061406 w 4819650"/>
              <a:gd name="connsiteY142" fmla="*/ 4523218 h 5143499"/>
              <a:gd name="connsiteX143" fmla="*/ 4093664 w 4819650"/>
              <a:gd name="connsiteY143" fmla="*/ 4598439 h 5143499"/>
              <a:gd name="connsiteX144" fmla="*/ 4144183 w 4819650"/>
              <a:gd name="connsiteY144" fmla="*/ 4629181 h 5143499"/>
              <a:gd name="connsiteX145" fmla="*/ 4187146 w 4819650"/>
              <a:gd name="connsiteY145" fmla="*/ 4611892 h 5143499"/>
              <a:gd name="connsiteX146" fmla="*/ 4204435 w 4819650"/>
              <a:gd name="connsiteY146" fmla="*/ 4568929 h 5143499"/>
              <a:gd name="connsiteX147" fmla="*/ 4173693 w 4819650"/>
              <a:gd name="connsiteY147" fmla="*/ 4518410 h 5143499"/>
              <a:gd name="connsiteX148" fmla="*/ 4098472 w 4819650"/>
              <a:gd name="connsiteY148" fmla="*/ 4486152 h 5143499"/>
              <a:gd name="connsiteX149" fmla="*/ 4097335 w 4819650"/>
              <a:gd name="connsiteY149" fmla="*/ 4461402 h 5143499"/>
              <a:gd name="connsiteX150" fmla="*/ 4098472 w 4819650"/>
              <a:gd name="connsiteY150" fmla="*/ 4436723 h 5143499"/>
              <a:gd name="connsiteX151" fmla="*/ 4173693 w 4819650"/>
              <a:gd name="connsiteY151" fmla="*/ 4404466 h 5143499"/>
              <a:gd name="connsiteX152" fmla="*/ 4061406 w 4819650"/>
              <a:gd name="connsiteY152" fmla="*/ 4399658 h 5143499"/>
              <a:gd name="connsiteX153" fmla="*/ 4036727 w 4819650"/>
              <a:gd name="connsiteY153" fmla="*/ 4400794 h 5143499"/>
              <a:gd name="connsiteX154" fmla="*/ 4011977 w 4819650"/>
              <a:gd name="connsiteY154" fmla="*/ 4399658 h 5143499"/>
              <a:gd name="connsiteX155" fmla="*/ 2094551 w 4819650"/>
              <a:gd name="connsiteY155" fmla="*/ 0 h 5143499"/>
              <a:gd name="connsiteX156" fmla="*/ 4819650 w 4819650"/>
              <a:gd name="connsiteY156" fmla="*/ 0 h 5143499"/>
              <a:gd name="connsiteX157" fmla="*/ 4819650 w 4819650"/>
              <a:gd name="connsiteY157" fmla="*/ 5143499 h 5143499"/>
              <a:gd name="connsiteX158" fmla="*/ 0 w 4819650"/>
              <a:gd name="connsiteY158" fmla="*/ 5143499 h 5143499"/>
              <a:gd name="connsiteX159" fmla="*/ 0 w 4819650"/>
              <a:gd name="connsiteY159" fmla="*/ 5143498 h 5143499"/>
              <a:gd name="connsiteX160" fmla="*/ 371745 w 4819650"/>
              <a:gd name="connsiteY160" fmla="*/ 5143498 h 5143499"/>
              <a:gd name="connsiteX161" fmla="*/ 1206499 w 4819650"/>
              <a:gd name="connsiteY161" fmla="*/ 1821610 h 5143499"/>
              <a:gd name="connsiteX162" fmla="*/ 2048326 w 4819650"/>
              <a:gd name="connsiteY162" fmla="*/ 58253 h 5143499"/>
              <a:gd name="connsiteX163" fmla="*/ 2094551 w 4819650"/>
              <a:gd name="connsiteY163"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017496 w 4819650"/>
              <a:gd name="connsiteY122" fmla="*/ 4442289 h 5143499"/>
              <a:gd name="connsiteX123" fmla="*/ 4036704 w 4819650"/>
              <a:gd name="connsiteY123" fmla="*/ 4442881 h 5143499"/>
              <a:gd name="connsiteX124" fmla="*/ 4055864 w 4819650"/>
              <a:gd name="connsiteY124" fmla="*/ 4442289 h 5143499"/>
              <a:gd name="connsiteX125" fmla="*/ 4055272 w 4819650"/>
              <a:gd name="connsiteY125" fmla="*/ 4461497 h 5143499"/>
              <a:gd name="connsiteX126" fmla="*/ 4055864 w 4819650"/>
              <a:gd name="connsiteY126" fmla="*/ 4480658 h 5143499"/>
              <a:gd name="connsiteX127" fmla="*/ 4036656 w 4819650"/>
              <a:gd name="connsiteY127" fmla="*/ 4480066 h 5143499"/>
              <a:gd name="connsiteX128" fmla="*/ 4017496 w 4819650"/>
              <a:gd name="connsiteY128" fmla="*/ 4480658 h 5143499"/>
              <a:gd name="connsiteX129" fmla="*/ 4018088 w 4819650"/>
              <a:gd name="connsiteY129" fmla="*/ 4461450 h 5143499"/>
              <a:gd name="connsiteX130" fmla="*/ 4017496 w 4819650"/>
              <a:gd name="connsiteY130" fmla="*/ 4442289 h 5143499"/>
              <a:gd name="connsiteX131" fmla="*/ 4011977 w 4819650"/>
              <a:gd name="connsiteY131" fmla="*/ 4399658 h 5143499"/>
              <a:gd name="connsiteX132" fmla="*/ 3974912 w 4819650"/>
              <a:gd name="connsiteY132" fmla="*/ 4436723 h 5143499"/>
              <a:gd name="connsiteX133" fmla="*/ 3976048 w 4819650"/>
              <a:gd name="connsiteY133" fmla="*/ 4461473 h 5143499"/>
              <a:gd name="connsiteX134" fmla="*/ 3974912 w 4819650"/>
              <a:gd name="connsiteY134" fmla="*/ 4486152 h 5143499"/>
              <a:gd name="connsiteX135" fmla="*/ 3899691 w 4819650"/>
              <a:gd name="connsiteY135" fmla="*/ 4518410 h 5143499"/>
              <a:gd name="connsiteX136" fmla="*/ 3868948 w 4819650"/>
              <a:gd name="connsiteY136" fmla="*/ 4568929 h 5143499"/>
              <a:gd name="connsiteX137" fmla="*/ 3886238 w 4819650"/>
              <a:gd name="connsiteY137" fmla="*/ 4611892 h 5143499"/>
              <a:gd name="connsiteX138" fmla="*/ 3929201 w 4819650"/>
              <a:gd name="connsiteY138" fmla="*/ 4629181 h 5143499"/>
              <a:gd name="connsiteX139" fmla="*/ 3979720 w 4819650"/>
              <a:gd name="connsiteY139" fmla="*/ 4598439 h 5143499"/>
              <a:gd name="connsiteX140" fmla="*/ 4011977 w 4819650"/>
              <a:gd name="connsiteY140" fmla="*/ 4523218 h 5143499"/>
              <a:gd name="connsiteX141" fmla="*/ 4036656 w 4819650"/>
              <a:gd name="connsiteY141" fmla="*/ 4522081 h 5143499"/>
              <a:gd name="connsiteX142" fmla="*/ 4061406 w 4819650"/>
              <a:gd name="connsiteY142" fmla="*/ 4523218 h 5143499"/>
              <a:gd name="connsiteX143" fmla="*/ 4093664 w 4819650"/>
              <a:gd name="connsiteY143" fmla="*/ 4598439 h 5143499"/>
              <a:gd name="connsiteX144" fmla="*/ 4144183 w 4819650"/>
              <a:gd name="connsiteY144" fmla="*/ 4629181 h 5143499"/>
              <a:gd name="connsiteX145" fmla="*/ 4187146 w 4819650"/>
              <a:gd name="connsiteY145" fmla="*/ 4611892 h 5143499"/>
              <a:gd name="connsiteX146" fmla="*/ 4204435 w 4819650"/>
              <a:gd name="connsiteY146" fmla="*/ 4568929 h 5143499"/>
              <a:gd name="connsiteX147" fmla="*/ 4173693 w 4819650"/>
              <a:gd name="connsiteY147" fmla="*/ 4518410 h 5143499"/>
              <a:gd name="connsiteX148" fmla="*/ 4098472 w 4819650"/>
              <a:gd name="connsiteY148" fmla="*/ 4486152 h 5143499"/>
              <a:gd name="connsiteX149" fmla="*/ 4097335 w 4819650"/>
              <a:gd name="connsiteY149" fmla="*/ 4461402 h 5143499"/>
              <a:gd name="connsiteX150" fmla="*/ 4098472 w 4819650"/>
              <a:gd name="connsiteY150" fmla="*/ 4436723 h 5143499"/>
              <a:gd name="connsiteX151" fmla="*/ 4061406 w 4819650"/>
              <a:gd name="connsiteY151" fmla="*/ 4399658 h 5143499"/>
              <a:gd name="connsiteX152" fmla="*/ 4036727 w 4819650"/>
              <a:gd name="connsiteY152" fmla="*/ 4400794 h 5143499"/>
              <a:gd name="connsiteX153" fmla="*/ 4011977 w 4819650"/>
              <a:gd name="connsiteY153" fmla="*/ 4399658 h 5143499"/>
              <a:gd name="connsiteX154" fmla="*/ 2094551 w 4819650"/>
              <a:gd name="connsiteY154" fmla="*/ 0 h 5143499"/>
              <a:gd name="connsiteX155" fmla="*/ 4819650 w 4819650"/>
              <a:gd name="connsiteY155" fmla="*/ 0 h 5143499"/>
              <a:gd name="connsiteX156" fmla="*/ 4819650 w 4819650"/>
              <a:gd name="connsiteY156" fmla="*/ 5143499 h 5143499"/>
              <a:gd name="connsiteX157" fmla="*/ 0 w 4819650"/>
              <a:gd name="connsiteY157" fmla="*/ 5143499 h 5143499"/>
              <a:gd name="connsiteX158" fmla="*/ 0 w 4819650"/>
              <a:gd name="connsiteY158" fmla="*/ 5143498 h 5143499"/>
              <a:gd name="connsiteX159" fmla="*/ 371745 w 4819650"/>
              <a:gd name="connsiteY159" fmla="*/ 5143498 h 5143499"/>
              <a:gd name="connsiteX160" fmla="*/ 1206499 w 4819650"/>
              <a:gd name="connsiteY160" fmla="*/ 1821610 h 5143499"/>
              <a:gd name="connsiteX161" fmla="*/ 2048326 w 4819650"/>
              <a:gd name="connsiteY161" fmla="*/ 58253 h 5143499"/>
              <a:gd name="connsiteX162" fmla="*/ 2094551 w 4819650"/>
              <a:gd name="connsiteY162"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017496 w 4819650"/>
              <a:gd name="connsiteY122" fmla="*/ 4442289 h 5143499"/>
              <a:gd name="connsiteX123" fmla="*/ 4036704 w 4819650"/>
              <a:gd name="connsiteY123" fmla="*/ 4442881 h 5143499"/>
              <a:gd name="connsiteX124" fmla="*/ 4055864 w 4819650"/>
              <a:gd name="connsiteY124" fmla="*/ 4442289 h 5143499"/>
              <a:gd name="connsiteX125" fmla="*/ 4055272 w 4819650"/>
              <a:gd name="connsiteY125" fmla="*/ 4461497 h 5143499"/>
              <a:gd name="connsiteX126" fmla="*/ 4055864 w 4819650"/>
              <a:gd name="connsiteY126" fmla="*/ 4480658 h 5143499"/>
              <a:gd name="connsiteX127" fmla="*/ 4036656 w 4819650"/>
              <a:gd name="connsiteY127" fmla="*/ 4480066 h 5143499"/>
              <a:gd name="connsiteX128" fmla="*/ 4017496 w 4819650"/>
              <a:gd name="connsiteY128" fmla="*/ 4480658 h 5143499"/>
              <a:gd name="connsiteX129" fmla="*/ 4018088 w 4819650"/>
              <a:gd name="connsiteY129" fmla="*/ 4461450 h 5143499"/>
              <a:gd name="connsiteX130" fmla="*/ 4017496 w 4819650"/>
              <a:gd name="connsiteY130" fmla="*/ 4442289 h 5143499"/>
              <a:gd name="connsiteX131" fmla="*/ 4011977 w 4819650"/>
              <a:gd name="connsiteY131" fmla="*/ 4399658 h 5143499"/>
              <a:gd name="connsiteX132" fmla="*/ 3974912 w 4819650"/>
              <a:gd name="connsiteY132" fmla="*/ 4436723 h 5143499"/>
              <a:gd name="connsiteX133" fmla="*/ 3976048 w 4819650"/>
              <a:gd name="connsiteY133" fmla="*/ 4461473 h 5143499"/>
              <a:gd name="connsiteX134" fmla="*/ 3974912 w 4819650"/>
              <a:gd name="connsiteY134" fmla="*/ 4486152 h 5143499"/>
              <a:gd name="connsiteX135" fmla="*/ 3899691 w 4819650"/>
              <a:gd name="connsiteY135" fmla="*/ 4518410 h 5143499"/>
              <a:gd name="connsiteX136" fmla="*/ 3868948 w 4819650"/>
              <a:gd name="connsiteY136" fmla="*/ 4568929 h 5143499"/>
              <a:gd name="connsiteX137" fmla="*/ 3886238 w 4819650"/>
              <a:gd name="connsiteY137" fmla="*/ 4611892 h 5143499"/>
              <a:gd name="connsiteX138" fmla="*/ 3929201 w 4819650"/>
              <a:gd name="connsiteY138" fmla="*/ 4629181 h 5143499"/>
              <a:gd name="connsiteX139" fmla="*/ 3979720 w 4819650"/>
              <a:gd name="connsiteY139" fmla="*/ 4598439 h 5143499"/>
              <a:gd name="connsiteX140" fmla="*/ 4011977 w 4819650"/>
              <a:gd name="connsiteY140" fmla="*/ 4523218 h 5143499"/>
              <a:gd name="connsiteX141" fmla="*/ 4036656 w 4819650"/>
              <a:gd name="connsiteY141" fmla="*/ 4522081 h 5143499"/>
              <a:gd name="connsiteX142" fmla="*/ 4061406 w 4819650"/>
              <a:gd name="connsiteY142" fmla="*/ 4523218 h 5143499"/>
              <a:gd name="connsiteX143" fmla="*/ 4093664 w 4819650"/>
              <a:gd name="connsiteY143" fmla="*/ 4598439 h 5143499"/>
              <a:gd name="connsiteX144" fmla="*/ 4144183 w 4819650"/>
              <a:gd name="connsiteY144" fmla="*/ 4629181 h 5143499"/>
              <a:gd name="connsiteX145" fmla="*/ 4187146 w 4819650"/>
              <a:gd name="connsiteY145" fmla="*/ 4611892 h 5143499"/>
              <a:gd name="connsiteX146" fmla="*/ 4204435 w 4819650"/>
              <a:gd name="connsiteY146" fmla="*/ 4568929 h 5143499"/>
              <a:gd name="connsiteX147" fmla="*/ 4173693 w 4819650"/>
              <a:gd name="connsiteY147" fmla="*/ 4518410 h 5143499"/>
              <a:gd name="connsiteX148" fmla="*/ 4098472 w 4819650"/>
              <a:gd name="connsiteY148" fmla="*/ 4486152 h 5143499"/>
              <a:gd name="connsiteX149" fmla="*/ 4097335 w 4819650"/>
              <a:gd name="connsiteY149" fmla="*/ 4461402 h 5143499"/>
              <a:gd name="connsiteX150" fmla="*/ 4098472 w 4819650"/>
              <a:gd name="connsiteY150" fmla="*/ 4436723 h 5143499"/>
              <a:gd name="connsiteX151" fmla="*/ 4036727 w 4819650"/>
              <a:gd name="connsiteY151" fmla="*/ 4400794 h 5143499"/>
              <a:gd name="connsiteX152" fmla="*/ 4011977 w 4819650"/>
              <a:gd name="connsiteY152" fmla="*/ 4399658 h 5143499"/>
              <a:gd name="connsiteX153" fmla="*/ 2094551 w 4819650"/>
              <a:gd name="connsiteY153" fmla="*/ 0 h 5143499"/>
              <a:gd name="connsiteX154" fmla="*/ 4819650 w 4819650"/>
              <a:gd name="connsiteY154" fmla="*/ 0 h 5143499"/>
              <a:gd name="connsiteX155" fmla="*/ 4819650 w 4819650"/>
              <a:gd name="connsiteY155" fmla="*/ 5143499 h 5143499"/>
              <a:gd name="connsiteX156" fmla="*/ 0 w 4819650"/>
              <a:gd name="connsiteY156" fmla="*/ 5143499 h 5143499"/>
              <a:gd name="connsiteX157" fmla="*/ 0 w 4819650"/>
              <a:gd name="connsiteY157" fmla="*/ 5143498 h 5143499"/>
              <a:gd name="connsiteX158" fmla="*/ 371745 w 4819650"/>
              <a:gd name="connsiteY158" fmla="*/ 5143498 h 5143499"/>
              <a:gd name="connsiteX159" fmla="*/ 1206499 w 4819650"/>
              <a:gd name="connsiteY159" fmla="*/ 1821610 h 5143499"/>
              <a:gd name="connsiteX160" fmla="*/ 2048326 w 4819650"/>
              <a:gd name="connsiteY160" fmla="*/ 58253 h 5143499"/>
              <a:gd name="connsiteX161" fmla="*/ 2094551 w 4819650"/>
              <a:gd name="connsiteY161"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017496 w 4819650"/>
              <a:gd name="connsiteY122" fmla="*/ 4442289 h 5143499"/>
              <a:gd name="connsiteX123" fmla="*/ 4036704 w 4819650"/>
              <a:gd name="connsiteY123" fmla="*/ 4442881 h 5143499"/>
              <a:gd name="connsiteX124" fmla="*/ 4055864 w 4819650"/>
              <a:gd name="connsiteY124" fmla="*/ 4442289 h 5143499"/>
              <a:gd name="connsiteX125" fmla="*/ 4055272 w 4819650"/>
              <a:gd name="connsiteY125" fmla="*/ 4461497 h 5143499"/>
              <a:gd name="connsiteX126" fmla="*/ 4055864 w 4819650"/>
              <a:gd name="connsiteY126" fmla="*/ 4480658 h 5143499"/>
              <a:gd name="connsiteX127" fmla="*/ 4036656 w 4819650"/>
              <a:gd name="connsiteY127" fmla="*/ 4480066 h 5143499"/>
              <a:gd name="connsiteX128" fmla="*/ 4017496 w 4819650"/>
              <a:gd name="connsiteY128" fmla="*/ 4480658 h 5143499"/>
              <a:gd name="connsiteX129" fmla="*/ 4018088 w 4819650"/>
              <a:gd name="connsiteY129" fmla="*/ 4461450 h 5143499"/>
              <a:gd name="connsiteX130" fmla="*/ 4017496 w 4819650"/>
              <a:gd name="connsiteY130" fmla="*/ 4442289 h 5143499"/>
              <a:gd name="connsiteX131" fmla="*/ 4011977 w 4819650"/>
              <a:gd name="connsiteY131" fmla="*/ 4399658 h 5143499"/>
              <a:gd name="connsiteX132" fmla="*/ 3974912 w 4819650"/>
              <a:gd name="connsiteY132" fmla="*/ 4436723 h 5143499"/>
              <a:gd name="connsiteX133" fmla="*/ 3976048 w 4819650"/>
              <a:gd name="connsiteY133" fmla="*/ 4461473 h 5143499"/>
              <a:gd name="connsiteX134" fmla="*/ 3974912 w 4819650"/>
              <a:gd name="connsiteY134" fmla="*/ 4486152 h 5143499"/>
              <a:gd name="connsiteX135" fmla="*/ 3899691 w 4819650"/>
              <a:gd name="connsiteY135" fmla="*/ 4518410 h 5143499"/>
              <a:gd name="connsiteX136" fmla="*/ 3868948 w 4819650"/>
              <a:gd name="connsiteY136" fmla="*/ 4568929 h 5143499"/>
              <a:gd name="connsiteX137" fmla="*/ 3886238 w 4819650"/>
              <a:gd name="connsiteY137" fmla="*/ 4611892 h 5143499"/>
              <a:gd name="connsiteX138" fmla="*/ 3929201 w 4819650"/>
              <a:gd name="connsiteY138" fmla="*/ 4629181 h 5143499"/>
              <a:gd name="connsiteX139" fmla="*/ 3979720 w 4819650"/>
              <a:gd name="connsiteY139" fmla="*/ 4598439 h 5143499"/>
              <a:gd name="connsiteX140" fmla="*/ 4011977 w 4819650"/>
              <a:gd name="connsiteY140" fmla="*/ 4523218 h 5143499"/>
              <a:gd name="connsiteX141" fmla="*/ 4036656 w 4819650"/>
              <a:gd name="connsiteY141" fmla="*/ 4522081 h 5143499"/>
              <a:gd name="connsiteX142" fmla="*/ 4061406 w 4819650"/>
              <a:gd name="connsiteY142" fmla="*/ 4523218 h 5143499"/>
              <a:gd name="connsiteX143" fmla="*/ 4093664 w 4819650"/>
              <a:gd name="connsiteY143" fmla="*/ 4598439 h 5143499"/>
              <a:gd name="connsiteX144" fmla="*/ 4144183 w 4819650"/>
              <a:gd name="connsiteY144" fmla="*/ 4629181 h 5143499"/>
              <a:gd name="connsiteX145" fmla="*/ 4187146 w 4819650"/>
              <a:gd name="connsiteY145" fmla="*/ 4611892 h 5143499"/>
              <a:gd name="connsiteX146" fmla="*/ 4204435 w 4819650"/>
              <a:gd name="connsiteY146" fmla="*/ 4568929 h 5143499"/>
              <a:gd name="connsiteX147" fmla="*/ 4173693 w 4819650"/>
              <a:gd name="connsiteY147" fmla="*/ 4518410 h 5143499"/>
              <a:gd name="connsiteX148" fmla="*/ 4098472 w 4819650"/>
              <a:gd name="connsiteY148" fmla="*/ 4486152 h 5143499"/>
              <a:gd name="connsiteX149" fmla="*/ 4097335 w 4819650"/>
              <a:gd name="connsiteY149" fmla="*/ 4461402 h 5143499"/>
              <a:gd name="connsiteX150" fmla="*/ 4098472 w 4819650"/>
              <a:gd name="connsiteY150" fmla="*/ 4436723 h 5143499"/>
              <a:gd name="connsiteX151" fmla="*/ 4011977 w 4819650"/>
              <a:gd name="connsiteY151" fmla="*/ 4399658 h 5143499"/>
              <a:gd name="connsiteX152" fmla="*/ 2094551 w 4819650"/>
              <a:gd name="connsiteY152" fmla="*/ 0 h 5143499"/>
              <a:gd name="connsiteX153" fmla="*/ 4819650 w 4819650"/>
              <a:gd name="connsiteY153" fmla="*/ 0 h 5143499"/>
              <a:gd name="connsiteX154" fmla="*/ 4819650 w 4819650"/>
              <a:gd name="connsiteY154" fmla="*/ 5143499 h 5143499"/>
              <a:gd name="connsiteX155" fmla="*/ 0 w 4819650"/>
              <a:gd name="connsiteY155" fmla="*/ 5143499 h 5143499"/>
              <a:gd name="connsiteX156" fmla="*/ 0 w 4819650"/>
              <a:gd name="connsiteY156" fmla="*/ 5143498 h 5143499"/>
              <a:gd name="connsiteX157" fmla="*/ 371745 w 4819650"/>
              <a:gd name="connsiteY157" fmla="*/ 5143498 h 5143499"/>
              <a:gd name="connsiteX158" fmla="*/ 1206499 w 4819650"/>
              <a:gd name="connsiteY158" fmla="*/ 1821610 h 5143499"/>
              <a:gd name="connsiteX159" fmla="*/ 2048326 w 4819650"/>
              <a:gd name="connsiteY159" fmla="*/ 58253 h 5143499"/>
              <a:gd name="connsiteX160" fmla="*/ 2094551 w 4819650"/>
              <a:gd name="connsiteY160"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017496 w 4819650"/>
              <a:gd name="connsiteY122" fmla="*/ 4442289 h 5143499"/>
              <a:gd name="connsiteX123" fmla="*/ 4036704 w 4819650"/>
              <a:gd name="connsiteY123" fmla="*/ 4442881 h 5143499"/>
              <a:gd name="connsiteX124" fmla="*/ 4055864 w 4819650"/>
              <a:gd name="connsiteY124" fmla="*/ 4442289 h 5143499"/>
              <a:gd name="connsiteX125" fmla="*/ 4055272 w 4819650"/>
              <a:gd name="connsiteY125" fmla="*/ 4461497 h 5143499"/>
              <a:gd name="connsiteX126" fmla="*/ 4055864 w 4819650"/>
              <a:gd name="connsiteY126" fmla="*/ 4480658 h 5143499"/>
              <a:gd name="connsiteX127" fmla="*/ 4036656 w 4819650"/>
              <a:gd name="connsiteY127" fmla="*/ 4480066 h 5143499"/>
              <a:gd name="connsiteX128" fmla="*/ 4017496 w 4819650"/>
              <a:gd name="connsiteY128" fmla="*/ 4480658 h 5143499"/>
              <a:gd name="connsiteX129" fmla="*/ 4018088 w 4819650"/>
              <a:gd name="connsiteY129" fmla="*/ 4461450 h 5143499"/>
              <a:gd name="connsiteX130" fmla="*/ 4017496 w 4819650"/>
              <a:gd name="connsiteY130" fmla="*/ 4442289 h 5143499"/>
              <a:gd name="connsiteX131" fmla="*/ 4098472 w 4819650"/>
              <a:gd name="connsiteY131" fmla="*/ 4436723 h 5143499"/>
              <a:gd name="connsiteX132" fmla="*/ 3974912 w 4819650"/>
              <a:gd name="connsiteY132" fmla="*/ 4436723 h 5143499"/>
              <a:gd name="connsiteX133" fmla="*/ 3976048 w 4819650"/>
              <a:gd name="connsiteY133" fmla="*/ 4461473 h 5143499"/>
              <a:gd name="connsiteX134" fmla="*/ 3974912 w 4819650"/>
              <a:gd name="connsiteY134" fmla="*/ 4486152 h 5143499"/>
              <a:gd name="connsiteX135" fmla="*/ 3899691 w 4819650"/>
              <a:gd name="connsiteY135" fmla="*/ 4518410 h 5143499"/>
              <a:gd name="connsiteX136" fmla="*/ 3868948 w 4819650"/>
              <a:gd name="connsiteY136" fmla="*/ 4568929 h 5143499"/>
              <a:gd name="connsiteX137" fmla="*/ 3886238 w 4819650"/>
              <a:gd name="connsiteY137" fmla="*/ 4611892 h 5143499"/>
              <a:gd name="connsiteX138" fmla="*/ 3929201 w 4819650"/>
              <a:gd name="connsiteY138" fmla="*/ 4629181 h 5143499"/>
              <a:gd name="connsiteX139" fmla="*/ 3979720 w 4819650"/>
              <a:gd name="connsiteY139" fmla="*/ 4598439 h 5143499"/>
              <a:gd name="connsiteX140" fmla="*/ 4011977 w 4819650"/>
              <a:gd name="connsiteY140" fmla="*/ 4523218 h 5143499"/>
              <a:gd name="connsiteX141" fmla="*/ 4036656 w 4819650"/>
              <a:gd name="connsiteY141" fmla="*/ 4522081 h 5143499"/>
              <a:gd name="connsiteX142" fmla="*/ 4061406 w 4819650"/>
              <a:gd name="connsiteY142" fmla="*/ 4523218 h 5143499"/>
              <a:gd name="connsiteX143" fmla="*/ 4093664 w 4819650"/>
              <a:gd name="connsiteY143" fmla="*/ 4598439 h 5143499"/>
              <a:gd name="connsiteX144" fmla="*/ 4144183 w 4819650"/>
              <a:gd name="connsiteY144" fmla="*/ 4629181 h 5143499"/>
              <a:gd name="connsiteX145" fmla="*/ 4187146 w 4819650"/>
              <a:gd name="connsiteY145" fmla="*/ 4611892 h 5143499"/>
              <a:gd name="connsiteX146" fmla="*/ 4204435 w 4819650"/>
              <a:gd name="connsiteY146" fmla="*/ 4568929 h 5143499"/>
              <a:gd name="connsiteX147" fmla="*/ 4173693 w 4819650"/>
              <a:gd name="connsiteY147" fmla="*/ 4518410 h 5143499"/>
              <a:gd name="connsiteX148" fmla="*/ 4098472 w 4819650"/>
              <a:gd name="connsiteY148" fmla="*/ 4486152 h 5143499"/>
              <a:gd name="connsiteX149" fmla="*/ 4097335 w 4819650"/>
              <a:gd name="connsiteY149" fmla="*/ 4461402 h 5143499"/>
              <a:gd name="connsiteX150" fmla="*/ 4098472 w 4819650"/>
              <a:gd name="connsiteY150" fmla="*/ 4436723 h 5143499"/>
              <a:gd name="connsiteX151" fmla="*/ 2094551 w 4819650"/>
              <a:gd name="connsiteY151" fmla="*/ 0 h 5143499"/>
              <a:gd name="connsiteX152" fmla="*/ 4819650 w 4819650"/>
              <a:gd name="connsiteY152" fmla="*/ 0 h 5143499"/>
              <a:gd name="connsiteX153" fmla="*/ 4819650 w 4819650"/>
              <a:gd name="connsiteY153" fmla="*/ 5143499 h 5143499"/>
              <a:gd name="connsiteX154" fmla="*/ 0 w 4819650"/>
              <a:gd name="connsiteY154" fmla="*/ 5143499 h 5143499"/>
              <a:gd name="connsiteX155" fmla="*/ 0 w 4819650"/>
              <a:gd name="connsiteY155" fmla="*/ 5143498 h 5143499"/>
              <a:gd name="connsiteX156" fmla="*/ 371745 w 4819650"/>
              <a:gd name="connsiteY156" fmla="*/ 5143498 h 5143499"/>
              <a:gd name="connsiteX157" fmla="*/ 1206499 w 4819650"/>
              <a:gd name="connsiteY157" fmla="*/ 1821610 h 5143499"/>
              <a:gd name="connsiteX158" fmla="*/ 2048326 w 4819650"/>
              <a:gd name="connsiteY158" fmla="*/ 58253 h 5143499"/>
              <a:gd name="connsiteX159" fmla="*/ 2094551 w 4819650"/>
              <a:gd name="connsiteY159"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017496 w 4819650"/>
              <a:gd name="connsiteY122" fmla="*/ 4442289 h 5143499"/>
              <a:gd name="connsiteX123" fmla="*/ 4036704 w 4819650"/>
              <a:gd name="connsiteY123" fmla="*/ 4442881 h 5143499"/>
              <a:gd name="connsiteX124" fmla="*/ 4055864 w 4819650"/>
              <a:gd name="connsiteY124" fmla="*/ 4442289 h 5143499"/>
              <a:gd name="connsiteX125" fmla="*/ 4055272 w 4819650"/>
              <a:gd name="connsiteY125" fmla="*/ 4461497 h 5143499"/>
              <a:gd name="connsiteX126" fmla="*/ 4055864 w 4819650"/>
              <a:gd name="connsiteY126" fmla="*/ 4480658 h 5143499"/>
              <a:gd name="connsiteX127" fmla="*/ 4036656 w 4819650"/>
              <a:gd name="connsiteY127" fmla="*/ 4480066 h 5143499"/>
              <a:gd name="connsiteX128" fmla="*/ 4017496 w 4819650"/>
              <a:gd name="connsiteY128" fmla="*/ 4480658 h 5143499"/>
              <a:gd name="connsiteX129" fmla="*/ 4018088 w 4819650"/>
              <a:gd name="connsiteY129" fmla="*/ 4461450 h 5143499"/>
              <a:gd name="connsiteX130" fmla="*/ 4017496 w 4819650"/>
              <a:gd name="connsiteY130" fmla="*/ 4442289 h 5143499"/>
              <a:gd name="connsiteX131" fmla="*/ 4098472 w 4819650"/>
              <a:gd name="connsiteY131" fmla="*/ 4436723 h 5143499"/>
              <a:gd name="connsiteX132" fmla="*/ 3976048 w 4819650"/>
              <a:gd name="connsiteY132" fmla="*/ 4461473 h 5143499"/>
              <a:gd name="connsiteX133" fmla="*/ 3974912 w 4819650"/>
              <a:gd name="connsiteY133" fmla="*/ 4486152 h 5143499"/>
              <a:gd name="connsiteX134" fmla="*/ 3899691 w 4819650"/>
              <a:gd name="connsiteY134" fmla="*/ 4518410 h 5143499"/>
              <a:gd name="connsiteX135" fmla="*/ 3868948 w 4819650"/>
              <a:gd name="connsiteY135" fmla="*/ 4568929 h 5143499"/>
              <a:gd name="connsiteX136" fmla="*/ 3886238 w 4819650"/>
              <a:gd name="connsiteY136" fmla="*/ 4611892 h 5143499"/>
              <a:gd name="connsiteX137" fmla="*/ 3929201 w 4819650"/>
              <a:gd name="connsiteY137" fmla="*/ 4629181 h 5143499"/>
              <a:gd name="connsiteX138" fmla="*/ 3979720 w 4819650"/>
              <a:gd name="connsiteY138" fmla="*/ 4598439 h 5143499"/>
              <a:gd name="connsiteX139" fmla="*/ 4011977 w 4819650"/>
              <a:gd name="connsiteY139" fmla="*/ 4523218 h 5143499"/>
              <a:gd name="connsiteX140" fmla="*/ 4036656 w 4819650"/>
              <a:gd name="connsiteY140" fmla="*/ 4522081 h 5143499"/>
              <a:gd name="connsiteX141" fmla="*/ 4061406 w 4819650"/>
              <a:gd name="connsiteY141" fmla="*/ 4523218 h 5143499"/>
              <a:gd name="connsiteX142" fmla="*/ 4093664 w 4819650"/>
              <a:gd name="connsiteY142" fmla="*/ 4598439 h 5143499"/>
              <a:gd name="connsiteX143" fmla="*/ 4144183 w 4819650"/>
              <a:gd name="connsiteY143" fmla="*/ 4629181 h 5143499"/>
              <a:gd name="connsiteX144" fmla="*/ 4187146 w 4819650"/>
              <a:gd name="connsiteY144" fmla="*/ 4611892 h 5143499"/>
              <a:gd name="connsiteX145" fmla="*/ 4204435 w 4819650"/>
              <a:gd name="connsiteY145" fmla="*/ 4568929 h 5143499"/>
              <a:gd name="connsiteX146" fmla="*/ 4173693 w 4819650"/>
              <a:gd name="connsiteY146" fmla="*/ 4518410 h 5143499"/>
              <a:gd name="connsiteX147" fmla="*/ 4098472 w 4819650"/>
              <a:gd name="connsiteY147" fmla="*/ 4486152 h 5143499"/>
              <a:gd name="connsiteX148" fmla="*/ 4097335 w 4819650"/>
              <a:gd name="connsiteY148" fmla="*/ 4461402 h 5143499"/>
              <a:gd name="connsiteX149" fmla="*/ 4098472 w 4819650"/>
              <a:gd name="connsiteY149" fmla="*/ 4436723 h 5143499"/>
              <a:gd name="connsiteX150" fmla="*/ 2094551 w 4819650"/>
              <a:gd name="connsiteY150" fmla="*/ 0 h 5143499"/>
              <a:gd name="connsiteX151" fmla="*/ 4819650 w 4819650"/>
              <a:gd name="connsiteY151" fmla="*/ 0 h 5143499"/>
              <a:gd name="connsiteX152" fmla="*/ 4819650 w 4819650"/>
              <a:gd name="connsiteY152" fmla="*/ 5143499 h 5143499"/>
              <a:gd name="connsiteX153" fmla="*/ 0 w 4819650"/>
              <a:gd name="connsiteY153" fmla="*/ 5143499 h 5143499"/>
              <a:gd name="connsiteX154" fmla="*/ 0 w 4819650"/>
              <a:gd name="connsiteY154" fmla="*/ 5143498 h 5143499"/>
              <a:gd name="connsiteX155" fmla="*/ 371745 w 4819650"/>
              <a:gd name="connsiteY155" fmla="*/ 5143498 h 5143499"/>
              <a:gd name="connsiteX156" fmla="*/ 1206499 w 4819650"/>
              <a:gd name="connsiteY156" fmla="*/ 1821610 h 5143499"/>
              <a:gd name="connsiteX157" fmla="*/ 2048326 w 4819650"/>
              <a:gd name="connsiteY157" fmla="*/ 58253 h 5143499"/>
              <a:gd name="connsiteX158" fmla="*/ 2094551 w 4819650"/>
              <a:gd name="connsiteY158"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018088 w 4819650"/>
              <a:gd name="connsiteY122" fmla="*/ 4461450 h 5143499"/>
              <a:gd name="connsiteX123" fmla="*/ 4036704 w 4819650"/>
              <a:gd name="connsiteY123" fmla="*/ 4442881 h 5143499"/>
              <a:gd name="connsiteX124" fmla="*/ 4055864 w 4819650"/>
              <a:gd name="connsiteY124" fmla="*/ 4442289 h 5143499"/>
              <a:gd name="connsiteX125" fmla="*/ 4055272 w 4819650"/>
              <a:gd name="connsiteY125" fmla="*/ 4461497 h 5143499"/>
              <a:gd name="connsiteX126" fmla="*/ 4055864 w 4819650"/>
              <a:gd name="connsiteY126" fmla="*/ 4480658 h 5143499"/>
              <a:gd name="connsiteX127" fmla="*/ 4036656 w 4819650"/>
              <a:gd name="connsiteY127" fmla="*/ 4480066 h 5143499"/>
              <a:gd name="connsiteX128" fmla="*/ 4017496 w 4819650"/>
              <a:gd name="connsiteY128" fmla="*/ 4480658 h 5143499"/>
              <a:gd name="connsiteX129" fmla="*/ 4018088 w 4819650"/>
              <a:gd name="connsiteY129" fmla="*/ 4461450 h 5143499"/>
              <a:gd name="connsiteX130" fmla="*/ 4098472 w 4819650"/>
              <a:gd name="connsiteY130" fmla="*/ 4436723 h 5143499"/>
              <a:gd name="connsiteX131" fmla="*/ 3976048 w 4819650"/>
              <a:gd name="connsiteY131" fmla="*/ 4461473 h 5143499"/>
              <a:gd name="connsiteX132" fmla="*/ 3974912 w 4819650"/>
              <a:gd name="connsiteY132" fmla="*/ 4486152 h 5143499"/>
              <a:gd name="connsiteX133" fmla="*/ 3899691 w 4819650"/>
              <a:gd name="connsiteY133" fmla="*/ 4518410 h 5143499"/>
              <a:gd name="connsiteX134" fmla="*/ 3868948 w 4819650"/>
              <a:gd name="connsiteY134" fmla="*/ 4568929 h 5143499"/>
              <a:gd name="connsiteX135" fmla="*/ 3886238 w 4819650"/>
              <a:gd name="connsiteY135" fmla="*/ 4611892 h 5143499"/>
              <a:gd name="connsiteX136" fmla="*/ 3929201 w 4819650"/>
              <a:gd name="connsiteY136" fmla="*/ 4629181 h 5143499"/>
              <a:gd name="connsiteX137" fmla="*/ 3979720 w 4819650"/>
              <a:gd name="connsiteY137" fmla="*/ 4598439 h 5143499"/>
              <a:gd name="connsiteX138" fmla="*/ 4011977 w 4819650"/>
              <a:gd name="connsiteY138" fmla="*/ 4523218 h 5143499"/>
              <a:gd name="connsiteX139" fmla="*/ 4036656 w 4819650"/>
              <a:gd name="connsiteY139" fmla="*/ 4522081 h 5143499"/>
              <a:gd name="connsiteX140" fmla="*/ 4061406 w 4819650"/>
              <a:gd name="connsiteY140" fmla="*/ 4523218 h 5143499"/>
              <a:gd name="connsiteX141" fmla="*/ 4093664 w 4819650"/>
              <a:gd name="connsiteY141" fmla="*/ 4598439 h 5143499"/>
              <a:gd name="connsiteX142" fmla="*/ 4144183 w 4819650"/>
              <a:gd name="connsiteY142" fmla="*/ 4629181 h 5143499"/>
              <a:gd name="connsiteX143" fmla="*/ 4187146 w 4819650"/>
              <a:gd name="connsiteY143" fmla="*/ 4611892 h 5143499"/>
              <a:gd name="connsiteX144" fmla="*/ 4204435 w 4819650"/>
              <a:gd name="connsiteY144" fmla="*/ 4568929 h 5143499"/>
              <a:gd name="connsiteX145" fmla="*/ 4173693 w 4819650"/>
              <a:gd name="connsiteY145" fmla="*/ 4518410 h 5143499"/>
              <a:gd name="connsiteX146" fmla="*/ 4098472 w 4819650"/>
              <a:gd name="connsiteY146" fmla="*/ 4486152 h 5143499"/>
              <a:gd name="connsiteX147" fmla="*/ 4097335 w 4819650"/>
              <a:gd name="connsiteY147" fmla="*/ 4461402 h 5143499"/>
              <a:gd name="connsiteX148" fmla="*/ 4098472 w 4819650"/>
              <a:gd name="connsiteY148" fmla="*/ 4436723 h 5143499"/>
              <a:gd name="connsiteX149" fmla="*/ 2094551 w 4819650"/>
              <a:gd name="connsiteY149" fmla="*/ 0 h 5143499"/>
              <a:gd name="connsiteX150" fmla="*/ 4819650 w 4819650"/>
              <a:gd name="connsiteY150" fmla="*/ 0 h 5143499"/>
              <a:gd name="connsiteX151" fmla="*/ 4819650 w 4819650"/>
              <a:gd name="connsiteY151" fmla="*/ 5143499 h 5143499"/>
              <a:gd name="connsiteX152" fmla="*/ 0 w 4819650"/>
              <a:gd name="connsiteY152" fmla="*/ 5143499 h 5143499"/>
              <a:gd name="connsiteX153" fmla="*/ 0 w 4819650"/>
              <a:gd name="connsiteY153" fmla="*/ 5143498 h 5143499"/>
              <a:gd name="connsiteX154" fmla="*/ 371745 w 4819650"/>
              <a:gd name="connsiteY154" fmla="*/ 5143498 h 5143499"/>
              <a:gd name="connsiteX155" fmla="*/ 1206499 w 4819650"/>
              <a:gd name="connsiteY155" fmla="*/ 1821610 h 5143499"/>
              <a:gd name="connsiteX156" fmla="*/ 2048326 w 4819650"/>
              <a:gd name="connsiteY156" fmla="*/ 58253 h 5143499"/>
              <a:gd name="connsiteX157" fmla="*/ 2094551 w 4819650"/>
              <a:gd name="connsiteY157"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018088 w 4819650"/>
              <a:gd name="connsiteY122" fmla="*/ 4461450 h 5143499"/>
              <a:gd name="connsiteX123" fmla="*/ 4055864 w 4819650"/>
              <a:gd name="connsiteY123" fmla="*/ 4442289 h 5143499"/>
              <a:gd name="connsiteX124" fmla="*/ 4055272 w 4819650"/>
              <a:gd name="connsiteY124" fmla="*/ 4461497 h 5143499"/>
              <a:gd name="connsiteX125" fmla="*/ 4055864 w 4819650"/>
              <a:gd name="connsiteY125" fmla="*/ 4480658 h 5143499"/>
              <a:gd name="connsiteX126" fmla="*/ 4036656 w 4819650"/>
              <a:gd name="connsiteY126" fmla="*/ 4480066 h 5143499"/>
              <a:gd name="connsiteX127" fmla="*/ 4017496 w 4819650"/>
              <a:gd name="connsiteY127" fmla="*/ 4480658 h 5143499"/>
              <a:gd name="connsiteX128" fmla="*/ 4018088 w 4819650"/>
              <a:gd name="connsiteY128" fmla="*/ 4461450 h 5143499"/>
              <a:gd name="connsiteX129" fmla="*/ 4098472 w 4819650"/>
              <a:gd name="connsiteY129" fmla="*/ 4436723 h 5143499"/>
              <a:gd name="connsiteX130" fmla="*/ 3976048 w 4819650"/>
              <a:gd name="connsiteY130" fmla="*/ 4461473 h 5143499"/>
              <a:gd name="connsiteX131" fmla="*/ 3974912 w 4819650"/>
              <a:gd name="connsiteY131" fmla="*/ 4486152 h 5143499"/>
              <a:gd name="connsiteX132" fmla="*/ 3899691 w 4819650"/>
              <a:gd name="connsiteY132" fmla="*/ 4518410 h 5143499"/>
              <a:gd name="connsiteX133" fmla="*/ 3868948 w 4819650"/>
              <a:gd name="connsiteY133" fmla="*/ 4568929 h 5143499"/>
              <a:gd name="connsiteX134" fmla="*/ 3886238 w 4819650"/>
              <a:gd name="connsiteY134" fmla="*/ 4611892 h 5143499"/>
              <a:gd name="connsiteX135" fmla="*/ 3929201 w 4819650"/>
              <a:gd name="connsiteY135" fmla="*/ 4629181 h 5143499"/>
              <a:gd name="connsiteX136" fmla="*/ 3979720 w 4819650"/>
              <a:gd name="connsiteY136" fmla="*/ 4598439 h 5143499"/>
              <a:gd name="connsiteX137" fmla="*/ 4011977 w 4819650"/>
              <a:gd name="connsiteY137" fmla="*/ 4523218 h 5143499"/>
              <a:gd name="connsiteX138" fmla="*/ 4036656 w 4819650"/>
              <a:gd name="connsiteY138" fmla="*/ 4522081 h 5143499"/>
              <a:gd name="connsiteX139" fmla="*/ 4061406 w 4819650"/>
              <a:gd name="connsiteY139" fmla="*/ 4523218 h 5143499"/>
              <a:gd name="connsiteX140" fmla="*/ 4093664 w 4819650"/>
              <a:gd name="connsiteY140" fmla="*/ 4598439 h 5143499"/>
              <a:gd name="connsiteX141" fmla="*/ 4144183 w 4819650"/>
              <a:gd name="connsiteY141" fmla="*/ 4629181 h 5143499"/>
              <a:gd name="connsiteX142" fmla="*/ 4187146 w 4819650"/>
              <a:gd name="connsiteY142" fmla="*/ 4611892 h 5143499"/>
              <a:gd name="connsiteX143" fmla="*/ 4204435 w 4819650"/>
              <a:gd name="connsiteY143" fmla="*/ 4568929 h 5143499"/>
              <a:gd name="connsiteX144" fmla="*/ 4173693 w 4819650"/>
              <a:gd name="connsiteY144" fmla="*/ 4518410 h 5143499"/>
              <a:gd name="connsiteX145" fmla="*/ 4098472 w 4819650"/>
              <a:gd name="connsiteY145" fmla="*/ 4486152 h 5143499"/>
              <a:gd name="connsiteX146" fmla="*/ 4097335 w 4819650"/>
              <a:gd name="connsiteY146" fmla="*/ 4461402 h 5143499"/>
              <a:gd name="connsiteX147" fmla="*/ 4098472 w 4819650"/>
              <a:gd name="connsiteY147" fmla="*/ 4436723 h 5143499"/>
              <a:gd name="connsiteX148" fmla="*/ 2094551 w 4819650"/>
              <a:gd name="connsiteY148" fmla="*/ 0 h 5143499"/>
              <a:gd name="connsiteX149" fmla="*/ 4819650 w 4819650"/>
              <a:gd name="connsiteY149" fmla="*/ 0 h 5143499"/>
              <a:gd name="connsiteX150" fmla="*/ 4819650 w 4819650"/>
              <a:gd name="connsiteY150" fmla="*/ 5143499 h 5143499"/>
              <a:gd name="connsiteX151" fmla="*/ 0 w 4819650"/>
              <a:gd name="connsiteY151" fmla="*/ 5143499 h 5143499"/>
              <a:gd name="connsiteX152" fmla="*/ 0 w 4819650"/>
              <a:gd name="connsiteY152" fmla="*/ 5143498 h 5143499"/>
              <a:gd name="connsiteX153" fmla="*/ 371745 w 4819650"/>
              <a:gd name="connsiteY153" fmla="*/ 5143498 h 5143499"/>
              <a:gd name="connsiteX154" fmla="*/ 1206499 w 4819650"/>
              <a:gd name="connsiteY154" fmla="*/ 1821610 h 5143499"/>
              <a:gd name="connsiteX155" fmla="*/ 2048326 w 4819650"/>
              <a:gd name="connsiteY155" fmla="*/ 58253 h 5143499"/>
              <a:gd name="connsiteX156" fmla="*/ 2094551 w 4819650"/>
              <a:gd name="connsiteY156"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018088 w 4819650"/>
              <a:gd name="connsiteY122" fmla="*/ 4461450 h 5143499"/>
              <a:gd name="connsiteX123" fmla="*/ 4055864 w 4819650"/>
              <a:gd name="connsiteY123" fmla="*/ 4442289 h 5143499"/>
              <a:gd name="connsiteX124" fmla="*/ 4055272 w 4819650"/>
              <a:gd name="connsiteY124" fmla="*/ 4461497 h 5143499"/>
              <a:gd name="connsiteX125" fmla="*/ 4055864 w 4819650"/>
              <a:gd name="connsiteY125" fmla="*/ 4480658 h 5143499"/>
              <a:gd name="connsiteX126" fmla="*/ 4036656 w 4819650"/>
              <a:gd name="connsiteY126" fmla="*/ 4480066 h 5143499"/>
              <a:gd name="connsiteX127" fmla="*/ 4017496 w 4819650"/>
              <a:gd name="connsiteY127" fmla="*/ 4480658 h 5143499"/>
              <a:gd name="connsiteX128" fmla="*/ 4018088 w 4819650"/>
              <a:gd name="connsiteY128" fmla="*/ 4461450 h 5143499"/>
              <a:gd name="connsiteX129" fmla="*/ 4097335 w 4819650"/>
              <a:gd name="connsiteY129" fmla="*/ 4461402 h 5143499"/>
              <a:gd name="connsiteX130" fmla="*/ 3976048 w 4819650"/>
              <a:gd name="connsiteY130" fmla="*/ 4461473 h 5143499"/>
              <a:gd name="connsiteX131" fmla="*/ 3974912 w 4819650"/>
              <a:gd name="connsiteY131" fmla="*/ 4486152 h 5143499"/>
              <a:gd name="connsiteX132" fmla="*/ 3899691 w 4819650"/>
              <a:gd name="connsiteY132" fmla="*/ 4518410 h 5143499"/>
              <a:gd name="connsiteX133" fmla="*/ 3868948 w 4819650"/>
              <a:gd name="connsiteY133" fmla="*/ 4568929 h 5143499"/>
              <a:gd name="connsiteX134" fmla="*/ 3886238 w 4819650"/>
              <a:gd name="connsiteY134" fmla="*/ 4611892 h 5143499"/>
              <a:gd name="connsiteX135" fmla="*/ 3929201 w 4819650"/>
              <a:gd name="connsiteY135" fmla="*/ 4629181 h 5143499"/>
              <a:gd name="connsiteX136" fmla="*/ 3979720 w 4819650"/>
              <a:gd name="connsiteY136" fmla="*/ 4598439 h 5143499"/>
              <a:gd name="connsiteX137" fmla="*/ 4011977 w 4819650"/>
              <a:gd name="connsiteY137" fmla="*/ 4523218 h 5143499"/>
              <a:gd name="connsiteX138" fmla="*/ 4036656 w 4819650"/>
              <a:gd name="connsiteY138" fmla="*/ 4522081 h 5143499"/>
              <a:gd name="connsiteX139" fmla="*/ 4061406 w 4819650"/>
              <a:gd name="connsiteY139" fmla="*/ 4523218 h 5143499"/>
              <a:gd name="connsiteX140" fmla="*/ 4093664 w 4819650"/>
              <a:gd name="connsiteY140" fmla="*/ 4598439 h 5143499"/>
              <a:gd name="connsiteX141" fmla="*/ 4144183 w 4819650"/>
              <a:gd name="connsiteY141" fmla="*/ 4629181 h 5143499"/>
              <a:gd name="connsiteX142" fmla="*/ 4187146 w 4819650"/>
              <a:gd name="connsiteY142" fmla="*/ 4611892 h 5143499"/>
              <a:gd name="connsiteX143" fmla="*/ 4204435 w 4819650"/>
              <a:gd name="connsiteY143" fmla="*/ 4568929 h 5143499"/>
              <a:gd name="connsiteX144" fmla="*/ 4173693 w 4819650"/>
              <a:gd name="connsiteY144" fmla="*/ 4518410 h 5143499"/>
              <a:gd name="connsiteX145" fmla="*/ 4098472 w 4819650"/>
              <a:gd name="connsiteY145" fmla="*/ 4486152 h 5143499"/>
              <a:gd name="connsiteX146" fmla="*/ 4097335 w 4819650"/>
              <a:gd name="connsiteY146" fmla="*/ 4461402 h 5143499"/>
              <a:gd name="connsiteX147" fmla="*/ 2094551 w 4819650"/>
              <a:gd name="connsiteY147" fmla="*/ 0 h 5143499"/>
              <a:gd name="connsiteX148" fmla="*/ 4819650 w 4819650"/>
              <a:gd name="connsiteY148" fmla="*/ 0 h 5143499"/>
              <a:gd name="connsiteX149" fmla="*/ 4819650 w 4819650"/>
              <a:gd name="connsiteY149" fmla="*/ 5143499 h 5143499"/>
              <a:gd name="connsiteX150" fmla="*/ 0 w 4819650"/>
              <a:gd name="connsiteY150" fmla="*/ 5143499 h 5143499"/>
              <a:gd name="connsiteX151" fmla="*/ 0 w 4819650"/>
              <a:gd name="connsiteY151" fmla="*/ 5143498 h 5143499"/>
              <a:gd name="connsiteX152" fmla="*/ 371745 w 4819650"/>
              <a:gd name="connsiteY152" fmla="*/ 5143498 h 5143499"/>
              <a:gd name="connsiteX153" fmla="*/ 1206499 w 4819650"/>
              <a:gd name="connsiteY153" fmla="*/ 1821610 h 5143499"/>
              <a:gd name="connsiteX154" fmla="*/ 2048326 w 4819650"/>
              <a:gd name="connsiteY154" fmla="*/ 58253 h 5143499"/>
              <a:gd name="connsiteX155" fmla="*/ 2094551 w 4819650"/>
              <a:gd name="connsiteY155"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018088 w 4819650"/>
              <a:gd name="connsiteY122" fmla="*/ 4461450 h 5143499"/>
              <a:gd name="connsiteX123" fmla="*/ 4055272 w 4819650"/>
              <a:gd name="connsiteY123" fmla="*/ 4461497 h 5143499"/>
              <a:gd name="connsiteX124" fmla="*/ 4055864 w 4819650"/>
              <a:gd name="connsiteY124" fmla="*/ 4480658 h 5143499"/>
              <a:gd name="connsiteX125" fmla="*/ 4036656 w 4819650"/>
              <a:gd name="connsiteY125" fmla="*/ 4480066 h 5143499"/>
              <a:gd name="connsiteX126" fmla="*/ 4017496 w 4819650"/>
              <a:gd name="connsiteY126" fmla="*/ 4480658 h 5143499"/>
              <a:gd name="connsiteX127" fmla="*/ 4018088 w 4819650"/>
              <a:gd name="connsiteY127" fmla="*/ 4461450 h 5143499"/>
              <a:gd name="connsiteX128" fmla="*/ 4097335 w 4819650"/>
              <a:gd name="connsiteY128" fmla="*/ 4461402 h 5143499"/>
              <a:gd name="connsiteX129" fmla="*/ 3976048 w 4819650"/>
              <a:gd name="connsiteY129" fmla="*/ 4461473 h 5143499"/>
              <a:gd name="connsiteX130" fmla="*/ 3974912 w 4819650"/>
              <a:gd name="connsiteY130" fmla="*/ 4486152 h 5143499"/>
              <a:gd name="connsiteX131" fmla="*/ 3899691 w 4819650"/>
              <a:gd name="connsiteY131" fmla="*/ 4518410 h 5143499"/>
              <a:gd name="connsiteX132" fmla="*/ 3868948 w 4819650"/>
              <a:gd name="connsiteY132" fmla="*/ 4568929 h 5143499"/>
              <a:gd name="connsiteX133" fmla="*/ 3886238 w 4819650"/>
              <a:gd name="connsiteY133" fmla="*/ 4611892 h 5143499"/>
              <a:gd name="connsiteX134" fmla="*/ 3929201 w 4819650"/>
              <a:gd name="connsiteY134" fmla="*/ 4629181 h 5143499"/>
              <a:gd name="connsiteX135" fmla="*/ 3979720 w 4819650"/>
              <a:gd name="connsiteY135" fmla="*/ 4598439 h 5143499"/>
              <a:gd name="connsiteX136" fmla="*/ 4011977 w 4819650"/>
              <a:gd name="connsiteY136" fmla="*/ 4523218 h 5143499"/>
              <a:gd name="connsiteX137" fmla="*/ 4036656 w 4819650"/>
              <a:gd name="connsiteY137" fmla="*/ 4522081 h 5143499"/>
              <a:gd name="connsiteX138" fmla="*/ 4061406 w 4819650"/>
              <a:gd name="connsiteY138" fmla="*/ 4523218 h 5143499"/>
              <a:gd name="connsiteX139" fmla="*/ 4093664 w 4819650"/>
              <a:gd name="connsiteY139" fmla="*/ 4598439 h 5143499"/>
              <a:gd name="connsiteX140" fmla="*/ 4144183 w 4819650"/>
              <a:gd name="connsiteY140" fmla="*/ 4629181 h 5143499"/>
              <a:gd name="connsiteX141" fmla="*/ 4187146 w 4819650"/>
              <a:gd name="connsiteY141" fmla="*/ 4611892 h 5143499"/>
              <a:gd name="connsiteX142" fmla="*/ 4204435 w 4819650"/>
              <a:gd name="connsiteY142" fmla="*/ 4568929 h 5143499"/>
              <a:gd name="connsiteX143" fmla="*/ 4173693 w 4819650"/>
              <a:gd name="connsiteY143" fmla="*/ 4518410 h 5143499"/>
              <a:gd name="connsiteX144" fmla="*/ 4098472 w 4819650"/>
              <a:gd name="connsiteY144" fmla="*/ 4486152 h 5143499"/>
              <a:gd name="connsiteX145" fmla="*/ 4097335 w 4819650"/>
              <a:gd name="connsiteY145" fmla="*/ 4461402 h 5143499"/>
              <a:gd name="connsiteX146" fmla="*/ 2094551 w 4819650"/>
              <a:gd name="connsiteY146" fmla="*/ 0 h 5143499"/>
              <a:gd name="connsiteX147" fmla="*/ 4819650 w 4819650"/>
              <a:gd name="connsiteY147" fmla="*/ 0 h 5143499"/>
              <a:gd name="connsiteX148" fmla="*/ 4819650 w 4819650"/>
              <a:gd name="connsiteY148" fmla="*/ 5143499 h 5143499"/>
              <a:gd name="connsiteX149" fmla="*/ 0 w 4819650"/>
              <a:gd name="connsiteY149" fmla="*/ 5143499 h 5143499"/>
              <a:gd name="connsiteX150" fmla="*/ 0 w 4819650"/>
              <a:gd name="connsiteY150" fmla="*/ 5143498 h 5143499"/>
              <a:gd name="connsiteX151" fmla="*/ 371745 w 4819650"/>
              <a:gd name="connsiteY151" fmla="*/ 5143498 h 5143499"/>
              <a:gd name="connsiteX152" fmla="*/ 1206499 w 4819650"/>
              <a:gd name="connsiteY152" fmla="*/ 1821610 h 5143499"/>
              <a:gd name="connsiteX153" fmla="*/ 2048326 w 4819650"/>
              <a:gd name="connsiteY153" fmla="*/ 58253 h 5143499"/>
              <a:gd name="connsiteX154" fmla="*/ 2094551 w 4819650"/>
              <a:gd name="connsiteY154"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018088 w 4819650"/>
              <a:gd name="connsiteY122" fmla="*/ 4461450 h 5143499"/>
              <a:gd name="connsiteX123" fmla="*/ 4055272 w 4819650"/>
              <a:gd name="connsiteY123" fmla="*/ 4461497 h 5143499"/>
              <a:gd name="connsiteX124" fmla="*/ 4055864 w 4819650"/>
              <a:gd name="connsiteY124" fmla="*/ 4480658 h 5143499"/>
              <a:gd name="connsiteX125" fmla="*/ 4036656 w 4819650"/>
              <a:gd name="connsiteY125" fmla="*/ 4480066 h 5143499"/>
              <a:gd name="connsiteX126" fmla="*/ 4017496 w 4819650"/>
              <a:gd name="connsiteY126" fmla="*/ 4480658 h 5143499"/>
              <a:gd name="connsiteX127" fmla="*/ 4018088 w 4819650"/>
              <a:gd name="connsiteY127" fmla="*/ 4461450 h 5143499"/>
              <a:gd name="connsiteX128" fmla="*/ 4098472 w 4819650"/>
              <a:gd name="connsiteY128" fmla="*/ 4486152 h 5143499"/>
              <a:gd name="connsiteX129" fmla="*/ 3976048 w 4819650"/>
              <a:gd name="connsiteY129" fmla="*/ 4461473 h 5143499"/>
              <a:gd name="connsiteX130" fmla="*/ 3974912 w 4819650"/>
              <a:gd name="connsiteY130" fmla="*/ 4486152 h 5143499"/>
              <a:gd name="connsiteX131" fmla="*/ 3899691 w 4819650"/>
              <a:gd name="connsiteY131" fmla="*/ 4518410 h 5143499"/>
              <a:gd name="connsiteX132" fmla="*/ 3868948 w 4819650"/>
              <a:gd name="connsiteY132" fmla="*/ 4568929 h 5143499"/>
              <a:gd name="connsiteX133" fmla="*/ 3886238 w 4819650"/>
              <a:gd name="connsiteY133" fmla="*/ 4611892 h 5143499"/>
              <a:gd name="connsiteX134" fmla="*/ 3929201 w 4819650"/>
              <a:gd name="connsiteY134" fmla="*/ 4629181 h 5143499"/>
              <a:gd name="connsiteX135" fmla="*/ 3979720 w 4819650"/>
              <a:gd name="connsiteY135" fmla="*/ 4598439 h 5143499"/>
              <a:gd name="connsiteX136" fmla="*/ 4011977 w 4819650"/>
              <a:gd name="connsiteY136" fmla="*/ 4523218 h 5143499"/>
              <a:gd name="connsiteX137" fmla="*/ 4036656 w 4819650"/>
              <a:gd name="connsiteY137" fmla="*/ 4522081 h 5143499"/>
              <a:gd name="connsiteX138" fmla="*/ 4061406 w 4819650"/>
              <a:gd name="connsiteY138" fmla="*/ 4523218 h 5143499"/>
              <a:gd name="connsiteX139" fmla="*/ 4093664 w 4819650"/>
              <a:gd name="connsiteY139" fmla="*/ 4598439 h 5143499"/>
              <a:gd name="connsiteX140" fmla="*/ 4144183 w 4819650"/>
              <a:gd name="connsiteY140" fmla="*/ 4629181 h 5143499"/>
              <a:gd name="connsiteX141" fmla="*/ 4187146 w 4819650"/>
              <a:gd name="connsiteY141" fmla="*/ 4611892 h 5143499"/>
              <a:gd name="connsiteX142" fmla="*/ 4204435 w 4819650"/>
              <a:gd name="connsiteY142" fmla="*/ 4568929 h 5143499"/>
              <a:gd name="connsiteX143" fmla="*/ 4173693 w 4819650"/>
              <a:gd name="connsiteY143" fmla="*/ 4518410 h 5143499"/>
              <a:gd name="connsiteX144" fmla="*/ 4098472 w 4819650"/>
              <a:gd name="connsiteY144" fmla="*/ 4486152 h 5143499"/>
              <a:gd name="connsiteX145" fmla="*/ 2094551 w 4819650"/>
              <a:gd name="connsiteY145" fmla="*/ 0 h 5143499"/>
              <a:gd name="connsiteX146" fmla="*/ 4819650 w 4819650"/>
              <a:gd name="connsiteY146" fmla="*/ 0 h 5143499"/>
              <a:gd name="connsiteX147" fmla="*/ 4819650 w 4819650"/>
              <a:gd name="connsiteY147" fmla="*/ 5143499 h 5143499"/>
              <a:gd name="connsiteX148" fmla="*/ 0 w 4819650"/>
              <a:gd name="connsiteY148" fmla="*/ 5143499 h 5143499"/>
              <a:gd name="connsiteX149" fmla="*/ 0 w 4819650"/>
              <a:gd name="connsiteY149" fmla="*/ 5143498 h 5143499"/>
              <a:gd name="connsiteX150" fmla="*/ 371745 w 4819650"/>
              <a:gd name="connsiteY150" fmla="*/ 5143498 h 5143499"/>
              <a:gd name="connsiteX151" fmla="*/ 1206499 w 4819650"/>
              <a:gd name="connsiteY151" fmla="*/ 1821610 h 5143499"/>
              <a:gd name="connsiteX152" fmla="*/ 2048326 w 4819650"/>
              <a:gd name="connsiteY152" fmla="*/ 58253 h 5143499"/>
              <a:gd name="connsiteX153" fmla="*/ 2094551 w 4819650"/>
              <a:gd name="connsiteY153"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018088 w 4819650"/>
              <a:gd name="connsiteY122" fmla="*/ 4461450 h 5143499"/>
              <a:gd name="connsiteX123" fmla="*/ 4055864 w 4819650"/>
              <a:gd name="connsiteY123" fmla="*/ 4480658 h 5143499"/>
              <a:gd name="connsiteX124" fmla="*/ 4036656 w 4819650"/>
              <a:gd name="connsiteY124" fmla="*/ 4480066 h 5143499"/>
              <a:gd name="connsiteX125" fmla="*/ 4017496 w 4819650"/>
              <a:gd name="connsiteY125" fmla="*/ 4480658 h 5143499"/>
              <a:gd name="connsiteX126" fmla="*/ 4018088 w 4819650"/>
              <a:gd name="connsiteY126" fmla="*/ 4461450 h 5143499"/>
              <a:gd name="connsiteX127" fmla="*/ 4098472 w 4819650"/>
              <a:gd name="connsiteY127" fmla="*/ 4486152 h 5143499"/>
              <a:gd name="connsiteX128" fmla="*/ 3976048 w 4819650"/>
              <a:gd name="connsiteY128" fmla="*/ 4461473 h 5143499"/>
              <a:gd name="connsiteX129" fmla="*/ 3974912 w 4819650"/>
              <a:gd name="connsiteY129" fmla="*/ 4486152 h 5143499"/>
              <a:gd name="connsiteX130" fmla="*/ 3899691 w 4819650"/>
              <a:gd name="connsiteY130" fmla="*/ 4518410 h 5143499"/>
              <a:gd name="connsiteX131" fmla="*/ 3868948 w 4819650"/>
              <a:gd name="connsiteY131" fmla="*/ 4568929 h 5143499"/>
              <a:gd name="connsiteX132" fmla="*/ 3886238 w 4819650"/>
              <a:gd name="connsiteY132" fmla="*/ 4611892 h 5143499"/>
              <a:gd name="connsiteX133" fmla="*/ 3929201 w 4819650"/>
              <a:gd name="connsiteY133" fmla="*/ 4629181 h 5143499"/>
              <a:gd name="connsiteX134" fmla="*/ 3979720 w 4819650"/>
              <a:gd name="connsiteY134" fmla="*/ 4598439 h 5143499"/>
              <a:gd name="connsiteX135" fmla="*/ 4011977 w 4819650"/>
              <a:gd name="connsiteY135" fmla="*/ 4523218 h 5143499"/>
              <a:gd name="connsiteX136" fmla="*/ 4036656 w 4819650"/>
              <a:gd name="connsiteY136" fmla="*/ 4522081 h 5143499"/>
              <a:gd name="connsiteX137" fmla="*/ 4061406 w 4819650"/>
              <a:gd name="connsiteY137" fmla="*/ 4523218 h 5143499"/>
              <a:gd name="connsiteX138" fmla="*/ 4093664 w 4819650"/>
              <a:gd name="connsiteY138" fmla="*/ 4598439 h 5143499"/>
              <a:gd name="connsiteX139" fmla="*/ 4144183 w 4819650"/>
              <a:gd name="connsiteY139" fmla="*/ 4629181 h 5143499"/>
              <a:gd name="connsiteX140" fmla="*/ 4187146 w 4819650"/>
              <a:gd name="connsiteY140" fmla="*/ 4611892 h 5143499"/>
              <a:gd name="connsiteX141" fmla="*/ 4204435 w 4819650"/>
              <a:gd name="connsiteY141" fmla="*/ 4568929 h 5143499"/>
              <a:gd name="connsiteX142" fmla="*/ 4173693 w 4819650"/>
              <a:gd name="connsiteY142" fmla="*/ 4518410 h 5143499"/>
              <a:gd name="connsiteX143" fmla="*/ 4098472 w 4819650"/>
              <a:gd name="connsiteY143" fmla="*/ 4486152 h 5143499"/>
              <a:gd name="connsiteX144" fmla="*/ 2094551 w 4819650"/>
              <a:gd name="connsiteY144" fmla="*/ 0 h 5143499"/>
              <a:gd name="connsiteX145" fmla="*/ 4819650 w 4819650"/>
              <a:gd name="connsiteY145" fmla="*/ 0 h 5143499"/>
              <a:gd name="connsiteX146" fmla="*/ 4819650 w 4819650"/>
              <a:gd name="connsiteY146" fmla="*/ 5143499 h 5143499"/>
              <a:gd name="connsiteX147" fmla="*/ 0 w 4819650"/>
              <a:gd name="connsiteY147" fmla="*/ 5143499 h 5143499"/>
              <a:gd name="connsiteX148" fmla="*/ 0 w 4819650"/>
              <a:gd name="connsiteY148" fmla="*/ 5143498 h 5143499"/>
              <a:gd name="connsiteX149" fmla="*/ 371745 w 4819650"/>
              <a:gd name="connsiteY149" fmla="*/ 5143498 h 5143499"/>
              <a:gd name="connsiteX150" fmla="*/ 1206499 w 4819650"/>
              <a:gd name="connsiteY150" fmla="*/ 1821610 h 5143499"/>
              <a:gd name="connsiteX151" fmla="*/ 2048326 w 4819650"/>
              <a:gd name="connsiteY151" fmla="*/ 58253 h 5143499"/>
              <a:gd name="connsiteX152" fmla="*/ 2094551 w 4819650"/>
              <a:gd name="connsiteY152"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017496 w 4819650"/>
              <a:gd name="connsiteY122" fmla="*/ 4480658 h 5143499"/>
              <a:gd name="connsiteX123" fmla="*/ 4055864 w 4819650"/>
              <a:gd name="connsiteY123" fmla="*/ 4480658 h 5143499"/>
              <a:gd name="connsiteX124" fmla="*/ 4036656 w 4819650"/>
              <a:gd name="connsiteY124" fmla="*/ 4480066 h 5143499"/>
              <a:gd name="connsiteX125" fmla="*/ 4017496 w 4819650"/>
              <a:gd name="connsiteY125" fmla="*/ 4480658 h 5143499"/>
              <a:gd name="connsiteX126" fmla="*/ 4098472 w 4819650"/>
              <a:gd name="connsiteY126" fmla="*/ 4486152 h 5143499"/>
              <a:gd name="connsiteX127" fmla="*/ 3976048 w 4819650"/>
              <a:gd name="connsiteY127" fmla="*/ 4461473 h 5143499"/>
              <a:gd name="connsiteX128" fmla="*/ 3974912 w 4819650"/>
              <a:gd name="connsiteY128" fmla="*/ 4486152 h 5143499"/>
              <a:gd name="connsiteX129" fmla="*/ 3899691 w 4819650"/>
              <a:gd name="connsiteY129" fmla="*/ 4518410 h 5143499"/>
              <a:gd name="connsiteX130" fmla="*/ 3868948 w 4819650"/>
              <a:gd name="connsiteY130" fmla="*/ 4568929 h 5143499"/>
              <a:gd name="connsiteX131" fmla="*/ 3886238 w 4819650"/>
              <a:gd name="connsiteY131" fmla="*/ 4611892 h 5143499"/>
              <a:gd name="connsiteX132" fmla="*/ 3929201 w 4819650"/>
              <a:gd name="connsiteY132" fmla="*/ 4629181 h 5143499"/>
              <a:gd name="connsiteX133" fmla="*/ 3979720 w 4819650"/>
              <a:gd name="connsiteY133" fmla="*/ 4598439 h 5143499"/>
              <a:gd name="connsiteX134" fmla="*/ 4011977 w 4819650"/>
              <a:gd name="connsiteY134" fmla="*/ 4523218 h 5143499"/>
              <a:gd name="connsiteX135" fmla="*/ 4036656 w 4819650"/>
              <a:gd name="connsiteY135" fmla="*/ 4522081 h 5143499"/>
              <a:gd name="connsiteX136" fmla="*/ 4061406 w 4819650"/>
              <a:gd name="connsiteY136" fmla="*/ 4523218 h 5143499"/>
              <a:gd name="connsiteX137" fmla="*/ 4093664 w 4819650"/>
              <a:gd name="connsiteY137" fmla="*/ 4598439 h 5143499"/>
              <a:gd name="connsiteX138" fmla="*/ 4144183 w 4819650"/>
              <a:gd name="connsiteY138" fmla="*/ 4629181 h 5143499"/>
              <a:gd name="connsiteX139" fmla="*/ 4187146 w 4819650"/>
              <a:gd name="connsiteY139" fmla="*/ 4611892 h 5143499"/>
              <a:gd name="connsiteX140" fmla="*/ 4204435 w 4819650"/>
              <a:gd name="connsiteY140" fmla="*/ 4568929 h 5143499"/>
              <a:gd name="connsiteX141" fmla="*/ 4173693 w 4819650"/>
              <a:gd name="connsiteY141" fmla="*/ 4518410 h 5143499"/>
              <a:gd name="connsiteX142" fmla="*/ 4098472 w 4819650"/>
              <a:gd name="connsiteY142" fmla="*/ 4486152 h 5143499"/>
              <a:gd name="connsiteX143" fmla="*/ 2094551 w 4819650"/>
              <a:gd name="connsiteY143" fmla="*/ 0 h 5143499"/>
              <a:gd name="connsiteX144" fmla="*/ 4819650 w 4819650"/>
              <a:gd name="connsiteY144" fmla="*/ 0 h 5143499"/>
              <a:gd name="connsiteX145" fmla="*/ 4819650 w 4819650"/>
              <a:gd name="connsiteY145" fmla="*/ 5143499 h 5143499"/>
              <a:gd name="connsiteX146" fmla="*/ 0 w 4819650"/>
              <a:gd name="connsiteY146" fmla="*/ 5143499 h 5143499"/>
              <a:gd name="connsiteX147" fmla="*/ 0 w 4819650"/>
              <a:gd name="connsiteY147" fmla="*/ 5143498 h 5143499"/>
              <a:gd name="connsiteX148" fmla="*/ 371745 w 4819650"/>
              <a:gd name="connsiteY148" fmla="*/ 5143498 h 5143499"/>
              <a:gd name="connsiteX149" fmla="*/ 1206499 w 4819650"/>
              <a:gd name="connsiteY149" fmla="*/ 1821610 h 5143499"/>
              <a:gd name="connsiteX150" fmla="*/ 2048326 w 4819650"/>
              <a:gd name="connsiteY150" fmla="*/ 58253 h 5143499"/>
              <a:gd name="connsiteX151" fmla="*/ 2094551 w 4819650"/>
              <a:gd name="connsiteY151"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017496 w 4819650"/>
              <a:gd name="connsiteY122" fmla="*/ 4480658 h 5143499"/>
              <a:gd name="connsiteX123" fmla="*/ 4055864 w 4819650"/>
              <a:gd name="connsiteY123" fmla="*/ 4480658 h 5143499"/>
              <a:gd name="connsiteX124" fmla="*/ 4036656 w 4819650"/>
              <a:gd name="connsiteY124" fmla="*/ 4480066 h 5143499"/>
              <a:gd name="connsiteX125" fmla="*/ 4017496 w 4819650"/>
              <a:gd name="connsiteY125" fmla="*/ 4480658 h 5143499"/>
              <a:gd name="connsiteX126" fmla="*/ 4098472 w 4819650"/>
              <a:gd name="connsiteY126" fmla="*/ 4486152 h 5143499"/>
              <a:gd name="connsiteX127" fmla="*/ 3974912 w 4819650"/>
              <a:gd name="connsiteY127" fmla="*/ 4486152 h 5143499"/>
              <a:gd name="connsiteX128" fmla="*/ 3899691 w 4819650"/>
              <a:gd name="connsiteY128" fmla="*/ 4518410 h 5143499"/>
              <a:gd name="connsiteX129" fmla="*/ 3868948 w 4819650"/>
              <a:gd name="connsiteY129" fmla="*/ 4568929 h 5143499"/>
              <a:gd name="connsiteX130" fmla="*/ 3886238 w 4819650"/>
              <a:gd name="connsiteY130" fmla="*/ 4611892 h 5143499"/>
              <a:gd name="connsiteX131" fmla="*/ 3929201 w 4819650"/>
              <a:gd name="connsiteY131" fmla="*/ 4629181 h 5143499"/>
              <a:gd name="connsiteX132" fmla="*/ 3979720 w 4819650"/>
              <a:gd name="connsiteY132" fmla="*/ 4598439 h 5143499"/>
              <a:gd name="connsiteX133" fmla="*/ 4011977 w 4819650"/>
              <a:gd name="connsiteY133" fmla="*/ 4523218 h 5143499"/>
              <a:gd name="connsiteX134" fmla="*/ 4036656 w 4819650"/>
              <a:gd name="connsiteY134" fmla="*/ 4522081 h 5143499"/>
              <a:gd name="connsiteX135" fmla="*/ 4061406 w 4819650"/>
              <a:gd name="connsiteY135" fmla="*/ 4523218 h 5143499"/>
              <a:gd name="connsiteX136" fmla="*/ 4093664 w 4819650"/>
              <a:gd name="connsiteY136" fmla="*/ 4598439 h 5143499"/>
              <a:gd name="connsiteX137" fmla="*/ 4144183 w 4819650"/>
              <a:gd name="connsiteY137" fmla="*/ 4629181 h 5143499"/>
              <a:gd name="connsiteX138" fmla="*/ 4187146 w 4819650"/>
              <a:gd name="connsiteY138" fmla="*/ 4611892 h 5143499"/>
              <a:gd name="connsiteX139" fmla="*/ 4204435 w 4819650"/>
              <a:gd name="connsiteY139" fmla="*/ 4568929 h 5143499"/>
              <a:gd name="connsiteX140" fmla="*/ 4173693 w 4819650"/>
              <a:gd name="connsiteY140" fmla="*/ 4518410 h 5143499"/>
              <a:gd name="connsiteX141" fmla="*/ 4098472 w 4819650"/>
              <a:gd name="connsiteY141" fmla="*/ 4486152 h 5143499"/>
              <a:gd name="connsiteX142" fmla="*/ 2094551 w 4819650"/>
              <a:gd name="connsiteY142" fmla="*/ 0 h 5143499"/>
              <a:gd name="connsiteX143" fmla="*/ 4819650 w 4819650"/>
              <a:gd name="connsiteY143" fmla="*/ 0 h 5143499"/>
              <a:gd name="connsiteX144" fmla="*/ 4819650 w 4819650"/>
              <a:gd name="connsiteY144" fmla="*/ 5143499 h 5143499"/>
              <a:gd name="connsiteX145" fmla="*/ 0 w 4819650"/>
              <a:gd name="connsiteY145" fmla="*/ 5143499 h 5143499"/>
              <a:gd name="connsiteX146" fmla="*/ 0 w 4819650"/>
              <a:gd name="connsiteY146" fmla="*/ 5143498 h 5143499"/>
              <a:gd name="connsiteX147" fmla="*/ 371745 w 4819650"/>
              <a:gd name="connsiteY147" fmla="*/ 5143498 h 5143499"/>
              <a:gd name="connsiteX148" fmla="*/ 1206499 w 4819650"/>
              <a:gd name="connsiteY148" fmla="*/ 1821610 h 5143499"/>
              <a:gd name="connsiteX149" fmla="*/ 2048326 w 4819650"/>
              <a:gd name="connsiteY149" fmla="*/ 58253 h 5143499"/>
              <a:gd name="connsiteX150" fmla="*/ 2094551 w 4819650"/>
              <a:gd name="connsiteY150"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017496 w 4819650"/>
              <a:gd name="connsiteY122" fmla="*/ 4480658 h 5143499"/>
              <a:gd name="connsiteX123" fmla="*/ 4055864 w 4819650"/>
              <a:gd name="connsiteY123" fmla="*/ 4480658 h 5143499"/>
              <a:gd name="connsiteX124" fmla="*/ 4036656 w 4819650"/>
              <a:gd name="connsiteY124" fmla="*/ 4480066 h 5143499"/>
              <a:gd name="connsiteX125" fmla="*/ 4017496 w 4819650"/>
              <a:gd name="connsiteY125" fmla="*/ 4480658 h 5143499"/>
              <a:gd name="connsiteX126" fmla="*/ 4098472 w 4819650"/>
              <a:gd name="connsiteY126" fmla="*/ 4486152 h 5143499"/>
              <a:gd name="connsiteX127" fmla="*/ 3899691 w 4819650"/>
              <a:gd name="connsiteY127" fmla="*/ 4518410 h 5143499"/>
              <a:gd name="connsiteX128" fmla="*/ 3868948 w 4819650"/>
              <a:gd name="connsiteY128" fmla="*/ 4568929 h 5143499"/>
              <a:gd name="connsiteX129" fmla="*/ 3886238 w 4819650"/>
              <a:gd name="connsiteY129" fmla="*/ 4611892 h 5143499"/>
              <a:gd name="connsiteX130" fmla="*/ 3929201 w 4819650"/>
              <a:gd name="connsiteY130" fmla="*/ 4629181 h 5143499"/>
              <a:gd name="connsiteX131" fmla="*/ 3979720 w 4819650"/>
              <a:gd name="connsiteY131" fmla="*/ 4598439 h 5143499"/>
              <a:gd name="connsiteX132" fmla="*/ 4011977 w 4819650"/>
              <a:gd name="connsiteY132" fmla="*/ 4523218 h 5143499"/>
              <a:gd name="connsiteX133" fmla="*/ 4036656 w 4819650"/>
              <a:gd name="connsiteY133" fmla="*/ 4522081 h 5143499"/>
              <a:gd name="connsiteX134" fmla="*/ 4061406 w 4819650"/>
              <a:gd name="connsiteY134" fmla="*/ 4523218 h 5143499"/>
              <a:gd name="connsiteX135" fmla="*/ 4093664 w 4819650"/>
              <a:gd name="connsiteY135" fmla="*/ 4598439 h 5143499"/>
              <a:gd name="connsiteX136" fmla="*/ 4144183 w 4819650"/>
              <a:gd name="connsiteY136" fmla="*/ 4629181 h 5143499"/>
              <a:gd name="connsiteX137" fmla="*/ 4187146 w 4819650"/>
              <a:gd name="connsiteY137" fmla="*/ 4611892 h 5143499"/>
              <a:gd name="connsiteX138" fmla="*/ 4204435 w 4819650"/>
              <a:gd name="connsiteY138" fmla="*/ 4568929 h 5143499"/>
              <a:gd name="connsiteX139" fmla="*/ 4173693 w 4819650"/>
              <a:gd name="connsiteY139" fmla="*/ 4518410 h 5143499"/>
              <a:gd name="connsiteX140" fmla="*/ 4098472 w 4819650"/>
              <a:gd name="connsiteY140" fmla="*/ 4486152 h 5143499"/>
              <a:gd name="connsiteX141" fmla="*/ 2094551 w 4819650"/>
              <a:gd name="connsiteY141" fmla="*/ 0 h 5143499"/>
              <a:gd name="connsiteX142" fmla="*/ 4819650 w 4819650"/>
              <a:gd name="connsiteY142" fmla="*/ 0 h 5143499"/>
              <a:gd name="connsiteX143" fmla="*/ 4819650 w 4819650"/>
              <a:gd name="connsiteY143" fmla="*/ 5143499 h 5143499"/>
              <a:gd name="connsiteX144" fmla="*/ 0 w 4819650"/>
              <a:gd name="connsiteY144" fmla="*/ 5143499 h 5143499"/>
              <a:gd name="connsiteX145" fmla="*/ 0 w 4819650"/>
              <a:gd name="connsiteY145" fmla="*/ 5143498 h 5143499"/>
              <a:gd name="connsiteX146" fmla="*/ 371745 w 4819650"/>
              <a:gd name="connsiteY146" fmla="*/ 5143498 h 5143499"/>
              <a:gd name="connsiteX147" fmla="*/ 1206499 w 4819650"/>
              <a:gd name="connsiteY147" fmla="*/ 1821610 h 5143499"/>
              <a:gd name="connsiteX148" fmla="*/ 2048326 w 4819650"/>
              <a:gd name="connsiteY148" fmla="*/ 58253 h 5143499"/>
              <a:gd name="connsiteX149" fmla="*/ 2094551 w 4819650"/>
              <a:gd name="connsiteY149"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036656 w 4819650"/>
              <a:gd name="connsiteY122" fmla="*/ 4480066 h 5143499"/>
              <a:gd name="connsiteX123" fmla="*/ 4055864 w 4819650"/>
              <a:gd name="connsiteY123" fmla="*/ 4480658 h 5143499"/>
              <a:gd name="connsiteX124" fmla="*/ 4036656 w 4819650"/>
              <a:gd name="connsiteY124" fmla="*/ 4480066 h 5143499"/>
              <a:gd name="connsiteX125" fmla="*/ 4098472 w 4819650"/>
              <a:gd name="connsiteY125" fmla="*/ 4486152 h 5143499"/>
              <a:gd name="connsiteX126" fmla="*/ 3899691 w 4819650"/>
              <a:gd name="connsiteY126" fmla="*/ 4518410 h 5143499"/>
              <a:gd name="connsiteX127" fmla="*/ 3868948 w 4819650"/>
              <a:gd name="connsiteY127" fmla="*/ 4568929 h 5143499"/>
              <a:gd name="connsiteX128" fmla="*/ 3886238 w 4819650"/>
              <a:gd name="connsiteY128" fmla="*/ 4611892 h 5143499"/>
              <a:gd name="connsiteX129" fmla="*/ 3929201 w 4819650"/>
              <a:gd name="connsiteY129" fmla="*/ 4629181 h 5143499"/>
              <a:gd name="connsiteX130" fmla="*/ 3979720 w 4819650"/>
              <a:gd name="connsiteY130" fmla="*/ 4598439 h 5143499"/>
              <a:gd name="connsiteX131" fmla="*/ 4011977 w 4819650"/>
              <a:gd name="connsiteY131" fmla="*/ 4523218 h 5143499"/>
              <a:gd name="connsiteX132" fmla="*/ 4036656 w 4819650"/>
              <a:gd name="connsiteY132" fmla="*/ 4522081 h 5143499"/>
              <a:gd name="connsiteX133" fmla="*/ 4061406 w 4819650"/>
              <a:gd name="connsiteY133" fmla="*/ 4523218 h 5143499"/>
              <a:gd name="connsiteX134" fmla="*/ 4093664 w 4819650"/>
              <a:gd name="connsiteY134" fmla="*/ 4598439 h 5143499"/>
              <a:gd name="connsiteX135" fmla="*/ 4144183 w 4819650"/>
              <a:gd name="connsiteY135" fmla="*/ 4629181 h 5143499"/>
              <a:gd name="connsiteX136" fmla="*/ 4187146 w 4819650"/>
              <a:gd name="connsiteY136" fmla="*/ 4611892 h 5143499"/>
              <a:gd name="connsiteX137" fmla="*/ 4204435 w 4819650"/>
              <a:gd name="connsiteY137" fmla="*/ 4568929 h 5143499"/>
              <a:gd name="connsiteX138" fmla="*/ 4173693 w 4819650"/>
              <a:gd name="connsiteY138" fmla="*/ 4518410 h 5143499"/>
              <a:gd name="connsiteX139" fmla="*/ 4098472 w 4819650"/>
              <a:gd name="connsiteY139" fmla="*/ 4486152 h 5143499"/>
              <a:gd name="connsiteX140" fmla="*/ 2094551 w 4819650"/>
              <a:gd name="connsiteY140" fmla="*/ 0 h 5143499"/>
              <a:gd name="connsiteX141" fmla="*/ 4819650 w 4819650"/>
              <a:gd name="connsiteY141" fmla="*/ 0 h 5143499"/>
              <a:gd name="connsiteX142" fmla="*/ 4819650 w 4819650"/>
              <a:gd name="connsiteY142" fmla="*/ 5143499 h 5143499"/>
              <a:gd name="connsiteX143" fmla="*/ 0 w 4819650"/>
              <a:gd name="connsiteY143" fmla="*/ 5143499 h 5143499"/>
              <a:gd name="connsiteX144" fmla="*/ 0 w 4819650"/>
              <a:gd name="connsiteY144" fmla="*/ 5143498 h 5143499"/>
              <a:gd name="connsiteX145" fmla="*/ 371745 w 4819650"/>
              <a:gd name="connsiteY145" fmla="*/ 5143498 h 5143499"/>
              <a:gd name="connsiteX146" fmla="*/ 1206499 w 4819650"/>
              <a:gd name="connsiteY146" fmla="*/ 1821610 h 5143499"/>
              <a:gd name="connsiteX147" fmla="*/ 2048326 w 4819650"/>
              <a:gd name="connsiteY147" fmla="*/ 58253 h 5143499"/>
              <a:gd name="connsiteX148" fmla="*/ 2094551 w 4819650"/>
              <a:gd name="connsiteY148"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098472 w 4819650"/>
              <a:gd name="connsiteY122" fmla="*/ 4486152 h 5143499"/>
              <a:gd name="connsiteX123" fmla="*/ 3899691 w 4819650"/>
              <a:gd name="connsiteY123" fmla="*/ 4518410 h 5143499"/>
              <a:gd name="connsiteX124" fmla="*/ 3868948 w 4819650"/>
              <a:gd name="connsiteY124" fmla="*/ 4568929 h 5143499"/>
              <a:gd name="connsiteX125" fmla="*/ 3886238 w 4819650"/>
              <a:gd name="connsiteY125" fmla="*/ 4611892 h 5143499"/>
              <a:gd name="connsiteX126" fmla="*/ 3929201 w 4819650"/>
              <a:gd name="connsiteY126" fmla="*/ 4629181 h 5143499"/>
              <a:gd name="connsiteX127" fmla="*/ 3979720 w 4819650"/>
              <a:gd name="connsiteY127" fmla="*/ 4598439 h 5143499"/>
              <a:gd name="connsiteX128" fmla="*/ 4011977 w 4819650"/>
              <a:gd name="connsiteY128" fmla="*/ 4523218 h 5143499"/>
              <a:gd name="connsiteX129" fmla="*/ 4036656 w 4819650"/>
              <a:gd name="connsiteY129" fmla="*/ 4522081 h 5143499"/>
              <a:gd name="connsiteX130" fmla="*/ 4061406 w 4819650"/>
              <a:gd name="connsiteY130" fmla="*/ 4523218 h 5143499"/>
              <a:gd name="connsiteX131" fmla="*/ 4093664 w 4819650"/>
              <a:gd name="connsiteY131" fmla="*/ 4598439 h 5143499"/>
              <a:gd name="connsiteX132" fmla="*/ 4144183 w 4819650"/>
              <a:gd name="connsiteY132" fmla="*/ 4629181 h 5143499"/>
              <a:gd name="connsiteX133" fmla="*/ 4187146 w 4819650"/>
              <a:gd name="connsiteY133" fmla="*/ 4611892 h 5143499"/>
              <a:gd name="connsiteX134" fmla="*/ 4204435 w 4819650"/>
              <a:gd name="connsiteY134" fmla="*/ 4568929 h 5143499"/>
              <a:gd name="connsiteX135" fmla="*/ 4173693 w 4819650"/>
              <a:gd name="connsiteY135" fmla="*/ 4518410 h 5143499"/>
              <a:gd name="connsiteX136" fmla="*/ 4098472 w 4819650"/>
              <a:gd name="connsiteY136" fmla="*/ 4486152 h 5143499"/>
              <a:gd name="connsiteX137" fmla="*/ 2094551 w 4819650"/>
              <a:gd name="connsiteY137" fmla="*/ 0 h 5143499"/>
              <a:gd name="connsiteX138" fmla="*/ 4819650 w 4819650"/>
              <a:gd name="connsiteY138" fmla="*/ 0 h 5143499"/>
              <a:gd name="connsiteX139" fmla="*/ 4819650 w 4819650"/>
              <a:gd name="connsiteY139" fmla="*/ 5143499 h 5143499"/>
              <a:gd name="connsiteX140" fmla="*/ 0 w 4819650"/>
              <a:gd name="connsiteY140" fmla="*/ 5143499 h 5143499"/>
              <a:gd name="connsiteX141" fmla="*/ 0 w 4819650"/>
              <a:gd name="connsiteY141" fmla="*/ 5143498 h 5143499"/>
              <a:gd name="connsiteX142" fmla="*/ 371745 w 4819650"/>
              <a:gd name="connsiteY142" fmla="*/ 5143498 h 5143499"/>
              <a:gd name="connsiteX143" fmla="*/ 1206499 w 4819650"/>
              <a:gd name="connsiteY143" fmla="*/ 1821610 h 5143499"/>
              <a:gd name="connsiteX144" fmla="*/ 2048326 w 4819650"/>
              <a:gd name="connsiteY144" fmla="*/ 58253 h 5143499"/>
              <a:gd name="connsiteX145" fmla="*/ 2094551 w 4819650"/>
              <a:gd name="connsiteY145"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173693 w 4819650"/>
              <a:gd name="connsiteY122" fmla="*/ 4518410 h 5143499"/>
              <a:gd name="connsiteX123" fmla="*/ 3899691 w 4819650"/>
              <a:gd name="connsiteY123" fmla="*/ 4518410 h 5143499"/>
              <a:gd name="connsiteX124" fmla="*/ 3868948 w 4819650"/>
              <a:gd name="connsiteY124" fmla="*/ 4568929 h 5143499"/>
              <a:gd name="connsiteX125" fmla="*/ 3886238 w 4819650"/>
              <a:gd name="connsiteY125" fmla="*/ 4611892 h 5143499"/>
              <a:gd name="connsiteX126" fmla="*/ 3929201 w 4819650"/>
              <a:gd name="connsiteY126" fmla="*/ 4629181 h 5143499"/>
              <a:gd name="connsiteX127" fmla="*/ 3979720 w 4819650"/>
              <a:gd name="connsiteY127" fmla="*/ 4598439 h 5143499"/>
              <a:gd name="connsiteX128" fmla="*/ 4011977 w 4819650"/>
              <a:gd name="connsiteY128" fmla="*/ 4523218 h 5143499"/>
              <a:gd name="connsiteX129" fmla="*/ 4036656 w 4819650"/>
              <a:gd name="connsiteY129" fmla="*/ 4522081 h 5143499"/>
              <a:gd name="connsiteX130" fmla="*/ 4061406 w 4819650"/>
              <a:gd name="connsiteY130" fmla="*/ 4523218 h 5143499"/>
              <a:gd name="connsiteX131" fmla="*/ 4093664 w 4819650"/>
              <a:gd name="connsiteY131" fmla="*/ 4598439 h 5143499"/>
              <a:gd name="connsiteX132" fmla="*/ 4144183 w 4819650"/>
              <a:gd name="connsiteY132" fmla="*/ 4629181 h 5143499"/>
              <a:gd name="connsiteX133" fmla="*/ 4187146 w 4819650"/>
              <a:gd name="connsiteY133" fmla="*/ 4611892 h 5143499"/>
              <a:gd name="connsiteX134" fmla="*/ 4204435 w 4819650"/>
              <a:gd name="connsiteY134" fmla="*/ 4568929 h 5143499"/>
              <a:gd name="connsiteX135" fmla="*/ 4173693 w 4819650"/>
              <a:gd name="connsiteY135" fmla="*/ 4518410 h 5143499"/>
              <a:gd name="connsiteX136" fmla="*/ 2094551 w 4819650"/>
              <a:gd name="connsiteY136" fmla="*/ 0 h 5143499"/>
              <a:gd name="connsiteX137" fmla="*/ 4819650 w 4819650"/>
              <a:gd name="connsiteY137" fmla="*/ 0 h 5143499"/>
              <a:gd name="connsiteX138" fmla="*/ 4819650 w 4819650"/>
              <a:gd name="connsiteY138" fmla="*/ 5143499 h 5143499"/>
              <a:gd name="connsiteX139" fmla="*/ 0 w 4819650"/>
              <a:gd name="connsiteY139" fmla="*/ 5143499 h 5143499"/>
              <a:gd name="connsiteX140" fmla="*/ 0 w 4819650"/>
              <a:gd name="connsiteY140" fmla="*/ 5143498 h 5143499"/>
              <a:gd name="connsiteX141" fmla="*/ 371745 w 4819650"/>
              <a:gd name="connsiteY141" fmla="*/ 5143498 h 5143499"/>
              <a:gd name="connsiteX142" fmla="*/ 1206499 w 4819650"/>
              <a:gd name="connsiteY142" fmla="*/ 1821610 h 5143499"/>
              <a:gd name="connsiteX143" fmla="*/ 2048326 w 4819650"/>
              <a:gd name="connsiteY143" fmla="*/ 58253 h 5143499"/>
              <a:gd name="connsiteX144" fmla="*/ 2094551 w 4819650"/>
              <a:gd name="connsiteY144"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7022 w 4819650"/>
              <a:gd name="connsiteY118" fmla="*/ 4531768 h 5143499"/>
              <a:gd name="connsiteX119" fmla="*/ 4107045 w 4819650"/>
              <a:gd name="connsiteY119" fmla="*/ 4531815 h 5143499"/>
              <a:gd name="connsiteX120" fmla="*/ 4106998 w 4819650"/>
              <a:gd name="connsiteY120" fmla="*/ 4531792 h 5143499"/>
              <a:gd name="connsiteX121" fmla="*/ 4107022 w 4819650"/>
              <a:gd name="connsiteY121" fmla="*/ 4531768 h 5143499"/>
              <a:gd name="connsiteX122" fmla="*/ 4204435 w 4819650"/>
              <a:gd name="connsiteY122" fmla="*/ 4568929 h 5143499"/>
              <a:gd name="connsiteX123" fmla="*/ 3899691 w 4819650"/>
              <a:gd name="connsiteY123" fmla="*/ 4518410 h 5143499"/>
              <a:gd name="connsiteX124" fmla="*/ 3868948 w 4819650"/>
              <a:gd name="connsiteY124" fmla="*/ 4568929 h 5143499"/>
              <a:gd name="connsiteX125" fmla="*/ 3886238 w 4819650"/>
              <a:gd name="connsiteY125" fmla="*/ 4611892 h 5143499"/>
              <a:gd name="connsiteX126" fmla="*/ 3929201 w 4819650"/>
              <a:gd name="connsiteY126" fmla="*/ 4629181 h 5143499"/>
              <a:gd name="connsiteX127" fmla="*/ 3979720 w 4819650"/>
              <a:gd name="connsiteY127" fmla="*/ 4598439 h 5143499"/>
              <a:gd name="connsiteX128" fmla="*/ 4011977 w 4819650"/>
              <a:gd name="connsiteY128" fmla="*/ 4523218 h 5143499"/>
              <a:gd name="connsiteX129" fmla="*/ 4036656 w 4819650"/>
              <a:gd name="connsiteY129" fmla="*/ 4522081 h 5143499"/>
              <a:gd name="connsiteX130" fmla="*/ 4061406 w 4819650"/>
              <a:gd name="connsiteY130" fmla="*/ 4523218 h 5143499"/>
              <a:gd name="connsiteX131" fmla="*/ 4093664 w 4819650"/>
              <a:gd name="connsiteY131" fmla="*/ 4598439 h 5143499"/>
              <a:gd name="connsiteX132" fmla="*/ 4144183 w 4819650"/>
              <a:gd name="connsiteY132" fmla="*/ 4629181 h 5143499"/>
              <a:gd name="connsiteX133" fmla="*/ 4187146 w 4819650"/>
              <a:gd name="connsiteY133" fmla="*/ 4611892 h 5143499"/>
              <a:gd name="connsiteX134" fmla="*/ 4204435 w 4819650"/>
              <a:gd name="connsiteY134" fmla="*/ 4568929 h 5143499"/>
              <a:gd name="connsiteX135" fmla="*/ 2094551 w 4819650"/>
              <a:gd name="connsiteY135" fmla="*/ 0 h 5143499"/>
              <a:gd name="connsiteX136" fmla="*/ 4819650 w 4819650"/>
              <a:gd name="connsiteY136" fmla="*/ 0 h 5143499"/>
              <a:gd name="connsiteX137" fmla="*/ 4819650 w 4819650"/>
              <a:gd name="connsiteY137" fmla="*/ 5143499 h 5143499"/>
              <a:gd name="connsiteX138" fmla="*/ 0 w 4819650"/>
              <a:gd name="connsiteY138" fmla="*/ 5143499 h 5143499"/>
              <a:gd name="connsiteX139" fmla="*/ 0 w 4819650"/>
              <a:gd name="connsiteY139" fmla="*/ 5143498 h 5143499"/>
              <a:gd name="connsiteX140" fmla="*/ 371745 w 4819650"/>
              <a:gd name="connsiteY140" fmla="*/ 5143498 h 5143499"/>
              <a:gd name="connsiteX141" fmla="*/ 1206499 w 4819650"/>
              <a:gd name="connsiteY141" fmla="*/ 1821610 h 5143499"/>
              <a:gd name="connsiteX142" fmla="*/ 2048326 w 4819650"/>
              <a:gd name="connsiteY142" fmla="*/ 58253 h 5143499"/>
              <a:gd name="connsiteX143" fmla="*/ 2094551 w 4819650"/>
              <a:gd name="connsiteY143"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106998 w 4819650"/>
              <a:gd name="connsiteY118" fmla="*/ 4531792 h 5143499"/>
              <a:gd name="connsiteX119" fmla="*/ 4107045 w 4819650"/>
              <a:gd name="connsiteY119" fmla="*/ 4531815 h 5143499"/>
              <a:gd name="connsiteX120" fmla="*/ 4106998 w 4819650"/>
              <a:gd name="connsiteY120" fmla="*/ 4531792 h 5143499"/>
              <a:gd name="connsiteX121" fmla="*/ 4204435 w 4819650"/>
              <a:gd name="connsiteY121" fmla="*/ 4568929 h 5143499"/>
              <a:gd name="connsiteX122" fmla="*/ 3899691 w 4819650"/>
              <a:gd name="connsiteY122" fmla="*/ 4518410 h 5143499"/>
              <a:gd name="connsiteX123" fmla="*/ 3868948 w 4819650"/>
              <a:gd name="connsiteY123" fmla="*/ 4568929 h 5143499"/>
              <a:gd name="connsiteX124" fmla="*/ 3886238 w 4819650"/>
              <a:gd name="connsiteY124" fmla="*/ 4611892 h 5143499"/>
              <a:gd name="connsiteX125" fmla="*/ 3929201 w 4819650"/>
              <a:gd name="connsiteY125" fmla="*/ 4629181 h 5143499"/>
              <a:gd name="connsiteX126" fmla="*/ 3979720 w 4819650"/>
              <a:gd name="connsiteY126" fmla="*/ 4598439 h 5143499"/>
              <a:gd name="connsiteX127" fmla="*/ 4011977 w 4819650"/>
              <a:gd name="connsiteY127" fmla="*/ 4523218 h 5143499"/>
              <a:gd name="connsiteX128" fmla="*/ 4036656 w 4819650"/>
              <a:gd name="connsiteY128" fmla="*/ 4522081 h 5143499"/>
              <a:gd name="connsiteX129" fmla="*/ 4061406 w 4819650"/>
              <a:gd name="connsiteY129" fmla="*/ 4523218 h 5143499"/>
              <a:gd name="connsiteX130" fmla="*/ 4093664 w 4819650"/>
              <a:gd name="connsiteY130" fmla="*/ 4598439 h 5143499"/>
              <a:gd name="connsiteX131" fmla="*/ 4144183 w 4819650"/>
              <a:gd name="connsiteY131" fmla="*/ 4629181 h 5143499"/>
              <a:gd name="connsiteX132" fmla="*/ 4187146 w 4819650"/>
              <a:gd name="connsiteY132" fmla="*/ 4611892 h 5143499"/>
              <a:gd name="connsiteX133" fmla="*/ 4204435 w 4819650"/>
              <a:gd name="connsiteY133" fmla="*/ 4568929 h 5143499"/>
              <a:gd name="connsiteX134" fmla="*/ 2094551 w 4819650"/>
              <a:gd name="connsiteY134" fmla="*/ 0 h 5143499"/>
              <a:gd name="connsiteX135" fmla="*/ 4819650 w 4819650"/>
              <a:gd name="connsiteY135" fmla="*/ 0 h 5143499"/>
              <a:gd name="connsiteX136" fmla="*/ 4819650 w 4819650"/>
              <a:gd name="connsiteY136" fmla="*/ 5143499 h 5143499"/>
              <a:gd name="connsiteX137" fmla="*/ 0 w 4819650"/>
              <a:gd name="connsiteY137" fmla="*/ 5143499 h 5143499"/>
              <a:gd name="connsiteX138" fmla="*/ 0 w 4819650"/>
              <a:gd name="connsiteY138" fmla="*/ 5143498 h 5143499"/>
              <a:gd name="connsiteX139" fmla="*/ 371745 w 4819650"/>
              <a:gd name="connsiteY139" fmla="*/ 5143498 h 5143499"/>
              <a:gd name="connsiteX140" fmla="*/ 1206499 w 4819650"/>
              <a:gd name="connsiteY140" fmla="*/ 1821610 h 5143499"/>
              <a:gd name="connsiteX141" fmla="*/ 2048326 w 4819650"/>
              <a:gd name="connsiteY141" fmla="*/ 58253 h 5143499"/>
              <a:gd name="connsiteX142" fmla="*/ 2094551 w 4819650"/>
              <a:gd name="connsiteY142"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07045 w 4819650"/>
              <a:gd name="connsiteY109" fmla="*/ 4531815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107045 w 4819650"/>
              <a:gd name="connsiteY117" fmla="*/ 4531815 h 5143499"/>
              <a:gd name="connsiteX118" fmla="*/ 4204435 w 4819650"/>
              <a:gd name="connsiteY118" fmla="*/ 4568929 h 5143499"/>
              <a:gd name="connsiteX119" fmla="*/ 3899691 w 4819650"/>
              <a:gd name="connsiteY119" fmla="*/ 4518410 h 5143499"/>
              <a:gd name="connsiteX120" fmla="*/ 3868948 w 4819650"/>
              <a:gd name="connsiteY120" fmla="*/ 4568929 h 5143499"/>
              <a:gd name="connsiteX121" fmla="*/ 3886238 w 4819650"/>
              <a:gd name="connsiteY121" fmla="*/ 4611892 h 5143499"/>
              <a:gd name="connsiteX122" fmla="*/ 3929201 w 4819650"/>
              <a:gd name="connsiteY122" fmla="*/ 4629181 h 5143499"/>
              <a:gd name="connsiteX123" fmla="*/ 3979720 w 4819650"/>
              <a:gd name="connsiteY123" fmla="*/ 4598439 h 5143499"/>
              <a:gd name="connsiteX124" fmla="*/ 4011977 w 4819650"/>
              <a:gd name="connsiteY124" fmla="*/ 4523218 h 5143499"/>
              <a:gd name="connsiteX125" fmla="*/ 4036656 w 4819650"/>
              <a:gd name="connsiteY125" fmla="*/ 4522081 h 5143499"/>
              <a:gd name="connsiteX126" fmla="*/ 4061406 w 4819650"/>
              <a:gd name="connsiteY126" fmla="*/ 4523218 h 5143499"/>
              <a:gd name="connsiteX127" fmla="*/ 4093664 w 4819650"/>
              <a:gd name="connsiteY127" fmla="*/ 4598439 h 5143499"/>
              <a:gd name="connsiteX128" fmla="*/ 4144183 w 4819650"/>
              <a:gd name="connsiteY128" fmla="*/ 4629181 h 5143499"/>
              <a:gd name="connsiteX129" fmla="*/ 4187146 w 4819650"/>
              <a:gd name="connsiteY129" fmla="*/ 4611892 h 5143499"/>
              <a:gd name="connsiteX130" fmla="*/ 4204435 w 4819650"/>
              <a:gd name="connsiteY130" fmla="*/ 4568929 h 5143499"/>
              <a:gd name="connsiteX131" fmla="*/ 2094551 w 4819650"/>
              <a:gd name="connsiteY131" fmla="*/ 0 h 5143499"/>
              <a:gd name="connsiteX132" fmla="*/ 4819650 w 4819650"/>
              <a:gd name="connsiteY132" fmla="*/ 0 h 5143499"/>
              <a:gd name="connsiteX133" fmla="*/ 4819650 w 4819650"/>
              <a:gd name="connsiteY133" fmla="*/ 5143499 h 5143499"/>
              <a:gd name="connsiteX134" fmla="*/ 0 w 4819650"/>
              <a:gd name="connsiteY134" fmla="*/ 5143499 h 5143499"/>
              <a:gd name="connsiteX135" fmla="*/ 0 w 4819650"/>
              <a:gd name="connsiteY135" fmla="*/ 5143498 h 5143499"/>
              <a:gd name="connsiteX136" fmla="*/ 371745 w 4819650"/>
              <a:gd name="connsiteY136" fmla="*/ 5143498 h 5143499"/>
              <a:gd name="connsiteX137" fmla="*/ 1206499 w 4819650"/>
              <a:gd name="connsiteY137" fmla="*/ 1821610 h 5143499"/>
              <a:gd name="connsiteX138" fmla="*/ 2048326 w 4819650"/>
              <a:gd name="connsiteY138" fmla="*/ 58253 h 5143499"/>
              <a:gd name="connsiteX139" fmla="*/ 2094551 w 4819650"/>
              <a:gd name="connsiteY139"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26727 w 4819650"/>
              <a:gd name="connsiteY109" fmla="*/ 4572434 h 5143499"/>
              <a:gd name="connsiteX110" fmla="*/ 4147664 w 4819650"/>
              <a:gd name="connsiteY110" fmla="*/ 4551497 h 5143499"/>
              <a:gd name="connsiteX111" fmla="*/ 4148375 w 4819650"/>
              <a:gd name="connsiteY111" fmla="*/ 4552042 h 5143499"/>
              <a:gd name="connsiteX112" fmla="*/ 4162491 w 4819650"/>
              <a:gd name="connsiteY112" fmla="*/ 4572221 h 5143499"/>
              <a:gd name="connsiteX113" fmla="*/ 4157398 w 4819650"/>
              <a:gd name="connsiteY113" fmla="*/ 4582168 h 5143499"/>
              <a:gd name="connsiteX114" fmla="*/ 4147451 w 4819650"/>
              <a:gd name="connsiteY114" fmla="*/ 4587260 h 5143499"/>
              <a:gd name="connsiteX115" fmla="*/ 4127272 w 4819650"/>
              <a:gd name="connsiteY115" fmla="*/ 4573145 h 5143499"/>
              <a:gd name="connsiteX116" fmla="*/ 4126727 w 4819650"/>
              <a:gd name="connsiteY116" fmla="*/ 4572434 h 5143499"/>
              <a:gd name="connsiteX117" fmla="*/ 4204435 w 4819650"/>
              <a:gd name="connsiteY117" fmla="*/ 4568929 h 5143499"/>
              <a:gd name="connsiteX118" fmla="*/ 3899691 w 4819650"/>
              <a:gd name="connsiteY118" fmla="*/ 4518410 h 5143499"/>
              <a:gd name="connsiteX119" fmla="*/ 3868948 w 4819650"/>
              <a:gd name="connsiteY119" fmla="*/ 4568929 h 5143499"/>
              <a:gd name="connsiteX120" fmla="*/ 3886238 w 4819650"/>
              <a:gd name="connsiteY120" fmla="*/ 4611892 h 5143499"/>
              <a:gd name="connsiteX121" fmla="*/ 3929201 w 4819650"/>
              <a:gd name="connsiteY121" fmla="*/ 4629181 h 5143499"/>
              <a:gd name="connsiteX122" fmla="*/ 3979720 w 4819650"/>
              <a:gd name="connsiteY122" fmla="*/ 4598439 h 5143499"/>
              <a:gd name="connsiteX123" fmla="*/ 4011977 w 4819650"/>
              <a:gd name="connsiteY123" fmla="*/ 4523218 h 5143499"/>
              <a:gd name="connsiteX124" fmla="*/ 4036656 w 4819650"/>
              <a:gd name="connsiteY124" fmla="*/ 4522081 h 5143499"/>
              <a:gd name="connsiteX125" fmla="*/ 4061406 w 4819650"/>
              <a:gd name="connsiteY125" fmla="*/ 4523218 h 5143499"/>
              <a:gd name="connsiteX126" fmla="*/ 4093664 w 4819650"/>
              <a:gd name="connsiteY126" fmla="*/ 4598439 h 5143499"/>
              <a:gd name="connsiteX127" fmla="*/ 4144183 w 4819650"/>
              <a:gd name="connsiteY127" fmla="*/ 4629181 h 5143499"/>
              <a:gd name="connsiteX128" fmla="*/ 4187146 w 4819650"/>
              <a:gd name="connsiteY128" fmla="*/ 4611892 h 5143499"/>
              <a:gd name="connsiteX129" fmla="*/ 4204435 w 4819650"/>
              <a:gd name="connsiteY129" fmla="*/ 4568929 h 5143499"/>
              <a:gd name="connsiteX130" fmla="*/ 2094551 w 4819650"/>
              <a:gd name="connsiteY130" fmla="*/ 0 h 5143499"/>
              <a:gd name="connsiteX131" fmla="*/ 4819650 w 4819650"/>
              <a:gd name="connsiteY131" fmla="*/ 0 h 5143499"/>
              <a:gd name="connsiteX132" fmla="*/ 4819650 w 4819650"/>
              <a:gd name="connsiteY132" fmla="*/ 5143499 h 5143499"/>
              <a:gd name="connsiteX133" fmla="*/ 0 w 4819650"/>
              <a:gd name="connsiteY133" fmla="*/ 5143499 h 5143499"/>
              <a:gd name="connsiteX134" fmla="*/ 0 w 4819650"/>
              <a:gd name="connsiteY134" fmla="*/ 5143498 h 5143499"/>
              <a:gd name="connsiteX135" fmla="*/ 371745 w 4819650"/>
              <a:gd name="connsiteY135" fmla="*/ 5143498 h 5143499"/>
              <a:gd name="connsiteX136" fmla="*/ 1206499 w 4819650"/>
              <a:gd name="connsiteY136" fmla="*/ 1821610 h 5143499"/>
              <a:gd name="connsiteX137" fmla="*/ 2048326 w 4819650"/>
              <a:gd name="connsiteY137" fmla="*/ 58253 h 5143499"/>
              <a:gd name="connsiteX138" fmla="*/ 2094551 w 4819650"/>
              <a:gd name="connsiteY138"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26727 w 4819650"/>
              <a:gd name="connsiteY109" fmla="*/ 4572434 h 5143499"/>
              <a:gd name="connsiteX110" fmla="*/ 4147664 w 4819650"/>
              <a:gd name="connsiteY110" fmla="*/ 4551497 h 5143499"/>
              <a:gd name="connsiteX111" fmla="*/ 4162491 w 4819650"/>
              <a:gd name="connsiteY111" fmla="*/ 4572221 h 5143499"/>
              <a:gd name="connsiteX112" fmla="*/ 4157398 w 4819650"/>
              <a:gd name="connsiteY112" fmla="*/ 4582168 h 5143499"/>
              <a:gd name="connsiteX113" fmla="*/ 4147451 w 4819650"/>
              <a:gd name="connsiteY113" fmla="*/ 4587260 h 5143499"/>
              <a:gd name="connsiteX114" fmla="*/ 4127272 w 4819650"/>
              <a:gd name="connsiteY114" fmla="*/ 4573145 h 5143499"/>
              <a:gd name="connsiteX115" fmla="*/ 4126727 w 4819650"/>
              <a:gd name="connsiteY115" fmla="*/ 4572434 h 5143499"/>
              <a:gd name="connsiteX116" fmla="*/ 4204435 w 4819650"/>
              <a:gd name="connsiteY116" fmla="*/ 4568929 h 5143499"/>
              <a:gd name="connsiteX117" fmla="*/ 3899691 w 4819650"/>
              <a:gd name="connsiteY117" fmla="*/ 4518410 h 5143499"/>
              <a:gd name="connsiteX118" fmla="*/ 3868948 w 4819650"/>
              <a:gd name="connsiteY118" fmla="*/ 4568929 h 5143499"/>
              <a:gd name="connsiteX119" fmla="*/ 3886238 w 4819650"/>
              <a:gd name="connsiteY119" fmla="*/ 4611892 h 5143499"/>
              <a:gd name="connsiteX120" fmla="*/ 3929201 w 4819650"/>
              <a:gd name="connsiteY120" fmla="*/ 4629181 h 5143499"/>
              <a:gd name="connsiteX121" fmla="*/ 3979720 w 4819650"/>
              <a:gd name="connsiteY121" fmla="*/ 4598439 h 5143499"/>
              <a:gd name="connsiteX122" fmla="*/ 4011977 w 4819650"/>
              <a:gd name="connsiteY122" fmla="*/ 4523218 h 5143499"/>
              <a:gd name="connsiteX123" fmla="*/ 4036656 w 4819650"/>
              <a:gd name="connsiteY123" fmla="*/ 4522081 h 5143499"/>
              <a:gd name="connsiteX124" fmla="*/ 4061406 w 4819650"/>
              <a:gd name="connsiteY124" fmla="*/ 4523218 h 5143499"/>
              <a:gd name="connsiteX125" fmla="*/ 4093664 w 4819650"/>
              <a:gd name="connsiteY125" fmla="*/ 4598439 h 5143499"/>
              <a:gd name="connsiteX126" fmla="*/ 4144183 w 4819650"/>
              <a:gd name="connsiteY126" fmla="*/ 4629181 h 5143499"/>
              <a:gd name="connsiteX127" fmla="*/ 4187146 w 4819650"/>
              <a:gd name="connsiteY127" fmla="*/ 4611892 h 5143499"/>
              <a:gd name="connsiteX128" fmla="*/ 4204435 w 4819650"/>
              <a:gd name="connsiteY128" fmla="*/ 4568929 h 5143499"/>
              <a:gd name="connsiteX129" fmla="*/ 2094551 w 4819650"/>
              <a:gd name="connsiteY129" fmla="*/ 0 h 5143499"/>
              <a:gd name="connsiteX130" fmla="*/ 4819650 w 4819650"/>
              <a:gd name="connsiteY130" fmla="*/ 0 h 5143499"/>
              <a:gd name="connsiteX131" fmla="*/ 4819650 w 4819650"/>
              <a:gd name="connsiteY131" fmla="*/ 5143499 h 5143499"/>
              <a:gd name="connsiteX132" fmla="*/ 0 w 4819650"/>
              <a:gd name="connsiteY132" fmla="*/ 5143499 h 5143499"/>
              <a:gd name="connsiteX133" fmla="*/ 0 w 4819650"/>
              <a:gd name="connsiteY133" fmla="*/ 5143498 h 5143499"/>
              <a:gd name="connsiteX134" fmla="*/ 371745 w 4819650"/>
              <a:gd name="connsiteY134" fmla="*/ 5143498 h 5143499"/>
              <a:gd name="connsiteX135" fmla="*/ 1206499 w 4819650"/>
              <a:gd name="connsiteY135" fmla="*/ 1821610 h 5143499"/>
              <a:gd name="connsiteX136" fmla="*/ 2048326 w 4819650"/>
              <a:gd name="connsiteY136" fmla="*/ 58253 h 5143499"/>
              <a:gd name="connsiteX137" fmla="*/ 2094551 w 4819650"/>
              <a:gd name="connsiteY137"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26727 w 4819650"/>
              <a:gd name="connsiteY109" fmla="*/ 4572434 h 5143499"/>
              <a:gd name="connsiteX110" fmla="*/ 4162491 w 4819650"/>
              <a:gd name="connsiteY110" fmla="*/ 4572221 h 5143499"/>
              <a:gd name="connsiteX111" fmla="*/ 4157398 w 4819650"/>
              <a:gd name="connsiteY111" fmla="*/ 4582168 h 5143499"/>
              <a:gd name="connsiteX112" fmla="*/ 4147451 w 4819650"/>
              <a:gd name="connsiteY112" fmla="*/ 4587260 h 5143499"/>
              <a:gd name="connsiteX113" fmla="*/ 4127272 w 4819650"/>
              <a:gd name="connsiteY113" fmla="*/ 4573145 h 5143499"/>
              <a:gd name="connsiteX114" fmla="*/ 4126727 w 4819650"/>
              <a:gd name="connsiteY114" fmla="*/ 4572434 h 5143499"/>
              <a:gd name="connsiteX115" fmla="*/ 4204435 w 4819650"/>
              <a:gd name="connsiteY115" fmla="*/ 4568929 h 5143499"/>
              <a:gd name="connsiteX116" fmla="*/ 3899691 w 4819650"/>
              <a:gd name="connsiteY116" fmla="*/ 4518410 h 5143499"/>
              <a:gd name="connsiteX117" fmla="*/ 3868948 w 4819650"/>
              <a:gd name="connsiteY117" fmla="*/ 4568929 h 5143499"/>
              <a:gd name="connsiteX118" fmla="*/ 3886238 w 4819650"/>
              <a:gd name="connsiteY118" fmla="*/ 4611892 h 5143499"/>
              <a:gd name="connsiteX119" fmla="*/ 3929201 w 4819650"/>
              <a:gd name="connsiteY119" fmla="*/ 4629181 h 5143499"/>
              <a:gd name="connsiteX120" fmla="*/ 3979720 w 4819650"/>
              <a:gd name="connsiteY120" fmla="*/ 4598439 h 5143499"/>
              <a:gd name="connsiteX121" fmla="*/ 4011977 w 4819650"/>
              <a:gd name="connsiteY121" fmla="*/ 4523218 h 5143499"/>
              <a:gd name="connsiteX122" fmla="*/ 4036656 w 4819650"/>
              <a:gd name="connsiteY122" fmla="*/ 4522081 h 5143499"/>
              <a:gd name="connsiteX123" fmla="*/ 4061406 w 4819650"/>
              <a:gd name="connsiteY123" fmla="*/ 4523218 h 5143499"/>
              <a:gd name="connsiteX124" fmla="*/ 4093664 w 4819650"/>
              <a:gd name="connsiteY124" fmla="*/ 4598439 h 5143499"/>
              <a:gd name="connsiteX125" fmla="*/ 4144183 w 4819650"/>
              <a:gd name="connsiteY125" fmla="*/ 4629181 h 5143499"/>
              <a:gd name="connsiteX126" fmla="*/ 4187146 w 4819650"/>
              <a:gd name="connsiteY126" fmla="*/ 4611892 h 5143499"/>
              <a:gd name="connsiteX127" fmla="*/ 4204435 w 4819650"/>
              <a:gd name="connsiteY127" fmla="*/ 4568929 h 5143499"/>
              <a:gd name="connsiteX128" fmla="*/ 2094551 w 4819650"/>
              <a:gd name="connsiteY128" fmla="*/ 0 h 5143499"/>
              <a:gd name="connsiteX129" fmla="*/ 4819650 w 4819650"/>
              <a:gd name="connsiteY129" fmla="*/ 0 h 5143499"/>
              <a:gd name="connsiteX130" fmla="*/ 4819650 w 4819650"/>
              <a:gd name="connsiteY130" fmla="*/ 5143499 h 5143499"/>
              <a:gd name="connsiteX131" fmla="*/ 0 w 4819650"/>
              <a:gd name="connsiteY131" fmla="*/ 5143499 h 5143499"/>
              <a:gd name="connsiteX132" fmla="*/ 0 w 4819650"/>
              <a:gd name="connsiteY132" fmla="*/ 5143498 h 5143499"/>
              <a:gd name="connsiteX133" fmla="*/ 371745 w 4819650"/>
              <a:gd name="connsiteY133" fmla="*/ 5143498 h 5143499"/>
              <a:gd name="connsiteX134" fmla="*/ 1206499 w 4819650"/>
              <a:gd name="connsiteY134" fmla="*/ 1821610 h 5143499"/>
              <a:gd name="connsiteX135" fmla="*/ 2048326 w 4819650"/>
              <a:gd name="connsiteY135" fmla="*/ 58253 h 5143499"/>
              <a:gd name="connsiteX136" fmla="*/ 2094551 w 4819650"/>
              <a:gd name="connsiteY136"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26727 w 4819650"/>
              <a:gd name="connsiteY109" fmla="*/ 4572434 h 5143499"/>
              <a:gd name="connsiteX110" fmla="*/ 4162491 w 4819650"/>
              <a:gd name="connsiteY110" fmla="*/ 4572221 h 5143499"/>
              <a:gd name="connsiteX111" fmla="*/ 4157398 w 4819650"/>
              <a:gd name="connsiteY111" fmla="*/ 4582168 h 5143499"/>
              <a:gd name="connsiteX112" fmla="*/ 4147451 w 4819650"/>
              <a:gd name="connsiteY112" fmla="*/ 4587260 h 5143499"/>
              <a:gd name="connsiteX113" fmla="*/ 4127272 w 4819650"/>
              <a:gd name="connsiteY113" fmla="*/ 4573145 h 5143499"/>
              <a:gd name="connsiteX114" fmla="*/ 4126727 w 4819650"/>
              <a:gd name="connsiteY114" fmla="*/ 4572434 h 5143499"/>
              <a:gd name="connsiteX115" fmla="*/ 4187146 w 4819650"/>
              <a:gd name="connsiteY115" fmla="*/ 4611892 h 5143499"/>
              <a:gd name="connsiteX116" fmla="*/ 3899691 w 4819650"/>
              <a:gd name="connsiteY116" fmla="*/ 4518410 h 5143499"/>
              <a:gd name="connsiteX117" fmla="*/ 3868948 w 4819650"/>
              <a:gd name="connsiteY117" fmla="*/ 4568929 h 5143499"/>
              <a:gd name="connsiteX118" fmla="*/ 3886238 w 4819650"/>
              <a:gd name="connsiteY118" fmla="*/ 4611892 h 5143499"/>
              <a:gd name="connsiteX119" fmla="*/ 3929201 w 4819650"/>
              <a:gd name="connsiteY119" fmla="*/ 4629181 h 5143499"/>
              <a:gd name="connsiteX120" fmla="*/ 3979720 w 4819650"/>
              <a:gd name="connsiteY120" fmla="*/ 4598439 h 5143499"/>
              <a:gd name="connsiteX121" fmla="*/ 4011977 w 4819650"/>
              <a:gd name="connsiteY121" fmla="*/ 4523218 h 5143499"/>
              <a:gd name="connsiteX122" fmla="*/ 4036656 w 4819650"/>
              <a:gd name="connsiteY122" fmla="*/ 4522081 h 5143499"/>
              <a:gd name="connsiteX123" fmla="*/ 4061406 w 4819650"/>
              <a:gd name="connsiteY123" fmla="*/ 4523218 h 5143499"/>
              <a:gd name="connsiteX124" fmla="*/ 4093664 w 4819650"/>
              <a:gd name="connsiteY124" fmla="*/ 4598439 h 5143499"/>
              <a:gd name="connsiteX125" fmla="*/ 4144183 w 4819650"/>
              <a:gd name="connsiteY125" fmla="*/ 4629181 h 5143499"/>
              <a:gd name="connsiteX126" fmla="*/ 4187146 w 4819650"/>
              <a:gd name="connsiteY126" fmla="*/ 4611892 h 5143499"/>
              <a:gd name="connsiteX127" fmla="*/ 2094551 w 4819650"/>
              <a:gd name="connsiteY127" fmla="*/ 0 h 5143499"/>
              <a:gd name="connsiteX128" fmla="*/ 4819650 w 4819650"/>
              <a:gd name="connsiteY128" fmla="*/ 0 h 5143499"/>
              <a:gd name="connsiteX129" fmla="*/ 4819650 w 4819650"/>
              <a:gd name="connsiteY129" fmla="*/ 5143499 h 5143499"/>
              <a:gd name="connsiteX130" fmla="*/ 0 w 4819650"/>
              <a:gd name="connsiteY130" fmla="*/ 5143499 h 5143499"/>
              <a:gd name="connsiteX131" fmla="*/ 0 w 4819650"/>
              <a:gd name="connsiteY131" fmla="*/ 5143498 h 5143499"/>
              <a:gd name="connsiteX132" fmla="*/ 371745 w 4819650"/>
              <a:gd name="connsiteY132" fmla="*/ 5143498 h 5143499"/>
              <a:gd name="connsiteX133" fmla="*/ 1206499 w 4819650"/>
              <a:gd name="connsiteY133" fmla="*/ 1821610 h 5143499"/>
              <a:gd name="connsiteX134" fmla="*/ 2048326 w 4819650"/>
              <a:gd name="connsiteY134" fmla="*/ 58253 h 5143499"/>
              <a:gd name="connsiteX135" fmla="*/ 2094551 w 4819650"/>
              <a:gd name="connsiteY135"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26727 w 4819650"/>
              <a:gd name="connsiteY109" fmla="*/ 4572434 h 5143499"/>
              <a:gd name="connsiteX110" fmla="*/ 4162491 w 4819650"/>
              <a:gd name="connsiteY110" fmla="*/ 4572221 h 5143499"/>
              <a:gd name="connsiteX111" fmla="*/ 4157398 w 4819650"/>
              <a:gd name="connsiteY111" fmla="*/ 4582168 h 5143499"/>
              <a:gd name="connsiteX112" fmla="*/ 4147451 w 4819650"/>
              <a:gd name="connsiteY112" fmla="*/ 4587260 h 5143499"/>
              <a:gd name="connsiteX113" fmla="*/ 4127272 w 4819650"/>
              <a:gd name="connsiteY113" fmla="*/ 4573145 h 5143499"/>
              <a:gd name="connsiteX114" fmla="*/ 4126727 w 4819650"/>
              <a:gd name="connsiteY114" fmla="*/ 4572434 h 5143499"/>
              <a:gd name="connsiteX115" fmla="*/ 4187146 w 4819650"/>
              <a:gd name="connsiteY115" fmla="*/ 4611892 h 5143499"/>
              <a:gd name="connsiteX116" fmla="*/ 3899691 w 4819650"/>
              <a:gd name="connsiteY116" fmla="*/ 4518410 h 5143499"/>
              <a:gd name="connsiteX117" fmla="*/ 3868948 w 4819650"/>
              <a:gd name="connsiteY117" fmla="*/ 4568929 h 5143499"/>
              <a:gd name="connsiteX118" fmla="*/ 3886238 w 4819650"/>
              <a:gd name="connsiteY118" fmla="*/ 4611892 h 5143499"/>
              <a:gd name="connsiteX119" fmla="*/ 3929201 w 4819650"/>
              <a:gd name="connsiteY119" fmla="*/ 4629181 h 5143499"/>
              <a:gd name="connsiteX120" fmla="*/ 3979720 w 4819650"/>
              <a:gd name="connsiteY120" fmla="*/ 4598439 h 5143499"/>
              <a:gd name="connsiteX121" fmla="*/ 4011977 w 4819650"/>
              <a:gd name="connsiteY121" fmla="*/ 4523218 h 5143499"/>
              <a:gd name="connsiteX122" fmla="*/ 4036656 w 4819650"/>
              <a:gd name="connsiteY122" fmla="*/ 4522081 h 5143499"/>
              <a:gd name="connsiteX123" fmla="*/ 4093664 w 4819650"/>
              <a:gd name="connsiteY123" fmla="*/ 4598439 h 5143499"/>
              <a:gd name="connsiteX124" fmla="*/ 4144183 w 4819650"/>
              <a:gd name="connsiteY124" fmla="*/ 4629181 h 5143499"/>
              <a:gd name="connsiteX125" fmla="*/ 4187146 w 4819650"/>
              <a:gd name="connsiteY125" fmla="*/ 4611892 h 5143499"/>
              <a:gd name="connsiteX126" fmla="*/ 2094551 w 4819650"/>
              <a:gd name="connsiteY126" fmla="*/ 0 h 5143499"/>
              <a:gd name="connsiteX127" fmla="*/ 4819650 w 4819650"/>
              <a:gd name="connsiteY127" fmla="*/ 0 h 5143499"/>
              <a:gd name="connsiteX128" fmla="*/ 4819650 w 4819650"/>
              <a:gd name="connsiteY128" fmla="*/ 5143499 h 5143499"/>
              <a:gd name="connsiteX129" fmla="*/ 0 w 4819650"/>
              <a:gd name="connsiteY129" fmla="*/ 5143499 h 5143499"/>
              <a:gd name="connsiteX130" fmla="*/ 0 w 4819650"/>
              <a:gd name="connsiteY130" fmla="*/ 5143498 h 5143499"/>
              <a:gd name="connsiteX131" fmla="*/ 371745 w 4819650"/>
              <a:gd name="connsiteY131" fmla="*/ 5143498 h 5143499"/>
              <a:gd name="connsiteX132" fmla="*/ 1206499 w 4819650"/>
              <a:gd name="connsiteY132" fmla="*/ 1821610 h 5143499"/>
              <a:gd name="connsiteX133" fmla="*/ 2048326 w 4819650"/>
              <a:gd name="connsiteY133" fmla="*/ 58253 h 5143499"/>
              <a:gd name="connsiteX134" fmla="*/ 2094551 w 4819650"/>
              <a:gd name="connsiteY134"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26727 w 4819650"/>
              <a:gd name="connsiteY109" fmla="*/ 4572434 h 5143499"/>
              <a:gd name="connsiteX110" fmla="*/ 4162491 w 4819650"/>
              <a:gd name="connsiteY110" fmla="*/ 4572221 h 5143499"/>
              <a:gd name="connsiteX111" fmla="*/ 4157398 w 4819650"/>
              <a:gd name="connsiteY111" fmla="*/ 4582168 h 5143499"/>
              <a:gd name="connsiteX112" fmla="*/ 4147451 w 4819650"/>
              <a:gd name="connsiteY112" fmla="*/ 4587260 h 5143499"/>
              <a:gd name="connsiteX113" fmla="*/ 4127272 w 4819650"/>
              <a:gd name="connsiteY113" fmla="*/ 4573145 h 5143499"/>
              <a:gd name="connsiteX114" fmla="*/ 4126727 w 4819650"/>
              <a:gd name="connsiteY114" fmla="*/ 4572434 h 5143499"/>
              <a:gd name="connsiteX115" fmla="*/ 4187146 w 4819650"/>
              <a:gd name="connsiteY115" fmla="*/ 4611892 h 5143499"/>
              <a:gd name="connsiteX116" fmla="*/ 3899691 w 4819650"/>
              <a:gd name="connsiteY116" fmla="*/ 4518410 h 5143499"/>
              <a:gd name="connsiteX117" fmla="*/ 3868948 w 4819650"/>
              <a:gd name="connsiteY117" fmla="*/ 4568929 h 5143499"/>
              <a:gd name="connsiteX118" fmla="*/ 3886238 w 4819650"/>
              <a:gd name="connsiteY118" fmla="*/ 4611892 h 5143499"/>
              <a:gd name="connsiteX119" fmla="*/ 3929201 w 4819650"/>
              <a:gd name="connsiteY119" fmla="*/ 4629181 h 5143499"/>
              <a:gd name="connsiteX120" fmla="*/ 3979720 w 4819650"/>
              <a:gd name="connsiteY120" fmla="*/ 4598439 h 5143499"/>
              <a:gd name="connsiteX121" fmla="*/ 4011977 w 4819650"/>
              <a:gd name="connsiteY121" fmla="*/ 4523218 h 5143499"/>
              <a:gd name="connsiteX122" fmla="*/ 4093664 w 4819650"/>
              <a:gd name="connsiteY122" fmla="*/ 4598439 h 5143499"/>
              <a:gd name="connsiteX123" fmla="*/ 4144183 w 4819650"/>
              <a:gd name="connsiteY123" fmla="*/ 4629181 h 5143499"/>
              <a:gd name="connsiteX124" fmla="*/ 4187146 w 4819650"/>
              <a:gd name="connsiteY124" fmla="*/ 4611892 h 5143499"/>
              <a:gd name="connsiteX125" fmla="*/ 2094551 w 4819650"/>
              <a:gd name="connsiteY125" fmla="*/ 0 h 5143499"/>
              <a:gd name="connsiteX126" fmla="*/ 4819650 w 4819650"/>
              <a:gd name="connsiteY126" fmla="*/ 0 h 5143499"/>
              <a:gd name="connsiteX127" fmla="*/ 4819650 w 4819650"/>
              <a:gd name="connsiteY127" fmla="*/ 5143499 h 5143499"/>
              <a:gd name="connsiteX128" fmla="*/ 0 w 4819650"/>
              <a:gd name="connsiteY128" fmla="*/ 5143499 h 5143499"/>
              <a:gd name="connsiteX129" fmla="*/ 0 w 4819650"/>
              <a:gd name="connsiteY129" fmla="*/ 5143498 h 5143499"/>
              <a:gd name="connsiteX130" fmla="*/ 371745 w 4819650"/>
              <a:gd name="connsiteY130" fmla="*/ 5143498 h 5143499"/>
              <a:gd name="connsiteX131" fmla="*/ 1206499 w 4819650"/>
              <a:gd name="connsiteY131" fmla="*/ 1821610 h 5143499"/>
              <a:gd name="connsiteX132" fmla="*/ 2048326 w 4819650"/>
              <a:gd name="connsiteY132" fmla="*/ 58253 h 5143499"/>
              <a:gd name="connsiteX133" fmla="*/ 2094551 w 4819650"/>
              <a:gd name="connsiteY133"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26727 w 4819650"/>
              <a:gd name="connsiteY109" fmla="*/ 4572434 h 5143499"/>
              <a:gd name="connsiteX110" fmla="*/ 4162491 w 4819650"/>
              <a:gd name="connsiteY110" fmla="*/ 4572221 h 5143499"/>
              <a:gd name="connsiteX111" fmla="*/ 4157398 w 4819650"/>
              <a:gd name="connsiteY111" fmla="*/ 4582168 h 5143499"/>
              <a:gd name="connsiteX112" fmla="*/ 4147451 w 4819650"/>
              <a:gd name="connsiteY112" fmla="*/ 4587260 h 5143499"/>
              <a:gd name="connsiteX113" fmla="*/ 4127272 w 4819650"/>
              <a:gd name="connsiteY113" fmla="*/ 4573145 h 5143499"/>
              <a:gd name="connsiteX114" fmla="*/ 4126727 w 4819650"/>
              <a:gd name="connsiteY114" fmla="*/ 4572434 h 5143499"/>
              <a:gd name="connsiteX115" fmla="*/ 4187146 w 4819650"/>
              <a:gd name="connsiteY115" fmla="*/ 4611892 h 5143499"/>
              <a:gd name="connsiteX116" fmla="*/ 3899691 w 4819650"/>
              <a:gd name="connsiteY116" fmla="*/ 4518410 h 5143499"/>
              <a:gd name="connsiteX117" fmla="*/ 3868948 w 4819650"/>
              <a:gd name="connsiteY117" fmla="*/ 4568929 h 5143499"/>
              <a:gd name="connsiteX118" fmla="*/ 3886238 w 4819650"/>
              <a:gd name="connsiteY118" fmla="*/ 4611892 h 5143499"/>
              <a:gd name="connsiteX119" fmla="*/ 3929201 w 4819650"/>
              <a:gd name="connsiteY119" fmla="*/ 4629181 h 5143499"/>
              <a:gd name="connsiteX120" fmla="*/ 3979720 w 4819650"/>
              <a:gd name="connsiteY120" fmla="*/ 4598439 h 5143499"/>
              <a:gd name="connsiteX121" fmla="*/ 4093664 w 4819650"/>
              <a:gd name="connsiteY121" fmla="*/ 4598439 h 5143499"/>
              <a:gd name="connsiteX122" fmla="*/ 4144183 w 4819650"/>
              <a:gd name="connsiteY122" fmla="*/ 4629181 h 5143499"/>
              <a:gd name="connsiteX123" fmla="*/ 4187146 w 4819650"/>
              <a:gd name="connsiteY123" fmla="*/ 4611892 h 5143499"/>
              <a:gd name="connsiteX124" fmla="*/ 2094551 w 4819650"/>
              <a:gd name="connsiteY124" fmla="*/ 0 h 5143499"/>
              <a:gd name="connsiteX125" fmla="*/ 4819650 w 4819650"/>
              <a:gd name="connsiteY125" fmla="*/ 0 h 5143499"/>
              <a:gd name="connsiteX126" fmla="*/ 4819650 w 4819650"/>
              <a:gd name="connsiteY126" fmla="*/ 5143499 h 5143499"/>
              <a:gd name="connsiteX127" fmla="*/ 0 w 4819650"/>
              <a:gd name="connsiteY127" fmla="*/ 5143499 h 5143499"/>
              <a:gd name="connsiteX128" fmla="*/ 0 w 4819650"/>
              <a:gd name="connsiteY128" fmla="*/ 5143498 h 5143499"/>
              <a:gd name="connsiteX129" fmla="*/ 371745 w 4819650"/>
              <a:gd name="connsiteY129" fmla="*/ 5143498 h 5143499"/>
              <a:gd name="connsiteX130" fmla="*/ 1206499 w 4819650"/>
              <a:gd name="connsiteY130" fmla="*/ 1821610 h 5143499"/>
              <a:gd name="connsiteX131" fmla="*/ 2048326 w 4819650"/>
              <a:gd name="connsiteY131" fmla="*/ 58253 h 5143499"/>
              <a:gd name="connsiteX132" fmla="*/ 2094551 w 4819650"/>
              <a:gd name="connsiteY132"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26727 w 4819650"/>
              <a:gd name="connsiteY109" fmla="*/ 4572434 h 5143499"/>
              <a:gd name="connsiteX110" fmla="*/ 4162491 w 4819650"/>
              <a:gd name="connsiteY110" fmla="*/ 4572221 h 5143499"/>
              <a:gd name="connsiteX111" fmla="*/ 4157398 w 4819650"/>
              <a:gd name="connsiteY111" fmla="*/ 4582168 h 5143499"/>
              <a:gd name="connsiteX112" fmla="*/ 4127272 w 4819650"/>
              <a:gd name="connsiteY112" fmla="*/ 4573145 h 5143499"/>
              <a:gd name="connsiteX113" fmla="*/ 4126727 w 4819650"/>
              <a:gd name="connsiteY113" fmla="*/ 4572434 h 5143499"/>
              <a:gd name="connsiteX114" fmla="*/ 4187146 w 4819650"/>
              <a:gd name="connsiteY114" fmla="*/ 4611892 h 5143499"/>
              <a:gd name="connsiteX115" fmla="*/ 3899691 w 4819650"/>
              <a:gd name="connsiteY115" fmla="*/ 4518410 h 5143499"/>
              <a:gd name="connsiteX116" fmla="*/ 3868948 w 4819650"/>
              <a:gd name="connsiteY116" fmla="*/ 4568929 h 5143499"/>
              <a:gd name="connsiteX117" fmla="*/ 3886238 w 4819650"/>
              <a:gd name="connsiteY117" fmla="*/ 4611892 h 5143499"/>
              <a:gd name="connsiteX118" fmla="*/ 3929201 w 4819650"/>
              <a:gd name="connsiteY118" fmla="*/ 4629181 h 5143499"/>
              <a:gd name="connsiteX119" fmla="*/ 3979720 w 4819650"/>
              <a:gd name="connsiteY119" fmla="*/ 4598439 h 5143499"/>
              <a:gd name="connsiteX120" fmla="*/ 4093664 w 4819650"/>
              <a:gd name="connsiteY120" fmla="*/ 4598439 h 5143499"/>
              <a:gd name="connsiteX121" fmla="*/ 4144183 w 4819650"/>
              <a:gd name="connsiteY121" fmla="*/ 4629181 h 5143499"/>
              <a:gd name="connsiteX122" fmla="*/ 4187146 w 4819650"/>
              <a:gd name="connsiteY122" fmla="*/ 4611892 h 5143499"/>
              <a:gd name="connsiteX123" fmla="*/ 2094551 w 4819650"/>
              <a:gd name="connsiteY123" fmla="*/ 0 h 5143499"/>
              <a:gd name="connsiteX124" fmla="*/ 4819650 w 4819650"/>
              <a:gd name="connsiteY124" fmla="*/ 0 h 5143499"/>
              <a:gd name="connsiteX125" fmla="*/ 4819650 w 4819650"/>
              <a:gd name="connsiteY125" fmla="*/ 5143499 h 5143499"/>
              <a:gd name="connsiteX126" fmla="*/ 0 w 4819650"/>
              <a:gd name="connsiteY126" fmla="*/ 5143499 h 5143499"/>
              <a:gd name="connsiteX127" fmla="*/ 0 w 4819650"/>
              <a:gd name="connsiteY127" fmla="*/ 5143498 h 5143499"/>
              <a:gd name="connsiteX128" fmla="*/ 371745 w 4819650"/>
              <a:gd name="connsiteY128" fmla="*/ 5143498 h 5143499"/>
              <a:gd name="connsiteX129" fmla="*/ 1206499 w 4819650"/>
              <a:gd name="connsiteY129" fmla="*/ 1821610 h 5143499"/>
              <a:gd name="connsiteX130" fmla="*/ 2048326 w 4819650"/>
              <a:gd name="connsiteY130" fmla="*/ 58253 h 5143499"/>
              <a:gd name="connsiteX131" fmla="*/ 2094551 w 4819650"/>
              <a:gd name="connsiteY131"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26727 w 4819650"/>
              <a:gd name="connsiteY109" fmla="*/ 4572434 h 5143499"/>
              <a:gd name="connsiteX110" fmla="*/ 4162491 w 4819650"/>
              <a:gd name="connsiteY110" fmla="*/ 4572221 h 5143499"/>
              <a:gd name="connsiteX111" fmla="*/ 4127272 w 4819650"/>
              <a:gd name="connsiteY111" fmla="*/ 4573145 h 5143499"/>
              <a:gd name="connsiteX112" fmla="*/ 4126727 w 4819650"/>
              <a:gd name="connsiteY112" fmla="*/ 4572434 h 5143499"/>
              <a:gd name="connsiteX113" fmla="*/ 4187146 w 4819650"/>
              <a:gd name="connsiteY113" fmla="*/ 4611892 h 5143499"/>
              <a:gd name="connsiteX114" fmla="*/ 3899691 w 4819650"/>
              <a:gd name="connsiteY114" fmla="*/ 4518410 h 5143499"/>
              <a:gd name="connsiteX115" fmla="*/ 3868948 w 4819650"/>
              <a:gd name="connsiteY115" fmla="*/ 4568929 h 5143499"/>
              <a:gd name="connsiteX116" fmla="*/ 3886238 w 4819650"/>
              <a:gd name="connsiteY116" fmla="*/ 4611892 h 5143499"/>
              <a:gd name="connsiteX117" fmla="*/ 3929201 w 4819650"/>
              <a:gd name="connsiteY117" fmla="*/ 4629181 h 5143499"/>
              <a:gd name="connsiteX118" fmla="*/ 3979720 w 4819650"/>
              <a:gd name="connsiteY118" fmla="*/ 4598439 h 5143499"/>
              <a:gd name="connsiteX119" fmla="*/ 4093664 w 4819650"/>
              <a:gd name="connsiteY119" fmla="*/ 4598439 h 5143499"/>
              <a:gd name="connsiteX120" fmla="*/ 4144183 w 4819650"/>
              <a:gd name="connsiteY120" fmla="*/ 4629181 h 5143499"/>
              <a:gd name="connsiteX121" fmla="*/ 4187146 w 4819650"/>
              <a:gd name="connsiteY121" fmla="*/ 4611892 h 5143499"/>
              <a:gd name="connsiteX122" fmla="*/ 2094551 w 4819650"/>
              <a:gd name="connsiteY122" fmla="*/ 0 h 5143499"/>
              <a:gd name="connsiteX123" fmla="*/ 4819650 w 4819650"/>
              <a:gd name="connsiteY123" fmla="*/ 0 h 5143499"/>
              <a:gd name="connsiteX124" fmla="*/ 4819650 w 4819650"/>
              <a:gd name="connsiteY124" fmla="*/ 5143499 h 5143499"/>
              <a:gd name="connsiteX125" fmla="*/ 0 w 4819650"/>
              <a:gd name="connsiteY125" fmla="*/ 5143499 h 5143499"/>
              <a:gd name="connsiteX126" fmla="*/ 0 w 4819650"/>
              <a:gd name="connsiteY126" fmla="*/ 5143498 h 5143499"/>
              <a:gd name="connsiteX127" fmla="*/ 371745 w 4819650"/>
              <a:gd name="connsiteY127" fmla="*/ 5143498 h 5143499"/>
              <a:gd name="connsiteX128" fmla="*/ 1206499 w 4819650"/>
              <a:gd name="connsiteY128" fmla="*/ 1821610 h 5143499"/>
              <a:gd name="connsiteX129" fmla="*/ 2048326 w 4819650"/>
              <a:gd name="connsiteY129" fmla="*/ 58253 h 5143499"/>
              <a:gd name="connsiteX130" fmla="*/ 2094551 w 4819650"/>
              <a:gd name="connsiteY130"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26727 w 4819650"/>
              <a:gd name="connsiteY109" fmla="*/ 4572434 h 5143499"/>
              <a:gd name="connsiteX110" fmla="*/ 4127272 w 4819650"/>
              <a:gd name="connsiteY110" fmla="*/ 4573145 h 5143499"/>
              <a:gd name="connsiteX111" fmla="*/ 4126727 w 4819650"/>
              <a:gd name="connsiteY111" fmla="*/ 4572434 h 5143499"/>
              <a:gd name="connsiteX112" fmla="*/ 4187146 w 4819650"/>
              <a:gd name="connsiteY112" fmla="*/ 4611892 h 5143499"/>
              <a:gd name="connsiteX113" fmla="*/ 3899691 w 4819650"/>
              <a:gd name="connsiteY113" fmla="*/ 4518410 h 5143499"/>
              <a:gd name="connsiteX114" fmla="*/ 3868948 w 4819650"/>
              <a:gd name="connsiteY114" fmla="*/ 4568929 h 5143499"/>
              <a:gd name="connsiteX115" fmla="*/ 3886238 w 4819650"/>
              <a:gd name="connsiteY115" fmla="*/ 4611892 h 5143499"/>
              <a:gd name="connsiteX116" fmla="*/ 3929201 w 4819650"/>
              <a:gd name="connsiteY116" fmla="*/ 4629181 h 5143499"/>
              <a:gd name="connsiteX117" fmla="*/ 3979720 w 4819650"/>
              <a:gd name="connsiteY117" fmla="*/ 4598439 h 5143499"/>
              <a:gd name="connsiteX118" fmla="*/ 4093664 w 4819650"/>
              <a:gd name="connsiteY118" fmla="*/ 4598439 h 5143499"/>
              <a:gd name="connsiteX119" fmla="*/ 4144183 w 4819650"/>
              <a:gd name="connsiteY119" fmla="*/ 4629181 h 5143499"/>
              <a:gd name="connsiteX120" fmla="*/ 4187146 w 4819650"/>
              <a:gd name="connsiteY120" fmla="*/ 4611892 h 5143499"/>
              <a:gd name="connsiteX121" fmla="*/ 2094551 w 4819650"/>
              <a:gd name="connsiteY121" fmla="*/ 0 h 5143499"/>
              <a:gd name="connsiteX122" fmla="*/ 4819650 w 4819650"/>
              <a:gd name="connsiteY122" fmla="*/ 0 h 5143499"/>
              <a:gd name="connsiteX123" fmla="*/ 4819650 w 4819650"/>
              <a:gd name="connsiteY123" fmla="*/ 5143499 h 5143499"/>
              <a:gd name="connsiteX124" fmla="*/ 0 w 4819650"/>
              <a:gd name="connsiteY124" fmla="*/ 5143499 h 5143499"/>
              <a:gd name="connsiteX125" fmla="*/ 0 w 4819650"/>
              <a:gd name="connsiteY125" fmla="*/ 5143498 h 5143499"/>
              <a:gd name="connsiteX126" fmla="*/ 371745 w 4819650"/>
              <a:gd name="connsiteY126" fmla="*/ 5143498 h 5143499"/>
              <a:gd name="connsiteX127" fmla="*/ 1206499 w 4819650"/>
              <a:gd name="connsiteY127" fmla="*/ 1821610 h 5143499"/>
              <a:gd name="connsiteX128" fmla="*/ 2048326 w 4819650"/>
              <a:gd name="connsiteY128" fmla="*/ 58253 h 5143499"/>
              <a:gd name="connsiteX129" fmla="*/ 2094551 w 4819650"/>
              <a:gd name="connsiteY129"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87146 w 4819650"/>
              <a:gd name="connsiteY109" fmla="*/ 4611892 h 5143499"/>
              <a:gd name="connsiteX110" fmla="*/ 3899691 w 4819650"/>
              <a:gd name="connsiteY110" fmla="*/ 4518410 h 5143499"/>
              <a:gd name="connsiteX111" fmla="*/ 3868948 w 4819650"/>
              <a:gd name="connsiteY111" fmla="*/ 4568929 h 5143499"/>
              <a:gd name="connsiteX112" fmla="*/ 3886238 w 4819650"/>
              <a:gd name="connsiteY112" fmla="*/ 4611892 h 5143499"/>
              <a:gd name="connsiteX113" fmla="*/ 3929201 w 4819650"/>
              <a:gd name="connsiteY113" fmla="*/ 4629181 h 5143499"/>
              <a:gd name="connsiteX114" fmla="*/ 3979720 w 4819650"/>
              <a:gd name="connsiteY114" fmla="*/ 4598439 h 5143499"/>
              <a:gd name="connsiteX115" fmla="*/ 4093664 w 4819650"/>
              <a:gd name="connsiteY115" fmla="*/ 4598439 h 5143499"/>
              <a:gd name="connsiteX116" fmla="*/ 4144183 w 4819650"/>
              <a:gd name="connsiteY116" fmla="*/ 4629181 h 5143499"/>
              <a:gd name="connsiteX117" fmla="*/ 4187146 w 4819650"/>
              <a:gd name="connsiteY117" fmla="*/ 4611892 h 5143499"/>
              <a:gd name="connsiteX118" fmla="*/ 2094551 w 4819650"/>
              <a:gd name="connsiteY118" fmla="*/ 0 h 5143499"/>
              <a:gd name="connsiteX119" fmla="*/ 4819650 w 4819650"/>
              <a:gd name="connsiteY119" fmla="*/ 0 h 5143499"/>
              <a:gd name="connsiteX120" fmla="*/ 4819650 w 4819650"/>
              <a:gd name="connsiteY120" fmla="*/ 5143499 h 5143499"/>
              <a:gd name="connsiteX121" fmla="*/ 0 w 4819650"/>
              <a:gd name="connsiteY121" fmla="*/ 5143499 h 5143499"/>
              <a:gd name="connsiteX122" fmla="*/ 0 w 4819650"/>
              <a:gd name="connsiteY122" fmla="*/ 5143498 h 5143499"/>
              <a:gd name="connsiteX123" fmla="*/ 371745 w 4819650"/>
              <a:gd name="connsiteY123" fmla="*/ 5143498 h 5143499"/>
              <a:gd name="connsiteX124" fmla="*/ 1206499 w 4819650"/>
              <a:gd name="connsiteY124" fmla="*/ 1821610 h 5143499"/>
              <a:gd name="connsiteX125" fmla="*/ 2048326 w 4819650"/>
              <a:gd name="connsiteY125" fmla="*/ 58253 h 5143499"/>
              <a:gd name="connsiteX126" fmla="*/ 2094551 w 4819650"/>
              <a:gd name="connsiteY126"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144183 w 4819650"/>
              <a:gd name="connsiteY109" fmla="*/ 4629181 h 5143499"/>
              <a:gd name="connsiteX110" fmla="*/ 3899691 w 4819650"/>
              <a:gd name="connsiteY110" fmla="*/ 4518410 h 5143499"/>
              <a:gd name="connsiteX111" fmla="*/ 3868948 w 4819650"/>
              <a:gd name="connsiteY111" fmla="*/ 4568929 h 5143499"/>
              <a:gd name="connsiteX112" fmla="*/ 3886238 w 4819650"/>
              <a:gd name="connsiteY112" fmla="*/ 4611892 h 5143499"/>
              <a:gd name="connsiteX113" fmla="*/ 3929201 w 4819650"/>
              <a:gd name="connsiteY113" fmla="*/ 4629181 h 5143499"/>
              <a:gd name="connsiteX114" fmla="*/ 3979720 w 4819650"/>
              <a:gd name="connsiteY114" fmla="*/ 4598439 h 5143499"/>
              <a:gd name="connsiteX115" fmla="*/ 4093664 w 4819650"/>
              <a:gd name="connsiteY115" fmla="*/ 4598439 h 5143499"/>
              <a:gd name="connsiteX116" fmla="*/ 4144183 w 4819650"/>
              <a:gd name="connsiteY116" fmla="*/ 4629181 h 5143499"/>
              <a:gd name="connsiteX117" fmla="*/ 2094551 w 4819650"/>
              <a:gd name="connsiteY117" fmla="*/ 0 h 5143499"/>
              <a:gd name="connsiteX118" fmla="*/ 4819650 w 4819650"/>
              <a:gd name="connsiteY118" fmla="*/ 0 h 5143499"/>
              <a:gd name="connsiteX119" fmla="*/ 4819650 w 4819650"/>
              <a:gd name="connsiteY119" fmla="*/ 5143499 h 5143499"/>
              <a:gd name="connsiteX120" fmla="*/ 0 w 4819650"/>
              <a:gd name="connsiteY120" fmla="*/ 5143499 h 5143499"/>
              <a:gd name="connsiteX121" fmla="*/ 0 w 4819650"/>
              <a:gd name="connsiteY121" fmla="*/ 5143498 h 5143499"/>
              <a:gd name="connsiteX122" fmla="*/ 371745 w 4819650"/>
              <a:gd name="connsiteY122" fmla="*/ 5143498 h 5143499"/>
              <a:gd name="connsiteX123" fmla="*/ 1206499 w 4819650"/>
              <a:gd name="connsiteY123" fmla="*/ 1821610 h 5143499"/>
              <a:gd name="connsiteX124" fmla="*/ 2048326 w 4819650"/>
              <a:gd name="connsiteY124" fmla="*/ 58253 h 5143499"/>
              <a:gd name="connsiteX125" fmla="*/ 2094551 w 4819650"/>
              <a:gd name="connsiteY125"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4093664 w 4819650"/>
              <a:gd name="connsiteY109" fmla="*/ 4598439 h 5143499"/>
              <a:gd name="connsiteX110" fmla="*/ 3899691 w 4819650"/>
              <a:gd name="connsiteY110" fmla="*/ 4518410 h 5143499"/>
              <a:gd name="connsiteX111" fmla="*/ 3868948 w 4819650"/>
              <a:gd name="connsiteY111" fmla="*/ 4568929 h 5143499"/>
              <a:gd name="connsiteX112" fmla="*/ 3886238 w 4819650"/>
              <a:gd name="connsiteY112" fmla="*/ 4611892 h 5143499"/>
              <a:gd name="connsiteX113" fmla="*/ 3929201 w 4819650"/>
              <a:gd name="connsiteY113" fmla="*/ 4629181 h 5143499"/>
              <a:gd name="connsiteX114" fmla="*/ 3979720 w 4819650"/>
              <a:gd name="connsiteY114" fmla="*/ 4598439 h 5143499"/>
              <a:gd name="connsiteX115" fmla="*/ 4093664 w 4819650"/>
              <a:gd name="connsiteY115" fmla="*/ 4598439 h 5143499"/>
              <a:gd name="connsiteX116" fmla="*/ 2094551 w 4819650"/>
              <a:gd name="connsiteY116" fmla="*/ 0 h 5143499"/>
              <a:gd name="connsiteX117" fmla="*/ 4819650 w 4819650"/>
              <a:gd name="connsiteY117" fmla="*/ 0 h 5143499"/>
              <a:gd name="connsiteX118" fmla="*/ 4819650 w 4819650"/>
              <a:gd name="connsiteY118" fmla="*/ 5143499 h 5143499"/>
              <a:gd name="connsiteX119" fmla="*/ 0 w 4819650"/>
              <a:gd name="connsiteY119" fmla="*/ 5143499 h 5143499"/>
              <a:gd name="connsiteX120" fmla="*/ 0 w 4819650"/>
              <a:gd name="connsiteY120" fmla="*/ 5143498 h 5143499"/>
              <a:gd name="connsiteX121" fmla="*/ 371745 w 4819650"/>
              <a:gd name="connsiteY121" fmla="*/ 5143498 h 5143499"/>
              <a:gd name="connsiteX122" fmla="*/ 1206499 w 4819650"/>
              <a:gd name="connsiteY122" fmla="*/ 1821610 h 5143499"/>
              <a:gd name="connsiteX123" fmla="*/ 2048326 w 4819650"/>
              <a:gd name="connsiteY123" fmla="*/ 58253 h 5143499"/>
              <a:gd name="connsiteX124" fmla="*/ 2094551 w 4819650"/>
              <a:gd name="connsiteY124"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66385 w 4819650"/>
              <a:gd name="connsiteY99" fmla="*/ 453181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66385 w 4819650"/>
              <a:gd name="connsiteY108" fmla="*/ 4531816 h 5143499"/>
              <a:gd name="connsiteX109" fmla="*/ 3979720 w 4819650"/>
              <a:gd name="connsiteY109" fmla="*/ 4598439 h 5143499"/>
              <a:gd name="connsiteX110" fmla="*/ 3899691 w 4819650"/>
              <a:gd name="connsiteY110" fmla="*/ 4518410 h 5143499"/>
              <a:gd name="connsiteX111" fmla="*/ 3868948 w 4819650"/>
              <a:gd name="connsiteY111" fmla="*/ 4568929 h 5143499"/>
              <a:gd name="connsiteX112" fmla="*/ 3886238 w 4819650"/>
              <a:gd name="connsiteY112" fmla="*/ 4611892 h 5143499"/>
              <a:gd name="connsiteX113" fmla="*/ 3929201 w 4819650"/>
              <a:gd name="connsiteY113" fmla="*/ 4629181 h 5143499"/>
              <a:gd name="connsiteX114" fmla="*/ 3979720 w 4819650"/>
              <a:gd name="connsiteY114" fmla="*/ 4598439 h 5143499"/>
              <a:gd name="connsiteX115" fmla="*/ 2094551 w 4819650"/>
              <a:gd name="connsiteY115" fmla="*/ 0 h 5143499"/>
              <a:gd name="connsiteX116" fmla="*/ 4819650 w 4819650"/>
              <a:gd name="connsiteY116" fmla="*/ 0 h 5143499"/>
              <a:gd name="connsiteX117" fmla="*/ 4819650 w 4819650"/>
              <a:gd name="connsiteY117" fmla="*/ 5143499 h 5143499"/>
              <a:gd name="connsiteX118" fmla="*/ 0 w 4819650"/>
              <a:gd name="connsiteY118" fmla="*/ 5143499 h 5143499"/>
              <a:gd name="connsiteX119" fmla="*/ 0 w 4819650"/>
              <a:gd name="connsiteY119" fmla="*/ 5143498 h 5143499"/>
              <a:gd name="connsiteX120" fmla="*/ 371745 w 4819650"/>
              <a:gd name="connsiteY120" fmla="*/ 5143498 h 5143499"/>
              <a:gd name="connsiteX121" fmla="*/ 1206499 w 4819650"/>
              <a:gd name="connsiteY121" fmla="*/ 1821610 h 5143499"/>
              <a:gd name="connsiteX122" fmla="*/ 2048326 w 4819650"/>
              <a:gd name="connsiteY122" fmla="*/ 58253 h 5143499"/>
              <a:gd name="connsiteX123" fmla="*/ 2094551 w 4819650"/>
              <a:gd name="connsiteY123"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25720 w 4819650"/>
              <a:gd name="connsiteY99" fmla="*/ 4551521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79720 w 4819650"/>
              <a:gd name="connsiteY108" fmla="*/ 4598439 h 5143499"/>
              <a:gd name="connsiteX109" fmla="*/ 3899691 w 4819650"/>
              <a:gd name="connsiteY109" fmla="*/ 4518410 h 5143499"/>
              <a:gd name="connsiteX110" fmla="*/ 3868948 w 4819650"/>
              <a:gd name="connsiteY110" fmla="*/ 4568929 h 5143499"/>
              <a:gd name="connsiteX111" fmla="*/ 3886238 w 4819650"/>
              <a:gd name="connsiteY111" fmla="*/ 4611892 h 5143499"/>
              <a:gd name="connsiteX112" fmla="*/ 3929201 w 4819650"/>
              <a:gd name="connsiteY112" fmla="*/ 4629181 h 5143499"/>
              <a:gd name="connsiteX113" fmla="*/ 3979720 w 4819650"/>
              <a:gd name="connsiteY113" fmla="*/ 4598439 h 5143499"/>
              <a:gd name="connsiteX114" fmla="*/ 2094551 w 4819650"/>
              <a:gd name="connsiteY114" fmla="*/ 0 h 5143499"/>
              <a:gd name="connsiteX115" fmla="*/ 4819650 w 4819650"/>
              <a:gd name="connsiteY115" fmla="*/ 0 h 5143499"/>
              <a:gd name="connsiteX116" fmla="*/ 4819650 w 4819650"/>
              <a:gd name="connsiteY116" fmla="*/ 5143499 h 5143499"/>
              <a:gd name="connsiteX117" fmla="*/ 0 w 4819650"/>
              <a:gd name="connsiteY117" fmla="*/ 5143499 h 5143499"/>
              <a:gd name="connsiteX118" fmla="*/ 0 w 4819650"/>
              <a:gd name="connsiteY118" fmla="*/ 5143498 h 5143499"/>
              <a:gd name="connsiteX119" fmla="*/ 371745 w 4819650"/>
              <a:gd name="connsiteY119" fmla="*/ 5143498 h 5143499"/>
              <a:gd name="connsiteX120" fmla="*/ 1206499 w 4819650"/>
              <a:gd name="connsiteY120" fmla="*/ 1821610 h 5143499"/>
              <a:gd name="connsiteX121" fmla="*/ 2048326 w 4819650"/>
              <a:gd name="connsiteY121" fmla="*/ 58253 h 5143499"/>
              <a:gd name="connsiteX122" fmla="*/ 2094551 w 4819650"/>
              <a:gd name="connsiteY122"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25720 w 4819650"/>
              <a:gd name="connsiteY99" fmla="*/ 4551521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25720 w 4819650"/>
              <a:gd name="connsiteY107" fmla="*/ 4551521 h 5143499"/>
              <a:gd name="connsiteX108" fmla="*/ 3979720 w 4819650"/>
              <a:gd name="connsiteY108" fmla="*/ 4598439 h 5143499"/>
              <a:gd name="connsiteX109" fmla="*/ 3868948 w 4819650"/>
              <a:gd name="connsiteY109" fmla="*/ 4568929 h 5143499"/>
              <a:gd name="connsiteX110" fmla="*/ 3886238 w 4819650"/>
              <a:gd name="connsiteY110" fmla="*/ 4611892 h 5143499"/>
              <a:gd name="connsiteX111" fmla="*/ 3929201 w 4819650"/>
              <a:gd name="connsiteY111" fmla="*/ 4629181 h 5143499"/>
              <a:gd name="connsiteX112" fmla="*/ 3979720 w 4819650"/>
              <a:gd name="connsiteY112" fmla="*/ 4598439 h 5143499"/>
              <a:gd name="connsiteX113" fmla="*/ 2094551 w 4819650"/>
              <a:gd name="connsiteY113" fmla="*/ 0 h 5143499"/>
              <a:gd name="connsiteX114" fmla="*/ 4819650 w 4819650"/>
              <a:gd name="connsiteY114" fmla="*/ 0 h 5143499"/>
              <a:gd name="connsiteX115" fmla="*/ 4819650 w 4819650"/>
              <a:gd name="connsiteY115" fmla="*/ 5143499 h 5143499"/>
              <a:gd name="connsiteX116" fmla="*/ 0 w 4819650"/>
              <a:gd name="connsiteY116" fmla="*/ 5143499 h 5143499"/>
              <a:gd name="connsiteX117" fmla="*/ 0 w 4819650"/>
              <a:gd name="connsiteY117" fmla="*/ 5143498 h 5143499"/>
              <a:gd name="connsiteX118" fmla="*/ 371745 w 4819650"/>
              <a:gd name="connsiteY118" fmla="*/ 5143498 h 5143499"/>
              <a:gd name="connsiteX119" fmla="*/ 1206499 w 4819650"/>
              <a:gd name="connsiteY119" fmla="*/ 1821610 h 5143499"/>
              <a:gd name="connsiteX120" fmla="*/ 2048326 w 4819650"/>
              <a:gd name="connsiteY120" fmla="*/ 58253 h 5143499"/>
              <a:gd name="connsiteX121" fmla="*/ 2094551 w 4819650"/>
              <a:gd name="connsiteY121"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25009 w 4819650"/>
              <a:gd name="connsiteY99" fmla="*/ 4552066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25009 w 4819650"/>
              <a:gd name="connsiteY106" fmla="*/ 4552066 h 5143499"/>
              <a:gd name="connsiteX107" fmla="*/ 3979720 w 4819650"/>
              <a:gd name="connsiteY107" fmla="*/ 4598439 h 5143499"/>
              <a:gd name="connsiteX108" fmla="*/ 3868948 w 4819650"/>
              <a:gd name="connsiteY108" fmla="*/ 4568929 h 5143499"/>
              <a:gd name="connsiteX109" fmla="*/ 3886238 w 4819650"/>
              <a:gd name="connsiteY109" fmla="*/ 4611892 h 5143499"/>
              <a:gd name="connsiteX110" fmla="*/ 3929201 w 4819650"/>
              <a:gd name="connsiteY110" fmla="*/ 4629181 h 5143499"/>
              <a:gd name="connsiteX111" fmla="*/ 3979720 w 4819650"/>
              <a:gd name="connsiteY111" fmla="*/ 4598439 h 5143499"/>
              <a:gd name="connsiteX112" fmla="*/ 2094551 w 4819650"/>
              <a:gd name="connsiteY112" fmla="*/ 0 h 5143499"/>
              <a:gd name="connsiteX113" fmla="*/ 4819650 w 4819650"/>
              <a:gd name="connsiteY113" fmla="*/ 0 h 5143499"/>
              <a:gd name="connsiteX114" fmla="*/ 4819650 w 4819650"/>
              <a:gd name="connsiteY114" fmla="*/ 5143499 h 5143499"/>
              <a:gd name="connsiteX115" fmla="*/ 0 w 4819650"/>
              <a:gd name="connsiteY115" fmla="*/ 5143499 h 5143499"/>
              <a:gd name="connsiteX116" fmla="*/ 0 w 4819650"/>
              <a:gd name="connsiteY116" fmla="*/ 5143498 h 5143499"/>
              <a:gd name="connsiteX117" fmla="*/ 371745 w 4819650"/>
              <a:gd name="connsiteY117" fmla="*/ 5143498 h 5143499"/>
              <a:gd name="connsiteX118" fmla="*/ 1206499 w 4819650"/>
              <a:gd name="connsiteY118" fmla="*/ 1821610 h 5143499"/>
              <a:gd name="connsiteX119" fmla="*/ 2048326 w 4819650"/>
              <a:gd name="connsiteY119" fmla="*/ 58253 h 5143499"/>
              <a:gd name="connsiteX120" fmla="*/ 2094551 w 4819650"/>
              <a:gd name="connsiteY120"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10893 w 4819650"/>
              <a:gd name="connsiteY99" fmla="*/ 4572244 h 5143499"/>
              <a:gd name="connsiteX100" fmla="*/ 3946680 w 4819650"/>
              <a:gd name="connsiteY100" fmla="*/ 4572481 h 5143499"/>
              <a:gd name="connsiteX101" fmla="*/ 3946656 w 4819650"/>
              <a:gd name="connsiteY101" fmla="*/ 4572458 h 5143499"/>
              <a:gd name="connsiteX102" fmla="*/ 3946112 w 4819650"/>
              <a:gd name="connsiteY102" fmla="*/ 4573168 h 5143499"/>
              <a:gd name="connsiteX103" fmla="*/ 3925933 w 4819650"/>
              <a:gd name="connsiteY103" fmla="*/ 4587284 h 5143499"/>
              <a:gd name="connsiteX104" fmla="*/ 3915985 w 4819650"/>
              <a:gd name="connsiteY104" fmla="*/ 4582192 h 5143499"/>
              <a:gd name="connsiteX105" fmla="*/ 3910893 w 4819650"/>
              <a:gd name="connsiteY105" fmla="*/ 4572244 h 5143499"/>
              <a:gd name="connsiteX106" fmla="*/ 3979720 w 4819650"/>
              <a:gd name="connsiteY106" fmla="*/ 4598439 h 5143499"/>
              <a:gd name="connsiteX107" fmla="*/ 3868948 w 4819650"/>
              <a:gd name="connsiteY107" fmla="*/ 4568929 h 5143499"/>
              <a:gd name="connsiteX108" fmla="*/ 3886238 w 4819650"/>
              <a:gd name="connsiteY108" fmla="*/ 4611892 h 5143499"/>
              <a:gd name="connsiteX109" fmla="*/ 3929201 w 4819650"/>
              <a:gd name="connsiteY109" fmla="*/ 4629181 h 5143499"/>
              <a:gd name="connsiteX110" fmla="*/ 3979720 w 4819650"/>
              <a:gd name="connsiteY110" fmla="*/ 4598439 h 5143499"/>
              <a:gd name="connsiteX111" fmla="*/ 2094551 w 4819650"/>
              <a:gd name="connsiteY111" fmla="*/ 0 h 5143499"/>
              <a:gd name="connsiteX112" fmla="*/ 4819650 w 4819650"/>
              <a:gd name="connsiteY112" fmla="*/ 0 h 5143499"/>
              <a:gd name="connsiteX113" fmla="*/ 4819650 w 4819650"/>
              <a:gd name="connsiteY113" fmla="*/ 5143499 h 5143499"/>
              <a:gd name="connsiteX114" fmla="*/ 0 w 4819650"/>
              <a:gd name="connsiteY114" fmla="*/ 5143499 h 5143499"/>
              <a:gd name="connsiteX115" fmla="*/ 0 w 4819650"/>
              <a:gd name="connsiteY115" fmla="*/ 5143498 h 5143499"/>
              <a:gd name="connsiteX116" fmla="*/ 371745 w 4819650"/>
              <a:gd name="connsiteY116" fmla="*/ 5143498 h 5143499"/>
              <a:gd name="connsiteX117" fmla="*/ 1206499 w 4819650"/>
              <a:gd name="connsiteY117" fmla="*/ 1821610 h 5143499"/>
              <a:gd name="connsiteX118" fmla="*/ 2048326 w 4819650"/>
              <a:gd name="connsiteY118" fmla="*/ 58253 h 5143499"/>
              <a:gd name="connsiteX119" fmla="*/ 2094551 w 4819650"/>
              <a:gd name="connsiteY119"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10893 w 4819650"/>
              <a:gd name="connsiteY99" fmla="*/ 4572244 h 5143499"/>
              <a:gd name="connsiteX100" fmla="*/ 3946680 w 4819650"/>
              <a:gd name="connsiteY100" fmla="*/ 4572481 h 5143499"/>
              <a:gd name="connsiteX101" fmla="*/ 3946656 w 4819650"/>
              <a:gd name="connsiteY101" fmla="*/ 4572458 h 5143499"/>
              <a:gd name="connsiteX102" fmla="*/ 3925933 w 4819650"/>
              <a:gd name="connsiteY102" fmla="*/ 4587284 h 5143499"/>
              <a:gd name="connsiteX103" fmla="*/ 3915985 w 4819650"/>
              <a:gd name="connsiteY103" fmla="*/ 4582192 h 5143499"/>
              <a:gd name="connsiteX104" fmla="*/ 3910893 w 4819650"/>
              <a:gd name="connsiteY104" fmla="*/ 4572244 h 5143499"/>
              <a:gd name="connsiteX105" fmla="*/ 3979720 w 4819650"/>
              <a:gd name="connsiteY105" fmla="*/ 4598439 h 5143499"/>
              <a:gd name="connsiteX106" fmla="*/ 3868948 w 4819650"/>
              <a:gd name="connsiteY106" fmla="*/ 4568929 h 5143499"/>
              <a:gd name="connsiteX107" fmla="*/ 3886238 w 4819650"/>
              <a:gd name="connsiteY107" fmla="*/ 4611892 h 5143499"/>
              <a:gd name="connsiteX108" fmla="*/ 3929201 w 4819650"/>
              <a:gd name="connsiteY108" fmla="*/ 4629181 h 5143499"/>
              <a:gd name="connsiteX109" fmla="*/ 3979720 w 4819650"/>
              <a:gd name="connsiteY109" fmla="*/ 4598439 h 5143499"/>
              <a:gd name="connsiteX110" fmla="*/ 2094551 w 4819650"/>
              <a:gd name="connsiteY110" fmla="*/ 0 h 5143499"/>
              <a:gd name="connsiteX111" fmla="*/ 4819650 w 4819650"/>
              <a:gd name="connsiteY111" fmla="*/ 0 h 5143499"/>
              <a:gd name="connsiteX112" fmla="*/ 4819650 w 4819650"/>
              <a:gd name="connsiteY112" fmla="*/ 5143499 h 5143499"/>
              <a:gd name="connsiteX113" fmla="*/ 0 w 4819650"/>
              <a:gd name="connsiteY113" fmla="*/ 5143499 h 5143499"/>
              <a:gd name="connsiteX114" fmla="*/ 0 w 4819650"/>
              <a:gd name="connsiteY114" fmla="*/ 5143498 h 5143499"/>
              <a:gd name="connsiteX115" fmla="*/ 371745 w 4819650"/>
              <a:gd name="connsiteY115" fmla="*/ 5143498 h 5143499"/>
              <a:gd name="connsiteX116" fmla="*/ 1206499 w 4819650"/>
              <a:gd name="connsiteY116" fmla="*/ 1821610 h 5143499"/>
              <a:gd name="connsiteX117" fmla="*/ 2048326 w 4819650"/>
              <a:gd name="connsiteY117" fmla="*/ 58253 h 5143499"/>
              <a:gd name="connsiteX118" fmla="*/ 2094551 w 4819650"/>
              <a:gd name="connsiteY118"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10893 w 4819650"/>
              <a:gd name="connsiteY99" fmla="*/ 4572244 h 5143499"/>
              <a:gd name="connsiteX100" fmla="*/ 3946680 w 4819650"/>
              <a:gd name="connsiteY100" fmla="*/ 4572481 h 5143499"/>
              <a:gd name="connsiteX101" fmla="*/ 3925933 w 4819650"/>
              <a:gd name="connsiteY101" fmla="*/ 4587284 h 5143499"/>
              <a:gd name="connsiteX102" fmla="*/ 3915985 w 4819650"/>
              <a:gd name="connsiteY102" fmla="*/ 4582192 h 5143499"/>
              <a:gd name="connsiteX103" fmla="*/ 3910893 w 4819650"/>
              <a:gd name="connsiteY103" fmla="*/ 4572244 h 5143499"/>
              <a:gd name="connsiteX104" fmla="*/ 3979720 w 4819650"/>
              <a:gd name="connsiteY104" fmla="*/ 4598439 h 5143499"/>
              <a:gd name="connsiteX105" fmla="*/ 3868948 w 4819650"/>
              <a:gd name="connsiteY105" fmla="*/ 4568929 h 5143499"/>
              <a:gd name="connsiteX106" fmla="*/ 3886238 w 4819650"/>
              <a:gd name="connsiteY106" fmla="*/ 4611892 h 5143499"/>
              <a:gd name="connsiteX107" fmla="*/ 3929201 w 4819650"/>
              <a:gd name="connsiteY107" fmla="*/ 4629181 h 5143499"/>
              <a:gd name="connsiteX108" fmla="*/ 3979720 w 4819650"/>
              <a:gd name="connsiteY108" fmla="*/ 4598439 h 5143499"/>
              <a:gd name="connsiteX109" fmla="*/ 2094551 w 4819650"/>
              <a:gd name="connsiteY109" fmla="*/ 0 h 5143499"/>
              <a:gd name="connsiteX110" fmla="*/ 4819650 w 4819650"/>
              <a:gd name="connsiteY110" fmla="*/ 0 h 5143499"/>
              <a:gd name="connsiteX111" fmla="*/ 4819650 w 4819650"/>
              <a:gd name="connsiteY111" fmla="*/ 5143499 h 5143499"/>
              <a:gd name="connsiteX112" fmla="*/ 0 w 4819650"/>
              <a:gd name="connsiteY112" fmla="*/ 5143499 h 5143499"/>
              <a:gd name="connsiteX113" fmla="*/ 0 w 4819650"/>
              <a:gd name="connsiteY113" fmla="*/ 5143498 h 5143499"/>
              <a:gd name="connsiteX114" fmla="*/ 371745 w 4819650"/>
              <a:gd name="connsiteY114" fmla="*/ 5143498 h 5143499"/>
              <a:gd name="connsiteX115" fmla="*/ 1206499 w 4819650"/>
              <a:gd name="connsiteY115" fmla="*/ 1821610 h 5143499"/>
              <a:gd name="connsiteX116" fmla="*/ 2048326 w 4819650"/>
              <a:gd name="connsiteY116" fmla="*/ 58253 h 5143499"/>
              <a:gd name="connsiteX117" fmla="*/ 2094551 w 4819650"/>
              <a:gd name="connsiteY117"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10893 w 4819650"/>
              <a:gd name="connsiteY99" fmla="*/ 4572244 h 5143499"/>
              <a:gd name="connsiteX100" fmla="*/ 3925933 w 4819650"/>
              <a:gd name="connsiteY100" fmla="*/ 4587284 h 5143499"/>
              <a:gd name="connsiteX101" fmla="*/ 3915985 w 4819650"/>
              <a:gd name="connsiteY101" fmla="*/ 4582192 h 5143499"/>
              <a:gd name="connsiteX102" fmla="*/ 3910893 w 4819650"/>
              <a:gd name="connsiteY102" fmla="*/ 4572244 h 5143499"/>
              <a:gd name="connsiteX103" fmla="*/ 3979720 w 4819650"/>
              <a:gd name="connsiteY103" fmla="*/ 4598439 h 5143499"/>
              <a:gd name="connsiteX104" fmla="*/ 3868948 w 4819650"/>
              <a:gd name="connsiteY104" fmla="*/ 4568929 h 5143499"/>
              <a:gd name="connsiteX105" fmla="*/ 3886238 w 4819650"/>
              <a:gd name="connsiteY105" fmla="*/ 4611892 h 5143499"/>
              <a:gd name="connsiteX106" fmla="*/ 3929201 w 4819650"/>
              <a:gd name="connsiteY106" fmla="*/ 4629181 h 5143499"/>
              <a:gd name="connsiteX107" fmla="*/ 3979720 w 4819650"/>
              <a:gd name="connsiteY107" fmla="*/ 4598439 h 5143499"/>
              <a:gd name="connsiteX108" fmla="*/ 2094551 w 4819650"/>
              <a:gd name="connsiteY108" fmla="*/ 0 h 5143499"/>
              <a:gd name="connsiteX109" fmla="*/ 4819650 w 4819650"/>
              <a:gd name="connsiteY109" fmla="*/ 0 h 5143499"/>
              <a:gd name="connsiteX110" fmla="*/ 4819650 w 4819650"/>
              <a:gd name="connsiteY110" fmla="*/ 5143499 h 5143499"/>
              <a:gd name="connsiteX111" fmla="*/ 0 w 4819650"/>
              <a:gd name="connsiteY111" fmla="*/ 5143499 h 5143499"/>
              <a:gd name="connsiteX112" fmla="*/ 0 w 4819650"/>
              <a:gd name="connsiteY112" fmla="*/ 5143498 h 5143499"/>
              <a:gd name="connsiteX113" fmla="*/ 371745 w 4819650"/>
              <a:gd name="connsiteY113" fmla="*/ 5143498 h 5143499"/>
              <a:gd name="connsiteX114" fmla="*/ 1206499 w 4819650"/>
              <a:gd name="connsiteY114" fmla="*/ 1821610 h 5143499"/>
              <a:gd name="connsiteX115" fmla="*/ 2048326 w 4819650"/>
              <a:gd name="connsiteY115" fmla="*/ 58253 h 5143499"/>
              <a:gd name="connsiteX116" fmla="*/ 2094551 w 4819650"/>
              <a:gd name="connsiteY116"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10893 w 4819650"/>
              <a:gd name="connsiteY99" fmla="*/ 4572244 h 5143499"/>
              <a:gd name="connsiteX100" fmla="*/ 3925933 w 4819650"/>
              <a:gd name="connsiteY100" fmla="*/ 4587284 h 5143499"/>
              <a:gd name="connsiteX101" fmla="*/ 3915985 w 4819650"/>
              <a:gd name="connsiteY101" fmla="*/ 4582192 h 5143499"/>
              <a:gd name="connsiteX102" fmla="*/ 3910893 w 4819650"/>
              <a:gd name="connsiteY102" fmla="*/ 4572244 h 5143499"/>
              <a:gd name="connsiteX103" fmla="*/ 3929201 w 4819650"/>
              <a:gd name="connsiteY103" fmla="*/ 4629181 h 5143499"/>
              <a:gd name="connsiteX104" fmla="*/ 3868948 w 4819650"/>
              <a:gd name="connsiteY104" fmla="*/ 4568929 h 5143499"/>
              <a:gd name="connsiteX105" fmla="*/ 3886238 w 4819650"/>
              <a:gd name="connsiteY105" fmla="*/ 4611892 h 5143499"/>
              <a:gd name="connsiteX106" fmla="*/ 3929201 w 4819650"/>
              <a:gd name="connsiteY106" fmla="*/ 4629181 h 5143499"/>
              <a:gd name="connsiteX107" fmla="*/ 2094551 w 4819650"/>
              <a:gd name="connsiteY107" fmla="*/ 0 h 5143499"/>
              <a:gd name="connsiteX108" fmla="*/ 4819650 w 4819650"/>
              <a:gd name="connsiteY108" fmla="*/ 0 h 5143499"/>
              <a:gd name="connsiteX109" fmla="*/ 4819650 w 4819650"/>
              <a:gd name="connsiteY109" fmla="*/ 5143499 h 5143499"/>
              <a:gd name="connsiteX110" fmla="*/ 0 w 4819650"/>
              <a:gd name="connsiteY110" fmla="*/ 5143499 h 5143499"/>
              <a:gd name="connsiteX111" fmla="*/ 0 w 4819650"/>
              <a:gd name="connsiteY111" fmla="*/ 5143498 h 5143499"/>
              <a:gd name="connsiteX112" fmla="*/ 371745 w 4819650"/>
              <a:gd name="connsiteY112" fmla="*/ 5143498 h 5143499"/>
              <a:gd name="connsiteX113" fmla="*/ 1206499 w 4819650"/>
              <a:gd name="connsiteY113" fmla="*/ 1821610 h 5143499"/>
              <a:gd name="connsiteX114" fmla="*/ 2048326 w 4819650"/>
              <a:gd name="connsiteY114" fmla="*/ 58253 h 5143499"/>
              <a:gd name="connsiteX115" fmla="*/ 2094551 w 4819650"/>
              <a:gd name="connsiteY115"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15985 w 4819650"/>
              <a:gd name="connsiteY99" fmla="*/ 4582192 h 5143499"/>
              <a:gd name="connsiteX100" fmla="*/ 3925933 w 4819650"/>
              <a:gd name="connsiteY100" fmla="*/ 4587284 h 5143499"/>
              <a:gd name="connsiteX101" fmla="*/ 3915985 w 4819650"/>
              <a:gd name="connsiteY101" fmla="*/ 4582192 h 5143499"/>
              <a:gd name="connsiteX102" fmla="*/ 3929201 w 4819650"/>
              <a:gd name="connsiteY102" fmla="*/ 4629181 h 5143499"/>
              <a:gd name="connsiteX103" fmla="*/ 3868948 w 4819650"/>
              <a:gd name="connsiteY103" fmla="*/ 4568929 h 5143499"/>
              <a:gd name="connsiteX104" fmla="*/ 3886238 w 4819650"/>
              <a:gd name="connsiteY104" fmla="*/ 4611892 h 5143499"/>
              <a:gd name="connsiteX105" fmla="*/ 3929201 w 4819650"/>
              <a:gd name="connsiteY105" fmla="*/ 4629181 h 5143499"/>
              <a:gd name="connsiteX106" fmla="*/ 2094551 w 4819650"/>
              <a:gd name="connsiteY106" fmla="*/ 0 h 5143499"/>
              <a:gd name="connsiteX107" fmla="*/ 4819650 w 4819650"/>
              <a:gd name="connsiteY107" fmla="*/ 0 h 5143499"/>
              <a:gd name="connsiteX108" fmla="*/ 4819650 w 4819650"/>
              <a:gd name="connsiteY108" fmla="*/ 5143499 h 5143499"/>
              <a:gd name="connsiteX109" fmla="*/ 0 w 4819650"/>
              <a:gd name="connsiteY109" fmla="*/ 5143499 h 5143499"/>
              <a:gd name="connsiteX110" fmla="*/ 0 w 4819650"/>
              <a:gd name="connsiteY110" fmla="*/ 5143498 h 5143499"/>
              <a:gd name="connsiteX111" fmla="*/ 371745 w 4819650"/>
              <a:gd name="connsiteY111" fmla="*/ 5143498 h 5143499"/>
              <a:gd name="connsiteX112" fmla="*/ 1206499 w 4819650"/>
              <a:gd name="connsiteY112" fmla="*/ 1821610 h 5143499"/>
              <a:gd name="connsiteX113" fmla="*/ 2048326 w 4819650"/>
              <a:gd name="connsiteY113" fmla="*/ 58253 h 5143499"/>
              <a:gd name="connsiteX114" fmla="*/ 2094551 w 4819650"/>
              <a:gd name="connsiteY114"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29201 w 4819650"/>
              <a:gd name="connsiteY99" fmla="*/ 4629181 h 5143499"/>
              <a:gd name="connsiteX100" fmla="*/ 3868948 w 4819650"/>
              <a:gd name="connsiteY100" fmla="*/ 4568929 h 5143499"/>
              <a:gd name="connsiteX101" fmla="*/ 3886238 w 4819650"/>
              <a:gd name="connsiteY101" fmla="*/ 4611892 h 5143499"/>
              <a:gd name="connsiteX102" fmla="*/ 3929201 w 4819650"/>
              <a:gd name="connsiteY102" fmla="*/ 4629181 h 5143499"/>
              <a:gd name="connsiteX103" fmla="*/ 2094551 w 4819650"/>
              <a:gd name="connsiteY103" fmla="*/ 0 h 5143499"/>
              <a:gd name="connsiteX104" fmla="*/ 4819650 w 4819650"/>
              <a:gd name="connsiteY104" fmla="*/ 0 h 5143499"/>
              <a:gd name="connsiteX105" fmla="*/ 4819650 w 4819650"/>
              <a:gd name="connsiteY105" fmla="*/ 5143499 h 5143499"/>
              <a:gd name="connsiteX106" fmla="*/ 0 w 4819650"/>
              <a:gd name="connsiteY106" fmla="*/ 5143499 h 5143499"/>
              <a:gd name="connsiteX107" fmla="*/ 0 w 4819650"/>
              <a:gd name="connsiteY107" fmla="*/ 5143498 h 5143499"/>
              <a:gd name="connsiteX108" fmla="*/ 371745 w 4819650"/>
              <a:gd name="connsiteY108" fmla="*/ 5143498 h 5143499"/>
              <a:gd name="connsiteX109" fmla="*/ 1206499 w 4819650"/>
              <a:gd name="connsiteY109" fmla="*/ 1821610 h 5143499"/>
              <a:gd name="connsiteX110" fmla="*/ 2048326 w 4819650"/>
              <a:gd name="connsiteY110" fmla="*/ 58253 h 5143499"/>
              <a:gd name="connsiteX111" fmla="*/ 2094551 w 4819650"/>
              <a:gd name="connsiteY111"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3929201 w 4819650"/>
              <a:gd name="connsiteY99" fmla="*/ 4629181 h 5143499"/>
              <a:gd name="connsiteX100" fmla="*/ 3868948 w 4819650"/>
              <a:gd name="connsiteY100" fmla="*/ 4568929 h 5143499"/>
              <a:gd name="connsiteX101" fmla="*/ 3929201 w 4819650"/>
              <a:gd name="connsiteY101" fmla="*/ 4629181 h 5143499"/>
              <a:gd name="connsiteX102" fmla="*/ 2094551 w 4819650"/>
              <a:gd name="connsiteY102" fmla="*/ 0 h 5143499"/>
              <a:gd name="connsiteX103" fmla="*/ 4819650 w 4819650"/>
              <a:gd name="connsiteY103" fmla="*/ 0 h 5143499"/>
              <a:gd name="connsiteX104" fmla="*/ 4819650 w 4819650"/>
              <a:gd name="connsiteY104" fmla="*/ 5143499 h 5143499"/>
              <a:gd name="connsiteX105" fmla="*/ 0 w 4819650"/>
              <a:gd name="connsiteY105" fmla="*/ 5143499 h 5143499"/>
              <a:gd name="connsiteX106" fmla="*/ 0 w 4819650"/>
              <a:gd name="connsiteY106" fmla="*/ 5143498 h 5143499"/>
              <a:gd name="connsiteX107" fmla="*/ 371745 w 4819650"/>
              <a:gd name="connsiteY107" fmla="*/ 5143498 h 5143499"/>
              <a:gd name="connsiteX108" fmla="*/ 1206499 w 4819650"/>
              <a:gd name="connsiteY108" fmla="*/ 1821610 h 5143499"/>
              <a:gd name="connsiteX109" fmla="*/ 2048326 w 4819650"/>
              <a:gd name="connsiteY109" fmla="*/ 58253 h 5143499"/>
              <a:gd name="connsiteX110" fmla="*/ 2094551 w 4819650"/>
              <a:gd name="connsiteY110"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72452 w 4819650"/>
              <a:gd name="connsiteY50" fmla="*/ 4774366 h 5143499"/>
              <a:gd name="connsiteX51" fmla="*/ 4345688 w 4819650"/>
              <a:gd name="connsiteY51" fmla="*/ 4747768 h 5143499"/>
              <a:gd name="connsiteX52" fmla="*/ 4339388 w 4819650"/>
              <a:gd name="connsiteY52" fmla="*/ 4745400 h 5143499"/>
              <a:gd name="connsiteX53" fmla="*/ 4325391 w 4819650"/>
              <a:gd name="connsiteY53" fmla="*/ 4736116 h 5143499"/>
              <a:gd name="connsiteX54" fmla="*/ 4336096 w 4819650"/>
              <a:gd name="connsiteY54" fmla="*/ 4730124 h 5143499"/>
              <a:gd name="connsiteX55" fmla="*/ 4363783 w 4819650"/>
              <a:gd name="connsiteY55" fmla="*/ 4734221 h 5143499"/>
              <a:gd name="connsiteX56" fmla="*/ 4367715 w 4819650"/>
              <a:gd name="connsiteY56" fmla="*/ 4716434 h 5143499"/>
              <a:gd name="connsiteX57" fmla="*/ 4336238 w 4819650"/>
              <a:gd name="connsiteY57" fmla="*/ 4711721 h 5143499"/>
              <a:gd name="connsiteX58" fmla="*/ 4107093 w 4819650"/>
              <a:gd name="connsiteY58" fmla="*/ 4711721 h 5143499"/>
              <a:gd name="connsiteX59" fmla="*/ 4070430 w 4819650"/>
              <a:gd name="connsiteY59" fmla="*/ 4744760 h 5143499"/>
              <a:gd name="connsiteX60" fmla="*/ 4070430 w 4819650"/>
              <a:gd name="connsiteY60" fmla="*/ 4799850 h 5143499"/>
              <a:gd name="connsiteX61" fmla="*/ 4091201 w 4819650"/>
              <a:gd name="connsiteY61" fmla="*/ 4799850 h 5143499"/>
              <a:gd name="connsiteX62" fmla="*/ 4091201 w 4819650"/>
              <a:gd name="connsiteY62" fmla="*/ 4746182 h 5143499"/>
              <a:gd name="connsiteX63" fmla="*/ 4106927 w 4819650"/>
              <a:gd name="connsiteY63" fmla="*/ 4731379 h 5143499"/>
              <a:gd name="connsiteX64" fmla="*/ 4122985 w 4819650"/>
              <a:gd name="connsiteY64" fmla="*/ 4746182 h 5143499"/>
              <a:gd name="connsiteX65" fmla="*/ 4122985 w 4819650"/>
              <a:gd name="connsiteY65" fmla="*/ 4799850 h 5143499"/>
              <a:gd name="connsiteX66" fmla="*/ 4143591 w 4819650"/>
              <a:gd name="connsiteY66" fmla="*/ 4799850 h 5143499"/>
              <a:gd name="connsiteX67" fmla="*/ 4143591 w 4819650"/>
              <a:gd name="connsiteY67" fmla="*/ 4746182 h 5143499"/>
              <a:gd name="connsiteX68" fmla="*/ 4159648 w 4819650"/>
              <a:gd name="connsiteY68" fmla="*/ 4731379 h 5143499"/>
              <a:gd name="connsiteX69" fmla="*/ 4175375 w 4819650"/>
              <a:gd name="connsiteY69" fmla="*/ 4746182 h 5143499"/>
              <a:gd name="connsiteX70" fmla="*/ 4175375 w 4819650"/>
              <a:gd name="connsiteY70" fmla="*/ 4799850 h 5143499"/>
              <a:gd name="connsiteX71" fmla="*/ 4196146 w 4819650"/>
              <a:gd name="connsiteY71" fmla="*/ 4799850 h 5143499"/>
              <a:gd name="connsiteX72" fmla="*/ 4196146 w 4819650"/>
              <a:gd name="connsiteY72" fmla="*/ 4744760 h 5143499"/>
              <a:gd name="connsiteX73" fmla="*/ 4159648 w 4819650"/>
              <a:gd name="connsiteY73" fmla="*/ 4711721 h 5143499"/>
              <a:gd name="connsiteX74" fmla="*/ 4133525 w 4819650"/>
              <a:gd name="connsiteY74" fmla="*/ 4722426 h 5143499"/>
              <a:gd name="connsiteX75" fmla="*/ 4107093 w 4819650"/>
              <a:gd name="connsiteY75" fmla="*/ 4711721 h 5143499"/>
              <a:gd name="connsiteX76" fmla="*/ 3892112 w 4819650"/>
              <a:gd name="connsiteY76" fmla="*/ 4711721 h 5143499"/>
              <a:gd name="connsiteX77" fmla="*/ 3849930 w 4819650"/>
              <a:gd name="connsiteY77" fmla="*/ 4756413 h 5143499"/>
              <a:gd name="connsiteX78" fmla="*/ 3892112 w 4819650"/>
              <a:gd name="connsiteY78" fmla="*/ 4801413 h 5143499"/>
              <a:gd name="connsiteX79" fmla="*/ 3934293 w 4819650"/>
              <a:gd name="connsiteY79" fmla="*/ 4756413 h 5143499"/>
              <a:gd name="connsiteX80" fmla="*/ 3892112 w 4819650"/>
              <a:gd name="connsiteY80" fmla="*/ 4711721 h 5143499"/>
              <a:gd name="connsiteX81" fmla="*/ 3837662 w 4819650"/>
              <a:gd name="connsiteY81" fmla="*/ 4711697 h 5143499"/>
              <a:gd name="connsiteX82" fmla="*/ 3799412 w 4819650"/>
              <a:gd name="connsiteY82" fmla="*/ 4749000 h 5143499"/>
              <a:gd name="connsiteX83" fmla="*/ 3799412 w 4819650"/>
              <a:gd name="connsiteY83" fmla="*/ 4799826 h 5143499"/>
              <a:gd name="connsiteX84" fmla="*/ 3820183 w 4819650"/>
              <a:gd name="connsiteY84" fmla="*/ 4799826 h 5143499"/>
              <a:gd name="connsiteX85" fmla="*/ 3820183 w 4819650"/>
              <a:gd name="connsiteY85" fmla="*/ 4750563 h 5143499"/>
              <a:gd name="connsiteX86" fmla="*/ 3837662 w 4819650"/>
              <a:gd name="connsiteY86" fmla="*/ 4731994 h 5143499"/>
              <a:gd name="connsiteX87" fmla="*/ 3842707 w 4819650"/>
              <a:gd name="connsiteY87" fmla="*/ 4732302 h 5143499"/>
              <a:gd name="connsiteX88" fmla="*/ 3846165 w 4819650"/>
              <a:gd name="connsiteY88" fmla="*/ 4712479 h 5143499"/>
              <a:gd name="connsiteX89" fmla="*/ 3837662 w 4819650"/>
              <a:gd name="connsiteY89" fmla="*/ 4711697 h 5143499"/>
              <a:gd name="connsiteX90" fmla="*/ 3742286 w 4819650"/>
              <a:gd name="connsiteY90" fmla="*/ 4711697 h 5143499"/>
              <a:gd name="connsiteX91" fmla="*/ 3701052 w 4819650"/>
              <a:gd name="connsiteY91" fmla="*/ 4755915 h 5143499"/>
              <a:gd name="connsiteX92" fmla="*/ 3701052 w 4819650"/>
              <a:gd name="connsiteY92" fmla="*/ 4834452 h 5143499"/>
              <a:gd name="connsiteX93" fmla="*/ 3721823 w 4819650"/>
              <a:gd name="connsiteY93" fmla="*/ 4834452 h 5143499"/>
              <a:gd name="connsiteX94" fmla="*/ 3721823 w 4819650"/>
              <a:gd name="connsiteY94" fmla="*/ 4795586 h 5143499"/>
              <a:gd name="connsiteX95" fmla="*/ 3742286 w 4819650"/>
              <a:gd name="connsiteY95" fmla="*/ 4801413 h 5143499"/>
              <a:gd name="connsiteX96" fmla="*/ 3783828 w 4819650"/>
              <a:gd name="connsiteY96" fmla="*/ 4756413 h 5143499"/>
              <a:gd name="connsiteX97" fmla="*/ 3783828 w 4819650"/>
              <a:gd name="connsiteY97" fmla="*/ 4756389 h 5143499"/>
              <a:gd name="connsiteX98" fmla="*/ 3742286 w 4819650"/>
              <a:gd name="connsiteY98" fmla="*/ 4711697 h 5143499"/>
              <a:gd name="connsiteX99" fmla="*/ 2094551 w 4819650"/>
              <a:gd name="connsiteY99" fmla="*/ 0 h 5143499"/>
              <a:gd name="connsiteX100" fmla="*/ 4819650 w 4819650"/>
              <a:gd name="connsiteY100" fmla="*/ 0 h 5143499"/>
              <a:gd name="connsiteX101" fmla="*/ 4819650 w 4819650"/>
              <a:gd name="connsiteY101" fmla="*/ 5143499 h 5143499"/>
              <a:gd name="connsiteX102" fmla="*/ 0 w 4819650"/>
              <a:gd name="connsiteY102" fmla="*/ 5143499 h 5143499"/>
              <a:gd name="connsiteX103" fmla="*/ 0 w 4819650"/>
              <a:gd name="connsiteY103" fmla="*/ 5143498 h 5143499"/>
              <a:gd name="connsiteX104" fmla="*/ 371745 w 4819650"/>
              <a:gd name="connsiteY104" fmla="*/ 5143498 h 5143499"/>
              <a:gd name="connsiteX105" fmla="*/ 1206499 w 4819650"/>
              <a:gd name="connsiteY105" fmla="*/ 1821610 h 5143499"/>
              <a:gd name="connsiteX106" fmla="*/ 2048326 w 4819650"/>
              <a:gd name="connsiteY106" fmla="*/ 58253 h 5143499"/>
              <a:gd name="connsiteX107" fmla="*/ 2094551 w 4819650"/>
              <a:gd name="connsiteY107"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45688 w 4819650"/>
              <a:gd name="connsiteY50" fmla="*/ 4747768 h 5143499"/>
              <a:gd name="connsiteX51" fmla="*/ 4339388 w 4819650"/>
              <a:gd name="connsiteY51" fmla="*/ 4745400 h 5143499"/>
              <a:gd name="connsiteX52" fmla="*/ 4325391 w 4819650"/>
              <a:gd name="connsiteY52" fmla="*/ 4736116 h 5143499"/>
              <a:gd name="connsiteX53" fmla="*/ 4336096 w 4819650"/>
              <a:gd name="connsiteY53" fmla="*/ 4730124 h 5143499"/>
              <a:gd name="connsiteX54" fmla="*/ 4363783 w 4819650"/>
              <a:gd name="connsiteY54" fmla="*/ 4734221 h 5143499"/>
              <a:gd name="connsiteX55" fmla="*/ 4367715 w 4819650"/>
              <a:gd name="connsiteY55" fmla="*/ 4716434 h 5143499"/>
              <a:gd name="connsiteX56" fmla="*/ 4336238 w 4819650"/>
              <a:gd name="connsiteY56" fmla="*/ 4711721 h 5143499"/>
              <a:gd name="connsiteX57" fmla="*/ 4107093 w 4819650"/>
              <a:gd name="connsiteY57" fmla="*/ 4711721 h 5143499"/>
              <a:gd name="connsiteX58" fmla="*/ 4070430 w 4819650"/>
              <a:gd name="connsiteY58" fmla="*/ 4744760 h 5143499"/>
              <a:gd name="connsiteX59" fmla="*/ 4070430 w 4819650"/>
              <a:gd name="connsiteY59" fmla="*/ 4799850 h 5143499"/>
              <a:gd name="connsiteX60" fmla="*/ 4091201 w 4819650"/>
              <a:gd name="connsiteY60" fmla="*/ 4799850 h 5143499"/>
              <a:gd name="connsiteX61" fmla="*/ 4091201 w 4819650"/>
              <a:gd name="connsiteY61" fmla="*/ 4746182 h 5143499"/>
              <a:gd name="connsiteX62" fmla="*/ 4106927 w 4819650"/>
              <a:gd name="connsiteY62" fmla="*/ 4731379 h 5143499"/>
              <a:gd name="connsiteX63" fmla="*/ 4122985 w 4819650"/>
              <a:gd name="connsiteY63" fmla="*/ 4746182 h 5143499"/>
              <a:gd name="connsiteX64" fmla="*/ 4122985 w 4819650"/>
              <a:gd name="connsiteY64" fmla="*/ 4799850 h 5143499"/>
              <a:gd name="connsiteX65" fmla="*/ 4143591 w 4819650"/>
              <a:gd name="connsiteY65" fmla="*/ 4799850 h 5143499"/>
              <a:gd name="connsiteX66" fmla="*/ 4143591 w 4819650"/>
              <a:gd name="connsiteY66" fmla="*/ 4746182 h 5143499"/>
              <a:gd name="connsiteX67" fmla="*/ 4159648 w 4819650"/>
              <a:gd name="connsiteY67" fmla="*/ 4731379 h 5143499"/>
              <a:gd name="connsiteX68" fmla="*/ 4175375 w 4819650"/>
              <a:gd name="connsiteY68" fmla="*/ 4746182 h 5143499"/>
              <a:gd name="connsiteX69" fmla="*/ 4175375 w 4819650"/>
              <a:gd name="connsiteY69" fmla="*/ 4799850 h 5143499"/>
              <a:gd name="connsiteX70" fmla="*/ 4196146 w 4819650"/>
              <a:gd name="connsiteY70" fmla="*/ 4799850 h 5143499"/>
              <a:gd name="connsiteX71" fmla="*/ 4196146 w 4819650"/>
              <a:gd name="connsiteY71" fmla="*/ 4744760 h 5143499"/>
              <a:gd name="connsiteX72" fmla="*/ 4159648 w 4819650"/>
              <a:gd name="connsiteY72" fmla="*/ 4711721 h 5143499"/>
              <a:gd name="connsiteX73" fmla="*/ 4133525 w 4819650"/>
              <a:gd name="connsiteY73" fmla="*/ 4722426 h 5143499"/>
              <a:gd name="connsiteX74" fmla="*/ 4107093 w 4819650"/>
              <a:gd name="connsiteY74" fmla="*/ 4711721 h 5143499"/>
              <a:gd name="connsiteX75" fmla="*/ 3892112 w 4819650"/>
              <a:gd name="connsiteY75" fmla="*/ 4711721 h 5143499"/>
              <a:gd name="connsiteX76" fmla="*/ 3849930 w 4819650"/>
              <a:gd name="connsiteY76" fmla="*/ 4756413 h 5143499"/>
              <a:gd name="connsiteX77" fmla="*/ 3892112 w 4819650"/>
              <a:gd name="connsiteY77" fmla="*/ 4801413 h 5143499"/>
              <a:gd name="connsiteX78" fmla="*/ 3934293 w 4819650"/>
              <a:gd name="connsiteY78" fmla="*/ 4756413 h 5143499"/>
              <a:gd name="connsiteX79" fmla="*/ 3892112 w 4819650"/>
              <a:gd name="connsiteY79" fmla="*/ 4711721 h 5143499"/>
              <a:gd name="connsiteX80" fmla="*/ 3837662 w 4819650"/>
              <a:gd name="connsiteY80" fmla="*/ 4711697 h 5143499"/>
              <a:gd name="connsiteX81" fmla="*/ 3799412 w 4819650"/>
              <a:gd name="connsiteY81" fmla="*/ 4749000 h 5143499"/>
              <a:gd name="connsiteX82" fmla="*/ 3799412 w 4819650"/>
              <a:gd name="connsiteY82" fmla="*/ 4799826 h 5143499"/>
              <a:gd name="connsiteX83" fmla="*/ 3820183 w 4819650"/>
              <a:gd name="connsiteY83" fmla="*/ 4799826 h 5143499"/>
              <a:gd name="connsiteX84" fmla="*/ 3820183 w 4819650"/>
              <a:gd name="connsiteY84" fmla="*/ 4750563 h 5143499"/>
              <a:gd name="connsiteX85" fmla="*/ 3837662 w 4819650"/>
              <a:gd name="connsiteY85" fmla="*/ 4731994 h 5143499"/>
              <a:gd name="connsiteX86" fmla="*/ 3842707 w 4819650"/>
              <a:gd name="connsiteY86" fmla="*/ 4732302 h 5143499"/>
              <a:gd name="connsiteX87" fmla="*/ 3846165 w 4819650"/>
              <a:gd name="connsiteY87" fmla="*/ 4712479 h 5143499"/>
              <a:gd name="connsiteX88" fmla="*/ 3837662 w 4819650"/>
              <a:gd name="connsiteY88" fmla="*/ 4711697 h 5143499"/>
              <a:gd name="connsiteX89" fmla="*/ 3742286 w 4819650"/>
              <a:gd name="connsiteY89" fmla="*/ 4711697 h 5143499"/>
              <a:gd name="connsiteX90" fmla="*/ 3701052 w 4819650"/>
              <a:gd name="connsiteY90" fmla="*/ 4755915 h 5143499"/>
              <a:gd name="connsiteX91" fmla="*/ 3701052 w 4819650"/>
              <a:gd name="connsiteY91" fmla="*/ 4834452 h 5143499"/>
              <a:gd name="connsiteX92" fmla="*/ 3721823 w 4819650"/>
              <a:gd name="connsiteY92" fmla="*/ 4834452 h 5143499"/>
              <a:gd name="connsiteX93" fmla="*/ 3721823 w 4819650"/>
              <a:gd name="connsiteY93" fmla="*/ 4795586 h 5143499"/>
              <a:gd name="connsiteX94" fmla="*/ 3742286 w 4819650"/>
              <a:gd name="connsiteY94" fmla="*/ 4801413 h 5143499"/>
              <a:gd name="connsiteX95" fmla="*/ 3783828 w 4819650"/>
              <a:gd name="connsiteY95" fmla="*/ 4756413 h 5143499"/>
              <a:gd name="connsiteX96" fmla="*/ 3783828 w 4819650"/>
              <a:gd name="connsiteY96" fmla="*/ 4756389 h 5143499"/>
              <a:gd name="connsiteX97" fmla="*/ 3742286 w 4819650"/>
              <a:gd name="connsiteY97" fmla="*/ 4711697 h 5143499"/>
              <a:gd name="connsiteX98" fmla="*/ 2094551 w 4819650"/>
              <a:gd name="connsiteY98" fmla="*/ 0 h 5143499"/>
              <a:gd name="connsiteX99" fmla="*/ 4819650 w 4819650"/>
              <a:gd name="connsiteY99" fmla="*/ 0 h 5143499"/>
              <a:gd name="connsiteX100" fmla="*/ 4819650 w 4819650"/>
              <a:gd name="connsiteY100" fmla="*/ 5143499 h 5143499"/>
              <a:gd name="connsiteX101" fmla="*/ 0 w 4819650"/>
              <a:gd name="connsiteY101" fmla="*/ 5143499 h 5143499"/>
              <a:gd name="connsiteX102" fmla="*/ 0 w 4819650"/>
              <a:gd name="connsiteY102" fmla="*/ 5143498 h 5143499"/>
              <a:gd name="connsiteX103" fmla="*/ 371745 w 4819650"/>
              <a:gd name="connsiteY103" fmla="*/ 5143498 h 5143499"/>
              <a:gd name="connsiteX104" fmla="*/ 1206499 w 4819650"/>
              <a:gd name="connsiteY104" fmla="*/ 1821610 h 5143499"/>
              <a:gd name="connsiteX105" fmla="*/ 2048326 w 4819650"/>
              <a:gd name="connsiteY105" fmla="*/ 58253 h 5143499"/>
              <a:gd name="connsiteX106" fmla="*/ 2094551 w 4819650"/>
              <a:gd name="connsiteY106"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238 w 4819650"/>
              <a:gd name="connsiteY40" fmla="*/ 47117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45688 w 4819650"/>
              <a:gd name="connsiteY50" fmla="*/ 4747768 h 5143499"/>
              <a:gd name="connsiteX51" fmla="*/ 4339388 w 4819650"/>
              <a:gd name="connsiteY51" fmla="*/ 4745400 h 5143499"/>
              <a:gd name="connsiteX52" fmla="*/ 4325391 w 4819650"/>
              <a:gd name="connsiteY52" fmla="*/ 4736116 h 5143499"/>
              <a:gd name="connsiteX53" fmla="*/ 4336096 w 4819650"/>
              <a:gd name="connsiteY53" fmla="*/ 4730124 h 5143499"/>
              <a:gd name="connsiteX54" fmla="*/ 4363783 w 4819650"/>
              <a:gd name="connsiteY54" fmla="*/ 4734221 h 5143499"/>
              <a:gd name="connsiteX55" fmla="*/ 4336238 w 4819650"/>
              <a:gd name="connsiteY55" fmla="*/ 4711721 h 5143499"/>
              <a:gd name="connsiteX56" fmla="*/ 4107093 w 4819650"/>
              <a:gd name="connsiteY56" fmla="*/ 4711721 h 5143499"/>
              <a:gd name="connsiteX57" fmla="*/ 4070430 w 4819650"/>
              <a:gd name="connsiteY57" fmla="*/ 4744760 h 5143499"/>
              <a:gd name="connsiteX58" fmla="*/ 4070430 w 4819650"/>
              <a:gd name="connsiteY58" fmla="*/ 4799850 h 5143499"/>
              <a:gd name="connsiteX59" fmla="*/ 4091201 w 4819650"/>
              <a:gd name="connsiteY59" fmla="*/ 4799850 h 5143499"/>
              <a:gd name="connsiteX60" fmla="*/ 4091201 w 4819650"/>
              <a:gd name="connsiteY60" fmla="*/ 4746182 h 5143499"/>
              <a:gd name="connsiteX61" fmla="*/ 4106927 w 4819650"/>
              <a:gd name="connsiteY61" fmla="*/ 4731379 h 5143499"/>
              <a:gd name="connsiteX62" fmla="*/ 4122985 w 4819650"/>
              <a:gd name="connsiteY62" fmla="*/ 4746182 h 5143499"/>
              <a:gd name="connsiteX63" fmla="*/ 4122985 w 4819650"/>
              <a:gd name="connsiteY63" fmla="*/ 4799850 h 5143499"/>
              <a:gd name="connsiteX64" fmla="*/ 4143591 w 4819650"/>
              <a:gd name="connsiteY64" fmla="*/ 4799850 h 5143499"/>
              <a:gd name="connsiteX65" fmla="*/ 4143591 w 4819650"/>
              <a:gd name="connsiteY65" fmla="*/ 4746182 h 5143499"/>
              <a:gd name="connsiteX66" fmla="*/ 4159648 w 4819650"/>
              <a:gd name="connsiteY66" fmla="*/ 4731379 h 5143499"/>
              <a:gd name="connsiteX67" fmla="*/ 4175375 w 4819650"/>
              <a:gd name="connsiteY67" fmla="*/ 4746182 h 5143499"/>
              <a:gd name="connsiteX68" fmla="*/ 4175375 w 4819650"/>
              <a:gd name="connsiteY68" fmla="*/ 4799850 h 5143499"/>
              <a:gd name="connsiteX69" fmla="*/ 4196146 w 4819650"/>
              <a:gd name="connsiteY69" fmla="*/ 4799850 h 5143499"/>
              <a:gd name="connsiteX70" fmla="*/ 4196146 w 4819650"/>
              <a:gd name="connsiteY70" fmla="*/ 4744760 h 5143499"/>
              <a:gd name="connsiteX71" fmla="*/ 4159648 w 4819650"/>
              <a:gd name="connsiteY71" fmla="*/ 4711721 h 5143499"/>
              <a:gd name="connsiteX72" fmla="*/ 4133525 w 4819650"/>
              <a:gd name="connsiteY72" fmla="*/ 4722426 h 5143499"/>
              <a:gd name="connsiteX73" fmla="*/ 4107093 w 4819650"/>
              <a:gd name="connsiteY73" fmla="*/ 4711721 h 5143499"/>
              <a:gd name="connsiteX74" fmla="*/ 3892112 w 4819650"/>
              <a:gd name="connsiteY74" fmla="*/ 4711721 h 5143499"/>
              <a:gd name="connsiteX75" fmla="*/ 3849930 w 4819650"/>
              <a:gd name="connsiteY75" fmla="*/ 4756413 h 5143499"/>
              <a:gd name="connsiteX76" fmla="*/ 3892112 w 4819650"/>
              <a:gd name="connsiteY76" fmla="*/ 4801413 h 5143499"/>
              <a:gd name="connsiteX77" fmla="*/ 3934293 w 4819650"/>
              <a:gd name="connsiteY77" fmla="*/ 4756413 h 5143499"/>
              <a:gd name="connsiteX78" fmla="*/ 3892112 w 4819650"/>
              <a:gd name="connsiteY78" fmla="*/ 4711721 h 5143499"/>
              <a:gd name="connsiteX79" fmla="*/ 3837662 w 4819650"/>
              <a:gd name="connsiteY79" fmla="*/ 4711697 h 5143499"/>
              <a:gd name="connsiteX80" fmla="*/ 3799412 w 4819650"/>
              <a:gd name="connsiteY80" fmla="*/ 4749000 h 5143499"/>
              <a:gd name="connsiteX81" fmla="*/ 3799412 w 4819650"/>
              <a:gd name="connsiteY81" fmla="*/ 4799826 h 5143499"/>
              <a:gd name="connsiteX82" fmla="*/ 3820183 w 4819650"/>
              <a:gd name="connsiteY82" fmla="*/ 4799826 h 5143499"/>
              <a:gd name="connsiteX83" fmla="*/ 3820183 w 4819650"/>
              <a:gd name="connsiteY83" fmla="*/ 4750563 h 5143499"/>
              <a:gd name="connsiteX84" fmla="*/ 3837662 w 4819650"/>
              <a:gd name="connsiteY84" fmla="*/ 4731994 h 5143499"/>
              <a:gd name="connsiteX85" fmla="*/ 3842707 w 4819650"/>
              <a:gd name="connsiteY85" fmla="*/ 4732302 h 5143499"/>
              <a:gd name="connsiteX86" fmla="*/ 3846165 w 4819650"/>
              <a:gd name="connsiteY86" fmla="*/ 4712479 h 5143499"/>
              <a:gd name="connsiteX87" fmla="*/ 3837662 w 4819650"/>
              <a:gd name="connsiteY87" fmla="*/ 4711697 h 5143499"/>
              <a:gd name="connsiteX88" fmla="*/ 3742286 w 4819650"/>
              <a:gd name="connsiteY88" fmla="*/ 4711697 h 5143499"/>
              <a:gd name="connsiteX89" fmla="*/ 3701052 w 4819650"/>
              <a:gd name="connsiteY89" fmla="*/ 4755915 h 5143499"/>
              <a:gd name="connsiteX90" fmla="*/ 3701052 w 4819650"/>
              <a:gd name="connsiteY90" fmla="*/ 4834452 h 5143499"/>
              <a:gd name="connsiteX91" fmla="*/ 3721823 w 4819650"/>
              <a:gd name="connsiteY91" fmla="*/ 4834452 h 5143499"/>
              <a:gd name="connsiteX92" fmla="*/ 3721823 w 4819650"/>
              <a:gd name="connsiteY92" fmla="*/ 4795586 h 5143499"/>
              <a:gd name="connsiteX93" fmla="*/ 3742286 w 4819650"/>
              <a:gd name="connsiteY93" fmla="*/ 4801413 h 5143499"/>
              <a:gd name="connsiteX94" fmla="*/ 3783828 w 4819650"/>
              <a:gd name="connsiteY94" fmla="*/ 4756413 h 5143499"/>
              <a:gd name="connsiteX95" fmla="*/ 3783828 w 4819650"/>
              <a:gd name="connsiteY95" fmla="*/ 4756389 h 5143499"/>
              <a:gd name="connsiteX96" fmla="*/ 3742286 w 4819650"/>
              <a:gd name="connsiteY96" fmla="*/ 4711697 h 5143499"/>
              <a:gd name="connsiteX97" fmla="*/ 2094551 w 4819650"/>
              <a:gd name="connsiteY97" fmla="*/ 0 h 5143499"/>
              <a:gd name="connsiteX98" fmla="*/ 4819650 w 4819650"/>
              <a:gd name="connsiteY98" fmla="*/ 0 h 5143499"/>
              <a:gd name="connsiteX99" fmla="*/ 4819650 w 4819650"/>
              <a:gd name="connsiteY99" fmla="*/ 5143499 h 5143499"/>
              <a:gd name="connsiteX100" fmla="*/ 0 w 4819650"/>
              <a:gd name="connsiteY100" fmla="*/ 5143499 h 5143499"/>
              <a:gd name="connsiteX101" fmla="*/ 0 w 4819650"/>
              <a:gd name="connsiteY101" fmla="*/ 5143498 h 5143499"/>
              <a:gd name="connsiteX102" fmla="*/ 371745 w 4819650"/>
              <a:gd name="connsiteY102" fmla="*/ 5143498 h 5143499"/>
              <a:gd name="connsiteX103" fmla="*/ 1206499 w 4819650"/>
              <a:gd name="connsiteY103" fmla="*/ 1821610 h 5143499"/>
              <a:gd name="connsiteX104" fmla="*/ 2048326 w 4819650"/>
              <a:gd name="connsiteY104" fmla="*/ 58253 h 5143499"/>
              <a:gd name="connsiteX105" fmla="*/ 2094551 w 4819650"/>
              <a:gd name="connsiteY105"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63783 w 4819650"/>
              <a:gd name="connsiteY40" fmla="*/ 4734221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45688 w 4819650"/>
              <a:gd name="connsiteY50" fmla="*/ 4747768 h 5143499"/>
              <a:gd name="connsiteX51" fmla="*/ 4339388 w 4819650"/>
              <a:gd name="connsiteY51" fmla="*/ 4745400 h 5143499"/>
              <a:gd name="connsiteX52" fmla="*/ 4325391 w 4819650"/>
              <a:gd name="connsiteY52" fmla="*/ 4736116 h 5143499"/>
              <a:gd name="connsiteX53" fmla="*/ 4336096 w 4819650"/>
              <a:gd name="connsiteY53" fmla="*/ 4730124 h 5143499"/>
              <a:gd name="connsiteX54" fmla="*/ 4363783 w 4819650"/>
              <a:gd name="connsiteY54" fmla="*/ 4734221 h 5143499"/>
              <a:gd name="connsiteX55" fmla="*/ 4107093 w 4819650"/>
              <a:gd name="connsiteY55" fmla="*/ 4711721 h 5143499"/>
              <a:gd name="connsiteX56" fmla="*/ 4070430 w 4819650"/>
              <a:gd name="connsiteY56" fmla="*/ 4744760 h 5143499"/>
              <a:gd name="connsiteX57" fmla="*/ 4070430 w 4819650"/>
              <a:gd name="connsiteY57" fmla="*/ 4799850 h 5143499"/>
              <a:gd name="connsiteX58" fmla="*/ 4091201 w 4819650"/>
              <a:gd name="connsiteY58" fmla="*/ 4799850 h 5143499"/>
              <a:gd name="connsiteX59" fmla="*/ 4091201 w 4819650"/>
              <a:gd name="connsiteY59" fmla="*/ 4746182 h 5143499"/>
              <a:gd name="connsiteX60" fmla="*/ 4106927 w 4819650"/>
              <a:gd name="connsiteY60" fmla="*/ 4731379 h 5143499"/>
              <a:gd name="connsiteX61" fmla="*/ 4122985 w 4819650"/>
              <a:gd name="connsiteY61" fmla="*/ 4746182 h 5143499"/>
              <a:gd name="connsiteX62" fmla="*/ 4122985 w 4819650"/>
              <a:gd name="connsiteY62" fmla="*/ 4799850 h 5143499"/>
              <a:gd name="connsiteX63" fmla="*/ 4143591 w 4819650"/>
              <a:gd name="connsiteY63" fmla="*/ 4799850 h 5143499"/>
              <a:gd name="connsiteX64" fmla="*/ 4143591 w 4819650"/>
              <a:gd name="connsiteY64" fmla="*/ 4746182 h 5143499"/>
              <a:gd name="connsiteX65" fmla="*/ 4159648 w 4819650"/>
              <a:gd name="connsiteY65" fmla="*/ 4731379 h 5143499"/>
              <a:gd name="connsiteX66" fmla="*/ 4175375 w 4819650"/>
              <a:gd name="connsiteY66" fmla="*/ 4746182 h 5143499"/>
              <a:gd name="connsiteX67" fmla="*/ 4175375 w 4819650"/>
              <a:gd name="connsiteY67" fmla="*/ 4799850 h 5143499"/>
              <a:gd name="connsiteX68" fmla="*/ 4196146 w 4819650"/>
              <a:gd name="connsiteY68" fmla="*/ 4799850 h 5143499"/>
              <a:gd name="connsiteX69" fmla="*/ 4196146 w 4819650"/>
              <a:gd name="connsiteY69" fmla="*/ 4744760 h 5143499"/>
              <a:gd name="connsiteX70" fmla="*/ 4159648 w 4819650"/>
              <a:gd name="connsiteY70" fmla="*/ 4711721 h 5143499"/>
              <a:gd name="connsiteX71" fmla="*/ 4133525 w 4819650"/>
              <a:gd name="connsiteY71" fmla="*/ 4722426 h 5143499"/>
              <a:gd name="connsiteX72" fmla="*/ 4107093 w 4819650"/>
              <a:gd name="connsiteY72" fmla="*/ 4711721 h 5143499"/>
              <a:gd name="connsiteX73" fmla="*/ 3892112 w 4819650"/>
              <a:gd name="connsiteY73" fmla="*/ 4711721 h 5143499"/>
              <a:gd name="connsiteX74" fmla="*/ 3849930 w 4819650"/>
              <a:gd name="connsiteY74" fmla="*/ 4756413 h 5143499"/>
              <a:gd name="connsiteX75" fmla="*/ 3892112 w 4819650"/>
              <a:gd name="connsiteY75" fmla="*/ 4801413 h 5143499"/>
              <a:gd name="connsiteX76" fmla="*/ 3934293 w 4819650"/>
              <a:gd name="connsiteY76" fmla="*/ 4756413 h 5143499"/>
              <a:gd name="connsiteX77" fmla="*/ 3892112 w 4819650"/>
              <a:gd name="connsiteY77" fmla="*/ 4711721 h 5143499"/>
              <a:gd name="connsiteX78" fmla="*/ 3837662 w 4819650"/>
              <a:gd name="connsiteY78" fmla="*/ 4711697 h 5143499"/>
              <a:gd name="connsiteX79" fmla="*/ 3799412 w 4819650"/>
              <a:gd name="connsiteY79" fmla="*/ 4749000 h 5143499"/>
              <a:gd name="connsiteX80" fmla="*/ 3799412 w 4819650"/>
              <a:gd name="connsiteY80" fmla="*/ 4799826 h 5143499"/>
              <a:gd name="connsiteX81" fmla="*/ 3820183 w 4819650"/>
              <a:gd name="connsiteY81" fmla="*/ 4799826 h 5143499"/>
              <a:gd name="connsiteX82" fmla="*/ 3820183 w 4819650"/>
              <a:gd name="connsiteY82" fmla="*/ 4750563 h 5143499"/>
              <a:gd name="connsiteX83" fmla="*/ 3837662 w 4819650"/>
              <a:gd name="connsiteY83" fmla="*/ 4731994 h 5143499"/>
              <a:gd name="connsiteX84" fmla="*/ 3842707 w 4819650"/>
              <a:gd name="connsiteY84" fmla="*/ 4732302 h 5143499"/>
              <a:gd name="connsiteX85" fmla="*/ 3846165 w 4819650"/>
              <a:gd name="connsiteY85" fmla="*/ 4712479 h 5143499"/>
              <a:gd name="connsiteX86" fmla="*/ 3837662 w 4819650"/>
              <a:gd name="connsiteY86" fmla="*/ 4711697 h 5143499"/>
              <a:gd name="connsiteX87" fmla="*/ 3742286 w 4819650"/>
              <a:gd name="connsiteY87" fmla="*/ 4711697 h 5143499"/>
              <a:gd name="connsiteX88" fmla="*/ 3701052 w 4819650"/>
              <a:gd name="connsiteY88" fmla="*/ 4755915 h 5143499"/>
              <a:gd name="connsiteX89" fmla="*/ 3701052 w 4819650"/>
              <a:gd name="connsiteY89" fmla="*/ 4834452 h 5143499"/>
              <a:gd name="connsiteX90" fmla="*/ 3721823 w 4819650"/>
              <a:gd name="connsiteY90" fmla="*/ 4834452 h 5143499"/>
              <a:gd name="connsiteX91" fmla="*/ 3721823 w 4819650"/>
              <a:gd name="connsiteY91" fmla="*/ 4795586 h 5143499"/>
              <a:gd name="connsiteX92" fmla="*/ 3742286 w 4819650"/>
              <a:gd name="connsiteY92" fmla="*/ 4801413 h 5143499"/>
              <a:gd name="connsiteX93" fmla="*/ 3783828 w 4819650"/>
              <a:gd name="connsiteY93" fmla="*/ 4756413 h 5143499"/>
              <a:gd name="connsiteX94" fmla="*/ 3783828 w 4819650"/>
              <a:gd name="connsiteY94" fmla="*/ 4756389 h 5143499"/>
              <a:gd name="connsiteX95" fmla="*/ 3742286 w 4819650"/>
              <a:gd name="connsiteY95" fmla="*/ 4711697 h 5143499"/>
              <a:gd name="connsiteX96" fmla="*/ 2094551 w 4819650"/>
              <a:gd name="connsiteY96" fmla="*/ 0 h 5143499"/>
              <a:gd name="connsiteX97" fmla="*/ 4819650 w 4819650"/>
              <a:gd name="connsiteY97" fmla="*/ 0 h 5143499"/>
              <a:gd name="connsiteX98" fmla="*/ 4819650 w 4819650"/>
              <a:gd name="connsiteY98" fmla="*/ 5143499 h 5143499"/>
              <a:gd name="connsiteX99" fmla="*/ 0 w 4819650"/>
              <a:gd name="connsiteY99" fmla="*/ 5143499 h 5143499"/>
              <a:gd name="connsiteX100" fmla="*/ 0 w 4819650"/>
              <a:gd name="connsiteY100" fmla="*/ 5143498 h 5143499"/>
              <a:gd name="connsiteX101" fmla="*/ 371745 w 4819650"/>
              <a:gd name="connsiteY101" fmla="*/ 5143498 h 5143499"/>
              <a:gd name="connsiteX102" fmla="*/ 1206499 w 4819650"/>
              <a:gd name="connsiteY102" fmla="*/ 1821610 h 5143499"/>
              <a:gd name="connsiteX103" fmla="*/ 2048326 w 4819650"/>
              <a:gd name="connsiteY103" fmla="*/ 58253 h 5143499"/>
              <a:gd name="connsiteX104" fmla="*/ 2094551 w 4819650"/>
              <a:gd name="connsiteY104"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096 w 4819650"/>
              <a:gd name="connsiteY40" fmla="*/ 4730124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45688 w 4819650"/>
              <a:gd name="connsiteY50" fmla="*/ 4747768 h 5143499"/>
              <a:gd name="connsiteX51" fmla="*/ 4339388 w 4819650"/>
              <a:gd name="connsiteY51" fmla="*/ 4745400 h 5143499"/>
              <a:gd name="connsiteX52" fmla="*/ 4325391 w 4819650"/>
              <a:gd name="connsiteY52" fmla="*/ 4736116 h 5143499"/>
              <a:gd name="connsiteX53" fmla="*/ 4336096 w 4819650"/>
              <a:gd name="connsiteY53" fmla="*/ 4730124 h 5143499"/>
              <a:gd name="connsiteX54" fmla="*/ 4107093 w 4819650"/>
              <a:gd name="connsiteY54" fmla="*/ 4711721 h 5143499"/>
              <a:gd name="connsiteX55" fmla="*/ 4070430 w 4819650"/>
              <a:gd name="connsiteY55" fmla="*/ 4744760 h 5143499"/>
              <a:gd name="connsiteX56" fmla="*/ 4070430 w 4819650"/>
              <a:gd name="connsiteY56" fmla="*/ 4799850 h 5143499"/>
              <a:gd name="connsiteX57" fmla="*/ 4091201 w 4819650"/>
              <a:gd name="connsiteY57" fmla="*/ 4799850 h 5143499"/>
              <a:gd name="connsiteX58" fmla="*/ 4091201 w 4819650"/>
              <a:gd name="connsiteY58" fmla="*/ 4746182 h 5143499"/>
              <a:gd name="connsiteX59" fmla="*/ 4106927 w 4819650"/>
              <a:gd name="connsiteY59" fmla="*/ 4731379 h 5143499"/>
              <a:gd name="connsiteX60" fmla="*/ 4122985 w 4819650"/>
              <a:gd name="connsiteY60" fmla="*/ 4746182 h 5143499"/>
              <a:gd name="connsiteX61" fmla="*/ 4122985 w 4819650"/>
              <a:gd name="connsiteY61" fmla="*/ 4799850 h 5143499"/>
              <a:gd name="connsiteX62" fmla="*/ 4143591 w 4819650"/>
              <a:gd name="connsiteY62" fmla="*/ 4799850 h 5143499"/>
              <a:gd name="connsiteX63" fmla="*/ 4143591 w 4819650"/>
              <a:gd name="connsiteY63" fmla="*/ 4746182 h 5143499"/>
              <a:gd name="connsiteX64" fmla="*/ 4159648 w 4819650"/>
              <a:gd name="connsiteY64" fmla="*/ 4731379 h 5143499"/>
              <a:gd name="connsiteX65" fmla="*/ 4175375 w 4819650"/>
              <a:gd name="connsiteY65" fmla="*/ 4746182 h 5143499"/>
              <a:gd name="connsiteX66" fmla="*/ 4175375 w 4819650"/>
              <a:gd name="connsiteY66" fmla="*/ 4799850 h 5143499"/>
              <a:gd name="connsiteX67" fmla="*/ 4196146 w 4819650"/>
              <a:gd name="connsiteY67" fmla="*/ 4799850 h 5143499"/>
              <a:gd name="connsiteX68" fmla="*/ 4196146 w 4819650"/>
              <a:gd name="connsiteY68" fmla="*/ 4744760 h 5143499"/>
              <a:gd name="connsiteX69" fmla="*/ 4159648 w 4819650"/>
              <a:gd name="connsiteY69" fmla="*/ 4711721 h 5143499"/>
              <a:gd name="connsiteX70" fmla="*/ 4133525 w 4819650"/>
              <a:gd name="connsiteY70" fmla="*/ 4722426 h 5143499"/>
              <a:gd name="connsiteX71" fmla="*/ 4107093 w 4819650"/>
              <a:gd name="connsiteY71" fmla="*/ 4711721 h 5143499"/>
              <a:gd name="connsiteX72" fmla="*/ 3892112 w 4819650"/>
              <a:gd name="connsiteY72" fmla="*/ 4711721 h 5143499"/>
              <a:gd name="connsiteX73" fmla="*/ 3849930 w 4819650"/>
              <a:gd name="connsiteY73" fmla="*/ 4756413 h 5143499"/>
              <a:gd name="connsiteX74" fmla="*/ 3892112 w 4819650"/>
              <a:gd name="connsiteY74" fmla="*/ 4801413 h 5143499"/>
              <a:gd name="connsiteX75" fmla="*/ 3934293 w 4819650"/>
              <a:gd name="connsiteY75" fmla="*/ 4756413 h 5143499"/>
              <a:gd name="connsiteX76" fmla="*/ 3892112 w 4819650"/>
              <a:gd name="connsiteY76" fmla="*/ 4711721 h 5143499"/>
              <a:gd name="connsiteX77" fmla="*/ 3837662 w 4819650"/>
              <a:gd name="connsiteY77" fmla="*/ 4711697 h 5143499"/>
              <a:gd name="connsiteX78" fmla="*/ 3799412 w 4819650"/>
              <a:gd name="connsiteY78" fmla="*/ 4749000 h 5143499"/>
              <a:gd name="connsiteX79" fmla="*/ 3799412 w 4819650"/>
              <a:gd name="connsiteY79" fmla="*/ 4799826 h 5143499"/>
              <a:gd name="connsiteX80" fmla="*/ 3820183 w 4819650"/>
              <a:gd name="connsiteY80" fmla="*/ 4799826 h 5143499"/>
              <a:gd name="connsiteX81" fmla="*/ 3820183 w 4819650"/>
              <a:gd name="connsiteY81" fmla="*/ 4750563 h 5143499"/>
              <a:gd name="connsiteX82" fmla="*/ 3837662 w 4819650"/>
              <a:gd name="connsiteY82" fmla="*/ 4731994 h 5143499"/>
              <a:gd name="connsiteX83" fmla="*/ 3842707 w 4819650"/>
              <a:gd name="connsiteY83" fmla="*/ 4732302 h 5143499"/>
              <a:gd name="connsiteX84" fmla="*/ 3846165 w 4819650"/>
              <a:gd name="connsiteY84" fmla="*/ 4712479 h 5143499"/>
              <a:gd name="connsiteX85" fmla="*/ 3837662 w 4819650"/>
              <a:gd name="connsiteY85" fmla="*/ 4711697 h 5143499"/>
              <a:gd name="connsiteX86" fmla="*/ 3742286 w 4819650"/>
              <a:gd name="connsiteY86" fmla="*/ 4711697 h 5143499"/>
              <a:gd name="connsiteX87" fmla="*/ 3701052 w 4819650"/>
              <a:gd name="connsiteY87" fmla="*/ 4755915 h 5143499"/>
              <a:gd name="connsiteX88" fmla="*/ 3701052 w 4819650"/>
              <a:gd name="connsiteY88" fmla="*/ 4834452 h 5143499"/>
              <a:gd name="connsiteX89" fmla="*/ 3721823 w 4819650"/>
              <a:gd name="connsiteY89" fmla="*/ 4834452 h 5143499"/>
              <a:gd name="connsiteX90" fmla="*/ 3721823 w 4819650"/>
              <a:gd name="connsiteY90" fmla="*/ 4795586 h 5143499"/>
              <a:gd name="connsiteX91" fmla="*/ 3742286 w 4819650"/>
              <a:gd name="connsiteY91" fmla="*/ 4801413 h 5143499"/>
              <a:gd name="connsiteX92" fmla="*/ 3783828 w 4819650"/>
              <a:gd name="connsiteY92" fmla="*/ 4756413 h 5143499"/>
              <a:gd name="connsiteX93" fmla="*/ 3783828 w 4819650"/>
              <a:gd name="connsiteY93" fmla="*/ 4756389 h 5143499"/>
              <a:gd name="connsiteX94" fmla="*/ 3742286 w 4819650"/>
              <a:gd name="connsiteY94" fmla="*/ 4711697 h 5143499"/>
              <a:gd name="connsiteX95" fmla="*/ 2094551 w 4819650"/>
              <a:gd name="connsiteY95" fmla="*/ 0 h 5143499"/>
              <a:gd name="connsiteX96" fmla="*/ 4819650 w 4819650"/>
              <a:gd name="connsiteY96" fmla="*/ 0 h 5143499"/>
              <a:gd name="connsiteX97" fmla="*/ 4819650 w 4819650"/>
              <a:gd name="connsiteY97" fmla="*/ 5143499 h 5143499"/>
              <a:gd name="connsiteX98" fmla="*/ 0 w 4819650"/>
              <a:gd name="connsiteY98" fmla="*/ 5143499 h 5143499"/>
              <a:gd name="connsiteX99" fmla="*/ 0 w 4819650"/>
              <a:gd name="connsiteY99" fmla="*/ 5143498 h 5143499"/>
              <a:gd name="connsiteX100" fmla="*/ 371745 w 4819650"/>
              <a:gd name="connsiteY100" fmla="*/ 5143498 h 5143499"/>
              <a:gd name="connsiteX101" fmla="*/ 1206499 w 4819650"/>
              <a:gd name="connsiteY101" fmla="*/ 1821610 h 5143499"/>
              <a:gd name="connsiteX102" fmla="*/ 2048326 w 4819650"/>
              <a:gd name="connsiteY102" fmla="*/ 58253 h 5143499"/>
              <a:gd name="connsiteX103" fmla="*/ 2094551 w 4819650"/>
              <a:gd name="connsiteY103"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096 w 4819650"/>
              <a:gd name="connsiteY40" fmla="*/ 4730124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45688 w 4819650"/>
              <a:gd name="connsiteY50" fmla="*/ 4747768 h 5143499"/>
              <a:gd name="connsiteX51" fmla="*/ 4339388 w 4819650"/>
              <a:gd name="connsiteY51" fmla="*/ 4745400 h 5143499"/>
              <a:gd name="connsiteX52" fmla="*/ 4336096 w 4819650"/>
              <a:gd name="connsiteY52" fmla="*/ 4730124 h 5143499"/>
              <a:gd name="connsiteX53" fmla="*/ 4107093 w 4819650"/>
              <a:gd name="connsiteY53" fmla="*/ 4711721 h 5143499"/>
              <a:gd name="connsiteX54" fmla="*/ 4070430 w 4819650"/>
              <a:gd name="connsiteY54" fmla="*/ 4744760 h 5143499"/>
              <a:gd name="connsiteX55" fmla="*/ 4070430 w 4819650"/>
              <a:gd name="connsiteY55" fmla="*/ 4799850 h 5143499"/>
              <a:gd name="connsiteX56" fmla="*/ 4091201 w 4819650"/>
              <a:gd name="connsiteY56" fmla="*/ 4799850 h 5143499"/>
              <a:gd name="connsiteX57" fmla="*/ 4091201 w 4819650"/>
              <a:gd name="connsiteY57" fmla="*/ 4746182 h 5143499"/>
              <a:gd name="connsiteX58" fmla="*/ 4106927 w 4819650"/>
              <a:gd name="connsiteY58" fmla="*/ 4731379 h 5143499"/>
              <a:gd name="connsiteX59" fmla="*/ 4122985 w 4819650"/>
              <a:gd name="connsiteY59" fmla="*/ 4746182 h 5143499"/>
              <a:gd name="connsiteX60" fmla="*/ 4122985 w 4819650"/>
              <a:gd name="connsiteY60" fmla="*/ 4799850 h 5143499"/>
              <a:gd name="connsiteX61" fmla="*/ 4143591 w 4819650"/>
              <a:gd name="connsiteY61" fmla="*/ 4799850 h 5143499"/>
              <a:gd name="connsiteX62" fmla="*/ 4143591 w 4819650"/>
              <a:gd name="connsiteY62" fmla="*/ 4746182 h 5143499"/>
              <a:gd name="connsiteX63" fmla="*/ 4159648 w 4819650"/>
              <a:gd name="connsiteY63" fmla="*/ 4731379 h 5143499"/>
              <a:gd name="connsiteX64" fmla="*/ 4175375 w 4819650"/>
              <a:gd name="connsiteY64" fmla="*/ 4746182 h 5143499"/>
              <a:gd name="connsiteX65" fmla="*/ 4175375 w 4819650"/>
              <a:gd name="connsiteY65" fmla="*/ 4799850 h 5143499"/>
              <a:gd name="connsiteX66" fmla="*/ 4196146 w 4819650"/>
              <a:gd name="connsiteY66" fmla="*/ 4799850 h 5143499"/>
              <a:gd name="connsiteX67" fmla="*/ 4196146 w 4819650"/>
              <a:gd name="connsiteY67" fmla="*/ 4744760 h 5143499"/>
              <a:gd name="connsiteX68" fmla="*/ 4159648 w 4819650"/>
              <a:gd name="connsiteY68" fmla="*/ 4711721 h 5143499"/>
              <a:gd name="connsiteX69" fmla="*/ 4133525 w 4819650"/>
              <a:gd name="connsiteY69" fmla="*/ 4722426 h 5143499"/>
              <a:gd name="connsiteX70" fmla="*/ 4107093 w 4819650"/>
              <a:gd name="connsiteY70" fmla="*/ 4711721 h 5143499"/>
              <a:gd name="connsiteX71" fmla="*/ 3892112 w 4819650"/>
              <a:gd name="connsiteY71" fmla="*/ 4711721 h 5143499"/>
              <a:gd name="connsiteX72" fmla="*/ 3849930 w 4819650"/>
              <a:gd name="connsiteY72" fmla="*/ 4756413 h 5143499"/>
              <a:gd name="connsiteX73" fmla="*/ 3892112 w 4819650"/>
              <a:gd name="connsiteY73" fmla="*/ 4801413 h 5143499"/>
              <a:gd name="connsiteX74" fmla="*/ 3934293 w 4819650"/>
              <a:gd name="connsiteY74" fmla="*/ 4756413 h 5143499"/>
              <a:gd name="connsiteX75" fmla="*/ 3892112 w 4819650"/>
              <a:gd name="connsiteY75" fmla="*/ 4711721 h 5143499"/>
              <a:gd name="connsiteX76" fmla="*/ 3837662 w 4819650"/>
              <a:gd name="connsiteY76" fmla="*/ 4711697 h 5143499"/>
              <a:gd name="connsiteX77" fmla="*/ 3799412 w 4819650"/>
              <a:gd name="connsiteY77" fmla="*/ 4749000 h 5143499"/>
              <a:gd name="connsiteX78" fmla="*/ 3799412 w 4819650"/>
              <a:gd name="connsiteY78" fmla="*/ 4799826 h 5143499"/>
              <a:gd name="connsiteX79" fmla="*/ 3820183 w 4819650"/>
              <a:gd name="connsiteY79" fmla="*/ 4799826 h 5143499"/>
              <a:gd name="connsiteX80" fmla="*/ 3820183 w 4819650"/>
              <a:gd name="connsiteY80" fmla="*/ 4750563 h 5143499"/>
              <a:gd name="connsiteX81" fmla="*/ 3837662 w 4819650"/>
              <a:gd name="connsiteY81" fmla="*/ 4731994 h 5143499"/>
              <a:gd name="connsiteX82" fmla="*/ 3842707 w 4819650"/>
              <a:gd name="connsiteY82" fmla="*/ 4732302 h 5143499"/>
              <a:gd name="connsiteX83" fmla="*/ 3846165 w 4819650"/>
              <a:gd name="connsiteY83" fmla="*/ 4712479 h 5143499"/>
              <a:gd name="connsiteX84" fmla="*/ 3837662 w 4819650"/>
              <a:gd name="connsiteY84" fmla="*/ 4711697 h 5143499"/>
              <a:gd name="connsiteX85" fmla="*/ 3742286 w 4819650"/>
              <a:gd name="connsiteY85" fmla="*/ 4711697 h 5143499"/>
              <a:gd name="connsiteX86" fmla="*/ 3701052 w 4819650"/>
              <a:gd name="connsiteY86" fmla="*/ 4755915 h 5143499"/>
              <a:gd name="connsiteX87" fmla="*/ 3701052 w 4819650"/>
              <a:gd name="connsiteY87" fmla="*/ 4834452 h 5143499"/>
              <a:gd name="connsiteX88" fmla="*/ 3721823 w 4819650"/>
              <a:gd name="connsiteY88" fmla="*/ 4834452 h 5143499"/>
              <a:gd name="connsiteX89" fmla="*/ 3721823 w 4819650"/>
              <a:gd name="connsiteY89" fmla="*/ 4795586 h 5143499"/>
              <a:gd name="connsiteX90" fmla="*/ 3742286 w 4819650"/>
              <a:gd name="connsiteY90" fmla="*/ 4801413 h 5143499"/>
              <a:gd name="connsiteX91" fmla="*/ 3783828 w 4819650"/>
              <a:gd name="connsiteY91" fmla="*/ 4756413 h 5143499"/>
              <a:gd name="connsiteX92" fmla="*/ 3783828 w 4819650"/>
              <a:gd name="connsiteY92" fmla="*/ 4756389 h 5143499"/>
              <a:gd name="connsiteX93" fmla="*/ 3742286 w 4819650"/>
              <a:gd name="connsiteY93" fmla="*/ 4711697 h 5143499"/>
              <a:gd name="connsiteX94" fmla="*/ 2094551 w 4819650"/>
              <a:gd name="connsiteY94" fmla="*/ 0 h 5143499"/>
              <a:gd name="connsiteX95" fmla="*/ 4819650 w 4819650"/>
              <a:gd name="connsiteY95" fmla="*/ 0 h 5143499"/>
              <a:gd name="connsiteX96" fmla="*/ 4819650 w 4819650"/>
              <a:gd name="connsiteY96" fmla="*/ 5143499 h 5143499"/>
              <a:gd name="connsiteX97" fmla="*/ 0 w 4819650"/>
              <a:gd name="connsiteY97" fmla="*/ 5143499 h 5143499"/>
              <a:gd name="connsiteX98" fmla="*/ 0 w 4819650"/>
              <a:gd name="connsiteY98" fmla="*/ 5143498 h 5143499"/>
              <a:gd name="connsiteX99" fmla="*/ 371745 w 4819650"/>
              <a:gd name="connsiteY99" fmla="*/ 5143498 h 5143499"/>
              <a:gd name="connsiteX100" fmla="*/ 1206499 w 4819650"/>
              <a:gd name="connsiteY100" fmla="*/ 1821610 h 5143499"/>
              <a:gd name="connsiteX101" fmla="*/ 2048326 w 4819650"/>
              <a:gd name="connsiteY101" fmla="*/ 58253 h 5143499"/>
              <a:gd name="connsiteX102" fmla="*/ 2094551 w 4819650"/>
              <a:gd name="connsiteY102" fmla="*/ 0 h 5143499"/>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212654 w 4819650"/>
              <a:gd name="connsiteY21" fmla="*/ 4713284 h 5143499"/>
              <a:gd name="connsiteX22" fmla="*/ 4031541 w 4819650"/>
              <a:gd name="connsiteY22" fmla="*/ 4713284 h 5143499"/>
              <a:gd name="connsiteX23" fmla="*/ 4031541 w 4819650"/>
              <a:gd name="connsiteY23" fmla="*/ 4799826 h 5143499"/>
              <a:gd name="connsiteX24" fmla="*/ 4052312 w 4819650"/>
              <a:gd name="connsiteY24" fmla="*/ 4799826 h 5143499"/>
              <a:gd name="connsiteX25" fmla="*/ 4052312 w 4819650"/>
              <a:gd name="connsiteY25" fmla="*/ 4713284 h 5143499"/>
              <a:gd name="connsiteX26" fmla="*/ 4031541 w 4819650"/>
              <a:gd name="connsiteY26" fmla="*/ 4713284 h 5143499"/>
              <a:gd name="connsiteX27" fmla="*/ 3936473 w 4819650"/>
              <a:gd name="connsiteY27" fmla="*/ 4713284 h 5143499"/>
              <a:gd name="connsiteX28" fmla="*/ 3966836 w 4819650"/>
              <a:gd name="connsiteY28" fmla="*/ 4756247 h 5143499"/>
              <a:gd name="connsiteX29" fmla="*/ 3936473 w 4819650"/>
              <a:gd name="connsiteY29" fmla="*/ 4799850 h 5143499"/>
              <a:gd name="connsiteX30" fmla="*/ 3959447 w 4819650"/>
              <a:gd name="connsiteY30" fmla="*/ 4799850 h 5143499"/>
              <a:gd name="connsiteX31" fmla="*/ 3978181 w 4819650"/>
              <a:gd name="connsiteY31" fmla="*/ 4771689 h 5143499"/>
              <a:gd name="connsiteX32" fmla="*/ 3996915 w 4819650"/>
              <a:gd name="connsiteY32" fmla="*/ 4799850 h 5143499"/>
              <a:gd name="connsiteX33" fmla="*/ 4019889 w 4819650"/>
              <a:gd name="connsiteY33" fmla="*/ 4799850 h 5143499"/>
              <a:gd name="connsiteX34" fmla="*/ 3989668 w 4819650"/>
              <a:gd name="connsiteY34" fmla="*/ 4756247 h 5143499"/>
              <a:gd name="connsiteX35" fmla="*/ 4019889 w 4819650"/>
              <a:gd name="connsiteY35" fmla="*/ 4713284 h 5143499"/>
              <a:gd name="connsiteX36" fmla="*/ 3996749 w 4819650"/>
              <a:gd name="connsiteY36" fmla="*/ 4713284 h 5143499"/>
              <a:gd name="connsiteX37" fmla="*/ 3978181 w 4819650"/>
              <a:gd name="connsiteY37" fmla="*/ 4741137 h 5143499"/>
              <a:gd name="connsiteX38" fmla="*/ 3959612 w 4819650"/>
              <a:gd name="connsiteY38" fmla="*/ 4713284 h 5143499"/>
              <a:gd name="connsiteX39" fmla="*/ 3936473 w 4819650"/>
              <a:gd name="connsiteY39" fmla="*/ 4713284 h 5143499"/>
              <a:gd name="connsiteX40" fmla="*/ 4336096 w 4819650"/>
              <a:gd name="connsiteY40" fmla="*/ 4730124 h 5143499"/>
              <a:gd name="connsiteX41" fmla="*/ 4304596 w 4819650"/>
              <a:gd name="connsiteY41" fmla="*/ 4737063 h 5143499"/>
              <a:gd name="connsiteX42" fmla="*/ 4330080 w 4819650"/>
              <a:gd name="connsiteY42" fmla="*/ 4761932 h 5143499"/>
              <a:gd name="connsiteX43" fmla="*/ 4336073 w 4819650"/>
              <a:gd name="connsiteY43" fmla="*/ 4764134 h 5143499"/>
              <a:gd name="connsiteX44" fmla="*/ 4351657 w 4819650"/>
              <a:gd name="connsiteY44" fmla="*/ 4774982 h 5143499"/>
              <a:gd name="connsiteX45" fmla="*/ 4337186 w 4819650"/>
              <a:gd name="connsiteY45" fmla="*/ 4782845 h 5143499"/>
              <a:gd name="connsiteX46" fmla="*/ 4308220 w 4819650"/>
              <a:gd name="connsiteY46" fmla="*/ 4775763 h 5143499"/>
              <a:gd name="connsiteX47" fmla="*/ 4303341 w 4819650"/>
              <a:gd name="connsiteY47" fmla="*/ 4793858 h 5143499"/>
              <a:gd name="connsiteX48" fmla="*/ 4338109 w 4819650"/>
              <a:gd name="connsiteY48" fmla="*/ 4801413 h 5143499"/>
              <a:gd name="connsiteX49" fmla="*/ 4372404 w 4819650"/>
              <a:gd name="connsiteY49" fmla="*/ 4774342 h 5143499"/>
              <a:gd name="connsiteX50" fmla="*/ 4345688 w 4819650"/>
              <a:gd name="connsiteY50" fmla="*/ 4747768 h 5143499"/>
              <a:gd name="connsiteX51" fmla="*/ 4339388 w 4819650"/>
              <a:gd name="connsiteY51" fmla="*/ 4745400 h 5143499"/>
              <a:gd name="connsiteX52" fmla="*/ 4336096 w 4819650"/>
              <a:gd name="connsiteY52" fmla="*/ 4730124 h 5143499"/>
              <a:gd name="connsiteX53" fmla="*/ 4107093 w 4819650"/>
              <a:gd name="connsiteY53" fmla="*/ 4711721 h 5143499"/>
              <a:gd name="connsiteX54" fmla="*/ 4070430 w 4819650"/>
              <a:gd name="connsiteY54" fmla="*/ 4744760 h 5143499"/>
              <a:gd name="connsiteX55" fmla="*/ 4070430 w 4819650"/>
              <a:gd name="connsiteY55" fmla="*/ 4799850 h 5143499"/>
              <a:gd name="connsiteX56" fmla="*/ 4091201 w 4819650"/>
              <a:gd name="connsiteY56" fmla="*/ 4799850 h 5143499"/>
              <a:gd name="connsiteX57" fmla="*/ 4091201 w 4819650"/>
              <a:gd name="connsiteY57" fmla="*/ 4746182 h 5143499"/>
              <a:gd name="connsiteX58" fmla="*/ 4106927 w 4819650"/>
              <a:gd name="connsiteY58" fmla="*/ 4731379 h 5143499"/>
              <a:gd name="connsiteX59" fmla="*/ 4122985 w 4819650"/>
              <a:gd name="connsiteY59" fmla="*/ 4746182 h 5143499"/>
              <a:gd name="connsiteX60" fmla="*/ 4122985 w 4819650"/>
              <a:gd name="connsiteY60" fmla="*/ 4799850 h 5143499"/>
              <a:gd name="connsiteX61" fmla="*/ 4143591 w 4819650"/>
              <a:gd name="connsiteY61" fmla="*/ 4799850 h 5143499"/>
              <a:gd name="connsiteX62" fmla="*/ 4143591 w 4819650"/>
              <a:gd name="connsiteY62" fmla="*/ 4746182 h 5143499"/>
              <a:gd name="connsiteX63" fmla="*/ 4159648 w 4819650"/>
              <a:gd name="connsiteY63" fmla="*/ 4731379 h 5143499"/>
              <a:gd name="connsiteX64" fmla="*/ 4175375 w 4819650"/>
              <a:gd name="connsiteY64" fmla="*/ 4746182 h 5143499"/>
              <a:gd name="connsiteX65" fmla="*/ 4175375 w 4819650"/>
              <a:gd name="connsiteY65" fmla="*/ 4799850 h 5143499"/>
              <a:gd name="connsiteX66" fmla="*/ 4196146 w 4819650"/>
              <a:gd name="connsiteY66" fmla="*/ 4799850 h 5143499"/>
              <a:gd name="connsiteX67" fmla="*/ 4196146 w 4819650"/>
              <a:gd name="connsiteY67" fmla="*/ 4744760 h 5143499"/>
              <a:gd name="connsiteX68" fmla="*/ 4159648 w 4819650"/>
              <a:gd name="connsiteY68" fmla="*/ 4711721 h 5143499"/>
              <a:gd name="connsiteX69" fmla="*/ 4133525 w 4819650"/>
              <a:gd name="connsiteY69" fmla="*/ 4722426 h 5143499"/>
              <a:gd name="connsiteX70" fmla="*/ 4107093 w 4819650"/>
              <a:gd name="connsiteY70" fmla="*/ 4711721 h 5143499"/>
              <a:gd name="connsiteX71" fmla="*/ 3892112 w 4819650"/>
              <a:gd name="connsiteY71" fmla="*/ 4711721 h 5143499"/>
              <a:gd name="connsiteX72" fmla="*/ 3849930 w 4819650"/>
              <a:gd name="connsiteY72" fmla="*/ 4756413 h 5143499"/>
              <a:gd name="connsiteX73" fmla="*/ 3892112 w 4819650"/>
              <a:gd name="connsiteY73" fmla="*/ 4801413 h 5143499"/>
              <a:gd name="connsiteX74" fmla="*/ 3934293 w 4819650"/>
              <a:gd name="connsiteY74" fmla="*/ 4756413 h 5143499"/>
              <a:gd name="connsiteX75" fmla="*/ 3892112 w 4819650"/>
              <a:gd name="connsiteY75" fmla="*/ 4711721 h 5143499"/>
              <a:gd name="connsiteX76" fmla="*/ 3837662 w 4819650"/>
              <a:gd name="connsiteY76" fmla="*/ 4711697 h 5143499"/>
              <a:gd name="connsiteX77" fmla="*/ 3799412 w 4819650"/>
              <a:gd name="connsiteY77" fmla="*/ 4749000 h 5143499"/>
              <a:gd name="connsiteX78" fmla="*/ 3799412 w 4819650"/>
              <a:gd name="connsiteY78" fmla="*/ 4799826 h 5143499"/>
              <a:gd name="connsiteX79" fmla="*/ 3820183 w 4819650"/>
              <a:gd name="connsiteY79" fmla="*/ 4799826 h 5143499"/>
              <a:gd name="connsiteX80" fmla="*/ 3820183 w 4819650"/>
              <a:gd name="connsiteY80" fmla="*/ 4750563 h 5143499"/>
              <a:gd name="connsiteX81" fmla="*/ 3837662 w 4819650"/>
              <a:gd name="connsiteY81" fmla="*/ 4731994 h 5143499"/>
              <a:gd name="connsiteX82" fmla="*/ 3842707 w 4819650"/>
              <a:gd name="connsiteY82" fmla="*/ 4732302 h 5143499"/>
              <a:gd name="connsiteX83" fmla="*/ 3846165 w 4819650"/>
              <a:gd name="connsiteY83" fmla="*/ 4712479 h 5143499"/>
              <a:gd name="connsiteX84" fmla="*/ 3837662 w 4819650"/>
              <a:gd name="connsiteY84" fmla="*/ 4711697 h 5143499"/>
              <a:gd name="connsiteX85" fmla="*/ 3783828 w 4819650"/>
              <a:gd name="connsiteY85" fmla="*/ 4756389 h 5143499"/>
              <a:gd name="connsiteX86" fmla="*/ 3701052 w 4819650"/>
              <a:gd name="connsiteY86" fmla="*/ 4755915 h 5143499"/>
              <a:gd name="connsiteX87" fmla="*/ 3701052 w 4819650"/>
              <a:gd name="connsiteY87" fmla="*/ 4834452 h 5143499"/>
              <a:gd name="connsiteX88" fmla="*/ 3721823 w 4819650"/>
              <a:gd name="connsiteY88" fmla="*/ 4834452 h 5143499"/>
              <a:gd name="connsiteX89" fmla="*/ 3721823 w 4819650"/>
              <a:gd name="connsiteY89" fmla="*/ 4795586 h 5143499"/>
              <a:gd name="connsiteX90" fmla="*/ 3742286 w 4819650"/>
              <a:gd name="connsiteY90" fmla="*/ 4801413 h 5143499"/>
              <a:gd name="connsiteX91" fmla="*/ 3783828 w 4819650"/>
              <a:gd name="connsiteY91" fmla="*/ 4756413 h 5143499"/>
              <a:gd name="connsiteX92" fmla="*/ 3783828 w 4819650"/>
              <a:gd name="connsiteY92" fmla="*/ 4756389 h 5143499"/>
              <a:gd name="connsiteX93" fmla="*/ 2094551 w 4819650"/>
              <a:gd name="connsiteY93" fmla="*/ 0 h 5143499"/>
              <a:gd name="connsiteX94" fmla="*/ 4819650 w 4819650"/>
              <a:gd name="connsiteY94" fmla="*/ 0 h 5143499"/>
              <a:gd name="connsiteX95" fmla="*/ 4819650 w 4819650"/>
              <a:gd name="connsiteY95" fmla="*/ 5143499 h 5143499"/>
              <a:gd name="connsiteX96" fmla="*/ 0 w 4819650"/>
              <a:gd name="connsiteY96" fmla="*/ 5143499 h 5143499"/>
              <a:gd name="connsiteX97" fmla="*/ 0 w 4819650"/>
              <a:gd name="connsiteY97" fmla="*/ 5143498 h 5143499"/>
              <a:gd name="connsiteX98" fmla="*/ 371745 w 4819650"/>
              <a:gd name="connsiteY98" fmla="*/ 5143498 h 5143499"/>
              <a:gd name="connsiteX99" fmla="*/ 1206499 w 4819650"/>
              <a:gd name="connsiteY99" fmla="*/ 1821610 h 5143499"/>
              <a:gd name="connsiteX100" fmla="*/ 2048326 w 4819650"/>
              <a:gd name="connsiteY100" fmla="*/ 58253 h 5143499"/>
              <a:gd name="connsiteX101" fmla="*/ 2094551 w 4819650"/>
              <a:gd name="connsiteY101" fmla="*/ 0 h 5143499"/>
              <a:gd name="connsiteX0" fmla="*/ 3721823 w 4819650"/>
              <a:gd name="connsiteY0" fmla="*/ 4756413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892112 w 4819650"/>
              <a:gd name="connsiteY4" fmla="*/ 4731379 h 5143499"/>
              <a:gd name="connsiteX5" fmla="*/ 3913356 w 4819650"/>
              <a:gd name="connsiteY5" fmla="*/ 4756555 h 5143499"/>
              <a:gd name="connsiteX6" fmla="*/ 3892112 w 4819650"/>
              <a:gd name="connsiteY6" fmla="*/ 4781732 h 5143499"/>
              <a:gd name="connsiteX7" fmla="*/ 3870867 w 4819650"/>
              <a:gd name="connsiteY7" fmla="*/ 4756555 h 5143499"/>
              <a:gd name="connsiteX8" fmla="*/ 3892112 w 4819650"/>
              <a:gd name="connsiteY8" fmla="*/ 4731379 h 5143499"/>
              <a:gd name="connsiteX9" fmla="*/ 4212654 w 4819650"/>
              <a:gd name="connsiteY9" fmla="*/ 4713284 h 5143499"/>
              <a:gd name="connsiteX10" fmla="*/ 4212654 w 4819650"/>
              <a:gd name="connsiteY10" fmla="*/ 4762855 h 5143499"/>
              <a:gd name="connsiteX11" fmla="*/ 4251378 w 4819650"/>
              <a:gd name="connsiteY11" fmla="*/ 4801413 h 5143499"/>
              <a:gd name="connsiteX12" fmla="*/ 4290101 w 4819650"/>
              <a:gd name="connsiteY12" fmla="*/ 4762855 h 5143499"/>
              <a:gd name="connsiteX13" fmla="*/ 4290101 w 4819650"/>
              <a:gd name="connsiteY13" fmla="*/ 4713284 h 5143499"/>
              <a:gd name="connsiteX14" fmla="*/ 4290054 w 4819650"/>
              <a:gd name="connsiteY14" fmla="*/ 4713284 h 5143499"/>
              <a:gd name="connsiteX15" fmla="*/ 4269283 w 4819650"/>
              <a:gd name="connsiteY15" fmla="*/ 4713284 h 5143499"/>
              <a:gd name="connsiteX16" fmla="*/ 4269283 w 4819650"/>
              <a:gd name="connsiteY16" fmla="*/ 4762855 h 5143499"/>
              <a:gd name="connsiteX17" fmla="*/ 4251354 w 4819650"/>
              <a:gd name="connsiteY17" fmla="*/ 4781731 h 5143499"/>
              <a:gd name="connsiteX18" fmla="*/ 4233425 w 4819650"/>
              <a:gd name="connsiteY18" fmla="*/ 4762855 h 5143499"/>
              <a:gd name="connsiteX19" fmla="*/ 4233425 w 4819650"/>
              <a:gd name="connsiteY19" fmla="*/ 4713284 h 5143499"/>
              <a:gd name="connsiteX20" fmla="*/ 4212654 w 4819650"/>
              <a:gd name="connsiteY20" fmla="*/ 4713284 h 5143499"/>
              <a:gd name="connsiteX21" fmla="*/ 4031541 w 4819650"/>
              <a:gd name="connsiteY21" fmla="*/ 4713284 h 5143499"/>
              <a:gd name="connsiteX22" fmla="*/ 4031541 w 4819650"/>
              <a:gd name="connsiteY22" fmla="*/ 4799826 h 5143499"/>
              <a:gd name="connsiteX23" fmla="*/ 4052312 w 4819650"/>
              <a:gd name="connsiteY23" fmla="*/ 4799826 h 5143499"/>
              <a:gd name="connsiteX24" fmla="*/ 4052312 w 4819650"/>
              <a:gd name="connsiteY24" fmla="*/ 4713284 h 5143499"/>
              <a:gd name="connsiteX25" fmla="*/ 4031541 w 4819650"/>
              <a:gd name="connsiteY25" fmla="*/ 4713284 h 5143499"/>
              <a:gd name="connsiteX26" fmla="*/ 3936473 w 4819650"/>
              <a:gd name="connsiteY26" fmla="*/ 4713284 h 5143499"/>
              <a:gd name="connsiteX27" fmla="*/ 3966836 w 4819650"/>
              <a:gd name="connsiteY27" fmla="*/ 4756247 h 5143499"/>
              <a:gd name="connsiteX28" fmla="*/ 3936473 w 4819650"/>
              <a:gd name="connsiteY28" fmla="*/ 4799850 h 5143499"/>
              <a:gd name="connsiteX29" fmla="*/ 3959447 w 4819650"/>
              <a:gd name="connsiteY29" fmla="*/ 4799850 h 5143499"/>
              <a:gd name="connsiteX30" fmla="*/ 3978181 w 4819650"/>
              <a:gd name="connsiteY30" fmla="*/ 4771689 h 5143499"/>
              <a:gd name="connsiteX31" fmla="*/ 3996915 w 4819650"/>
              <a:gd name="connsiteY31" fmla="*/ 4799850 h 5143499"/>
              <a:gd name="connsiteX32" fmla="*/ 4019889 w 4819650"/>
              <a:gd name="connsiteY32" fmla="*/ 4799850 h 5143499"/>
              <a:gd name="connsiteX33" fmla="*/ 3989668 w 4819650"/>
              <a:gd name="connsiteY33" fmla="*/ 4756247 h 5143499"/>
              <a:gd name="connsiteX34" fmla="*/ 4019889 w 4819650"/>
              <a:gd name="connsiteY34" fmla="*/ 4713284 h 5143499"/>
              <a:gd name="connsiteX35" fmla="*/ 3996749 w 4819650"/>
              <a:gd name="connsiteY35" fmla="*/ 4713284 h 5143499"/>
              <a:gd name="connsiteX36" fmla="*/ 3978181 w 4819650"/>
              <a:gd name="connsiteY36" fmla="*/ 4741137 h 5143499"/>
              <a:gd name="connsiteX37" fmla="*/ 3959612 w 4819650"/>
              <a:gd name="connsiteY37" fmla="*/ 4713284 h 5143499"/>
              <a:gd name="connsiteX38" fmla="*/ 3936473 w 4819650"/>
              <a:gd name="connsiteY38" fmla="*/ 4713284 h 5143499"/>
              <a:gd name="connsiteX39" fmla="*/ 4336096 w 4819650"/>
              <a:gd name="connsiteY39" fmla="*/ 4730124 h 5143499"/>
              <a:gd name="connsiteX40" fmla="*/ 4304596 w 4819650"/>
              <a:gd name="connsiteY40" fmla="*/ 4737063 h 5143499"/>
              <a:gd name="connsiteX41" fmla="*/ 4330080 w 4819650"/>
              <a:gd name="connsiteY41" fmla="*/ 4761932 h 5143499"/>
              <a:gd name="connsiteX42" fmla="*/ 4336073 w 4819650"/>
              <a:gd name="connsiteY42" fmla="*/ 4764134 h 5143499"/>
              <a:gd name="connsiteX43" fmla="*/ 4351657 w 4819650"/>
              <a:gd name="connsiteY43" fmla="*/ 4774982 h 5143499"/>
              <a:gd name="connsiteX44" fmla="*/ 4337186 w 4819650"/>
              <a:gd name="connsiteY44" fmla="*/ 4782845 h 5143499"/>
              <a:gd name="connsiteX45" fmla="*/ 4308220 w 4819650"/>
              <a:gd name="connsiteY45" fmla="*/ 4775763 h 5143499"/>
              <a:gd name="connsiteX46" fmla="*/ 4303341 w 4819650"/>
              <a:gd name="connsiteY46" fmla="*/ 4793858 h 5143499"/>
              <a:gd name="connsiteX47" fmla="*/ 4338109 w 4819650"/>
              <a:gd name="connsiteY47" fmla="*/ 4801413 h 5143499"/>
              <a:gd name="connsiteX48" fmla="*/ 4372404 w 4819650"/>
              <a:gd name="connsiteY48" fmla="*/ 4774342 h 5143499"/>
              <a:gd name="connsiteX49" fmla="*/ 4345688 w 4819650"/>
              <a:gd name="connsiteY49" fmla="*/ 4747768 h 5143499"/>
              <a:gd name="connsiteX50" fmla="*/ 4339388 w 4819650"/>
              <a:gd name="connsiteY50" fmla="*/ 4745400 h 5143499"/>
              <a:gd name="connsiteX51" fmla="*/ 4336096 w 4819650"/>
              <a:gd name="connsiteY51" fmla="*/ 4730124 h 5143499"/>
              <a:gd name="connsiteX52" fmla="*/ 4107093 w 4819650"/>
              <a:gd name="connsiteY52" fmla="*/ 4711721 h 5143499"/>
              <a:gd name="connsiteX53" fmla="*/ 4070430 w 4819650"/>
              <a:gd name="connsiteY53" fmla="*/ 4744760 h 5143499"/>
              <a:gd name="connsiteX54" fmla="*/ 4070430 w 4819650"/>
              <a:gd name="connsiteY54" fmla="*/ 4799850 h 5143499"/>
              <a:gd name="connsiteX55" fmla="*/ 4091201 w 4819650"/>
              <a:gd name="connsiteY55" fmla="*/ 4799850 h 5143499"/>
              <a:gd name="connsiteX56" fmla="*/ 4091201 w 4819650"/>
              <a:gd name="connsiteY56" fmla="*/ 4746182 h 5143499"/>
              <a:gd name="connsiteX57" fmla="*/ 4106927 w 4819650"/>
              <a:gd name="connsiteY57" fmla="*/ 4731379 h 5143499"/>
              <a:gd name="connsiteX58" fmla="*/ 4122985 w 4819650"/>
              <a:gd name="connsiteY58" fmla="*/ 4746182 h 5143499"/>
              <a:gd name="connsiteX59" fmla="*/ 4122985 w 4819650"/>
              <a:gd name="connsiteY59" fmla="*/ 4799850 h 5143499"/>
              <a:gd name="connsiteX60" fmla="*/ 4143591 w 4819650"/>
              <a:gd name="connsiteY60" fmla="*/ 4799850 h 5143499"/>
              <a:gd name="connsiteX61" fmla="*/ 4143591 w 4819650"/>
              <a:gd name="connsiteY61" fmla="*/ 4746182 h 5143499"/>
              <a:gd name="connsiteX62" fmla="*/ 4159648 w 4819650"/>
              <a:gd name="connsiteY62" fmla="*/ 4731379 h 5143499"/>
              <a:gd name="connsiteX63" fmla="*/ 4175375 w 4819650"/>
              <a:gd name="connsiteY63" fmla="*/ 4746182 h 5143499"/>
              <a:gd name="connsiteX64" fmla="*/ 4175375 w 4819650"/>
              <a:gd name="connsiteY64" fmla="*/ 4799850 h 5143499"/>
              <a:gd name="connsiteX65" fmla="*/ 4196146 w 4819650"/>
              <a:gd name="connsiteY65" fmla="*/ 4799850 h 5143499"/>
              <a:gd name="connsiteX66" fmla="*/ 4196146 w 4819650"/>
              <a:gd name="connsiteY66" fmla="*/ 4744760 h 5143499"/>
              <a:gd name="connsiteX67" fmla="*/ 4159648 w 4819650"/>
              <a:gd name="connsiteY67" fmla="*/ 4711721 h 5143499"/>
              <a:gd name="connsiteX68" fmla="*/ 4133525 w 4819650"/>
              <a:gd name="connsiteY68" fmla="*/ 4722426 h 5143499"/>
              <a:gd name="connsiteX69" fmla="*/ 4107093 w 4819650"/>
              <a:gd name="connsiteY69" fmla="*/ 4711721 h 5143499"/>
              <a:gd name="connsiteX70" fmla="*/ 3892112 w 4819650"/>
              <a:gd name="connsiteY70" fmla="*/ 4711721 h 5143499"/>
              <a:gd name="connsiteX71" fmla="*/ 3849930 w 4819650"/>
              <a:gd name="connsiteY71" fmla="*/ 4756413 h 5143499"/>
              <a:gd name="connsiteX72" fmla="*/ 3892112 w 4819650"/>
              <a:gd name="connsiteY72" fmla="*/ 4801413 h 5143499"/>
              <a:gd name="connsiteX73" fmla="*/ 3934293 w 4819650"/>
              <a:gd name="connsiteY73" fmla="*/ 4756413 h 5143499"/>
              <a:gd name="connsiteX74" fmla="*/ 3892112 w 4819650"/>
              <a:gd name="connsiteY74" fmla="*/ 4711721 h 5143499"/>
              <a:gd name="connsiteX75" fmla="*/ 3837662 w 4819650"/>
              <a:gd name="connsiteY75" fmla="*/ 4711697 h 5143499"/>
              <a:gd name="connsiteX76" fmla="*/ 3799412 w 4819650"/>
              <a:gd name="connsiteY76" fmla="*/ 4749000 h 5143499"/>
              <a:gd name="connsiteX77" fmla="*/ 3799412 w 4819650"/>
              <a:gd name="connsiteY77" fmla="*/ 4799826 h 5143499"/>
              <a:gd name="connsiteX78" fmla="*/ 3820183 w 4819650"/>
              <a:gd name="connsiteY78" fmla="*/ 4799826 h 5143499"/>
              <a:gd name="connsiteX79" fmla="*/ 3820183 w 4819650"/>
              <a:gd name="connsiteY79" fmla="*/ 4750563 h 5143499"/>
              <a:gd name="connsiteX80" fmla="*/ 3837662 w 4819650"/>
              <a:gd name="connsiteY80" fmla="*/ 4731994 h 5143499"/>
              <a:gd name="connsiteX81" fmla="*/ 3842707 w 4819650"/>
              <a:gd name="connsiteY81" fmla="*/ 4732302 h 5143499"/>
              <a:gd name="connsiteX82" fmla="*/ 3846165 w 4819650"/>
              <a:gd name="connsiteY82" fmla="*/ 4712479 h 5143499"/>
              <a:gd name="connsiteX83" fmla="*/ 3837662 w 4819650"/>
              <a:gd name="connsiteY83" fmla="*/ 4711697 h 5143499"/>
              <a:gd name="connsiteX84" fmla="*/ 3783828 w 4819650"/>
              <a:gd name="connsiteY84" fmla="*/ 4756389 h 5143499"/>
              <a:gd name="connsiteX85" fmla="*/ 3701052 w 4819650"/>
              <a:gd name="connsiteY85" fmla="*/ 4755915 h 5143499"/>
              <a:gd name="connsiteX86" fmla="*/ 3701052 w 4819650"/>
              <a:gd name="connsiteY86" fmla="*/ 4834452 h 5143499"/>
              <a:gd name="connsiteX87" fmla="*/ 3721823 w 4819650"/>
              <a:gd name="connsiteY87" fmla="*/ 4834452 h 5143499"/>
              <a:gd name="connsiteX88" fmla="*/ 3721823 w 4819650"/>
              <a:gd name="connsiteY88" fmla="*/ 4795586 h 5143499"/>
              <a:gd name="connsiteX89" fmla="*/ 3742286 w 4819650"/>
              <a:gd name="connsiteY89" fmla="*/ 4801413 h 5143499"/>
              <a:gd name="connsiteX90" fmla="*/ 3783828 w 4819650"/>
              <a:gd name="connsiteY90" fmla="*/ 4756413 h 5143499"/>
              <a:gd name="connsiteX91" fmla="*/ 3783828 w 4819650"/>
              <a:gd name="connsiteY91" fmla="*/ 4756389 h 5143499"/>
              <a:gd name="connsiteX92" fmla="*/ 2094551 w 4819650"/>
              <a:gd name="connsiteY92" fmla="*/ 0 h 5143499"/>
              <a:gd name="connsiteX93" fmla="*/ 4819650 w 4819650"/>
              <a:gd name="connsiteY93" fmla="*/ 0 h 5143499"/>
              <a:gd name="connsiteX94" fmla="*/ 4819650 w 4819650"/>
              <a:gd name="connsiteY94" fmla="*/ 5143499 h 5143499"/>
              <a:gd name="connsiteX95" fmla="*/ 0 w 4819650"/>
              <a:gd name="connsiteY95" fmla="*/ 5143499 h 5143499"/>
              <a:gd name="connsiteX96" fmla="*/ 0 w 4819650"/>
              <a:gd name="connsiteY96" fmla="*/ 5143498 h 5143499"/>
              <a:gd name="connsiteX97" fmla="*/ 371745 w 4819650"/>
              <a:gd name="connsiteY97" fmla="*/ 5143498 h 5143499"/>
              <a:gd name="connsiteX98" fmla="*/ 1206499 w 4819650"/>
              <a:gd name="connsiteY98" fmla="*/ 1821610 h 5143499"/>
              <a:gd name="connsiteX99" fmla="*/ 2048326 w 4819650"/>
              <a:gd name="connsiteY99" fmla="*/ 58253 h 5143499"/>
              <a:gd name="connsiteX100" fmla="*/ 2094551 w 4819650"/>
              <a:gd name="connsiteY100" fmla="*/ 0 h 5143499"/>
              <a:gd name="connsiteX0" fmla="*/ 3721823 w 4819650"/>
              <a:gd name="connsiteY0" fmla="*/ 4756413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892112 w 4819650"/>
              <a:gd name="connsiteY4" fmla="*/ 4731379 h 5143499"/>
              <a:gd name="connsiteX5" fmla="*/ 3913356 w 4819650"/>
              <a:gd name="connsiteY5" fmla="*/ 4756555 h 5143499"/>
              <a:gd name="connsiteX6" fmla="*/ 3892112 w 4819650"/>
              <a:gd name="connsiteY6" fmla="*/ 4781732 h 5143499"/>
              <a:gd name="connsiteX7" fmla="*/ 3870867 w 4819650"/>
              <a:gd name="connsiteY7" fmla="*/ 4756555 h 5143499"/>
              <a:gd name="connsiteX8" fmla="*/ 3892112 w 4819650"/>
              <a:gd name="connsiteY8" fmla="*/ 4731379 h 5143499"/>
              <a:gd name="connsiteX9" fmla="*/ 4212654 w 4819650"/>
              <a:gd name="connsiteY9" fmla="*/ 4713284 h 5143499"/>
              <a:gd name="connsiteX10" fmla="*/ 4212654 w 4819650"/>
              <a:gd name="connsiteY10" fmla="*/ 4762855 h 5143499"/>
              <a:gd name="connsiteX11" fmla="*/ 4251378 w 4819650"/>
              <a:gd name="connsiteY11" fmla="*/ 4801413 h 5143499"/>
              <a:gd name="connsiteX12" fmla="*/ 4290101 w 4819650"/>
              <a:gd name="connsiteY12" fmla="*/ 4762855 h 5143499"/>
              <a:gd name="connsiteX13" fmla="*/ 4290101 w 4819650"/>
              <a:gd name="connsiteY13" fmla="*/ 4713284 h 5143499"/>
              <a:gd name="connsiteX14" fmla="*/ 4290054 w 4819650"/>
              <a:gd name="connsiteY14" fmla="*/ 4713284 h 5143499"/>
              <a:gd name="connsiteX15" fmla="*/ 4269283 w 4819650"/>
              <a:gd name="connsiteY15" fmla="*/ 4713284 h 5143499"/>
              <a:gd name="connsiteX16" fmla="*/ 4269283 w 4819650"/>
              <a:gd name="connsiteY16" fmla="*/ 4762855 h 5143499"/>
              <a:gd name="connsiteX17" fmla="*/ 4251354 w 4819650"/>
              <a:gd name="connsiteY17" fmla="*/ 4781731 h 5143499"/>
              <a:gd name="connsiteX18" fmla="*/ 4233425 w 4819650"/>
              <a:gd name="connsiteY18" fmla="*/ 4762855 h 5143499"/>
              <a:gd name="connsiteX19" fmla="*/ 4233425 w 4819650"/>
              <a:gd name="connsiteY19" fmla="*/ 4713284 h 5143499"/>
              <a:gd name="connsiteX20" fmla="*/ 4212654 w 4819650"/>
              <a:gd name="connsiteY20" fmla="*/ 4713284 h 5143499"/>
              <a:gd name="connsiteX21" fmla="*/ 4031541 w 4819650"/>
              <a:gd name="connsiteY21" fmla="*/ 4713284 h 5143499"/>
              <a:gd name="connsiteX22" fmla="*/ 4031541 w 4819650"/>
              <a:gd name="connsiteY22" fmla="*/ 4799826 h 5143499"/>
              <a:gd name="connsiteX23" fmla="*/ 4052312 w 4819650"/>
              <a:gd name="connsiteY23" fmla="*/ 4799826 h 5143499"/>
              <a:gd name="connsiteX24" fmla="*/ 4052312 w 4819650"/>
              <a:gd name="connsiteY24" fmla="*/ 4713284 h 5143499"/>
              <a:gd name="connsiteX25" fmla="*/ 4031541 w 4819650"/>
              <a:gd name="connsiteY25" fmla="*/ 4713284 h 5143499"/>
              <a:gd name="connsiteX26" fmla="*/ 3936473 w 4819650"/>
              <a:gd name="connsiteY26" fmla="*/ 4713284 h 5143499"/>
              <a:gd name="connsiteX27" fmla="*/ 3966836 w 4819650"/>
              <a:gd name="connsiteY27" fmla="*/ 4756247 h 5143499"/>
              <a:gd name="connsiteX28" fmla="*/ 3936473 w 4819650"/>
              <a:gd name="connsiteY28" fmla="*/ 4799850 h 5143499"/>
              <a:gd name="connsiteX29" fmla="*/ 3959447 w 4819650"/>
              <a:gd name="connsiteY29" fmla="*/ 4799850 h 5143499"/>
              <a:gd name="connsiteX30" fmla="*/ 3978181 w 4819650"/>
              <a:gd name="connsiteY30" fmla="*/ 4771689 h 5143499"/>
              <a:gd name="connsiteX31" fmla="*/ 3996915 w 4819650"/>
              <a:gd name="connsiteY31" fmla="*/ 4799850 h 5143499"/>
              <a:gd name="connsiteX32" fmla="*/ 4019889 w 4819650"/>
              <a:gd name="connsiteY32" fmla="*/ 4799850 h 5143499"/>
              <a:gd name="connsiteX33" fmla="*/ 3989668 w 4819650"/>
              <a:gd name="connsiteY33" fmla="*/ 4756247 h 5143499"/>
              <a:gd name="connsiteX34" fmla="*/ 4019889 w 4819650"/>
              <a:gd name="connsiteY34" fmla="*/ 4713284 h 5143499"/>
              <a:gd name="connsiteX35" fmla="*/ 3996749 w 4819650"/>
              <a:gd name="connsiteY35" fmla="*/ 4713284 h 5143499"/>
              <a:gd name="connsiteX36" fmla="*/ 3978181 w 4819650"/>
              <a:gd name="connsiteY36" fmla="*/ 4741137 h 5143499"/>
              <a:gd name="connsiteX37" fmla="*/ 3959612 w 4819650"/>
              <a:gd name="connsiteY37" fmla="*/ 4713284 h 5143499"/>
              <a:gd name="connsiteX38" fmla="*/ 3936473 w 4819650"/>
              <a:gd name="connsiteY38" fmla="*/ 4713284 h 5143499"/>
              <a:gd name="connsiteX39" fmla="*/ 4336096 w 4819650"/>
              <a:gd name="connsiteY39" fmla="*/ 4730124 h 5143499"/>
              <a:gd name="connsiteX40" fmla="*/ 4304596 w 4819650"/>
              <a:gd name="connsiteY40" fmla="*/ 4737063 h 5143499"/>
              <a:gd name="connsiteX41" fmla="*/ 4330080 w 4819650"/>
              <a:gd name="connsiteY41" fmla="*/ 4761932 h 5143499"/>
              <a:gd name="connsiteX42" fmla="*/ 4336073 w 4819650"/>
              <a:gd name="connsiteY42" fmla="*/ 4764134 h 5143499"/>
              <a:gd name="connsiteX43" fmla="*/ 4351657 w 4819650"/>
              <a:gd name="connsiteY43" fmla="*/ 4774982 h 5143499"/>
              <a:gd name="connsiteX44" fmla="*/ 4337186 w 4819650"/>
              <a:gd name="connsiteY44" fmla="*/ 4782845 h 5143499"/>
              <a:gd name="connsiteX45" fmla="*/ 4308220 w 4819650"/>
              <a:gd name="connsiteY45" fmla="*/ 4775763 h 5143499"/>
              <a:gd name="connsiteX46" fmla="*/ 4303341 w 4819650"/>
              <a:gd name="connsiteY46" fmla="*/ 4793858 h 5143499"/>
              <a:gd name="connsiteX47" fmla="*/ 4338109 w 4819650"/>
              <a:gd name="connsiteY47" fmla="*/ 4801413 h 5143499"/>
              <a:gd name="connsiteX48" fmla="*/ 4372404 w 4819650"/>
              <a:gd name="connsiteY48" fmla="*/ 4774342 h 5143499"/>
              <a:gd name="connsiteX49" fmla="*/ 4345688 w 4819650"/>
              <a:gd name="connsiteY49" fmla="*/ 4747768 h 5143499"/>
              <a:gd name="connsiteX50" fmla="*/ 4339388 w 4819650"/>
              <a:gd name="connsiteY50" fmla="*/ 4745400 h 5143499"/>
              <a:gd name="connsiteX51" fmla="*/ 4336096 w 4819650"/>
              <a:gd name="connsiteY51" fmla="*/ 4730124 h 5143499"/>
              <a:gd name="connsiteX52" fmla="*/ 4107093 w 4819650"/>
              <a:gd name="connsiteY52" fmla="*/ 4711721 h 5143499"/>
              <a:gd name="connsiteX53" fmla="*/ 4070430 w 4819650"/>
              <a:gd name="connsiteY53" fmla="*/ 4744760 h 5143499"/>
              <a:gd name="connsiteX54" fmla="*/ 4070430 w 4819650"/>
              <a:gd name="connsiteY54" fmla="*/ 4799850 h 5143499"/>
              <a:gd name="connsiteX55" fmla="*/ 4091201 w 4819650"/>
              <a:gd name="connsiteY55" fmla="*/ 4799850 h 5143499"/>
              <a:gd name="connsiteX56" fmla="*/ 4091201 w 4819650"/>
              <a:gd name="connsiteY56" fmla="*/ 4746182 h 5143499"/>
              <a:gd name="connsiteX57" fmla="*/ 4106927 w 4819650"/>
              <a:gd name="connsiteY57" fmla="*/ 4731379 h 5143499"/>
              <a:gd name="connsiteX58" fmla="*/ 4122985 w 4819650"/>
              <a:gd name="connsiteY58" fmla="*/ 4746182 h 5143499"/>
              <a:gd name="connsiteX59" fmla="*/ 4122985 w 4819650"/>
              <a:gd name="connsiteY59" fmla="*/ 4799850 h 5143499"/>
              <a:gd name="connsiteX60" fmla="*/ 4143591 w 4819650"/>
              <a:gd name="connsiteY60" fmla="*/ 4799850 h 5143499"/>
              <a:gd name="connsiteX61" fmla="*/ 4143591 w 4819650"/>
              <a:gd name="connsiteY61" fmla="*/ 4746182 h 5143499"/>
              <a:gd name="connsiteX62" fmla="*/ 4159648 w 4819650"/>
              <a:gd name="connsiteY62" fmla="*/ 4731379 h 5143499"/>
              <a:gd name="connsiteX63" fmla="*/ 4175375 w 4819650"/>
              <a:gd name="connsiteY63" fmla="*/ 4746182 h 5143499"/>
              <a:gd name="connsiteX64" fmla="*/ 4175375 w 4819650"/>
              <a:gd name="connsiteY64" fmla="*/ 4799850 h 5143499"/>
              <a:gd name="connsiteX65" fmla="*/ 4196146 w 4819650"/>
              <a:gd name="connsiteY65" fmla="*/ 4799850 h 5143499"/>
              <a:gd name="connsiteX66" fmla="*/ 4196146 w 4819650"/>
              <a:gd name="connsiteY66" fmla="*/ 4744760 h 5143499"/>
              <a:gd name="connsiteX67" fmla="*/ 4159648 w 4819650"/>
              <a:gd name="connsiteY67" fmla="*/ 4711721 h 5143499"/>
              <a:gd name="connsiteX68" fmla="*/ 4133525 w 4819650"/>
              <a:gd name="connsiteY68" fmla="*/ 4722426 h 5143499"/>
              <a:gd name="connsiteX69" fmla="*/ 4107093 w 4819650"/>
              <a:gd name="connsiteY69" fmla="*/ 4711721 h 5143499"/>
              <a:gd name="connsiteX70" fmla="*/ 3892112 w 4819650"/>
              <a:gd name="connsiteY70" fmla="*/ 4711721 h 5143499"/>
              <a:gd name="connsiteX71" fmla="*/ 3849930 w 4819650"/>
              <a:gd name="connsiteY71" fmla="*/ 4756413 h 5143499"/>
              <a:gd name="connsiteX72" fmla="*/ 3892112 w 4819650"/>
              <a:gd name="connsiteY72" fmla="*/ 4801413 h 5143499"/>
              <a:gd name="connsiteX73" fmla="*/ 3934293 w 4819650"/>
              <a:gd name="connsiteY73" fmla="*/ 4756413 h 5143499"/>
              <a:gd name="connsiteX74" fmla="*/ 3892112 w 4819650"/>
              <a:gd name="connsiteY74" fmla="*/ 4711721 h 5143499"/>
              <a:gd name="connsiteX75" fmla="*/ 3837662 w 4819650"/>
              <a:gd name="connsiteY75" fmla="*/ 4711697 h 5143499"/>
              <a:gd name="connsiteX76" fmla="*/ 3799412 w 4819650"/>
              <a:gd name="connsiteY76" fmla="*/ 4749000 h 5143499"/>
              <a:gd name="connsiteX77" fmla="*/ 3799412 w 4819650"/>
              <a:gd name="connsiteY77" fmla="*/ 4799826 h 5143499"/>
              <a:gd name="connsiteX78" fmla="*/ 3820183 w 4819650"/>
              <a:gd name="connsiteY78" fmla="*/ 4799826 h 5143499"/>
              <a:gd name="connsiteX79" fmla="*/ 3820183 w 4819650"/>
              <a:gd name="connsiteY79" fmla="*/ 4750563 h 5143499"/>
              <a:gd name="connsiteX80" fmla="*/ 3837662 w 4819650"/>
              <a:gd name="connsiteY80" fmla="*/ 4731994 h 5143499"/>
              <a:gd name="connsiteX81" fmla="*/ 3842707 w 4819650"/>
              <a:gd name="connsiteY81" fmla="*/ 4732302 h 5143499"/>
              <a:gd name="connsiteX82" fmla="*/ 3846165 w 4819650"/>
              <a:gd name="connsiteY82" fmla="*/ 4712479 h 5143499"/>
              <a:gd name="connsiteX83" fmla="*/ 3837662 w 4819650"/>
              <a:gd name="connsiteY83" fmla="*/ 4711697 h 5143499"/>
              <a:gd name="connsiteX84" fmla="*/ 3783828 w 4819650"/>
              <a:gd name="connsiteY84" fmla="*/ 4756389 h 5143499"/>
              <a:gd name="connsiteX85" fmla="*/ 3701052 w 4819650"/>
              <a:gd name="connsiteY85" fmla="*/ 4834452 h 5143499"/>
              <a:gd name="connsiteX86" fmla="*/ 3721823 w 4819650"/>
              <a:gd name="connsiteY86" fmla="*/ 4834452 h 5143499"/>
              <a:gd name="connsiteX87" fmla="*/ 3721823 w 4819650"/>
              <a:gd name="connsiteY87" fmla="*/ 4795586 h 5143499"/>
              <a:gd name="connsiteX88" fmla="*/ 3742286 w 4819650"/>
              <a:gd name="connsiteY88" fmla="*/ 4801413 h 5143499"/>
              <a:gd name="connsiteX89" fmla="*/ 3783828 w 4819650"/>
              <a:gd name="connsiteY89" fmla="*/ 4756413 h 5143499"/>
              <a:gd name="connsiteX90" fmla="*/ 3783828 w 4819650"/>
              <a:gd name="connsiteY90" fmla="*/ 4756389 h 5143499"/>
              <a:gd name="connsiteX91" fmla="*/ 2094551 w 4819650"/>
              <a:gd name="connsiteY91" fmla="*/ 0 h 5143499"/>
              <a:gd name="connsiteX92" fmla="*/ 4819650 w 4819650"/>
              <a:gd name="connsiteY92" fmla="*/ 0 h 5143499"/>
              <a:gd name="connsiteX93" fmla="*/ 4819650 w 4819650"/>
              <a:gd name="connsiteY93" fmla="*/ 5143499 h 5143499"/>
              <a:gd name="connsiteX94" fmla="*/ 0 w 4819650"/>
              <a:gd name="connsiteY94" fmla="*/ 5143499 h 5143499"/>
              <a:gd name="connsiteX95" fmla="*/ 0 w 4819650"/>
              <a:gd name="connsiteY95" fmla="*/ 5143498 h 5143499"/>
              <a:gd name="connsiteX96" fmla="*/ 371745 w 4819650"/>
              <a:gd name="connsiteY96" fmla="*/ 5143498 h 5143499"/>
              <a:gd name="connsiteX97" fmla="*/ 1206499 w 4819650"/>
              <a:gd name="connsiteY97" fmla="*/ 1821610 h 5143499"/>
              <a:gd name="connsiteX98" fmla="*/ 2048326 w 4819650"/>
              <a:gd name="connsiteY98" fmla="*/ 58253 h 5143499"/>
              <a:gd name="connsiteX99" fmla="*/ 2094551 w 4819650"/>
              <a:gd name="connsiteY99" fmla="*/ 0 h 5143499"/>
              <a:gd name="connsiteX0" fmla="*/ 3742286 w 4819650"/>
              <a:gd name="connsiteY0" fmla="*/ 4781755 h 5143499"/>
              <a:gd name="connsiteX1" fmla="*/ 3762891 w 4819650"/>
              <a:gd name="connsiteY1" fmla="*/ 4756413 h 5143499"/>
              <a:gd name="connsiteX2" fmla="*/ 3742286 w 4819650"/>
              <a:gd name="connsiteY2" fmla="*/ 4781755 h 5143499"/>
              <a:gd name="connsiteX3" fmla="*/ 3892112 w 4819650"/>
              <a:gd name="connsiteY3" fmla="*/ 4731379 h 5143499"/>
              <a:gd name="connsiteX4" fmla="*/ 3913356 w 4819650"/>
              <a:gd name="connsiteY4" fmla="*/ 4756555 h 5143499"/>
              <a:gd name="connsiteX5" fmla="*/ 3892112 w 4819650"/>
              <a:gd name="connsiteY5" fmla="*/ 4781732 h 5143499"/>
              <a:gd name="connsiteX6" fmla="*/ 3870867 w 4819650"/>
              <a:gd name="connsiteY6" fmla="*/ 4756555 h 5143499"/>
              <a:gd name="connsiteX7" fmla="*/ 3892112 w 4819650"/>
              <a:gd name="connsiteY7" fmla="*/ 4731379 h 5143499"/>
              <a:gd name="connsiteX8" fmla="*/ 4212654 w 4819650"/>
              <a:gd name="connsiteY8" fmla="*/ 4713284 h 5143499"/>
              <a:gd name="connsiteX9" fmla="*/ 4212654 w 4819650"/>
              <a:gd name="connsiteY9" fmla="*/ 4762855 h 5143499"/>
              <a:gd name="connsiteX10" fmla="*/ 4251378 w 4819650"/>
              <a:gd name="connsiteY10" fmla="*/ 4801413 h 5143499"/>
              <a:gd name="connsiteX11" fmla="*/ 4290101 w 4819650"/>
              <a:gd name="connsiteY11" fmla="*/ 4762855 h 5143499"/>
              <a:gd name="connsiteX12" fmla="*/ 4290101 w 4819650"/>
              <a:gd name="connsiteY12" fmla="*/ 4713284 h 5143499"/>
              <a:gd name="connsiteX13" fmla="*/ 4290054 w 4819650"/>
              <a:gd name="connsiteY13" fmla="*/ 4713284 h 5143499"/>
              <a:gd name="connsiteX14" fmla="*/ 4269283 w 4819650"/>
              <a:gd name="connsiteY14" fmla="*/ 4713284 h 5143499"/>
              <a:gd name="connsiteX15" fmla="*/ 4269283 w 4819650"/>
              <a:gd name="connsiteY15" fmla="*/ 4762855 h 5143499"/>
              <a:gd name="connsiteX16" fmla="*/ 4251354 w 4819650"/>
              <a:gd name="connsiteY16" fmla="*/ 4781731 h 5143499"/>
              <a:gd name="connsiteX17" fmla="*/ 4233425 w 4819650"/>
              <a:gd name="connsiteY17" fmla="*/ 4762855 h 5143499"/>
              <a:gd name="connsiteX18" fmla="*/ 4233425 w 4819650"/>
              <a:gd name="connsiteY18" fmla="*/ 4713284 h 5143499"/>
              <a:gd name="connsiteX19" fmla="*/ 4212654 w 4819650"/>
              <a:gd name="connsiteY19" fmla="*/ 4713284 h 5143499"/>
              <a:gd name="connsiteX20" fmla="*/ 4031541 w 4819650"/>
              <a:gd name="connsiteY20" fmla="*/ 4713284 h 5143499"/>
              <a:gd name="connsiteX21" fmla="*/ 4031541 w 4819650"/>
              <a:gd name="connsiteY21" fmla="*/ 4799826 h 5143499"/>
              <a:gd name="connsiteX22" fmla="*/ 4052312 w 4819650"/>
              <a:gd name="connsiteY22" fmla="*/ 4799826 h 5143499"/>
              <a:gd name="connsiteX23" fmla="*/ 4052312 w 4819650"/>
              <a:gd name="connsiteY23" fmla="*/ 4713284 h 5143499"/>
              <a:gd name="connsiteX24" fmla="*/ 4031541 w 4819650"/>
              <a:gd name="connsiteY24" fmla="*/ 4713284 h 5143499"/>
              <a:gd name="connsiteX25" fmla="*/ 3936473 w 4819650"/>
              <a:gd name="connsiteY25" fmla="*/ 4713284 h 5143499"/>
              <a:gd name="connsiteX26" fmla="*/ 3966836 w 4819650"/>
              <a:gd name="connsiteY26" fmla="*/ 4756247 h 5143499"/>
              <a:gd name="connsiteX27" fmla="*/ 3936473 w 4819650"/>
              <a:gd name="connsiteY27" fmla="*/ 4799850 h 5143499"/>
              <a:gd name="connsiteX28" fmla="*/ 3959447 w 4819650"/>
              <a:gd name="connsiteY28" fmla="*/ 4799850 h 5143499"/>
              <a:gd name="connsiteX29" fmla="*/ 3978181 w 4819650"/>
              <a:gd name="connsiteY29" fmla="*/ 4771689 h 5143499"/>
              <a:gd name="connsiteX30" fmla="*/ 3996915 w 4819650"/>
              <a:gd name="connsiteY30" fmla="*/ 4799850 h 5143499"/>
              <a:gd name="connsiteX31" fmla="*/ 4019889 w 4819650"/>
              <a:gd name="connsiteY31" fmla="*/ 4799850 h 5143499"/>
              <a:gd name="connsiteX32" fmla="*/ 3989668 w 4819650"/>
              <a:gd name="connsiteY32" fmla="*/ 4756247 h 5143499"/>
              <a:gd name="connsiteX33" fmla="*/ 4019889 w 4819650"/>
              <a:gd name="connsiteY33" fmla="*/ 4713284 h 5143499"/>
              <a:gd name="connsiteX34" fmla="*/ 3996749 w 4819650"/>
              <a:gd name="connsiteY34" fmla="*/ 4713284 h 5143499"/>
              <a:gd name="connsiteX35" fmla="*/ 3978181 w 4819650"/>
              <a:gd name="connsiteY35" fmla="*/ 4741137 h 5143499"/>
              <a:gd name="connsiteX36" fmla="*/ 3959612 w 4819650"/>
              <a:gd name="connsiteY36" fmla="*/ 4713284 h 5143499"/>
              <a:gd name="connsiteX37" fmla="*/ 3936473 w 4819650"/>
              <a:gd name="connsiteY37" fmla="*/ 4713284 h 5143499"/>
              <a:gd name="connsiteX38" fmla="*/ 4336096 w 4819650"/>
              <a:gd name="connsiteY38" fmla="*/ 4730124 h 5143499"/>
              <a:gd name="connsiteX39" fmla="*/ 4304596 w 4819650"/>
              <a:gd name="connsiteY39" fmla="*/ 4737063 h 5143499"/>
              <a:gd name="connsiteX40" fmla="*/ 4330080 w 4819650"/>
              <a:gd name="connsiteY40" fmla="*/ 4761932 h 5143499"/>
              <a:gd name="connsiteX41" fmla="*/ 4336073 w 4819650"/>
              <a:gd name="connsiteY41" fmla="*/ 4764134 h 5143499"/>
              <a:gd name="connsiteX42" fmla="*/ 4351657 w 4819650"/>
              <a:gd name="connsiteY42" fmla="*/ 4774982 h 5143499"/>
              <a:gd name="connsiteX43" fmla="*/ 4337186 w 4819650"/>
              <a:gd name="connsiteY43" fmla="*/ 4782845 h 5143499"/>
              <a:gd name="connsiteX44" fmla="*/ 4308220 w 4819650"/>
              <a:gd name="connsiteY44" fmla="*/ 4775763 h 5143499"/>
              <a:gd name="connsiteX45" fmla="*/ 4303341 w 4819650"/>
              <a:gd name="connsiteY45" fmla="*/ 4793858 h 5143499"/>
              <a:gd name="connsiteX46" fmla="*/ 4338109 w 4819650"/>
              <a:gd name="connsiteY46" fmla="*/ 4801413 h 5143499"/>
              <a:gd name="connsiteX47" fmla="*/ 4372404 w 4819650"/>
              <a:gd name="connsiteY47" fmla="*/ 4774342 h 5143499"/>
              <a:gd name="connsiteX48" fmla="*/ 4345688 w 4819650"/>
              <a:gd name="connsiteY48" fmla="*/ 4747768 h 5143499"/>
              <a:gd name="connsiteX49" fmla="*/ 4339388 w 4819650"/>
              <a:gd name="connsiteY49" fmla="*/ 4745400 h 5143499"/>
              <a:gd name="connsiteX50" fmla="*/ 4336096 w 4819650"/>
              <a:gd name="connsiteY50" fmla="*/ 4730124 h 5143499"/>
              <a:gd name="connsiteX51" fmla="*/ 4107093 w 4819650"/>
              <a:gd name="connsiteY51" fmla="*/ 4711721 h 5143499"/>
              <a:gd name="connsiteX52" fmla="*/ 4070430 w 4819650"/>
              <a:gd name="connsiteY52" fmla="*/ 4744760 h 5143499"/>
              <a:gd name="connsiteX53" fmla="*/ 4070430 w 4819650"/>
              <a:gd name="connsiteY53" fmla="*/ 4799850 h 5143499"/>
              <a:gd name="connsiteX54" fmla="*/ 4091201 w 4819650"/>
              <a:gd name="connsiteY54" fmla="*/ 4799850 h 5143499"/>
              <a:gd name="connsiteX55" fmla="*/ 4091201 w 4819650"/>
              <a:gd name="connsiteY55" fmla="*/ 4746182 h 5143499"/>
              <a:gd name="connsiteX56" fmla="*/ 4106927 w 4819650"/>
              <a:gd name="connsiteY56" fmla="*/ 4731379 h 5143499"/>
              <a:gd name="connsiteX57" fmla="*/ 4122985 w 4819650"/>
              <a:gd name="connsiteY57" fmla="*/ 4746182 h 5143499"/>
              <a:gd name="connsiteX58" fmla="*/ 4122985 w 4819650"/>
              <a:gd name="connsiteY58" fmla="*/ 4799850 h 5143499"/>
              <a:gd name="connsiteX59" fmla="*/ 4143591 w 4819650"/>
              <a:gd name="connsiteY59" fmla="*/ 4799850 h 5143499"/>
              <a:gd name="connsiteX60" fmla="*/ 4143591 w 4819650"/>
              <a:gd name="connsiteY60" fmla="*/ 4746182 h 5143499"/>
              <a:gd name="connsiteX61" fmla="*/ 4159648 w 4819650"/>
              <a:gd name="connsiteY61" fmla="*/ 4731379 h 5143499"/>
              <a:gd name="connsiteX62" fmla="*/ 4175375 w 4819650"/>
              <a:gd name="connsiteY62" fmla="*/ 4746182 h 5143499"/>
              <a:gd name="connsiteX63" fmla="*/ 4175375 w 4819650"/>
              <a:gd name="connsiteY63" fmla="*/ 4799850 h 5143499"/>
              <a:gd name="connsiteX64" fmla="*/ 4196146 w 4819650"/>
              <a:gd name="connsiteY64" fmla="*/ 4799850 h 5143499"/>
              <a:gd name="connsiteX65" fmla="*/ 4196146 w 4819650"/>
              <a:gd name="connsiteY65" fmla="*/ 4744760 h 5143499"/>
              <a:gd name="connsiteX66" fmla="*/ 4159648 w 4819650"/>
              <a:gd name="connsiteY66" fmla="*/ 4711721 h 5143499"/>
              <a:gd name="connsiteX67" fmla="*/ 4133525 w 4819650"/>
              <a:gd name="connsiteY67" fmla="*/ 4722426 h 5143499"/>
              <a:gd name="connsiteX68" fmla="*/ 4107093 w 4819650"/>
              <a:gd name="connsiteY68" fmla="*/ 4711721 h 5143499"/>
              <a:gd name="connsiteX69" fmla="*/ 3892112 w 4819650"/>
              <a:gd name="connsiteY69" fmla="*/ 4711721 h 5143499"/>
              <a:gd name="connsiteX70" fmla="*/ 3849930 w 4819650"/>
              <a:gd name="connsiteY70" fmla="*/ 4756413 h 5143499"/>
              <a:gd name="connsiteX71" fmla="*/ 3892112 w 4819650"/>
              <a:gd name="connsiteY71" fmla="*/ 4801413 h 5143499"/>
              <a:gd name="connsiteX72" fmla="*/ 3934293 w 4819650"/>
              <a:gd name="connsiteY72" fmla="*/ 4756413 h 5143499"/>
              <a:gd name="connsiteX73" fmla="*/ 3892112 w 4819650"/>
              <a:gd name="connsiteY73" fmla="*/ 4711721 h 5143499"/>
              <a:gd name="connsiteX74" fmla="*/ 3837662 w 4819650"/>
              <a:gd name="connsiteY74" fmla="*/ 4711697 h 5143499"/>
              <a:gd name="connsiteX75" fmla="*/ 3799412 w 4819650"/>
              <a:gd name="connsiteY75" fmla="*/ 4749000 h 5143499"/>
              <a:gd name="connsiteX76" fmla="*/ 3799412 w 4819650"/>
              <a:gd name="connsiteY76" fmla="*/ 4799826 h 5143499"/>
              <a:gd name="connsiteX77" fmla="*/ 3820183 w 4819650"/>
              <a:gd name="connsiteY77" fmla="*/ 4799826 h 5143499"/>
              <a:gd name="connsiteX78" fmla="*/ 3820183 w 4819650"/>
              <a:gd name="connsiteY78" fmla="*/ 4750563 h 5143499"/>
              <a:gd name="connsiteX79" fmla="*/ 3837662 w 4819650"/>
              <a:gd name="connsiteY79" fmla="*/ 4731994 h 5143499"/>
              <a:gd name="connsiteX80" fmla="*/ 3842707 w 4819650"/>
              <a:gd name="connsiteY80" fmla="*/ 4732302 h 5143499"/>
              <a:gd name="connsiteX81" fmla="*/ 3846165 w 4819650"/>
              <a:gd name="connsiteY81" fmla="*/ 4712479 h 5143499"/>
              <a:gd name="connsiteX82" fmla="*/ 3837662 w 4819650"/>
              <a:gd name="connsiteY82" fmla="*/ 4711697 h 5143499"/>
              <a:gd name="connsiteX83" fmla="*/ 3783828 w 4819650"/>
              <a:gd name="connsiteY83" fmla="*/ 4756389 h 5143499"/>
              <a:gd name="connsiteX84" fmla="*/ 3701052 w 4819650"/>
              <a:gd name="connsiteY84" fmla="*/ 4834452 h 5143499"/>
              <a:gd name="connsiteX85" fmla="*/ 3721823 w 4819650"/>
              <a:gd name="connsiteY85" fmla="*/ 4834452 h 5143499"/>
              <a:gd name="connsiteX86" fmla="*/ 3721823 w 4819650"/>
              <a:gd name="connsiteY86" fmla="*/ 4795586 h 5143499"/>
              <a:gd name="connsiteX87" fmla="*/ 3742286 w 4819650"/>
              <a:gd name="connsiteY87" fmla="*/ 4801413 h 5143499"/>
              <a:gd name="connsiteX88" fmla="*/ 3783828 w 4819650"/>
              <a:gd name="connsiteY88" fmla="*/ 4756413 h 5143499"/>
              <a:gd name="connsiteX89" fmla="*/ 3783828 w 4819650"/>
              <a:gd name="connsiteY89" fmla="*/ 4756389 h 5143499"/>
              <a:gd name="connsiteX90" fmla="*/ 2094551 w 4819650"/>
              <a:gd name="connsiteY90" fmla="*/ 0 h 5143499"/>
              <a:gd name="connsiteX91" fmla="*/ 4819650 w 4819650"/>
              <a:gd name="connsiteY91" fmla="*/ 0 h 5143499"/>
              <a:gd name="connsiteX92" fmla="*/ 4819650 w 4819650"/>
              <a:gd name="connsiteY92" fmla="*/ 5143499 h 5143499"/>
              <a:gd name="connsiteX93" fmla="*/ 0 w 4819650"/>
              <a:gd name="connsiteY93" fmla="*/ 5143499 h 5143499"/>
              <a:gd name="connsiteX94" fmla="*/ 0 w 4819650"/>
              <a:gd name="connsiteY94" fmla="*/ 5143498 h 5143499"/>
              <a:gd name="connsiteX95" fmla="*/ 371745 w 4819650"/>
              <a:gd name="connsiteY95" fmla="*/ 5143498 h 5143499"/>
              <a:gd name="connsiteX96" fmla="*/ 1206499 w 4819650"/>
              <a:gd name="connsiteY96" fmla="*/ 1821610 h 5143499"/>
              <a:gd name="connsiteX97" fmla="*/ 2048326 w 4819650"/>
              <a:gd name="connsiteY97" fmla="*/ 58253 h 5143499"/>
              <a:gd name="connsiteX98" fmla="*/ 2094551 w 4819650"/>
              <a:gd name="connsiteY98" fmla="*/ 0 h 5143499"/>
              <a:gd name="connsiteX0" fmla="*/ 3892112 w 4819650"/>
              <a:gd name="connsiteY0" fmla="*/ 4731379 h 5143499"/>
              <a:gd name="connsiteX1" fmla="*/ 3913356 w 4819650"/>
              <a:gd name="connsiteY1" fmla="*/ 4756555 h 5143499"/>
              <a:gd name="connsiteX2" fmla="*/ 3892112 w 4819650"/>
              <a:gd name="connsiteY2" fmla="*/ 4781732 h 5143499"/>
              <a:gd name="connsiteX3" fmla="*/ 3870867 w 4819650"/>
              <a:gd name="connsiteY3" fmla="*/ 4756555 h 5143499"/>
              <a:gd name="connsiteX4" fmla="*/ 3892112 w 4819650"/>
              <a:gd name="connsiteY4" fmla="*/ 4731379 h 5143499"/>
              <a:gd name="connsiteX5" fmla="*/ 4212654 w 4819650"/>
              <a:gd name="connsiteY5" fmla="*/ 4713284 h 5143499"/>
              <a:gd name="connsiteX6" fmla="*/ 4212654 w 4819650"/>
              <a:gd name="connsiteY6" fmla="*/ 4762855 h 5143499"/>
              <a:gd name="connsiteX7" fmla="*/ 4251378 w 4819650"/>
              <a:gd name="connsiteY7" fmla="*/ 4801413 h 5143499"/>
              <a:gd name="connsiteX8" fmla="*/ 4290101 w 4819650"/>
              <a:gd name="connsiteY8" fmla="*/ 4762855 h 5143499"/>
              <a:gd name="connsiteX9" fmla="*/ 4290101 w 4819650"/>
              <a:gd name="connsiteY9" fmla="*/ 4713284 h 5143499"/>
              <a:gd name="connsiteX10" fmla="*/ 4290054 w 4819650"/>
              <a:gd name="connsiteY10" fmla="*/ 4713284 h 5143499"/>
              <a:gd name="connsiteX11" fmla="*/ 4269283 w 4819650"/>
              <a:gd name="connsiteY11" fmla="*/ 4713284 h 5143499"/>
              <a:gd name="connsiteX12" fmla="*/ 4269283 w 4819650"/>
              <a:gd name="connsiteY12" fmla="*/ 4762855 h 5143499"/>
              <a:gd name="connsiteX13" fmla="*/ 4251354 w 4819650"/>
              <a:gd name="connsiteY13" fmla="*/ 4781731 h 5143499"/>
              <a:gd name="connsiteX14" fmla="*/ 4233425 w 4819650"/>
              <a:gd name="connsiteY14" fmla="*/ 4762855 h 5143499"/>
              <a:gd name="connsiteX15" fmla="*/ 4233425 w 4819650"/>
              <a:gd name="connsiteY15" fmla="*/ 4713284 h 5143499"/>
              <a:gd name="connsiteX16" fmla="*/ 4212654 w 4819650"/>
              <a:gd name="connsiteY16" fmla="*/ 4713284 h 5143499"/>
              <a:gd name="connsiteX17" fmla="*/ 4031541 w 4819650"/>
              <a:gd name="connsiteY17" fmla="*/ 4713284 h 5143499"/>
              <a:gd name="connsiteX18" fmla="*/ 4031541 w 4819650"/>
              <a:gd name="connsiteY18" fmla="*/ 4799826 h 5143499"/>
              <a:gd name="connsiteX19" fmla="*/ 4052312 w 4819650"/>
              <a:gd name="connsiteY19" fmla="*/ 4799826 h 5143499"/>
              <a:gd name="connsiteX20" fmla="*/ 4052312 w 4819650"/>
              <a:gd name="connsiteY20" fmla="*/ 4713284 h 5143499"/>
              <a:gd name="connsiteX21" fmla="*/ 4031541 w 4819650"/>
              <a:gd name="connsiteY21" fmla="*/ 4713284 h 5143499"/>
              <a:gd name="connsiteX22" fmla="*/ 3936473 w 4819650"/>
              <a:gd name="connsiteY22" fmla="*/ 4713284 h 5143499"/>
              <a:gd name="connsiteX23" fmla="*/ 3966836 w 4819650"/>
              <a:gd name="connsiteY23" fmla="*/ 4756247 h 5143499"/>
              <a:gd name="connsiteX24" fmla="*/ 3936473 w 4819650"/>
              <a:gd name="connsiteY24" fmla="*/ 4799850 h 5143499"/>
              <a:gd name="connsiteX25" fmla="*/ 3959447 w 4819650"/>
              <a:gd name="connsiteY25" fmla="*/ 4799850 h 5143499"/>
              <a:gd name="connsiteX26" fmla="*/ 3978181 w 4819650"/>
              <a:gd name="connsiteY26" fmla="*/ 4771689 h 5143499"/>
              <a:gd name="connsiteX27" fmla="*/ 3996915 w 4819650"/>
              <a:gd name="connsiteY27" fmla="*/ 4799850 h 5143499"/>
              <a:gd name="connsiteX28" fmla="*/ 4019889 w 4819650"/>
              <a:gd name="connsiteY28" fmla="*/ 4799850 h 5143499"/>
              <a:gd name="connsiteX29" fmla="*/ 3989668 w 4819650"/>
              <a:gd name="connsiteY29" fmla="*/ 4756247 h 5143499"/>
              <a:gd name="connsiteX30" fmla="*/ 4019889 w 4819650"/>
              <a:gd name="connsiteY30" fmla="*/ 4713284 h 5143499"/>
              <a:gd name="connsiteX31" fmla="*/ 3996749 w 4819650"/>
              <a:gd name="connsiteY31" fmla="*/ 4713284 h 5143499"/>
              <a:gd name="connsiteX32" fmla="*/ 3978181 w 4819650"/>
              <a:gd name="connsiteY32" fmla="*/ 4741137 h 5143499"/>
              <a:gd name="connsiteX33" fmla="*/ 3959612 w 4819650"/>
              <a:gd name="connsiteY33" fmla="*/ 4713284 h 5143499"/>
              <a:gd name="connsiteX34" fmla="*/ 3936473 w 4819650"/>
              <a:gd name="connsiteY34" fmla="*/ 4713284 h 5143499"/>
              <a:gd name="connsiteX35" fmla="*/ 4336096 w 4819650"/>
              <a:gd name="connsiteY35" fmla="*/ 4730124 h 5143499"/>
              <a:gd name="connsiteX36" fmla="*/ 4304596 w 4819650"/>
              <a:gd name="connsiteY36" fmla="*/ 4737063 h 5143499"/>
              <a:gd name="connsiteX37" fmla="*/ 4330080 w 4819650"/>
              <a:gd name="connsiteY37" fmla="*/ 4761932 h 5143499"/>
              <a:gd name="connsiteX38" fmla="*/ 4336073 w 4819650"/>
              <a:gd name="connsiteY38" fmla="*/ 4764134 h 5143499"/>
              <a:gd name="connsiteX39" fmla="*/ 4351657 w 4819650"/>
              <a:gd name="connsiteY39" fmla="*/ 4774982 h 5143499"/>
              <a:gd name="connsiteX40" fmla="*/ 4337186 w 4819650"/>
              <a:gd name="connsiteY40" fmla="*/ 4782845 h 5143499"/>
              <a:gd name="connsiteX41" fmla="*/ 4308220 w 4819650"/>
              <a:gd name="connsiteY41" fmla="*/ 4775763 h 5143499"/>
              <a:gd name="connsiteX42" fmla="*/ 4303341 w 4819650"/>
              <a:gd name="connsiteY42" fmla="*/ 4793858 h 5143499"/>
              <a:gd name="connsiteX43" fmla="*/ 4338109 w 4819650"/>
              <a:gd name="connsiteY43" fmla="*/ 4801413 h 5143499"/>
              <a:gd name="connsiteX44" fmla="*/ 4372404 w 4819650"/>
              <a:gd name="connsiteY44" fmla="*/ 4774342 h 5143499"/>
              <a:gd name="connsiteX45" fmla="*/ 4345688 w 4819650"/>
              <a:gd name="connsiteY45" fmla="*/ 4747768 h 5143499"/>
              <a:gd name="connsiteX46" fmla="*/ 4339388 w 4819650"/>
              <a:gd name="connsiteY46" fmla="*/ 4745400 h 5143499"/>
              <a:gd name="connsiteX47" fmla="*/ 4336096 w 4819650"/>
              <a:gd name="connsiteY47" fmla="*/ 4730124 h 5143499"/>
              <a:gd name="connsiteX48" fmla="*/ 4107093 w 4819650"/>
              <a:gd name="connsiteY48" fmla="*/ 4711721 h 5143499"/>
              <a:gd name="connsiteX49" fmla="*/ 4070430 w 4819650"/>
              <a:gd name="connsiteY49" fmla="*/ 4744760 h 5143499"/>
              <a:gd name="connsiteX50" fmla="*/ 4070430 w 4819650"/>
              <a:gd name="connsiteY50" fmla="*/ 4799850 h 5143499"/>
              <a:gd name="connsiteX51" fmla="*/ 4091201 w 4819650"/>
              <a:gd name="connsiteY51" fmla="*/ 4799850 h 5143499"/>
              <a:gd name="connsiteX52" fmla="*/ 4091201 w 4819650"/>
              <a:gd name="connsiteY52" fmla="*/ 4746182 h 5143499"/>
              <a:gd name="connsiteX53" fmla="*/ 4106927 w 4819650"/>
              <a:gd name="connsiteY53" fmla="*/ 4731379 h 5143499"/>
              <a:gd name="connsiteX54" fmla="*/ 4122985 w 4819650"/>
              <a:gd name="connsiteY54" fmla="*/ 4746182 h 5143499"/>
              <a:gd name="connsiteX55" fmla="*/ 4122985 w 4819650"/>
              <a:gd name="connsiteY55" fmla="*/ 4799850 h 5143499"/>
              <a:gd name="connsiteX56" fmla="*/ 4143591 w 4819650"/>
              <a:gd name="connsiteY56" fmla="*/ 4799850 h 5143499"/>
              <a:gd name="connsiteX57" fmla="*/ 4143591 w 4819650"/>
              <a:gd name="connsiteY57" fmla="*/ 4746182 h 5143499"/>
              <a:gd name="connsiteX58" fmla="*/ 4159648 w 4819650"/>
              <a:gd name="connsiteY58" fmla="*/ 4731379 h 5143499"/>
              <a:gd name="connsiteX59" fmla="*/ 4175375 w 4819650"/>
              <a:gd name="connsiteY59" fmla="*/ 4746182 h 5143499"/>
              <a:gd name="connsiteX60" fmla="*/ 4175375 w 4819650"/>
              <a:gd name="connsiteY60" fmla="*/ 4799850 h 5143499"/>
              <a:gd name="connsiteX61" fmla="*/ 4196146 w 4819650"/>
              <a:gd name="connsiteY61" fmla="*/ 4799850 h 5143499"/>
              <a:gd name="connsiteX62" fmla="*/ 4196146 w 4819650"/>
              <a:gd name="connsiteY62" fmla="*/ 4744760 h 5143499"/>
              <a:gd name="connsiteX63" fmla="*/ 4159648 w 4819650"/>
              <a:gd name="connsiteY63" fmla="*/ 4711721 h 5143499"/>
              <a:gd name="connsiteX64" fmla="*/ 4133525 w 4819650"/>
              <a:gd name="connsiteY64" fmla="*/ 4722426 h 5143499"/>
              <a:gd name="connsiteX65" fmla="*/ 4107093 w 4819650"/>
              <a:gd name="connsiteY65" fmla="*/ 4711721 h 5143499"/>
              <a:gd name="connsiteX66" fmla="*/ 3892112 w 4819650"/>
              <a:gd name="connsiteY66" fmla="*/ 4711721 h 5143499"/>
              <a:gd name="connsiteX67" fmla="*/ 3849930 w 4819650"/>
              <a:gd name="connsiteY67" fmla="*/ 4756413 h 5143499"/>
              <a:gd name="connsiteX68" fmla="*/ 3892112 w 4819650"/>
              <a:gd name="connsiteY68" fmla="*/ 4801413 h 5143499"/>
              <a:gd name="connsiteX69" fmla="*/ 3934293 w 4819650"/>
              <a:gd name="connsiteY69" fmla="*/ 4756413 h 5143499"/>
              <a:gd name="connsiteX70" fmla="*/ 3892112 w 4819650"/>
              <a:gd name="connsiteY70" fmla="*/ 4711721 h 5143499"/>
              <a:gd name="connsiteX71" fmla="*/ 3837662 w 4819650"/>
              <a:gd name="connsiteY71" fmla="*/ 4711697 h 5143499"/>
              <a:gd name="connsiteX72" fmla="*/ 3799412 w 4819650"/>
              <a:gd name="connsiteY72" fmla="*/ 4749000 h 5143499"/>
              <a:gd name="connsiteX73" fmla="*/ 3799412 w 4819650"/>
              <a:gd name="connsiteY73" fmla="*/ 4799826 h 5143499"/>
              <a:gd name="connsiteX74" fmla="*/ 3820183 w 4819650"/>
              <a:gd name="connsiteY74" fmla="*/ 4799826 h 5143499"/>
              <a:gd name="connsiteX75" fmla="*/ 3820183 w 4819650"/>
              <a:gd name="connsiteY75" fmla="*/ 4750563 h 5143499"/>
              <a:gd name="connsiteX76" fmla="*/ 3837662 w 4819650"/>
              <a:gd name="connsiteY76" fmla="*/ 4731994 h 5143499"/>
              <a:gd name="connsiteX77" fmla="*/ 3842707 w 4819650"/>
              <a:gd name="connsiteY77" fmla="*/ 4732302 h 5143499"/>
              <a:gd name="connsiteX78" fmla="*/ 3846165 w 4819650"/>
              <a:gd name="connsiteY78" fmla="*/ 4712479 h 5143499"/>
              <a:gd name="connsiteX79" fmla="*/ 3837662 w 4819650"/>
              <a:gd name="connsiteY79" fmla="*/ 4711697 h 5143499"/>
              <a:gd name="connsiteX80" fmla="*/ 3783828 w 4819650"/>
              <a:gd name="connsiteY80" fmla="*/ 4756389 h 5143499"/>
              <a:gd name="connsiteX81" fmla="*/ 3701052 w 4819650"/>
              <a:gd name="connsiteY81" fmla="*/ 4834452 h 5143499"/>
              <a:gd name="connsiteX82" fmla="*/ 3721823 w 4819650"/>
              <a:gd name="connsiteY82" fmla="*/ 4834452 h 5143499"/>
              <a:gd name="connsiteX83" fmla="*/ 3721823 w 4819650"/>
              <a:gd name="connsiteY83" fmla="*/ 4795586 h 5143499"/>
              <a:gd name="connsiteX84" fmla="*/ 3742286 w 4819650"/>
              <a:gd name="connsiteY84" fmla="*/ 4801413 h 5143499"/>
              <a:gd name="connsiteX85" fmla="*/ 3783828 w 4819650"/>
              <a:gd name="connsiteY85" fmla="*/ 4756413 h 5143499"/>
              <a:gd name="connsiteX86" fmla="*/ 3783828 w 4819650"/>
              <a:gd name="connsiteY86" fmla="*/ 4756389 h 5143499"/>
              <a:gd name="connsiteX87" fmla="*/ 2094551 w 4819650"/>
              <a:gd name="connsiteY87" fmla="*/ 0 h 5143499"/>
              <a:gd name="connsiteX88" fmla="*/ 4819650 w 4819650"/>
              <a:gd name="connsiteY88" fmla="*/ 0 h 5143499"/>
              <a:gd name="connsiteX89" fmla="*/ 4819650 w 4819650"/>
              <a:gd name="connsiteY89" fmla="*/ 5143499 h 5143499"/>
              <a:gd name="connsiteX90" fmla="*/ 0 w 4819650"/>
              <a:gd name="connsiteY90" fmla="*/ 5143499 h 5143499"/>
              <a:gd name="connsiteX91" fmla="*/ 0 w 4819650"/>
              <a:gd name="connsiteY91" fmla="*/ 5143498 h 5143499"/>
              <a:gd name="connsiteX92" fmla="*/ 371745 w 4819650"/>
              <a:gd name="connsiteY92" fmla="*/ 5143498 h 5143499"/>
              <a:gd name="connsiteX93" fmla="*/ 1206499 w 4819650"/>
              <a:gd name="connsiteY93" fmla="*/ 1821610 h 5143499"/>
              <a:gd name="connsiteX94" fmla="*/ 2048326 w 4819650"/>
              <a:gd name="connsiteY94" fmla="*/ 58253 h 5143499"/>
              <a:gd name="connsiteX95" fmla="*/ 2094551 w 4819650"/>
              <a:gd name="connsiteY95" fmla="*/ 0 h 5143499"/>
              <a:gd name="connsiteX0" fmla="*/ 3892112 w 4819650"/>
              <a:gd name="connsiteY0" fmla="*/ 4731379 h 5143499"/>
              <a:gd name="connsiteX1" fmla="*/ 3913356 w 4819650"/>
              <a:gd name="connsiteY1" fmla="*/ 4756555 h 5143499"/>
              <a:gd name="connsiteX2" fmla="*/ 3892112 w 4819650"/>
              <a:gd name="connsiteY2" fmla="*/ 4781732 h 5143499"/>
              <a:gd name="connsiteX3" fmla="*/ 3870867 w 4819650"/>
              <a:gd name="connsiteY3" fmla="*/ 4756555 h 5143499"/>
              <a:gd name="connsiteX4" fmla="*/ 3892112 w 4819650"/>
              <a:gd name="connsiteY4" fmla="*/ 4731379 h 5143499"/>
              <a:gd name="connsiteX5" fmla="*/ 4212654 w 4819650"/>
              <a:gd name="connsiteY5" fmla="*/ 4713284 h 5143499"/>
              <a:gd name="connsiteX6" fmla="*/ 4212654 w 4819650"/>
              <a:gd name="connsiteY6" fmla="*/ 4762855 h 5143499"/>
              <a:gd name="connsiteX7" fmla="*/ 4251378 w 4819650"/>
              <a:gd name="connsiteY7" fmla="*/ 4801413 h 5143499"/>
              <a:gd name="connsiteX8" fmla="*/ 4290101 w 4819650"/>
              <a:gd name="connsiteY8" fmla="*/ 4762855 h 5143499"/>
              <a:gd name="connsiteX9" fmla="*/ 4290101 w 4819650"/>
              <a:gd name="connsiteY9" fmla="*/ 4713284 h 5143499"/>
              <a:gd name="connsiteX10" fmla="*/ 4290054 w 4819650"/>
              <a:gd name="connsiteY10" fmla="*/ 4713284 h 5143499"/>
              <a:gd name="connsiteX11" fmla="*/ 4269283 w 4819650"/>
              <a:gd name="connsiteY11" fmla="*/ 4713284 h 5143499"/>
              <a:gd name="connsiteX12" fmla="*/ 4269283 w 4819650"/>
              <a:gd name="connsiteY12" fmla="*/ 4762855 h 5143499"/>
              <a:gd name="connsiteX13" fmla="*/ 4251354 w 4819650"/>
              <a:gd name="connsiteY13" fmla="*/ 4781731 h 5143499"/>
              <a:gd name="connsiteX14" fmla="*/ 4233425 w 4819650"/>
              <a:gd name="connsiteY14" fmla="*/ 4762855 h 5143499"/>
              <a:gd name="connsiteX15" fmla="*/ 4233425 w 4819650"/>
              <a:gd name="connsiteY15" fmla="*/ 4713284 h 5143499"/>
              <a:gd name="connsiteX16" fmla="*/ 4212654 w 4819650"/>
              <a:gd name="connsiteY16" fmla="*/ 4713284 h 5143499"/>
              <a:gd name="connsiteX17" fmla="*/ 4031541 w 4819650"/>
              <a:gd name="connsiteY17" fmla="*/ 4713284 h 5143499"/>
              <a:gd name="connsiteX18" fmla="*/ 4031541 w 4819650"/>
              <a:gd name="connsiteY18" fmla="*/ 4799826 h 5143499"/>
              <a:gd name="connsiteX19" fmla="*/ 4052312 w 4819650"/>
              <a:gd name="connsiteY19" fmla="*/ 4799826 h 5143499"/>
              <a:gd name="connsiteX20" fmla="*/ 4052312 w 4819650"/>
              <a:gd name="connsiteY20" fmla="*/ 4713284 h 5143499"/>
              <a:gd name="connsiteX21" fmla="*/ 4031541 w 4819650"/>
              <a:gd name="connsiteY21" fmla="*/ 4713284 h 5143499"/>
              <a:gd name="connsiteX22" fmla="*/ 3936473 w 4819650"/>
              <a:gd name="connsiteY22" fmla="*/ 4713284 h 5143499"/>
              <a:gd name="connsiteX23" fmla="*/ 3966836 w 4819650"/>
              <a:gd name="connsiteY23" fmla="*/ 4756247 h 5143499"/>
              <a:gd name="connsiteX24" fmla="*/ 3936473 w 4819650"/>
              <a:gd name="connsiteY24" fmla="*/ 4799850 h 5143499"/>
              <a:gd name="connsiteX25" fmla="*/ 3959447 w 4819650"/>
              <a:gd name="connsiteY25" fmla="*/ 4799850 h 5143499"/>
              <a:gd name="connsiteX26" fmla="*/ 3978181 w 4819650"/>
              <a:gd name="connsiteY26" fmla="*/ 4771689 h 5143499"/>
              <a:gd name="connsiteX27" fmla="*/ 3996915 w 4819650"/>
              <a:gd name="connsiteY27" fmla="*/ 4799850 h 5143499"/>
              <a:gd name="connsiteX28" fmla="*/ 4019889 w 4819650"/>
              <a:gd name="connsiteY28" fmla="*/ 4799850 h 5143499"/>
              <a:gd name="connsiteX29" fmla="*/ 3989668 w 4819650"/>
              <a:gd name="connsiteY29" fmla="*/ 4756247 h 5143499"/>
              <a:gd name="connsiteX30" fmla="*/ 4019889 w 4819650"/>
              <a:gd name="connsiteY30" fmla="*/ 4713284 h 5143499"/>
              <a:gd name="connsiteX31" fmla="*/ 3996749 w 4819650"/>
              <a:gd name="connsiteY31" fmla="*/ 4713284 h 5143499"/>
              <a:gd name="connsiteX32" fmla="*/ 3978181 w 4819650"/>
              <a:gd name="connsiteY32" fmla="*/ 4741137 h 5143499"/>
              <a:gd name="connsiteX33" fmla="*/ 3959612 w 4819650"/>
              <a:gd name="connsiteY33" fmla="*/ 4713284 h 5143499"/>
              <a:gd name="connsiteX34" fmla="*/ 3936473 w 4819650"/>
              <a:gd name="connsiteY34" fmla="*/ 4713284 h 5143499"/>
              <a:gd name="connsiteX35" fmla="*/ 4336096 w 4819650"/>
              <a:gd name="connsiteY35" fmla="*/ 4730124 h 5143499"/>
              <a:gd name="connsiteX36" fmla="*/ 4304596 w 4819650"/>
              <a:gd name="connsiteY36" fmla="*/ 4737063 h 5143499"/>
              <a:gd name="connsiteX37" fmla="*/ 4330080 w 4819650"/>
              <a:gd name="connsiteY37" fmla="*/ 4761932 h 5143499"/>
              <a:gd name="connsiteX38" fmla="*/ 4336073 w 4819650"/>
              <a:gd name="connsiteY38" fmla="*/ 4764134 h 5143499"/>
              <a:gd name="connsiteX39" fmla="*/ 4351657 w 4819650"/>
              <a:gd name="connsiteY39" fmla="*/ 4774982 h 5143499"/>
              <a:gd name="connsiteX40" fmla="*/ 4337186 w 4819650"/>
              <a:gd name="connsiteY40" fmla="*/ 4782845 h 5143499"/>
              <a:gd name="connsiteX41" fmla="*/ 4308220 w 4819650"/>
              <a:gd name="connsiteY41" fmla="*/ 4775763 h 5143499"/>
              <a:gd name="connsiteX42" fmla="*/ 4303341 w 4819650"/>
              <a:gd name="connsiteY42" fmla="*/ 4793858 h 5143499"/>
              <a:gd name="connsiteX43" fmla="*/ 4338109 w 4819650"/>
              <a:gd name="connsiteY43" fmla="*/ 4801413 h 5143499"/>
              <a:gd name="connsiteX44" fmla="*/ 4372404 w 4819650"/>
              <a:gd name="connsiteY44" fmla="*/ 4774342 h 5143499"/>
              <a:gd name="connsiteX45" fmla="*/ 4345688 w 4819650"/>
              <a:gd name="connsiteY45" fmla="*/ 4747768 h 5143499"/>
              <a:gd name="connsiteX46" fmla="*/ 4339388 w 4819650"/>
              <a:gd name="connsiteY46" fmla="*/ 4745400 h 5143499"/>
              <a:gd name="connsiteX47" fmla="*/ 4336096 w 4819650"/>
              <a:gd name="connsiteY47" fmla="*/ 4730124 h 5143499"/>
              <a:gd name="connsiteX48" fmla="*/ 4107093 w 4819650"/>
              <a:gd name="connsiteY48" fmla="*/ 4711721 h 5143499"/>
              <a:gd name="connsiteX49" fmla="*/ 4070430 w 4819650"/>
              <a:gd name="connsiteY49" fmla="*/ 4744760 h 5143499"/>
              <a:gd name="connsiteX50" fmla="*/ 4070430 w 4819650"/>
              <a:gd name="connsiteY50" fmla="*/ 4799850 h 5143499"/>
              <a:gd name="connsiteX51" fmla="*/ 4091201 w 4819650"/>
              <a:gd name="connsiteY51" fmla="*/ 4799850 h 5143499"/>
              <a:gd name="connsiteX52" fmla="*/ 4091201 w 4819650"/>
              <a:gd name="connsiteY52" fmla="*/ 4746182 h 5143499"/>
              <a:gd name="connsiteX53" fmla="*/ 4106927 w 4819650"/>
              <a:gd name="connsiteY53" fmla="*/ 4731379 h 5143499"/>
              <a:gd name="connsiteX54" fmla="*/ 4122985 w 4819650"/>
              <a:gd name="connsiteY54" fmla="*/ 4746182 h 5143499"/>
              <a:gd name="connsiteX55" fmla="*/ 4122985 w 4819650"/>
              <a:gd name="connsiteY55" fmla="*/ 4799850 h 5143499"/>
              <a:gd name="connsiteX56" fmla="*/ 4143591 w 4819650"/>
              <a:gd name="connsiteY56" fmla="*/ 4799850 h 5143499"/>
              <a:gd name="connsiteX57" fmla="*/ 4143591 w 4819650"/>
              <a:gd name="connsiteY57" fmla="*/ 4746182 h 5143499"/>
              <a:gd name="connsiteX58" fmla="*/ 4159648 w 4819650"/>
              <a:gd name="connsiteY58" fmla="*/ 4731379 h 5143499"/>
              <a:gd name="connsiteX59" fmla="*/ 4175375 w 4819650"/>
              <a:gd name="connsiteY59" fmla="*/ 4746182 h 5143499"/>
              <a:gd name="connsiteX60" fmla="*/ 4175375 w 4819650"/>
              <a:gd name="connsiteY60" fmla="*/ 4799850 h 5143499"/>
              <a:gd name="connsiteX61" fmla="*/ 4196146 w 4819650"/>
              <a:gd name="connsiteY61" fmla="*/ 4799850 h 5143499"/>
              <a:gd name="connsiteX62" fmla="*/ 4196146 w 4819650"/>
              <a:gd name="connsiteY62" fmla="*/ 4744760 h 5143499"/>
              <a:gd name="connsiteX63" fmla="*/ 4159648 w 4819650"/>
              <a:gd name="connsiteY63" fmla="*/ 4711721 h 5143499"/>
              <a:gd name="connsiteX64" fmla="*/ 4133525 w 4819650"/>
              <a:gd name="connsiteY64" fmla="*/ 4722426 h 5143499"/>
              <a:gd name="connsiteX65" fmla="*/ 4107093 w 4819650"/>
              <a:gd name="connsiteY65" fmla="*/ 4711721 h 5143499"/>
              <a:gd name="connsiteX66" fmla="*/ 3892112 w 4819650"/>
              <a:gd name="connsiteY66" fmla="*/ 4711721 h 5143499"/>
              <a:gd name="connsiteX67" fmla="*/ 3849930 w 4819650"/>
              <a:gd name="connsiteY67" fmla="*/ 4756413 h 5143499"/>
              <a:gd name="connsiteX68" fmla="*/ 3892112 w 4819650"/>
              <a:gd name="connsiteY68" fmla="*/ 4801413 h 5143499"/>
              <a:gd name="connsiteX69" fmla="*/ 3934293 w 4819650"/>
              <a:gd name="connsiteY69" fmla="*/ 4756413 h 5143499"/>
              <a:gd name="connsiteX70" fmla="*/ 3892112 w 4819650"/>
              <a:gd name="connsiteY70" fmla="*/ 4711721 h 5143499"/>
              <a:gd name="connsiteX71" fmla="*/ 3846165 w 4819650"/>
              <a:gd name="connsiteY71" fmla="*/ 4712479 h 5143499"/>
              <a:gd name="connsiteX72" fmla="*/ 3799412 w 4819650"/>
              <a:gd name="connsiteY72" fmla="*/ 4749000 h 5143499"/>
              <a:gd name="connsiteX73" fmla="*/ 3799412 w 4819650"/>
              <a:gd name="connsiteY73" fmla="*/ 4799826 h 5143499"/>
              <a:gd name="connsiteX74" fmla="*/ 3820183 w 4819650"/>
              <a:gd name="connsiteY74" fmla="*/ 4799826 h 5143499"/>
              <a:gd name="connsiteX75" fmla="*/ 3820183 w 4819650"/>
              <a:gd name="connsiteY75" fmla="*/ 4750563 h 5143499"/>
              <a:gd name="connsiteX76" fmla="*/ 3837662 w 4819650"/>
              <a:gd name="connsiteY76" fmla="*/ 4731994 h 5143499"/>
              <a:gd name="connsiteX77" fmla="*/ 3842707 w 4819650"/>
              <a:gd name="connsiteY77" fmla="*/ 4732302 h 5143499"/>
              <a:gd name="connsiteX78" fmla="*/ 3846165 w 4819650"/>
              <a:gd name="connsiteY78" fmla="*/ 4712479 h 5143499"/>
              <a:gd name="connsiteX79" fmla="*/ 3783828 w 4819650"/>
              <a:gd name="connsiteY79" fmla="*/ 4756389 h 5143499"/>
              <a:gd name="connsiteX80" fmla="*/ 3701052 w 4819650"/>
              <a:gd name="connsiteY80" fmla="*/ 4834452 h 5143499"/>
              <a:gd name="connsiteX81" fmla="*/ 3721823 w 4819650"/>
              <a:gd name="connsiteY81" fmla="*/ 4834452 h 5143499"/>
              <a:gd name="connsiteX82" fmla="*/ 3721823 w 4819650"/>
              <a:gd name="connsiteY82" fmla="*/ 4795586 h 5143499"/>
              <a:gd name="connsiteX83" fmla="*/ 3742286 w 4819650"/>
              <a:gd name="connsiteY83" fmla="*/ 4801413 h 5143499"/>
              <a:gd name="connsiteX84" fmla="*/ 3783828 w 4819650"/>
              <a:gd name="connsiteY84" fmla="*/ 4756413 h 5143499"/>
              <a:gd name="connsiteX85" fmla="*/ 3783828 w 4819650"/>
              <a:gd name="connsiteY85" fmla="*/ 4756389 h 5143499"/>
              <a:gd name="connsiteX86" fmla="*/ 2094551 w 4819650"/>
              <a:gd name="connsiteY86" fmla="*/ 0 h 5143499"/>
              <a:gd name="connsiteX87" fmla="*/ 4819650 w 4819650"/>
              <a:gd name="connsiteY87" fmla="*/ 0 h 5143499"/>
              <a:gd name="connsiteX88" fmla="*/ 4819650 w 4819650"/>
              <a:gd name="connsiteY88" fmla="*/ 5143499 h 5143499"/>
              <a:gd name="connsiteX89" fmla="*/ 0 w 4819650"/>
              <a:gd name="connsiteY89" fmla="*/ 5143499 h 5143499"/>
              <a:gd name="connsiteX90" fmla="*/ 0 w 4819650"/>
              <a:gd name="connsiteY90" fmla="*/ 5143498 h 5143499"/>
              <a:gd name="connsiteX91" fmla="*/ 371745 w 4819650"/>
              <a:gd name="connsiteY91" fmla="*/ 5143498 h 5143499"/>
              <a:gd name="connsiteX92" fmla="*/ 1206499 w 4819650"/>
              <a:gd name="connsiteY92" fmla="*/ 1821610 h 5143499"/>
              <a:gd name="connsiteX93" fmla="*/ 2048326 w 4819650"/>
              <a:gd name="connsiteY93" fmla="*/ 58253 h 5143499"/>
              <a:gd name="connsiteX94" fmla="*/ 2094551 w 4819650"/>
              <a:gd name="connsiteY94" fmla="*/ 0 h 5143499"/>
              <a:gd name="connsiteX0" fmla="*/ 3892112 w 4819650"/>
              <a:gd name="connsiteY0" fmla="*/ 4731379 h 5143499"/>
              <a:gd name="connsiteX1" fmla="*/ 3913356 w 4819650"/>
              <a:gd name="connsiteY1" fmla="*/ 4756555 h 5143499"/>
              <a:gd name="connsiteX2" fmla="*/ 3892112 w 4819650"/>
              <a:gd name="connsiteY2" fmla="*/ 4781732 h 5143499"/>
              <a:gd name="connsiteX3" fmla="*/ 3870867 w 4819650"/>
              <a:gd name="connsiteY3" fmla="*/ 4756555 h 5143499"/>
              <a:gd name="connsiteX4" fmla="*/ 3892112 w 4819650"/>
              <a:gd name="connsiteY4" fmla="*/ 4731379 h 5143499"/>
              <a:gd name="connsiteX5" fmla="*/ 4212654 w 4819650"/>
              <a:gd name="connsiteY5" fmla="*/ 4713284 h 5143499"/>
              <a:gd name="connsiteX6" fmla="*/ 4212654 w 4819650"/>
              <a:gd name="connsiteY6" fmla="*/ 4762855 h 5143499"/>
              <a:gd name="connsiteX7" fmla="*/ 4251378 w 4819650"/>
              <a:gd name="connsiteY7" fmla="*/ 4801413 h 5143499"/>
              <a:gd name="connsiteX8" fmla="*/ 4290101 w 4819650"/>
              <a:gd name="connsiteY8" fmla="*/ 4762855 h 5143499"/>
              <a:gd name="connsiteX9" fmla="*/ 4290101 w 4819650"/>
              <a:gd name="connsiteY9" fmla="*/ 4713284 h 5143499"/>
              <a:gd name="connsiteX10" fmla="*/ 4290054 w 4819650"/>
              <a:gd name="connsiteY10" fmla="*/ 4713284 h 5143499"/>
              <a:gd name="connsiteX11" fmla="*/ 4269283 w 4819650"/>
              <a:gd name="connsiteY11" fmla="*/ 4713284 h 5143499"/>
              <a:gd name="connsiteX12" fmla="*/ 4269283 w 4819650"/>
              <a:gd name="connsiteY12" fmla="*/ 4762855 h 5143499"/>
              <a:gd name="connsiteX13" fmla="*/ 4251354 w 4819650"/>
              <a:gd name="connsiteY13" fmla="*/ 4781731 h 5143499"/>
              <a:gd name="connsiteX14" fmla="*/ 4233425 w 4819650"/>
              <a:gd name="connsiteY14" fmla="*/ 4762855 h 5143499"/>
              <a:gd name="connsiteX15" fmla="*/ 4233425 w 4819650"/>
              <a:gd name="connsiteY15" fmla="*/ 4713284 h 5143499"/>
              <a:gd name="connsiteX16" fmla="*/ 4212654 w 4819650"/>
              <a:gd name="connsiteY16" fmla="*/ 4713284 h 5143499"/>
              <a:gd name="connsiteX17" fmla="*/ 4031541 w 4819650"/>
              <a:gd name="connsiteY17" fmla="*/ 4713284 h 5143499"/>
              <a:gd name="connsiteX18" fmla="*/ 4031541 w 4819650"/>
              <a:gd name="connsiteY18" fmla="*/ 4799826 h 5143499"/>
              <a:gd name="connsiteX19" fmla="*/ 4052312 w 4819650"/>
              <a:gd name="connsiteY19" fmla="*/ 4799826 h 5143499"/>
              <a:gd name="connsiteX20" fmla="*/ 4052312 w 4819650"/>
              <a:gd name="connsiteY20" fmla="*/ 4713284 h 5143499"/>
              <a:gd name="connsiteX21" fmla="*/ 4031541 w 4819650"/>
              <a:gd name="connsiteY21" fmla="*/ 4713284 h 5143499"/>
              <a:gd name="connsiteX22" fmla="*/ 3936473 w 4819650"/>
              <a:gd name="connsiteY22" fmla="*/ 4713284 h 5143499"/>
              <a:gd name="connsiteX23" fmla="*/ 3966836 w 4819650"/>
              <a:gd name="connsiteY23" fmla="*/ 4756247 h 5143499"/>
              <a:gd name="connsiteX24" fmla="*/ 3936473 w 4819650"/>
              <a:gd name="connsiteY24" fmla="*/ 4799850 h 5143499"/>
              <a:gd name="connsiteX25" fmla="*/ 3959447 w 4819650"/>
              <a:gd name="connsiteY25" fmla="*/ 4799850 h 5143499"/>
              <a:gd name="connsiteX26" fmla="*/ 3978181 w 4819650"/>
              <a:gd name="connsiteY26" fmla="*/ 4771689 h 5143499"/>
              <a:gd name="connsiteX27" fmla="*/ 3996915 w 4819650"/>
              <a:gd name="connsiteY27" fmla="*/ 4799850 h 5143499"/>
              <a:gd name="connsiteX28" fmla="*/ 4019889 w 4819650"/>
              <a:gd name="connsiteY28" fmla="*/ 4799850 h 5143499"/>
              <a:gd name="connsiteX29" fmla="*/ 3989668 w 4819650"/>
              <a:gd name="connsiteY29" fmla="*/ 4756247 h 5143499"/>
              <a:gd name="connsiteX30" fmla="*/ 4019889 w 4819650"/>
              <a:gd name="connsiteY30" fmla="*/ 4713284 h 5143499"/>
              <a:gd name="connsiteX31" fmla="*/ 3996749 w 4819650"/>
              <a:gd name="connsiteY31" fmla="*/ 4713284 h 5143499"/>
              <a:gd name="connsiteX32" fmla="*/ 3978181 w 4819650"/>
              <a:gd name="connsiteY32" fmla="*/ 4741137 h 5143499"/>
              <a:gd name="connsiteX33" fmla="*/ 3959612 w 4819650"/>
              <a:gd name="connsiteY33" fmla="*/ 4713284 h 5143499"/>
              <a:gd name="connsiteX34" fmla="*/ 3936473 w 4819650"/>
              <a:gd name="connsiteY34" fmla="*/ 4713284 h 5143499"/>
              <a:gd name="connsiteX35" fmla="*/ 4336096 w 4819650"/>
              <a:gd name="connsiteY35" fmla="*/ 4730124 h 5143499"/>
              <a:gd name="connsiteX36" fmla="*/ 4304596 w 4819650"/>
              <a:gd name="connsiteY36" fmla="*/ 4737063 h 5143499"/>
              <a:gd name="connsiteX37" fmla="*/ 4330080 w 4819650"/>
              <a:gd name="connsiteY37" fmla="*/ 4761932 h 5143499"/>
              <a:gd name="connsiteX38" fmla="*/ 4336073 w 4819650"/>
              <a:gd name="connsiteY38" fmla="*/ 4764134 h 5143499"/>
              <a:gd name="connsiteX39" fmla="*/ 4351657 w 4819650"/>
              <a:gd name="connsiteY39" fmla="*/ 4774982 h 5143499"/>
              <a:gd name="connsiteX40" fmla="*/ 4337186 w 4819650"/>
              <a:gd name="connsiteY40" fmla="*/ 4782845 h 5143499"/>
              <a:gd name="connsiteX41" fmla="*/ 4308220 w 4819650"/>
              <a:gd name="connsiteY41" fmla="*/ 4775763 h 5143499"/>
              <a:gd name="connsiteX42" fmla="*/ 4303341 w 4819650"/>
              <a:gd name="connsiteY42" fmla="*/ 4793858 h 5143499"/>
              <a:gd name="connsiteX43" fmla="*/ 4338109 w 4819650"/>
              <a:gd name="connsiteY43" fmla="*/ 4801413 h 5143499"/>
              <a:gd name="connsiteX44" fmla="*/ 4372404 w 4819650"/>
              <a:gd name="connsiteY44" fmla="*/ 4774342 h 5143499"/>
              <a:gd name="connsiteX45" fmla="*/ 4345688 w 4819650"/>
              <a:gd name="connsiteY45" fmla="*/ 4747768 h 5143499"/>
              <a:gd name="connsiteX46" fmla="*/ 4339388 w 4819650"/>
              <a:gd name="connsiteY46" fmla="*/ 4745400 h 5143499"/>
              <a:gd name="connsiteX47" fmla="*/ 4336096 w 4819650"/>
              <a:gd name="connsiteY47" fmla="*/ 4730124 h 5143499"/>
              <a:gd name="connsiteX48" fmla="*/ 4107093 w 4819650"/>
              <a:gd name="connsiteY48" fmla="*/ 4711721 h 5143499"/>
              <a:gd name="connsiteX49" fmla="*/ 4070430 w 4819650"/>
              <a:gd name="connsiteY49" fmla="*/ 4744760 h 5143499"/>
              <a:gd name="connsiteX50" fmla="*/ 4070430 w 4819650"/>
              <a:gd name="connsiteY50" fmla="*/ 4799850 h 5143499"/>
              <a:gd name="connsiteX51" fmla="*/ 4091201 w 4819650"/>
              <a:gd name="connsiteY51" fmla="*/ 4799850 h 5143499"/>
              <a:gd name="connsiteX52" fmla="*/ 4091201 w 4819650"/>
              <a:gd name="connsiteY52" fmla="*/ 4746182 h 5143499"/>
              <a:gd name="connsiteX53" fmla="*/ 4106927 w 4819650"/>
              <a:gd name="connsiteY53" fmla="*/ 4731379 h 5143499"/>
              <a:gd name="connsiteX54" fmla="*/ 4122985 w 4819650"/>
              <a:gd name="connsiteY54" fmla="*/ 4746182 h 5143499"/>
              <a:gd name="connsiteX55" fmla="*/ 4122985 w 4819650"/>
              <a:gd name="connsiteY55" fmla="*/ 4799850 h 5143499"/>
              <a:gd name="connsiteX56" fmla="*/ 4143591 w 4819650"/>
              <a:gd name="connsiteY56" fmla="*/ 4799850 h 5143499"/>
              <a:gd name="connsiteX57" fmla="*/ 4143591 w 4819650"/>
              <a:gd name="connsiteY57" fmla="*/ 4746182 h 5143499"/>
              <a:gd name="connsiteX58" fmla="*/ 4159648 w 4819650"/>
              <a:gd name="connsiteY58" fmla="*/ 4731379 h 5143499"/>
              <a:gd name="connsiteX59" fmla="*/ 4175375 w 4819650"/>
              <a:gd name="connsiteY59" fmla="*/ 4746182 h 5143499"/>
              <a:gd name="connsiteX60" fmla="*/ 4175375 w 4819650"/>
              <a:gd name="connsiteY60" fmla="*/ 4799850 h 5143499"/>
              <a:gd name="connsiteX61" fmla="*/ 4196146 w 4819650"/>
              <a:gd name="connsiteY61" fmla="*/ 4799850 h 5143499"/>
              <a:gd name="connsiteX62" fmla="*/ 4196146 w 4819650"/>
              <a:gd name="connsiteY62" fmla="*/ 4744760 h 5143499"/>
              <a:gd name="connsiteX63" fmla="*/ 4159648 w 4819650"/>
              <a:gd name="connsiteY63" fmla="*/ 4711721 h 5143499"/>
              <a:gd name="connsiteX64" fmla="*/ 4133525 w 4819650"/>
              <a:gd name="connsiteY64" fmla="*/ 4722426 h 5143499"/>
              <a:gd name="connsiteX65" fmla="*/ 4107093 w 4819650"/>
              <a:gd name="connsiteY65" fmla="*/ 4711721 h 5143499"/>
              <a:gd name="connsiteX66" fmla="*/ 3892112 w 4819650"/>
              <a:gd name="connsiteY66" fmla="*/ 4711721 h 5143499"/>
              <a:gd name="connsiteX67" fmla="*/ 3849930 w 4819650"/>
              <a:gd name="connsiteY67" fmla="*/ 4756413 h 5143499"/>
              <a:gd name="connsiteX68" fmla="*/ 3892112 w 4819650"/>
              <a:gd name="connsiteY68" fmla="*/ 4801413 h 5143499"/>
              <a:gd name="connsiteX69" fmla="*/ 3934293 w 4819650"/>
              <a:gd name="connsiteY69" fmla="*/ 4756413 h 5143499"/>
              <a:gd name="connsiteX70" fmla="*/ 3892112 w 4819650"/>
              <a:gd name="connsiteY70" fmla="*/ 4711721 h 5143499"/>
              <a:gd name="connsiteX71" fmla="*/ 3846165 w 4819650"/>
              <a:gd name="connsiteY71" fmla="*/ 4712479 h 5143499"/>
              <a:gd name="connsiteX72" fmla="*/ 3799412 w 4819650"/>
              <a:gd name="connsiteY72" fmla="*/ 4749000 h 5143499"/>
              <a:gd name="connsiteX73" fmla="*/ 3799412 w 4819650"/>
              <a:gd name="connsiteY73" fmla="*/ 4799826 h 5143499"/>
              <a:gd name="connsiteX74" fmla="*/ 3820183 w 4819650"/>
              <a:gd name="connsiteY74" fmla="*/ 4799826 h 5143499"/>
              <a:gd name="connsiteX75" fmla="*/ 3820183 w 4819650"/>
              <a:gd name="connsiteY75" fmla="*/ 4750563 h 5143499"/>
              <a:gd name="connsiteX76" fmla="*/ 3837662 w 4819650"/>
              <a:gd name="connsiteY76" fmla="*/ 4731994 h 5143499"/>
              <a:gd name="connsiteX77" fmla="*/ 3842707 w 4819650"/>
              <a:gd name="connsiteY77" fmla="*/ 4732302 h 5143499"/>
              <a:gd name="connsiteX78" fmla="*/ 3846165 w 4819650"/>
              <a:gd name="connsiteY78" fmla="*/ 4712479 h 5143499"/>
              <a:gd name="connsiteX79" fmla="*/ 3783828 w 4819650"/>
              <a:gd name="connsiteY79" fmla="*/ 4756389 h 5143499"/>
              <a:gd name="connsiteX80" fmla="*/ 3701052 w 4819650"/>
              <a:gd name="connsiteY80" fmla="*/ 4834452 h 5143499"/>
              <a:gd name="connsiteX81" fmla="*/ 3721823 w 4819650"/>
              <a:gd name="connsiteY81" fmla="*/ 4834452 h 5143499"/>
              <a:gd name="connsiteX82" fmla="*/ 3721823 w 4819650"/>
              <a:gd name="connsiteY82" fmla="*/ 4795586 h 5143499"/>
              <a:gd name="connsiteX83" fmla="*/ 3742286 w 4819650"/>
              <a:gd name="connsiteY83" fmla="*/ 4801413 h 5143499"/>
              <a:gd name="connsiteX84" fmla="*/ 3783828 w 4819650"/>
              <a:gd name="connsiteY84" fmla="*/ 4756413 h 5143499"/>
              <a:gd name="connsiteX85" fmla="*/ 3783828 w 4819650"/>
              <a:gd name="connsiteY85" fmla="*/ 4756389 h 5143499"/>
              <a:gd name="connsiteX86" fmla="*/ 2094551 w 4819650"/>
              <a:gd name="connsiteY86" fmla="*/ 0 h 5143499"/>
              <a:gd name="connsiteX87" fmla="*/ 4819650 w 4819650"/>
              <a:gd name="connsiteY87" fmla="*/ 0 h 5143499"/>
              <a:gd name="connsiteX88" fmla="*/ 4819650 w 4819650"/>
              <a:gd name="connsiteY88" fmla="*/ 5143499 h 5143499"/>
              <a:gd name="connsiteX89" fmla="*/ 0 w 4819650"/>
              <a:gd name="connsiteY89" fmla="*/ 5143499 h 5143499"/>
              <a:gd name="connsiteX90" fmla="*/ 0 w 4819650"/>
              <a:gd name="connsiteY90" fmla="*/ 5143498 h 5143499"/>
              <a:gd name="connsiteX91" fmla="*/ 371745 w 4819650"/>
              <a:gd name="connsiteY91" fmla="*/ 5143498 h 5143499"/>
              <a:gd name="connsiteX92" fmla="*/ 1206499 w 4819650"/>
              <a:gd name="connsiteY92" fmla="*/ 1821610 h 5143499"/>
              <a:gd name="connsiteX93" fmla="*/ 2048326 w 4819650"/>
              <a:gd name="connsiteY93" fmla="*/ 58253 h 5143499"/>
              <a:gd name="connsiteX94" fmla="*/ 2094551 w 4819650"/>
              <a:gd name="connsiteY94" fmla="*/ 0 h 5143499"/>
              <a:gd name="connsiteX0" fmla="*/ 3892112 w 4819650"/>
              <a:gd name="connsiteY0" fmla="*/ 4731379 h 5143499"/>
              <a:gd name="connsiteX1" fmla="*/ 3913356 w 4819650"/>
              <a:gd name="connsiteY1" fmla="*/ 4756555 h 5143499"/>
              <a:gd name="connsiteX2" fmla="*/ 3892112 w 4819650"/>
              <a:gd name="connsiteY2" fmla="*/ 4781732 h 5143499"/>
              <a:gd name="connsiteX3" fmla="*/ 3870867 w 4819650"/>
              <a:gd name="connsiteY3" fmla="*/ 4756555 h 5143499"/>
              <a:gd name="connsiteX4" fmla="*/ 3892112 w 4819650"/>
              <a:gd name="connsiteY4" fmla="*/ 4731379 h 5143499"/>
              <a:gd name="connsiteX5" fmla="*/ 4212654 w 4819650"/>
              <a:gd name="connsiteY5" fmla="*/ 4713284 h 5143499"/>
              <a:gd name="connsiteX6" fmla="*/ 4212654 w 4819650"/>
              <a:gd name="connsiteY6" fmla="*/ 4762855 h 5143499"/>
              <a:gd name="connsiteX7" fmla="*/ 4251378 w 4819650"/>
              <a:gd name="connsiteY7" fmla="*/ 4801413 h 5143499"/>
              <a:gd name="connsiteX8" fmla="*/ 4290101 w 4819650"/>
              <a:gd name="connsiteY8" fmla="*/ 4762855 h 5143499"/>
              <a:gd name="connsiteX9" fmla="*/ 4290101 w 4819650"/>
              <a:gd name="connsiteY9" fmla="*/ 4713284 h 5143499"/>
              <a:gd name="connsiteX10" fmla="*/ 4290054 w 4819650"/>
              <a:gd name="connsiteY10" fmla="*/ 4713284 h 5143499"/>
              <a:gd name="connsiteX11" fmla="*/ 4269283 w 4819650"/>
              <a:gd name="connsiteY11" fmla="*/ 4713284 h 5143499"/>
              <a:gd name="connsiteX12" fmla="*/ 4269283 w 4819650"/>
              <a:gd name="connsiteY12" fmla="*/ 4762855 h 5143499"/>
              <a:gd name="connsiteX13" fmla="*/ 4251354 w 4819650"/>
              <a:gd name="connsiteY13" fmla="*/ 4781731 h 5143499"/>
              <a:gd name="connsiteX14" fmla="*/ 4233425 w 4819650"/>
              <a:gd name="connsiteY14" fmla="*/ 4762855 h 5143499"/>
              <a:gd name="connsiteX15" fmla="*/ 4233425 w 4819650"/>
              <a:gd name="connsiteY15" fmla="*/ 4713284 h 5143499"/>
              <a:gd name="connsiteX16" fmla="*/ 4212654 w 4819650"/>
              <a:gd name="connsiteY16" fmla="*/ 4713284 h 5143499"/>
              <a:gd name="connsiteX17" fmla="*/ 4031541 w 4819650"/>
              <a:gd name="connsiteY17" fmla="*/ 4713284 h 5143499"/>
              <a:gd name="connsiteX18" fmla="*/ 4031541 w 4819650"/>
              <a:gd name="connsiteY18" fmla="*/ 4799826 h 5143499"/>
              <a:gd name="connsiteX19" fmla="*/ 4052312 w 4819650"/>
              <a:gd name="connsiteY19" fmla="*/ 4799826 h 5143499"/>
              <a:gd name="connsiteX20" fmla="*/ 4052312 w 4819650"/>
              <a:gd name="connsiteY20" fmla="*/ 4713284 h 5143499"/>
              <a:gd name="connsiteX21" fmla="*/ 4031541 w 4819650"/>
              <a:gd name="connsiteY21" fmla="*/ 4713284 h 5143499"/>
              <a:gd name="connsiteX22" fmla="*/ 3936473 w 4819650"/>
              <a:gd name="connsiteY22" fmla="*/ 4713284 h 5143499"/>
              <a:gd name="connsiteX23" fmla="*/ 3966836 w 4819650"/>
              <a:gd name="connsiteY23" fmla="*/ 4756247 h 5143499"/>
              <a:gd name="connsiteX24" fmla="*/ 3936473 w 4819650"/>
              <a:gd name="connsiteY24" fmla="*/ 4799850 h 5143499"/>
              <a:gd name="connsiteX25" fmla="*/ 3959447 w 4819650"/>
              <a:gd name="connsiteY25" fmla="*/ 4799850 h 5143499"/>
              <a:gd name="connsiteX26" fmla="*/ 3978181 w 4819650"/>
              <a:gd name="connsiteY26" fmla="*/ 4771689 h 5143499"/>
              <a:gd name="connsiteX27" fmla="*/ 3996915 w 4819650"/>
              <a:gd name="connsiteY27" fmla="*/ 4799850 h 5143499"/>
              <a:gd name="connsiteX28" fmla="*/ 4019889 w 4819650"/>
              <a:gd name="connsiteY28" fmla="*/ 4799850 h 5143499"/>
              <a:gd name="connsiteX29" fmla="*/ 3989668 w 4819650"/>
              <a:gd name="connsiteY29" fmla="*/ 4756247 h 5143499"/>
              <a:gd name="connsiteX30" fmla="*/ 4019889 w 4819650"/>
              <a:gd name="connsiteY30" fmla="*/ 4713284 h 5143499"/>
              <a:gd name="connsiteX31" fmla="*/ 3996749 w 4819650"/>
              <a:gd name="connsiteY31" fmla="*/ 4713284 h 5143499"/>
              <a:gd name="connsiteX32" fmla="*/ 3978181 w 4819650"/>
              <a:gd name="connsiteY32" fmla="*/ 4741137 h 5143499"/>
              <a:gd name="connsiteX33" fmla="*/ 3959612 w 4819650"/>
              <a:gd name="connsiteY33" fmla="*/ 4713284 h 5143499"/>
              <a:gd name="connsiteX34" fmla="*/ 3936473 w 4819650"/>
              <a:gd name="connsiteY34" fmla="*/ 4713284 h 5143499"/>
              <a:gd name="connsiteX35" fmla="*/ 4336096 w 4819650"/>
              <a:gd name="connsiteY35" fmla="*/ 4730124 h 5143499"/>
              <a:gd name="connsiteX36" fmla="*/ 4304596 w 4819650"/>
              <a:gd name="connsiteY36" fmla="*/ 4737063 h 5143499"/>
              <a:gd name="connsiteX37" fmla="*/ 4330080 w 4819650"/>
              <a:gd name="connsiteY37" fmla="*/ 4761932 h 5143499"/>
              <a:gd name="connsiteX38" fmla="*/ 4336073 w 4819650"/>
              <a:gd name="connsiteY38" fmla="*/ 4764134 h 5143499"/>
              <a:gd name="connsiteX39" fmla="*/ 4351657 w 4819650"/>
              <a:gd name="connsiteY39" fmla="*/ 4774982 h 5143499"/>
              <a:gd name="connsiteX40" fmla="*/ 4337186 w 4819650"/>
              <a:gd name="connsiteY40" fmla="*/ 4782845 h 5143499"/>
              <a:gd name="connsiteX41" fmla="*/ 4308220 w 4819650"/>
              <a:gd name="connsiteY41" fmla="*/ 4775763 h 5143499"/>
              <a:gd name="connsiteX42" fmla="*/ 4303341 w 4819650"/>
              <a:gd name="connsiteY42" fmla="*/ 4793858 h 5143499"/>
              <a:gd name="connsiteX43" fmla="*/ 4338109 w 4819650"/>
              <a:gd name="connsiteY43" fmla="*/ 4801413 h 5143499"/>
              <a:gd name="connsiteX44" fmla="*/ 4372404 w 4819650"/>
              <a:gd name="connsiteY44" fmla="*/ 4774342 h 5143499"/>
              <a:gd name="connsiteX45" fmla="*/ 4345688 w 4819650"/>
              <a:gd name="connsiteY45" fmla="*/ 4747768 h 5143499"/>
              <a:gd name="connsiteX46" fmla="*/ 4339388 w 4819650"/>
              <a:gd name="connsiteY46" fmla="*/ 4745400 h 5143499"/>
              <a:gd name="connsiteX47" fmla="*/ 4336096 w 4819650"/>
              <a:gd name="connsiteY47" fmla="*/ 4730124 h 5143499"/>
              <a:gd name="connsiteX48" fmla="*/ 4107093 w 4819650"/>
              <a:gd name="connsiteY48" fmla="*/ 4711721 h 5143499"/>
              <a:gd name="connsiteX49" fmla="*/ 4070430 w 4819650"/>
              <a:gd name="connsiteY49" fmla="*/ 4744760 h 5143499"/>
              <a:gd name="connsiteX50" fmla="*/ 4070430 w 4819650"/>
              <a:gd name="connsiteY50" fmla="*/ 4799850 h 5143499"/>
              <a:gd name="connsiteX51" fmla="*/ 4091201 w 4819650"/>
              <a:gd name="connsiteY51" fmla="*/ 4799850 h 5143499"/>
              <a:gd name="connsiteX52" fmla="*/ 4091201 w 4819650"/>
              <a:gd name="connsiteY52" fmla="*/ 4746182 h 5143499"/>
              <a:gd name="connsiteX53" fmla="*/ 4106927 w 4819650"/>
              <a:gd name="connsiteY53" fmla="*/ 4731379 h 5143499"/>
              <a:gd name="connsiteX54" fmla="*/ 4122985 w 4819650"/>
              <a:gd name="connsiteY54" fmla="*/ 4746182 h 5143499"/>
              <a:gd name="connsiteX55" fmla="*/ 4122985 w 4819650"/>
              <a:gd name="connsiteY55" fmla="*/ 4799850 h 5143499"/>
              <a:gd name="connsiteX56" fmla="*/ 4143591 w 4819650"/>
              <a:gd name="connsiteY56" fmla="*/ 4799850 h 5143499"/>
              <a:gd name="connsiteX57" fmla="*/ 4143591 w 4819650"/>
              <a:gd name="connsiteY57" fmla="*/ 4746182 h 5143499"/>
              <a:gd name="connsiteX58" fmla="*/ 4159648 w 4819650"/>
              <a:gd name="connsiteY58" fmla="*/ 4731379 h 5143499"/>
              <a:gd name="connsiteX59" fmla="*/ 4175375 w 4819650"/>
              <a:gd name="connsiteY59" fmla="*/ 4746182 h 5143499"/>
              <a:gd name="connsiteX60" fmla="*/ 4175375 w 4819650"/>
              <a:gd name="connsiteY60" fmla="*/ 4799850 h 5143499"/>
              <a:gd name="connsiteX61" fmla="*/ 4196146 w 4819650"/>
              <a:gd name="connsiteY61" fmla="*/ 4799850 h 5143499"/>
              <a:gd name="connsiteX62" fmla="*/ 4196146 w 4819650"/>
              <a:gd name="connsiteY62" fmla="*/ 4744760 h 5143499"/>
              <a:gd name="connsiteX63" fmla="*/ 4159648 w 4819650"/>
              <a:gd name="connsiteY63" fmla="*/ 4711721 h 5143499"/>
              <a:gd name="connsiteX64" fmla="*/ 4133525 w 4819650"/>
              <a:gd name="connsiteY64" fmla="*/ 4722426 h 5143499"/>
              <a:gd name="connsiteX65" fmla="*/ 4107093 w 4819650"/>
              <a:gd name="connsiteY65" fmla="*/ 4711721 h 5143499"/>
              <a:gd name="connsiteX66" fmla="*/ 3892112 w 4819650"/>
              <a:gd name="connsiteY66" fmla="*/ 4711721 h 5143499"/>
              <a:gd name="connsiteX67" fmla="*/ 3849930 w 4819650"/>
              <a:gd name="connsiteY67" fmla="*/ 4756413 h 5143499"/>
              <a:gd name="connsiteX68" fmla="*/ 3892112 w 4819650"/>
              <a:gd name="connsiteY68" fmla="*/ 4801413 h 5143499"/>
              <a:gd name="connsiteX69" fmla="*/ 3934293 w 4819650"/>
              <a:gd name="connsiteY69" fmla="*/ 4756413 h 5143499"/>
              <a:gd name="connsiteX70" fmla="*/ 3892112 w 4819650"/>
              <a:gd name="connsiteY70" fmla="*/ 4711721 h 5143499"/>
              <a:gd name="connsiteX71" fmla="*/ 3846165 w 4819650"/>
              <a:gd name="connsiteY71" fmla="*/ 4712479 h 5143499"/>
              <a:gd name="connsiteX72" fmla="*/ 3799412 w 4819650"/>
              <a:gd name="connsiteY72" fmla="*/ 4749000 h 5143499"/>
              <a:gd name="connsiteX73" fmla="*/ 3799412 w 4819650"/>
              <a:gd name="connsiteY73" fmla="*/ 4799826 h 5143499"/>
              <a:gd name="connsiteX74" fmla="*/ 3820183 w 4819650"/>
              <a:gd name="connsiteY74" fmla="*/ 4799826 h 5143499"/>
              <a:gd name="connsiteX75" fmla="*/ 3820183 w 4819650"/>
              <a:gd name="connsiteY75" fmla="*/ 4750563 h 5143499"/>
              <a:gd name="connsiteX76" fmla="*/ 3837662 w 4819650"/>
              <a:gd name="connsiteY76" fmla="*/ 4731994 h 5143499"/>
              <a:gd name="connsiteX77" fmla="*/ 3842707 w 4819650"/>
              <a:gd name="connsiteY77" fmla="*/ 4732302 h 5143499"/>
              <a:gd name="connsiteX78" fmla="*/ 3846165 w 4819650"/>
              <a:gd name="connsiteY78" fmla="*/ 4712479 h 5143499"/>
              <a:gd name="connsiteX79" fmla="*/ 3783828 w 4819650"/>
              <a:gd name="connsiteY79" fmla="*/ 4756389 h 5143499"/>
              <a:gd name="connsiteX80" fmla="*/ 3701052 w 4819650"/>
              <a:gd name="connsiteY80" fmla="*/ 4834452 h 5143499"/>
              <a:gd name="connsiteX81" fmla="*/ 3721823 w 4819650"/>
              <a:gd name="connsiteY81" fmla="*/ 4834452 h 5143499"/>
              <a:gd name="connsiteX82" fmla="*/ 3721823 w 4819650"/>
              <a:gd name="connsiteY82" fmla="*/ 4795586 h 5143499"/>
              <a:gd name="connsiteX83" fmla="*/ 3742286 w 4819650"/>
              <a:gd name="connsiteY83" fmla="*/ 4801413 h 5143499"/>
              <a:gd name="connsiteX84" fmla="*/ 3783828 w 4819650"/>
              <a:gd name="connsiteY84" fmla="*/ 4756413 h 5143499"/>
              <a:gd name="connsiteX85" fmla="*/ 3783828 w 4819650"/>
              <a:gd name="connsiteY85" fmla="*/ 4756389 h 5143499"/>
              <a:gd name="connsiteX86" fmla="*/ 2094551 w 4819650"/>
              <a:gd name="connsiteY86" fmla="*/ 0 h 5143499"/>
              <a:gd name="connsiteX87" fmla="*/ 4819650 w 4819650"/>
              <a:gd name="connsiteY87" fmla="*/ 0 h 5143499"/>
              <a:gd name="connsiteX88" fmla="*/ 4819650 w 4819650"/>
              <a:gd name="connsiteY88" fmla="*/ 5143499 h 5143499"/>
              <a:gd name="connsiteX89" fmla="*/ 0 w 4819650"/>
              <a:gd name="connsiteY89" fmla="*/ 5143499 h 5143499"/>
              <a:gd name="connsiteX90" fmla="*/ 0 w 4819650"/>
              <a:gd name="connsiteY90" fmla="*/ 5143498 h 5143499"/>
              <a:gd name="connsiteX91" fmla="*/ 371745 w 4819650"/>
              <a:gd name="connsiteY91" fmla="*/ 5143498 h 5143499"/>
              <a:gd name="connsiteX92" fmla="*/ 1206499 w 4819650"/>
              <a:gd name="connsiteY92" fmla="*/ 1821610 h 5143499"/>
              <a:gd name="connsiteX93" fmla="*/ 2048326 w 4819650"/>
              <a:gd name="connsiteY93" fmla="*/ 58253 h 5143499"/>
              <a:gd name="connsiteX94" fmla="*/ 2094551 w 4819650"/>
              <a:gd name="connsiteY94" fmla="*/ 0 h 5143499"/>
              <a:gd name="connsiteX0" fmla="*/ 3892112 w 4819650"/>
              <a:gd name="connsiteY0" fmla="*/ 4731379 h 5143499"/>
              <a:gd name="connsiteX1" fmla="*/ 3913356 w 4819650"/>
              <a:gd name="connsiteY1" fmla="*/ 4756555 h 5143499"/>
              <a:gd name="connsiteX2" fmla="*/ 3892112 w 4819650"/>
              <a:gd name="connsiteY2" fmla="*/ 4781732 h 5143499"/>
              <a:gd name="connsiteX3" fmla="*/ 3870867 w 4819650"/>
              <a:gd name="connsiteY3" fmla="*/ 4756555 h 5143499"/>
              <a:gd name="connsiteX4" fmla="*/ 3892112 w 4819650"/>
              <a:gd name="connsiteY4" fmla="*/ 4731379 h 5143499"/>
              <a:gd name="connsiteX5" fmla="*/ 4212654 w 4819650"/>
              <a:gd name="connsiteY5" fmla="*/ 4713284 h 5143499"/>
              <a:gd name="connsiteX6" fmla="*/ 4212654 w 4819650"/>
              <a:gd name="connsiteY6" fmla="*/ 4762855 h 5143499"/>
              <a:gd name="connsiteX7" fmla="*/ 4251378 w 4819650"/>
              <a:gd name="connsiteY7" fmla="*/ 4801413 h 5143499"/>
              <a:gd name="connsiteX8" fmla="*/ 4290101 w 4819650"/>
              <a:gd name="connsiteY8" fmla="*/ 4762855 h 5143499"/>
              <a:gd name="connsiteX9" fmla="*/ 4290101 w 4819650"/>
              <a:gd name="connsiteY9" fmla="*/ 4713284 h 5143499"/>
              <a:gd name="connsiteX10" fmla="*/ 4290054 w 4819650"/>
              <a:gd name="connsiteY10" fmla="*/ 4713284 h 5143499"/>
              <a:gd name="connsiteX11" fmla="*/ 4269283 w 4819650"/>
              <a:gd name="connsiteY11" fmla="*/ 4713284 h 5143499"/>
              <a:gd name="connsiteX12" fmla="*/ 4269283 w 4819650"/>
              <a:gd name="connsiteY12" fmla="*/ 4762855 h 5143499"/>
              <a:gd name="connsiteX13" fmla="*/ 4251354 w 4819650"/>
              <a:gd name="connsiteY13" fmla="*/ 4781731 h 5143499"/>
              <a:gd name="connsiteX14" fmla="*/ 4233425 w 4819650"/>
              <a:gd name="connsiteY14" fmla="*/ 4762855 h 5143499"/>
              <a:gd name="connsiteX15" fmla="*/ 4233425 w 4819650"/>
              <a:gd name="connsiteY15" fmla="*/ 4713284 h 5143499"/>
              <a:gd name="connsiteX16" fmla="*/ 4212654 w 4819650"/>
              <a:gd name="connsiteY16" fmla="*/ 4713284 h 5143499"/>
              <a:gd name="connsiteX17" fmla="*/ 4031541 w 4819650"/>
              <a:gd name="connsiteY17" fmla="*/ 4713284 h 5143499"/>
              <a:gd name="connsiteX18" fmla="*/ 4031541 w 4819650"/>
              <a:gd name="connsiteY18" fmla="*/ 4799826 h 5143499"/>
              <a:gd name="connsiteX19" fmla="*/ 4052312 w 4819650"/>
              <a:gd name="connsiteY19" fmla="*/ 4799826 h 5143499"/>
              <a:gd name="connsiteX20" fmla="*/ 4052312 w 4819650"/>
              <a:gd name="connsiteY20" fmla="*/ 4713284 h 5143499"/>
              <a:gd name="connsiteX21" fmla="*/ 4031541 w 4819650"/>
              <a:gd name="connsiteY21" fmla="*/ 4713284 h 5143499"/>
              <a:gd name="connsiteX22" fmla="*/ 3936473 w 4819650"/>
              <a:gd name="connsiteY22" fmla="*/ 4713284 h 5143499"/>
              <a:gd name="connsiteX23" fmla="*/ 3966836 w 4819650"/>
              <a:gd name="connsiteY23" fmla="*/ 4756247 h 5143499"/>
              <a:gd name="connsiteX24" fmla="*/ 3936473 w 4819650"/>
              <a:gd name="connsiteY24" fmla="*/ 4799850 h 5143499"/>
              <a:gd name="connsiteX25" fmla="*/ 3959447 w 4819650"/>
              <a:gd name="connsiteY25" fmla="*/ 4799850 h 5143499"/>
              <a:gd name="connsiteX26" fmla="*/ 3978181 w 4819650"/>
              <a:gd name="connsiteY26" fmla="*/ 4771689 h 5143499"/>
              <a:gd name="connsiteX27" fmla="*/ 3996915 w 4819650"/>
              <a:gd name="connsiteY27" fmla="*/ 4799850 h 5143499"/>
              <a:gd name="connsiteX28" fmla="*/ 4019889 w 4819650"/>
              <a:gd name="connsiteY28" fmla="*/ 4799850 h 5143499"/>
              <a:gd name="connsiteX29" fmla="*/ 3989668 w 4819650"/>
              <a:gd name="connsiteY29" fmla="*/ 4756247 h 5143499"/>
              <a:gd name="connsiteX30" fmla="*/ 4019889 w 4819650"/>
              <a:gd name="connsiteY30" fmla="*/ 4713284 h 5143499"/>
              <a:gd name="connsiteX31" fmla="*/ 3996749 w 4819650"/>
              <a:gd name="connsiteY31" fmla="*/ 4713284 h 5143499"/>
              <a:gd name="connsiteX32" fmla="*/ 3978181 w 4819650"/>
              <a:gd name="connsiteY32" fmla="*/ 4741137 h 5143499"/>
              <a:gd name="connsiteX33" fmla="*/ 3959612 w 4819650"/>
              <a:gd name="connsiteY33" fmla="*/ 4713284 h 5143499"/>
              <a:gd name="connsiteX34" fmla="*/ 3936473 w 4819650"/>
              <a:gd name="connsiteY34" fmla="*/ 4713284 h 5143499"/>
              <a:gd name="connsiteX35" fmla="*/ 4336096 w 4819650"/>
              <a:gd name="connsiteY35" fmla="*/ 4730124 h 5143499"/>
              <a:gd name="connsiteX36" fmla="*/ 4304596 w 4819650"/>
              <a:gd name="connsiteY36" fmla="*/ 4737063 h 5143499"/>
              <a:gd name="connsiteX37" fmla="*/ 4330080 w 4819650"/>
              <a:gd name="connsiteY37" fmla="*/ 4761932 h 5143499"/>
              <a:gd name="connsiteX38" fmla="*/ 4336073 w 4819650"/>
              <a:gd name="connsiteY38" fmla="*/ 4764134 h 5143499"/>
              <a:gd name="connsiteX39" fmla="*/ 4351657 w 4819650"/>
              <a:gd name="connsiteY39" fmla="*/ 4774982 h 5143499"/>
              <a:gd name="connsiteX40" fmla="*/ 4337186 w 4819650"/>
              <a:gd name="connsiteY40" fmla="*/ 4782845 h 5143499"/>
              <a:gd name="connsiteX41" fmla="*/ 4308220 w 4819650"/>
              <a:gd name="connsiteY41" fmla="*/ 4775763 h 5143499"/>
              <a:gd name="connsiteX42" fmla="*/ 4303341 w 4819650"/>
              <a:gd name="connsiteY42" fmla="*/ 4793858 h 5143499"/>
              <a:gd name="connsiteX43" fmla="*/ 4338109 w 4819650"/>
              <a:gd name="connsiteY43" fmla="*/ 4801413 h 5143499"/>
              <a:gd name="connsiteX44" fmla="*/ 4372404 w 4819650"/>
              <a:gd name="connsiteY44" fmla="*/ 4774342 h 5143499"/>
              <a:gd name="connsiteX45" fmla="*/ 4345688 w 4819650"/>
              <a:gd name="connsiteY45" fmla="*/ 4747768 h 5143499"/>
              <a:gd name="connsiteX46" fmla="*/ 4339388 w 4819650"/>
              <a:gd name="connsiteY46" fmla="*/ 4745400 h 5143499"/>
              <a:gd name="connsiteX47" fmla="*/ 4336096 w 4819650"/>
              <a:gd name="connsiteY47" fmla="*/ 4730124 h 5143499"/>
              <a:gd name="connsiteX48" fmla="*/ 4107093 w 4819650"/>
              <a:gd name="connsiteY48" fmla="*/ 4711721 h 5143499"/>
              <a:gd name="connsiteX49" fmla="*/ 4070430 w 4819650"/>
              <a:gd name="connsiteY49" fmla="*/ 4744760 h 5143499"/>
              <a:gd name="connsiteX50" fmla="*/ 4070430 w 4819650"/>
              <a:gd name="connsiteY50" fmla="*/ 4799850 h 5143499"/>
              <a:gd name="connsiteX51" fmla="*/ 4091201 w 4819650"/>
              <a:gd name="connsiteY51" fmla="*/ 4799850 h 5143499"/>
              <a:gd name="connsiteX52" fmla="*/ 4091201 w 4819650"/>
              <a:gd name="connsiteY52" fmla="*/ 4746182 h 5143499"/>
              <a:gd name="connsiteX53" fmla="*/ 4106927 w 4819650"/>
              <a:gd name="connsiteY53" fmla="*/ 4731379 h 5143499"/>
              <a:gd name="connsiteX54" fmla="*/ 4122985 w 4819650"/>
              <a:gd name="connsiteY54" fmla="*/ 4746182 h 5143499"/>
              <a:gd name="connsiteX55" fmla="*/ 4122985 w 4819650"/>
              <a:gd name="connsiteY55" fmla="*/ 4799850 h 5143499"/>
              <a:gd name="connsiteX56" fmla="*/ 4143591 w 4819650"/>
              <a:gd name="connsiteY56" fmla="*/ 4799850 h 5143499"/>
              <a:gd name="connsiteX57" fmla="*/ 4143591 w 4819650"/>
              <a:gd name="connsiteY57" fmla="*/ 4746182 h 5143499"/>
              <a:gd name="connsiteX58" fmla="*/ 4159648 w 4819650"/>
              <a:gd name="connsiteY58" fmla="*/ 4731379 h 5143499"/>
              <a:gd name="connsiteX59" fmla="*/ 4175375 w 4819650"/>
              <a:gd name="connsiteY59" fmla="*/ 4746182 h 5143499"/>
              <a:gd name="connsiteX60" fmla="*/ 4175375 w 4819650"/>
              <a:gd name="connsiteY60" fmla="*/ 4799850 h 5143499"/>
              <a:gd name="connsiteX61" fmla="*/ 4196146 w 4819650"/>
              <a:gd name="connsiteY61" fmla="*/ 4799850 h 5143499"/>
              <a:gd name="connsiteX62" fmla="*/ 4196146 w 4819650"/>
              <a:gd name="connsiteY62" fmla="*/ 4744760 h 5143499"/>
              <a:gd name="connsiteX63" fmla="*/ 4159648 w 4819650"/>
              <a:gd name="connsiteY63" fmla="*/ 4711721 h 5143499"/>
              <a:gd name="connsiteX64" fmla="*/ 4133525 w 4819650"/>
              <a:gd name="connsiteY64" fmla="*/ 4722426 h 5143499"/>
              <a:gd name="connsiteX65" fmla="*/ 4107093 w 4819650"/>
              <a:gd name="connsiteY65" fmla="*/ 4711721 h 5143499"/>
              <a:gd name="connsiteX66" fmla="*/ 3892112 w 4819650"/>
              <a:gd name="connsiteY66" fmla="*/ 4711721 h 5143499"/>
              <a:gd name="connsiteX67" fmla="*/ 3849930 w 4819650"/>
              <a:gd name="connsiteY67" fmla="*/ 4756413 h 5143499"/>
              <a:gd name="connsiteX68" fmla="*/ 3892112 w 4819650"/>
              <a:gd name="connsiteY68" fmla="*/ 4801413 h 5143499"/>
              <a:gd name="connsiteX69" fmla="*/ 3934293 w 4819650"/>
              <a:gd name="connsiteY69" fmla="*/ 4756413 h 5143499"/>
              <a:gd name="connsiteX70" fmla="*/ 3892112 w 4819650"/>
              <a:gd name="connsiteY70" fmla="*/ 4711721 h 5143499"/>
              <a:gd name="connsiteX71" fmla="*/ 3846165 w 4819650"/>
              <a:gd name="connsiteY71" fmla="*/ 4712479 h 5143499"/>
              <a:gd name="connsiteX72" fmla="*/ 3799412 w 4819650"/>
              <a:gd name="connsiteY72" fmla="*/ 4749000 h 5143499"/>
              <a:gd name="connsiteX73" fmla="*/ 3799412 w 4819650"/>
              <a:gd name="connsiteY73" fmla="*/ 4799826 h 5143499"/>
              <a:gd name="connsiteX74" fmla="*/ 3820183 w 4819650"/>
              <a:gd name="connsiteY74" fmla="*/ 4799826 h 5143499"/>
              <a:gd name="connsiteX75" fmla="*/ 3820183 w 4819650"/>
              <a:gd name="connsiteY75" fmla="*/ 4750563 h 5143499"/>
              <a:gd name="connsiteX76" fmla="*/ 3837662 w 4819650"/>
              <a:gd name="connsiteY76" fmla="*/ 4731994 h 5143499"/>
              <a:gd name="connsiteX77" fmla="*/ 3842707 w 4819650"/>
              <a:gd name="connsiteY77" fmla="*/ 4732302 h 5143499"/>
              <a:gd name="connsiteX78" fmla="*/ 3846165 w 4819650"/>
              <a:gd name="connsiteY78" fmla="*/ 4712479 h 5143499"/>
              <a:gd name="connsiteX79" fmla="*/ 3783828 w 4819650"/>
              <a:gd name="connsiteY79" fmla="*/ 4756389 h 5143499"/>
              <a:gd name="connsiteX80" fmla="*/ 3701052 w 4819650"/>
              <a:gd name="connsiteY80" fmla="*/ 4834452 h 5143499"/>
              <a:gd name="connsiteX81" fmla="*/ 3721823 w 4819650"/>
              <a:gd name="connsiteY81" fmla="*/ 4834452 h 5143499"/>
              <a:gd name="connsiteX82" fmla="*/ 3742286 w 4819650"/>
              <a:gd name="connsiteY82" fmla="*/ 4801413 h 5143499"/>
              <a:gd name="connsiteX83" fmla="*/ 3783828 w 4819650"/>
              <a:gd name="connsiteY83" fmla="*/ 4756413 h 5143499"/>
              <a:gd name="connsiteX84" fmla="*/ 3783828 w 4819650"/>
              <a:gd name="connsiteY84" fmla="*/ 4756389 h 5143499"/>
              <a:gd name="connsiteX85" fmla="*/ 2094551 w 4819650"/>
              <a:gd name="connsiteY85" fmla="*/ 0 h 5143499"/>
              <a:gd name="connsiteX86" fmla="*/ 4819650 w 4819650"/>
              <a:gd name="connsiteY86" fmla="*/ 0 h 5143499"/>
              <a:gd name="connsiteX87" fmla="*/ 4819650 w 4819650"/>
              <a:gd name="connsiteY87" fmla="*/ 5143499 h 5143499"/>
              <a:gd name="connsiteX88" fmla="*/ 0 w 4819650"/>
              <a:gd name="connsiteY88" fmla="*/ 5143499 h 5143499"/>
              <a:gd name="connsiteX89" fmla="*/ 0 w 4819650"/>
              <a:gd name="connsiteY89" fmla="*/ 5143498 h 5143499"/>
              <a:gd name="connsiteX90" fmla="*/ 371745 w 4819650"/>
              <a:gd name="connsiteY90" fmla="*/ 5143498 h 5143499"/>
              <a:gd name="connsiteX91" fmla="*/ 1206499 w 4819650"/>
              <a:gd name="connsiteY91" fmla="*/ 1821610 h 5143499"/>
              <a:gd name="connsiteX92" fmla="*/ 2048326 w 4819650"/>
              <a:gd name="connsiteY92" fmla="*/ 58253 h 5143499"/>
              <a:gd name="connsiteX93" fmla="*/ 2094551 w 4819650"/>
              <a:gd name="connsiteY93" fmla="*/ 0 h 5143499"/>
              <a:gd name="connsiteX0" fmla="*/ 3892112 w 4819650"/>
              <a:gd name="connsiteY0" fmla="*/ 4731379 h 5143499"/>
              <a:gd name="connsiteX1" fmla="*/ 3913356 w 4819650"/>
              <a:gd name="connsiteY1" fmla="*/ 4756555 h 5143499"/>
              <a:gd name="connsiteX2" fmla="*/ 3892112 w 4819650"/>
              <a:gd name="connsiteY2" fmla="*/ 4781732 h 5143499"/>
              <a:gd name="connsiteX3" fmla="*/ 3870867 w 4819650"/>
              <a:gd name="connsiteY3" fmla="*/ 4756555 h 5143499"/>
              <a:gd name="connsiteX4" fmla="*/ 3892112 w 4819650"/>
              <a:gd name="connsiteY4" fmla="*/ 4731379 h 5143499"/>
              <a:gd name="connsiteX5" fmla="*/ 4212654 w 4819650"/>
              <a:gd name="connsiteY5" fmla="*/ 4713284 h 5143499"/>
              <a:gd name="connsiteX6" fmla="*/ 4212654 w 4819650"/>
              <a:gd name="connsiteY6" fmla="*/ 4762855 h 5143499"/>
              <a:gd name="connsiteX7" fmla="*/ 4251378 w 4819650"/>
              <a:gd name="connsiteY7" fmla="*/ 4801413 h 5143499"/>
              <a:gd name="connsiteX8" fmla="*/ 4290101 w 4819650"/>
              <a:gd name="connsiteY8" fmla="*/ 4762855 h 5143499"/>
              <a:gd name="connsiteX9" fmla="*/ 4290101 w 4819650"/>
              <a:gd name="connsiteY9" fmla="*/ 4713284 h 5143499"/>
              <a:gd name="connsiteX10" fmla="*/ 4290054 w 4819650"/>
              <a:gd name="connsiteY10" fmla="*/ 4713284 h 5143499"/>
              <a:gd name="connsiteX11" fmla="*/ 4269283 w 4819650"/>
              <a:gd name="connsiteY11" fmla="*/ 4713284 h 5143499"/>
              <a:gd name="connsiteX12" fmla="*/ 4269283 w 4819650"/>
              <a:gd name="connsiteY12" fmla="*/ 4762855 h 5143499"/>
              <a:gd name="connsiteX13" fmla="*/ 4251354 w 4819650"/>
              <a:gd name="connsiteY13" fmla="*/ 4781731 h 5143499"/>
              <a:gd name="connsiteX14" fmla="*/ 4233425 w 4819650"/>
              <a:gd name="connsiteY14" fmla="*/ 4762855 h 5143499"/>
              <a:gd name="connsiteX15" fmla="*/ 4233425 w 4819650"/>
              <a:gd name="connsiteY15" fmla="*/ 4713284 h 5143499"/>
              <a:gd name="connsiteX16" fmla="*/ 4212654 w 4819650"/>
              <a:gd name="connsiteY16" fmla="*/ 4713284 h 5143499"/>
              <a:gd name="connsiteX17" fmla="*/ 4031541 w 4819650"/>
              <a:gd name="connsiteY17" fmla="*/ 4713284 h 5143499"/>
              <a:gd name="connsiteX18" fmla="*/ 4031541 w 4819650"/>
              <a:gd name="connsiteY18" fmla="*/ 4799826 h 5143499"/>
              <a:gd name="connsiteX19" fmla="*/ 4052312 w 4819650"/>
              <a:gd name="connsiteY19" fmla="*/ 4799826 h 5143499"/>
              <a:gd name="connsiteX20" fmla="*/ 4052312 w 4819650"/>
              <a:gd name="connsiteY20" fmla="*/ 4713284 h 5143499"/>
              <a:gd name="connsiteX21" fmla="*/ 4031541 w 4819650"/>
              <a:gd name="connsiteY21" fmla="*/ 4713284 h 5143499"/>
              <a:gd name="connsiteX22" fmla="*/ 3936473 w 4819650"/>
              <a:gd name="connsiteY22" fmla="*/ 4713284 h 5143499"/>
              <a:gd name="connsiteX23" fmla="*/ 3966836 w 4819650"/>
              <a:gd name="connsiteY23" fmla="*/ 4756247 h 5143499"/>
              <a:gd name="connsiteX24" fmla="*/ 3936473 w 4819650"/>
              <a:gd name="connsiteY24" fmla="*/ 4799850 h 5143499"/>
              <a:gd name="connsiteX25" fmla="*/ 3959447 w 4819650"/>
              <a:gd name="connsiteY25" fmla="*/ 4799850 h 5143499"/>
              <a:gd name="connsiteX26" fmla="*/ 3978181 w 4819650"/>
              <a:gd name="connsiteY26" fmla="*/ 4771689 h 5143499"/>
              <a:gd name="connsiteX27" fmla="*/ 3996915 w 4819650"/>
              <a:gd name="connsiteY27" fmla="*/ 4799850 h 5143499"/>
              <a:gd name="connsiteX28" fmla="*/ 4019889 w 4819650"/>
              <a:gd name="connsiteY28" fmla="*/ 4799850 h 5143499"/>
              <a:gd name="connsiteX29" fmla="*/ 3989668 w 4819650"/>
              <a:gd name="connsiteY29" fmla="*/ 4756247 h 5143499"/>
              <a:gd name="connsiteX30" fmla="*/ 4019889 w 4819650"/>
              <a:gd name="connsiteY30" fmla="*/ 4713284 h 5143499"/>
              <a:gd name="connsiteX31" fmla="*/ 3996749 w 4819650"/>
              <a:gd name="connsiteY31" fmla="*/ 4713284 h 5143499"/>
              <a:gd name="connsiteX32" fmla="*/ 3978181 w 4819650"/>
              <a:gd name="connsiteY32" fmla="*/ 4741137 h 5143499"/>
              <a:gd name="connsiteX33" fmla="*/ 3959612 w 4819650"/>
              <a:gd name="connsiteY33" fmla="*/ 4713284 h 5143499"/>
              <a:gd name="connsiteX34" fmla="*/ 3936473 w 4819650"/>
              <a:gd name="connsiteY34" fmla="*/ 4713284 h 5143499"/>
              <a:gd name="connsiteX35" fmla="*/ 4336096 w 4819650"/>
              <a:gd name="connsiteY35" fmla="*/ 4730124 h 5143499"/>
              <a:gd name="connsiteX36" fmla="*/ 4304596 w 4819650"/>
              <a:gd name="connsiteY36" fmla="*/ 4737063 h 5143499"/>
              <a:gd name="connsiteX37" fmla="*/ 4330080 w 4819650"/>
              <a:gd name="connsiteY37" fmla="*/ 4761932 h 5143499"/>
              <a:gd name="connsiteX38" fmla="*/ 4336073 w 4819650"/>
              <a:gd name="connsiteY38" fmla="*/ 4764134 h 5143499"/>
              <a:gd name="connsiteX39" fmla="*/ 4351657 w 4819650"/>
              <a:gd name="connsiteY39" fmla="*/ 4774982 h 5143499"/>
              <a:gd name="connsiteX40" fmla="*/ 4337186 w 4819650"/>
              <a:gd name="connsiteY40" fmla="*/ 4782845 h 5143499"/>
              <a:gd name="connsiteX41" fmla="*/ 4308220 w 4819650"/>
              <a:gd name="connsiteY41" fmla="*/ 4775763 h 5143499"/>
              <a:gd name="connsiteX42" fmla="*/ 4303341 w 4819650"/>
              <a:gd name="connsiteY42" fmla="*/ 4793858 h 5143499"/>
              <a:gd name="connsiteX43" fmla="*/ 4338109 w 4819650"/>
              <a:gd name="connsiteY43" fmla="*/ 4801413 h 5143499"/>
              <a:gd name="connsiteX44" fmla="*/ 4372404 w 4819650"/>
              <a:gd name="connsiteY44" fmla="*/ 4774342 h 5143499"/>
              <a:gd name="connsiteX45" fmla="*/ 4345688 w 4819650"/>
              <a:gd name="connsiteY45" fmla="*/ 4747768 h 5143499"/>
              <a:gd name="connsiteX46" fmla="*/ 4339388 w 4819650"/>
              <a:gd name="connsiteY46" fmla="*/ 4745400 h 5143499"/>
              <a:gd name="connsiteX47" fmla="*/ 4336096 w 4819650"/>
              <a:gd name="connsiteY47" fmla="*/ 4730124 h 5143499"/>
              <a:gd name="connsiteX48" fmla="*/ 4107093 w 4819650"/>
              <a:gd name="connsiteY48" fmla="*/ 4711721 h 5143499"/>
              <a:gd name="connsiteX49" fmla="*/ 4070430 w 4819650"/>
              <a:gd name="connsiteY49" fmla="*/ 4744760 h 5143499"/>
              <a:gd name="connsiteX50" fmla="*/ 4070430 w 4819650"/>
              <a:gd name="connsiteY50" fmla="*/ 4799850 h 5143499"/>
              <a:gd name="connsiteX51" fmla="*/ 4091201 w 4819650"/>
              <a:gd name="connsiteY51" fmla="*/ 4799850 h 5143499"/>
              <a:gd name="connsiteX52" fmla="*/ 4091201 w 4819650"/>
              <a:gd name="connsiteY52" fmla="*/ 4746182 h 5143499"/>
              <a:gd name="connsiteX53" fmla="*/ 4106927 w 4819650"/>
              <a:gd name="connsiteY53" fmla="*/ 4731379 h 5143499"/>
              <a:gd name="connsiteX54" fmla="*/ 4122985 w 4819650"/>
              <a:gd name="connsiteY54" fmla="*/ 4746182 h 5143499"/>
              <a:gd name="connsiteX55" fmla="*/ 4122985 w 4819650"/>
              <a:gd name="connsiteY55" fmla="*/ 4799850 h 5143499"/>
              <a:gd name="connsiteX56" fmla="*/ 4143591 w 4819650"/>
              <a:gd name="connsiteY56" fmla="*/ 4799850 h 5143499"/>
              <a:gd name="connsiteX57" fmla="*/ 4143591 w 4819650"/>
              <a:gd name="connsiteY57" fmla="*/ 4746182 h 5143499"/>
              <a:gd name="connsiteX58" fmla="*/ 4159648 w 4819650"/>
              <a:gd name="connsiteY58" fmla="*/ 4731379 h 5143499"/>
              <a:gd name="connsiteX59" fmla="*/ 4175375 w 4819650"/>
              <a:gd name="connsiteY59" fmla="*/ 4746182 h 5143499"/>
              <a:gd name="connsiteX60" fmla="*/ 4175375 w 4819650"/>
              <a:gd name="connsiteY60" fmla="*/ 4799850 h 5143499"/>
              <a:gd name="connsiteX61" fmla="*/ 4196146 w 4819650"/>
              <a:gd name="connsiteY61" fmla="*/ 4799850 h 5143499"/>
              <a:gd name="connsiteX62" fmla="*/ 4196146 w 4819650"/>
              <a:gd name="connsiteY62" fmla="*/ 4744760 h 5143499"/>
              <a:gd name="connsiteX63" fmla="*/ 4159648 w 4819650"/>
              <a:gd name="connsiteY63" fmla="*/ 4711721 h 5143499"/>
              <a:gd name="connsiteX64" fmla="*/ 4133525 w 4819650"/>
              <a:gd name="connsiteY64" fmla="*/ 4722426 h 5143499"/>
              <a:gd name="connsiteX65" fmla="*/ 4107093 w 4819650"/>
              <a:gd name="connsiteY65" fmla="*/ 4711721 h 5143499"/>
              <a:gd name="connsiteX66" fmla="*/ 3892112 w 4819650"/>
              <a:gd name="connsiteY66" fmla="*/ 4711721 h 5143499"/>
              <a:gd name="connsiteX67" fmla="*/ 3849930 w 4819650"/>
              <a:gd name="connsiteY67" fmla="*/ 4756413 h 5143499"/>
              <a:gd name="connsiteX68" fmla="*/ 3892112 w 4819650"/>
              <a:gd name="connsiteY68" fmla="*/ 4801413 h 5143499"/>
              <a:gd name="connsiteX69" fmla="*/ 3934293 w 4819650"/>
              <a:gd name="connsiteY69" fmla="*/ 4756413 h 5143499"/>
              <a:gd name="connsiteX70" fmla="*/ 3892112 w 4819650"/>
              <a:gd name="connsiteY70" fmla="*/ 4711721 h 5143499"/>
              <a:gd name="connsiteX71" fmla="*/ 3846165 w 4819650"/>
              <a:gd name="connsiteY71" fmla="*/ 4712479 h 5143499"/>
              <a:gd name="connsiteX72" fmla="*/ 3799412 w 4819650"/>
              <a:gd name="connsiteY72" fmla="*/ 4749000 h 5143499"/>
              <a:gd name="connsiteX73" fmla="*/ 3799412 w 4819650"/>
              <a:gd name="connsiteY73" fmla="*/ 4799826 h 5143499"/>
              <a:gd name="connsiteX74" fmla="*/ 3820183 w 4819650"/>
              <a:gd name="connsiteY74" fmla="*/ 4799826 h 5143499"/>
              <a:gd name="connsiteX75" fmla="*/ 3820183 w 4819650"/>
              <a:gd name="connsiteY75" fmla="*/ 4750563 h 5143499"/>
              <a:gd name="connsiteX76" fmla="*/ 3837662 w 4819650"/>
              <a:gd name="connsiteY76" fmla="*/ 4731994 h 5143499"/>
              <a:gd name="connsiteX77" fmla="*/ 3842707 w 4819650"/>
              <a:gd name="connsiteY77" fmla="*/ 4732302 h 5143499"/>
              <a:gd name="connsiteX78" fmla="*/ 3846165 w 4819650"/>
              <a:gd name="connsiteY78" fmla="*/ 4712479 h 5143499"/>
              <a:gd name="connsiteX79" fmla="*/ 3783828 w 4819650"/>
              <a:gd name="connsiteY79" fmla="*/ 4756389 h 5143499"/>
              <a:gd name="connsiteX80" fmla="*/ 3701052 w 4819650"/>
              <a:gd name="connsiteY80" fmla="*/ 4834452 h 5143499"/>
              <a:gd name="connsiteX81" fmla="*/ 3721823 w 4819650"/>
              <a:gd name="connsiteY81" fmla="*/ 4834452 h 5143499"/>
              <a:gd name="connsiteX82" fmla="*/ 3783828 w 4819650"/>
              <a:gd name="connsiteY82" fmla="*/ 4756413 h 5143499"/>
              <a:gd name="connsiteX83" fmla="*/ 3783828 w 4819650"/>
              <a:gd name="connsiteY83" fmla="*/ 4756389 h 5143499"/>
              <a:gd name="connsiteX84" fmla="*/ 2094551 w 4819650"/>
              <a:gd name="connsiteY84" fmla="*/ 0 h 5143499"/>
              <a:gd name="connsiteX85" fmla="*/ 4819650 w 4819650"/>
              <a:gd name="connsiteY85" fmla="*/ 0 h 5143499"/>
              <a:gd name="connsiteX86" fmla="*/ 4819650 w 4819650"/>
              <a:gd name="connsiteY86" fmla="*/ 5143499 h 5143499"/>
              <a:gd name="connsiteX87" fmla="*/ 0 w 4819650"/>
              <a:gd name="connsiteY87" fmla="*/ 5143499 h 5143499"/>
              <a:gd name="connsiteX88" fmla="*/ 0 w 4819650"/>
              <a:gd name="connsiteY88" fmla="*/ 5143498 h 5143499"/>
              <a:gd name="connsiteX89" fmla="*/ 371745 w 4819650"/>
              <a:gd name="connsiteY89" fmla="*/ 5143498 h 5143499"/>
              <a:gd name="connsiteX90" fmla="*/ 1206499 w 4819650"/>
              <a:gd name="connsiteY90" fmla="*/ 1821610 h 5143499"/>
              <a:gd name="connsiteX91" fmla="*/ 2048326 w 4819650"/>
              <a:gd name="connsiteY91" fmla="*/ 58253 h 5143499"/>
              <a:gd name="connsiteX92" fmla="*/ 2094551 w 4819650"/>
              <a:gd name="connsiteY92" fmla="*/ 0 h 5143499"/>
              <a:gd name="connsiteX0" fmla="*/ 3892112 w 4819650"/>
              <a:gd name="connsiteY0" fmla="*/ 4731379 h 5143499"/>
              <a:gd name="connsiteX1" fmla="*/ 3913356 w 4819650"/>
              <a:gd name="connsiteY1" fmla="*/ 4756555 h 5143499"/>
              <a:gd name="connsiteX2" fmla="*/ 3892112 w 4819650"/>
              <a:gd name="connsiteY2" fmla="*/ 4781732 h 5143499"/>
              <a:gd name="connsiteX3" fmla="*/ 3870867 w 4819650"/>
              <a:gd name="connsiteY3" fmla="*/ 4756555 h 5143499"/>
              <a:gd name="connsiteX4" fmla="*/ 3892112 w 4819650"/>
              <a:gd name="connsiteY4" fmla="*/ 4731379 h 5143499"/>
              <a:gd name="connsiteX5" fmla="*/ 4212654 w 4819650"/>
              <a:gd name="connsiteY5" fmla="*/ 4713284 h 5143499"/>
              <a:gd name="connsiteX6" fmla="*/ 4212654 w 4819650"/>
              <a:gd name="connsiteY6" fmla="*/ 4762855 h 5143499"/>
              <a:gd name="connsiteX7" fmla="*/ 4251378 w 4819650"/>
              <a:gd name="connsiteY7" fmla="*/ 4801413 h 5143499"/>
              <a:gd name="connsiteX8" fmla="*/ 4290101 w 4819650"/>
              <a:gd name="connsiteY8" fmla="*/ 4762855 h 5143499"/>
              <a:gd name="connsiteX9" fmla="*/ 4290101 w 4819650"/>
              <a:gd name="connsiteY9" fmla="*/ 4713284 h 5143499"/>
              <a:gd name="connsiteX10" fmla="*/ 4290054 w 4819650"/>
              <a:gd name="connsiteY10" fmla="*/ 4713284 h 5143499"/>
              <a:gd name="connsiteX11" fmla="*/ 4269283 w 4819650"/>
              <a:gd name="connsiteY11" fmla="*/ 4713284 h 5143499"/>
              <a:gd name="connsiteX12" fmla="*/ 4269283 w 4819650"/>
              <a:gd name="connsiteY12" fmla="*/ 4762855 h 5143499"/>
              <a:gd name="connsiteX13" fmla="*/ 4251354 w 4819650"/>
              <a:gd name="connsiteY13" fmla="*/ 4781731 h 5143499"/>
              <a:gd name="connsiteX14" fmla="*/ 4233425 w 4819650"/>
              <a:gd name="connsiteY14" fmla="*/ 4762855 h 5143499"/>
              <a:gd name="connsiteX15" fmla="*/ 4233425 w 4819650"/>
              <a:gd name="connsiteY15" fmla="*/ 4713284 h 5143499"/>
              <a:gd name="connsiteX16" fmla="*/ 4212654 w 4819650"/>
              <a:gd name="connsiteY16" fmla="*/ 4713284 h 5143499"/>
              <a:gd name="connsiteX17" fmla="*/ 4031541 w 4819650"/>
              <a:gd name="connsiteY17" fmla="*/ 4713284 h 5143499"/>
              <a:gd name="connsiteX18" fmla="*/ 4031541 w 4819650"/>
              <a:gd name="connsiteY18" fmla="*/ 4799826 h 5143499"/>
              <a:gd name="connsiteX19" fmla="*/ 4052312 w 4819650"/>
              <a:gd name="connsiteY19" fmla="*/ 4799826 h 5143499"/>
              <a:gd name="connsiteX20" fmla="*/ 4052312 w 4819650"/>
              <a:gd name="connsiteY20" fmla="*/ 4713284 h 5143499"/>
              <a:gd name="connsiteX21" fmla="*/ 4031541 w 4819650"/>
              <a:gd name="connsiteY21" fmla="*/ 4713284 h 5143499"/>
              <a:gd name="connsiteX22" fmla="*/ 3936473 w 4819650"/>
              <a:gd name="connsiteY22" fmla="*/ 4713284 h 5143499"/>
              <a:gd name="connsiteX23" fmla="*/ 3966836 w 4819650"/>
              <a:gd name="connsiteY23" fmla="*/ 4756247 h 5143499"/>
              <a:gd name="connsiteX24" fmla="*/ 3936473 w 4819650"/>
              <a:gd name="connsiteY24" fmla="*/ 4799850 h 5143499"/>
              <a:gd name="connsiteX25" fmla="*/ 3959447 w 4819650"/>
              <a:gd name="connsiteY25" fmla="*/ 4799850 h 5143499"/>
              <a:gd name="connsiteX26" fmla="*/ 3978181 w 4819650"/>
              <a:gd name="connsiteY26" fmla="*/ 4771689 h 5143499"/>
              <a:gd name="connsiteX27" fmla="*/ 3996915 w 4819650"/>
              <a:gd name="connsiteY27" fmla="*/ 4799850 h 5143499"/>
              <a:gd name="connsiteX28" fmla="*/ 4019889 w 4819650"/>
              <a:gd name="connsiteY28" fmla="*/ 4799850 h 5143499"/>
              <a:gd name="connsiteX29" fmla="*/ 3989668 w 4819650"/>
              <a:gd name="connsiteY29" fmla="*/ 4756247 h 5143499"/>
              <a:gd name="connsiteX30" fmla="*/ 4019889 w 4819650"/>
              <a:gd name="connsiteY30" fmla="*/ 4713284 h 5143499"/>
              <a:gd name="connsiteX31" fmla="*/ 3996749 w 4819650"/>
              <a:gd name="connsiteY31" fmla="*/ 4713284 h 5143499"/>
              <a:gd name="connsiteX32" fmla="*/ 3978181 w 4819650"/>
              <a:gd name="connsiteY32" fmla="*/ 4741137 h 5143499"/>
              <a:gd name="connsiteX33" fmla="*/ 3959612 w 4819650"/>
              <a:gd name="connsiteY33" fmla="*/ 4713284 h 5143499"/>
              <a:gd name="connsiteX34" fmla="*/ 3936473 w 4819650"/>
              <a:gd name="connsiteY34" fmla="*/ 4713284 h 5143499"/>
              <a:gd name="connsiteX35" fmla="*/ 4336096 w 4819650"/>
              <a:gd name="connsiteY35" fmla="*/ 4730124 h 5143499"/>
              <a:gd name="connsiteX36" fmla="*/ 4304596 w 4819650"/>
              <a:gd name="connsiteY36" fmla="*/ 4737063 h 5143499"/>
              <a:gd name="connsiteX37" fmla="*/ 4330080 w 4819650"/>
              <a:gd name="connsiteY37" fmla="*/ 4761932 h 5143499"/>
              <a:gd name="connsiteX38" fmla="*/ 4336073 w 4819650"/>
              <a:gd name="connsiteY38" fmla="*/ 4764134 h 5143499"/>
              <a:gd name="connsiteX39" fmla="*/ 4351657 w 4819650"/>
              <a:gd name="connsiteY39" fmla="*/ 4774982 h 5143499"/>
              <a:gd name="connsiteX40" fmla="*/ 4337186 w 4819650"/>
              <a:gd name="connsiteY40" fmla="*/ 4782845 h 5143499"/>
              <a:gd name="connsiteX41" fmla="*/ 4308220 w 4819650"/>
              <a:gd name="connsiteY41" fmla="*/ 4775763 h 5143499"/>
              <a:gd name="connsiteX42" fmla="*/ 4303341 w 4819650"/>
              <a:gd name="connsiteY42" fmla="*/ 4793858 h 5143499"/>
              <a:gd name="connsiteX43" fmla="*/ 4338109 w 4819650"/>
              <a:gd name="connsiteY43" fmla="*/ 4801413 h 5143499"/>
              <a:gd name="connsiteX44" fmla="*/ 4372404 w 4819650"/>
              <a:gd name="connsiteY44" fmla="*/ 4774342 h 5143499"/>
              <a:gd name="connsiteX45" fmla="*/ 4345688 w 4819650"/>
              <a:gd name="connsiteY45" fmla="*/ 4747768 h 5143499"/>
              <a:gd name="connsiteX46" fmla="*/ 4339388 w 4819650"/>
              <a:gd name="connsiteY46" fmla="*/ 4745400 h 5143499"/>
              <a:gd name="connsiteX47" fmla="*/ 4336096 w 4819650"/>
              <a:gd name="connsiteY47" fmla="*/ 4730124 h 5143499"/>
              <a:gd name="connsiteX48" fmla="*/ 4107093 w 4819650"/>
              <a:gd name="connsiteY48" fmla="*/ 4711721 h 5143499"/>
              <a:gd name="connsiteX49" fmla="*/ 4070430 w 4819650"/>
              <a:gd name="connsiteY49" fmla="*/ 4744760 h 5143499"/>
              <a:gd name="connsiteX50" fmla="*/ 4070430 w 4819650"/>
              <a:gd name="connsiteY50" fmla="*/ 4799850 h 5143499"/>
              <a:gd name="connsiteX51" fmla="*/ 4091201 w 4819650"/>
              <a:gd name="connsiteY51" fmla="*/ 4799850 h 5143499"/>
              <a:gd name="connsiteX52" fmla="*/ 4091201 w 4819650"/>
              <a:gd name="connsiteY52" fmla="*/ 4746182 h 5143499"/>
              <a:gd name="connsiteX53" fmla="*/ 4106927 w 4819650"/>
              <a:gd name="connsiteY53" fmla="*/ 4731379 h 5143499"/>
              <a:gd name="connsiteX54" fmla="*/ 4122985 w 4819650"/>
              <a:gd name="connsiteY54" fmla="*/ 4746182 h 5143499"/>
              <a:gd name="connsiteX55" fmla="*/ 4122985 w 4819650"/>
              <a:gd name="connsiteY55" fmla="*/ 4799850 h 5143499"/>
              <a:gd name="connsiteX56" fmla="*/ 4143591 w 4819650"/>
              <a:gd name="connsiteY56" fmla="*/ 4799850 h 5143499"/>
              <a:gd name="connsiteX57" fmla="*/ 4143591 w 4819650"/>
              <a:gd name="connsiteY57" fmla="*/ 4746182 h 5143499"/>
              <a:gd name="connsiteX58" fmla="*/ 4159648 w 4819650"/>
              <a:gd name="connsiteY58" fmla="*/ 4731379 h 5143499"/>
              <a:gd name="connsiteX59" fmla="*/ 4175375 w 4819650"/>
              <a:gd name="connsiteY59" fmla="*/ 4746182 h 5143499"/>
              <a:gd name="connsiteX60" fmla="*/ 4175375 w 4819650"/>
              <a:gd name="connsiteY60" fmla="*/ 4799850 h 5143499"/>
              <a:gd name="connsiteX61" fmla="*/ 4196146 w 4819650"/>
              <a:gd name="connsiteY61" fmla="*/ 4799850 h 5143499"/>
              <a:gd name="connsiteX62" fmla="*/ 4196146 w 4819650"/>
              <a:gd name="connsiteY62" fmla="*/ 4744760 h 5143499"/>
              <a:gd name="connsiteX63" fmla="*/ 4159648 w 4819650"/>
              <a:gd name="connsiteY63" fmla="*/ 4711721 h 5143499"/>
              <a:gd name="connsiteX64" fmla="*/ 4133525 w 4819650"/>
              <a:gd name="connsiteY64" fmla="*/ 4722426 h 5143499"/>
              <a:gd name="connsiteX65" fmla="*/ 4107093 w 4819650"/>
              <a:gd name="connsiteY65" fmla="*/ 4711721 h 5143499"/>
              <a:gd name="connsiteX66" fmla="*/ 3892112 w 4819650"/>
              <a:gd name="connsiteY66" fmla="*/ 4711721 h 5143499"/>
              <a:gd name="connsiteX67" fmla="*/ 3849930 w 4819650"/>
              <a:gd name="connsiteY67" fmla="*/ 4756413 h 5143499"/>
              <a:gd name="connsiteX68" fmla="*/ 3892112 w 4819650"/>
              <a:gd name="connsiteY68" fmla="*/ 4801413 h 5143499"/>
              <a:gd name="connsiteX69" fmla="*/ 3934293 w 4819650"/>
              <a:gd name="connsiteY69" fmla="*/ 4756413 h 5143499"/>
              <a:gd name="connsiteX70" fmla="*/ 3892112 w 4819650"/>
              <a:gd name="connsiteY70" fmla="*/ 4711721 h 5143499"/>
              <a:gd name="connsiteX71" fmla="*/ 3846165 w 4819650"/>
              <a:gd name="connsiteY71" fmla="*/ 4712479 h 5143499"/>
              <a:gd name="connsiteX72" fmla="*/ 3799412 w 4819650"/>
              <a:gd name="connsiteY72" fmla="*/ 4749000 h 5143499"/>
              <a:gd name="connsiteX73" fmla="*/ 3799412 w 4819650"/>
              <a:gd name="connsiteY73" fmla="*/ 4799826 h 5143499"/>
              <a:gd name="connsiteX74" fmla="*/ 3820183 w 4819650"/>
              <a:gd name="connsiteY74" fmla="*/ 4799826 h 5143499"/>
              <a:gd name="connsiteX75" fmla="*/ 3820183 w 4819650"/>
              <a:gd name="connsiteY75" fmla="*/ 4750563 h 5143499"/>
              <a:gd name="connsiteX76" fmla="*/ 3837662 w 4819650"/>
              <a:gd name="connsiteY76" fmla="*/ 4731994 h 5143499"/>
              <a:gd name="connsiteX77" fmla="*/ 3842707 w 4819650"/>
              <a:gd name="connsiteY77" fmla="*/ 4732302 h 5143499"/>
              <a:gd name="connsiteX78" fmla="*/ 3846165 w 4819650"/>
              <a:gd name="connsiteY78" fmla="*/ 4712479 h 5143499"/>
              <a:gd name="connsiteX79" fmla="*/ 3783828 w 4819650"/>
              <a:gd name="connsiteY79" fmla="*/ 4756389 h 5143499"/>
              <a:gd name="connsiteX80" fmla="*/ 3701052 w 4819650"/>
              <a:gd name="connsiteY80" fmla="*/ 4834452 h 5143499"/>
              <a:gd name="connsiteX81" fmla="*/ 3783828 w 4819650"/>
              <a:gd name="connsiteY81" fmla="*/ 4756413 h 5143499"/>
              <a:gd name="connsiteX82" fmla="*/ 3783828 w 4819650"/>
              <a:gd name="connsiteY82" fmla="*/ 4756389 h 5143499"/>
              <a:gd name="connsiteX83" fmla="*/ 2094551 w 4819650"/>
              <a:gd name="connsiteY83" fmla="*/ 0 h 5143499"/>
              <a:gd name="connsiteX84" fmla="*/ 4819650 w 4819650"/>
              <a:gd name="connsiteY84" fmla="*/ 0 h 5143499"/>
              <a:gd name="connsiteX85" fmla="*/ 4819650 w 4819650"/>
              <a:gd name="connsiteY85" fmla="*/ 5143499 h 5143499"/>
              <a:gd name="connsiteX86" fmla="*/ 0 w 4819650"/>
              <a:gd name="connsiteY86" fmla="*/ 5143499 h 5143499"/>
              <a:gd name="connsiteX87" fmla="*/ 0 w 4819650"/>
              <a:gd name="connsiteY87" fmla="*/ 5143498 h 5143499"/>
              <a:gd name="connsiteX88" fmla="*/ 371745 w 4819650"/>
              <a:gd name="connsiteY88" fmla="*/ 5143498 h 5143499"/>
              <a:gd name="connsiteX89" fmla="*/ 1206499 w 4819650"/>
              <a:gd name="connsiteY89" fmla="*/ 1821610 h 5143499"/>
              <a:gd name="connsiteX90" fmla="*/ 2048326 w 4819650"/>
              <a:gd name="connsiteY90" fmla="*/ 58253 h 5143499"/>
              <a:gd name="connsiteX91" fmla="*/ 2094551 w 4819650"/>
              <a:gd name="connsiteY91" fmla="*/ 0 h 5143499"/>
              <a:gd name="connsiteX0" fmla="*/ 3892112 w 4819650"/>
              <a:gd name="connsiteY0" fmla="*/ 4731379 h 5143499"/>
              <a:gd name="connsiteX1" fmla="*/ 3913356 w 4819650"/>
              <a:gd name="connsiteY1" fmla="*/ 4756555 h 5143499"/>
              <a:gd name="connsiteX2" fmla="*/ 3892112 w 4819650"/>
              <a:gd name="connsiteY2" fmla="*/ 4781732 h 5143499"/>
              <a:gd name="connsiteX3" fmla="*/ 3870867 w 4819650"/>
              <a:gd name="connsiteY3" fmla="*/ 4756555 h 5143499"/>
              <a:gd name="connsiteX4" fmla="*/ 3892112 w 4819650"/>
              <a:gd name="connsiteY4" fmla="*/ 4731379 h 5143499"/>
              <a:gd name="connsiteX5" fmla="*/ 4212654 w 4819650"/>
              <a:gd name="connsiteY5" fmla="*/ 4713284 h 5143499"/>
              <a:gd name="connsiteX6" fmla="*/ 4212654 w 4819650"/>
              <a:gd name="connsiteY6" fmla="*/ 4762855 h 5143499"/>
              <a:gd name="connsiteX7" fmla="*/ 4251378 w 4819650"/>
              <a:gd name="connsiteY7" fmla="*/ 4801413 h 5143499"/>
              <a:gd name="connsiteX8" fmla="*/ 4290101 w 4819650"/>
              <a:gd name="connsiteY8" fmla="*/ 4762855 h 5143499"/>
              <a:gd name="connsiteX9" fmla="*/ 4290101 w 4819650"/>
              <a:gd name="connsiteY9" fmla="*/ 4713284 h 5143499"/>
              <a:gd name="connsiteX10" fmla="*/ 4290054 w 4819650"/>
              <a:gd name="connsiteY10" fmla="*/ 4713284 h 5143499"/>
              <a:gd name="connsiteX11" fmla="*/ 4269283 w 4819650"/>
              <a:gd name="connsiteY11" fmla="*/ 4713284 h 5143499"/>
              <a:gd name="connsiteX12" fmla="*/ 4269283 w 4819650"/>
              <a:gd name="connsiteY12" fmla="*/ 4762855 h 5143499"/>
              <a:gd name="connsiteX13" fmla="*/ 4251354 w 4819650"/>
              <a:gd name="connsiteY13" fmla="*/ 4781731 h 5143499"/>
              <a:gd name="connsiteX14" fmla="*/ 4233425 w 4819650"/>
              <a:gd name="connsiteY14" fmla="*/ 4762855 h 5143499"/>
              <a:gd name="connsiteX15" fmla="*/ 4233425 w 4819650"/>
              <a:gd name="connsiteY15" fmla="*/ 4713284 h 5143499"/>
              <a:gd name="connsiteX16" fmla="*/ 4212654 w 4819650"/>
              <a:gd name="connsiteY16" fmla="*/ 4713284 h 5143499"/>
              <a:gd name="connsiteX17" fmla="*/ 4031541 w 4819650"/>
              <a:gd name="connsiteY17" fmla="*/ 4713284 h 5143499"/>
              <a:gd name="connsiteX18" fmla="*/ 4031541 w 4819650"/>
              <a:gd name="connsiteY18" fmla="*/ 4799826 h 5143499"/>
              <a:gd name="connsiteX19" fmla="*/ 4052312 w 4819650"/>
              <a:gd name="connsiteY19" fmla="*/ 4799826 h 5143499"/>
              <a:gd name="connsiteX20" fmla="*/ 4052312 w 4819650"/>
              <a:gd name="connsiteY20" fmla="*/ 4713284 h 5143499"/>
              <a:gd name="connsiteX21" fmla="*/ 4031541 w 4819650"/>
              <a:gd name="connsiteY21" fmla="*/ 4713284 h 5143499"/>
              <a:gd name="connsiteX22" fmla="*/ 3936473 w 4819650"/>
              <a:gd name="connsiteY22" fmla="*/ 4713284 h 5143499"/>
              <a:gd name="connsiteX23" fmla="*/ 3966836 w 4819650"/>
              <a:gd name="connsiteY23" fmla="*/ 4756247 h 5143499"/>
              <a:gd name="connsiteX24" fmla="*/ 3936473 w 4819650"/>
              <a:gd name="connsiteY24" fmla="*/ 4799850 h 5143499"/>
              <a:gd name="connsiteX25" fmla="*/ 3959447 w 4819650"/>
              <a:gd name="connsiteY25" fmla="*/ 4799850 h 5143499"/>
              <a:gd name="connsiteX26" fmla="*/ 3978181 w 4819650"/>
              <a:gd name="connsiteY26" fmla="*/ 4771689 h 5143499"/>
              <a:gd name="connsiteX27" fmla="*/ 3996915 w 4819650"/>
              <a:gd name="connsiteY27" fmla="*/ 4799850 h 5143499"/>
              <a:gd name="connsiteX28" fmla="*/ 4019889 w 4819650"/>
              <a:gd name="connsiteY28" fmla="*/ 4799850 h 5143499"/>
              <a:gd name="connsiteX29" fmla="*/ 3989668 w 4819650"/>
              <a:gd name="connsiteY29" fmla="*/ 4756247 h 5143499"/>
              <a:gd name="connsiteX30" fmla="*/ 4019889 w 4819650"/>
              <a:gd name="connsiteY30" fmla="*/ 4713284 h 5143499"/>
              <a:gd name="connsiteX31" fmla="*/ 3996749 w 4819650"/>
              <a:gd name="connsiteY31" fmla="*/ 4713284 h 5143499"/>
              <a:gd name="connsiteX32" fmla="*/ 3978181 w 4819650"/>
              <a:gd name="connsiteY32" fmla="*/ 4741137 h 5143499"/>
              <a:gd name="connsiteX33" fmla="*/ 3959612 w 4819650"/>
              <a:gd name="connsiteY33" fmla="*/ 4713284 h 5143499"/>
              <a:gd name="connsiteX34" fmla="*/ 3936473 w 4819650"/>
              <a:gd name="connsiteY34" fmla="*/ 4713284 h 5143499"/>
              <a:gd name="connsiteX35" fmla="*/ 4336096 w 4819650"/>
              <a:gd name="connsiteY35" fmla="*/ 4730124 h 5143499"/>
              <a:gd name="connsiteX36" fmla="*/ 4304596 w 4819650"/>
              <a:gd name="connsiteY36" fmla="*/ 4737063 h 5143499"/>
              <a:gd name="connsiteX37" fmla="*/ 4330080 w 4819650"/>
              <a:gd name="connsiteY37" fmla="*/ 4761932 h 5143499"/>
              <a:gd name="connsiteX38" fmla="*/ 4336073 w 4819650"/>
              <a:gd name="connsiteY38" fmla="*/ 4764134 h 5143499"/>
              <a:gd name="connsiteX39" fmla="*/ 4351657 w 4819650"/>
              <a:gd name="connsiteY39" fmla="*/ 4774982 h 5143499"/>
              <a:gd name="connsiteX40" fmla="*/ 4337186 w 4819650"/>
              <a:gd name="connsiteY40" fmla="*/ 4782845 h 5143499"/>
              <a:gd name="connsiteX41" fmla="*/ 4308220 w 4819650"/>
              <a:gd name="connsiteY41" fmla="*/ 4775763 h 5143499"/>
              <a:gd name="connsiteX42" fmla="*/ 4303341 w 4819650"/>
              <a:gd name="connsiteY42" fmla="*/ 4793858 h 5143499"/>
              <a:gd name="connsiteX43" fmla="*/ 4338109 w 4819650"/>
              <a:gd name="connsiteY43" fmla="*/ 4801413 h 5143499"/>
              <a:gd name="connsiteX44" fmla="*/ 4372404 w 4819650"/>
              <a:gd name="connsiteY44" fmla="*/ 4774342 h 5143499"/>
              <a:gd name="connsiteX45" fmla="*/ 4345688 w 4819650"/>
              <a:gd name="connsiteY45" fmla="*/ 4747768 h 5143499"/>
              <a:gd name="connsiteX46" fmla="*/ 4339388 w 4819650"/>
              <a:gd name="connsiteY46" fmla="*/ 4745400 h 5143499"/>
              <a:gd name="connsiteX47" fmla="*/ 4336096 w 4819650"/>
              <a:gd name="connsiteY47" fmla="*/ 4730124 h 5143499"/>
              <a:gd name="connsiteX48" fmla="*/ 4107093 w 4819650"/>
              <a:gd name="connsiteY48" fmla="*/ 4711721 h 5143499"/>
              <a:gd name="connsiteX49" fmla="*/ 4070430 w 4819650"/>
              <a:gd name="connsiteY49" fmla="*/ 4744760 h 5143499"/>
              <a:gd name="connsiteX50" fmla="*/ 4070430 w 4819650"/>
              <a:gd name="connsiteY50" fmla="*/ 4799850 h 5143499"/>
              <a:gd name="connsiteX51" fmla="*/ 4091201 w 4819650"/>
              <a:gd name="connsiteY51" fmla="*/ 4799850 h 5143499"/>
              <a:gd name="connsiteX52" fmla="*/ 4091201 w 4819650"/>
              <a:gd name="connsiteY52" fmla="*/ 4746182 h 5143499"/>
              <a:gd name="connsiteX53" fmla="*/ 4106927 w 4819650"/>
              <a:gd name="connsiteY53" fmla="*/ 4731379 h 5143499"/>
              <a:gd name="connsiteX54" fmla="*/ 4122985 w 4819650"/>
              <a:gd name="connsiteY54" fmla="*/ 4746182 h 5143499"/>
              <a:gd name="connsiteX55" fmla="*/ 4122985 w 4819650"/>
              <a:gd name="connsiteY55" fmla="*/ 4799850 h 5143499"/>
              <a:gd name="connsiteX56" fmla="*/ 4143591 w 4819650"/>
              <a:gd name="connsiteY56" fmla="*/ 4799850 h 5143499"/>
              <a:gd name="connsiteX57" fmla="*/ 4143591 w 4819650"/>
              <a:gd name="connsiteY57" fmla="*/ 4746182 h 5143499"/>
              <a:gd name="connsiteX58" fmla="*/ 4159648 w 4819650"/>
              <a:gd name="connsiteY58" fmla="*/ 4731379 h 5143499"/>
              <a:gd name="connsiteX59" fmla="*/ 4175375 w 4819650"/>
              <a:gd name="connsiteY59" fmla="*/ 4746182 h 5143499"/>
              <a:gd name="connsiteX60" fmla="*/ 4175375 w 4819650"/>
              <a:gd name="connsiteY60" fmla="*/ 4799850 h 5143499"/>
              <a:gd name="connsiteX61" fmla="*/ 4196146 w 4819650"/>
              <a:gd name="connsiteY61" fmla="*/ 4799850 h 5143499"/>
              <a:gd name="connsiteX62" fmla="*/ 4196146 w 4819650"/>
              <a:gd name="connsiteY62" fmla="*/ 4744760 h 5143499"/>
              <a:gd name="connsiteX63" fmla="*/ 4159648 w 4819650"/>
              <a:gd name="connsiteY63" fmla="*/ 4711721 h 5143499"/>
              <a:gd name="connsiteX64" fmla="*/ 4133525 w 4819650"/>
              <a:gd name="connsiteY64" fmla="*/ 4722426 h 5143499"/>
              <a:gd name="connsiteX65" fmla="*/ 4107093 w 4819650"/>
              <a:gd name="connsiteY65" fmla="*/ 4711721 h 5143499"/>
              <a:gd name="connsiteX66" fmla="*/ 3892112 w 4819650"/>
              <a:gd name="connsiteY66" fmla="*/ 4711721 h 5143499"/>
              <a:gd name="connsiteX67" fmla="*/ 3849930 w 4819650"/>
              <a:gd name="connsiteY67" fmla="*/ 4756413 h 5143499"/>
              <a:gd name="connsiteX68" fmla="*/ 3892112 w 4819650"/>
              <a:gd name="connsiteY68" fmla="*/ 4801413 h 5143499"/>
              <a:gd name="connsiteX69" fmla="*/ 3934293 w 4819650"/>
              <a:gd name="connsiteY69" fmla="*/ 4756413 h 5143499"/>
              <a:gd name="connsiteX70" fmla="*/ 3892112 w 4819650"/>
              <a:gd name="connsiteY70" fmla="*/ 4711721 h 5143499"/>
              <a:gd name="connsiteX71" fmla="*/ 3846165 w 4819650"/>
              <a:gd name="connsiteY71" fmla="*/ 4712479 h 5143499"/>
              <a:gd name="connsiteX72" fmla="*/ 3799412 w 4819650"/>
              <a:gd name="connsiteY72" fmla="*/ 4749000 h 5143499"/>
              <a:gd name="connsiteX73" fmla="*/ 3799412 w 4819650"/>
              <a:gd name="connsiteY73" fmla="*/ 4799826 h 5143499"/>
              <a:gd name="connsiteX74" fmla="*/ 3820183 w 4819650"/>
              <a:gd name="connsiteY74" fmla="*/ 4799826 h 5143499"/>
              <a:gd name="connsiteX75" fmla="*/ 3820183 w 4819650"/>
              <a:gd name="connsiteY75" fmla="*/ 4750563 h 5143499"/>
              <a:gd name="connsiteX76" fmla="*/ 3837662 w 4819650"/>
              <a:gd name="connsiteY76" fmla="*/ 4731994 h 5143499"/>
              <a:gd name="connsiteX77" fmla="*/ 3842707 w 4819650"/>
              <a:gd name="connsiteY77" fmla="*/ 4732302 h 5143499"/>
              <a:gd name="connsiteX78" fmla="*/ 3846165 w 4819650"/>
              <a:gd name="connsiteY78" fmla="*/ 4712479 h 5143499"/>
              <a:gd name="connsiteX79" fmla="*/ 3783828 w 4819650"/>
              <a:gd name="connsiteY79" fmla="*/ 4756389 h 5143499"/>
              <a:gd name="connsiteX80" fmla="*/ 3783828 w 4819650"/>
              <a:gd name="connsiteY80" fmla="*/ 4756413 h 5143499"/>
              <a:gd name="connsiteX81" fmla="*/ 3783828 w 4819650"/>
              <a:gd name="connsiteY81" fmla="*/ 4756389 h 5143499"/>
              <a:gd name="connsiteX82" fmla="*/ 2094551 w 4819650"/>
              <a:gd name="connsiteY82" fmla="*/ 0 h 5143499"/>
              <a:gd name="connsiteX83" fmla="*/ 4819650 w 4819650"/>
              <a:gd name="connsiteY83" fmla="*/ 0 h 5143499"/>
              <a:gd name="connsiteX84" fmla="*/ 4819650 w 4819650"/>
              <a:gd name="connsiteY84" fmla="*/ 5143499 h 5143499"/>
              <a:gd name="connsiteX85" fmla="*/ 0 w 4819650"/>
              <a:gd name="connsiteY85" fmla="*/ 5143499 h 5143499"/>
              <a:gd name="connsiteX86" fmla="*/ 0 w 4819650"/>
              <a:gd name="connsiteY86" fmla="*/ 5143498 h 5143499"/>
              <a:gd name="connsiteX87" fmla="*/ 371745 w 4819650"/>
              <a:gd name="connsiteY87" fmla="*/ 5143498 h 5143499"/>
              <a:gd name="connsiteX88" fmla="*/ 1206499 w 4819650"/>
              <a:gd name="connsiteY88" fmla="*/ 1821610 h 5143499"/>
              <a:gd name="connsiteX89" fmla="*/ 2048326 w 4819650"/>
              <a:gd name="connsiteY89" fmla="*/ 58253 h 5143499"/>
              <a:gd name="connsiteX90" fmla="*/ 2094551 w 4819650"/>
              <a:gd name="connsiteY90" fmla="*/ 0 h 5143499"/>
              <a:gd name="connsiteX0" fmla="*/ 3892112 w 4819650"/>
              <a:gd name="connsiteY0" fmla="*/ 4731379 h 5143499"/>
              <a:gd name="connsiteX1" fmla="*/ 3913356 w 4819650"/>
              <a:gd name="connsiteY1" fmla="*/ 4756555 h 5143499"/>
              <a:gd name="connsiteX2" fmla="*/ 3892112 w 4819650"/>
              <a:gd name="connsiteY2" fmla="*/ 4781732 h 5143499"/>
              <a:gd name="connsiteX3" fmla="*/ 3870867 w 4819650"/>
              <a:gd name="connsiteY3" fmla="*/ 4756555 h 5143499"/>
              <a:gd name="connsiteX4" fmla="*/ 3892112 w 4819650"/>
              <a:gd name="connsiteY4" fmla="*/ 4731379 h 5143499"/>
              <a:gd name="connsiteX5" fmla="*/ 4212654 w 4819650"/>
              <a:gd name="connsiteY5" fmla="*/ 4713284 h 5143499"/>
              <a:gd name="connsiteX6" fmla="*/ 4212654 w 4819650"/>
              <a:gd name="connsiteY6" fmla="*/ 4762855 h 5143499"/>
              <a:gd name="connsiteX7" fmla="*/ 4251378 w 4819650"/>
              <a:gd name="connsiteY7" fmla="*/ 4801413 h 5143499"/>
              <a:gd name="connsiteX8" fmla="*/ 4290101 w 4819650"/>
              <a:gd name="connsiteY8" fmla="*/ 4762855 h 5143499"/>
              <a:gd name="connsiteX9" fmla="*/ 4290101 w 4819650"/>
              <a:gd name="connsiteY9" fmla="*/ 4713284 h 5143499"/>
              <a:gd name="connsiteX10" fmla="*/ 4290054 w 4819650"/>
              <a:gd name="connsiteY10" fmla="*/ 4713284 h 5143499"/>
              <a:gd name="connsiteX11" fmla="*/ 4269283 w 4819650"/>
              <a:gd name="connsiteY11" fmla="*/ 4713284 h 5143499"/>
              <a:gd name="connsiteX12" fmla="*/ 4269283 w 4819650"/>
              <a:gd name="connsiteY12" fmla="*/ 4762855 h 5143499"/>
              <a:gd name="connsiteX13" fmla="*/ 4251354 w 4819650"/>
              <a:gd name="connsiteY13" fmla="*/ 4781731 h 5143499"/>
              <a:gd name="connsiteX14" fmla="*/ 4233425 w 4819650"/>
              <a:gd name="connsiteY14" fmla="*/ 4762855 h 5143499"/>
              <a:gd name="connsiteX15" fmla="*/ 4233425 w 4819650"/>
              <a:gd name="connsiteY15" fmla="*/ 4713284 h 5143499"/>
              <a:gd name="connsiteX16" fmla="*/ 4212654 w 4819650"/>
              <a:gd name="connsiteY16" fmla="*/ 4713284 h 5143499"/>
              <a:gd name="connsiteX17" fmla="*/ 4031541 w 4819650"/>
              <a:gd name="connsiteY17" fmla="*/ 4713284 h 5143499"/>
              <a:gd name="connsiteX18" fmla="*/ 4031541 w 4819650"/>
              <a:gd name="connsiteY18" fmla="*/ 4799826 h 5143499"/>
              <a:gd name="connsiteX19" fmla="*/ 4052312 w 4819650"/>
              <a:gd name="connsiteY19" fmla="*/ 4799826 h 5143499"/>
              <a:gd name="connsiteX20" fmla="*/ 4052312 w 4819650"/>
              <a:gd name="connsiteY20" fmla="*/ 4713284 h 5143499"/>
              <a:gd name="connsiteX21" fmla="*/ 4031541 w 4819650"/>
              <a:gd name="connsiteY21" fmla="*/ 4713284 h 5143499"/>
              <a:gd name="connsiteX22" fmla="*/ 3936473 w 4819650"/>
              <a:gd name="connsiteY22" fmla="*/ 4713284 h 5143499"/>
              <a:gd name="connsiteX23" fmla="*/ 3966836 w 4819650"/>
              <a:gd name="connsiteY23" fmla="*/ 4756247 h 5143499"/>
              <a:gd name="connsiteX24" fmla="*/ 3936473 w 4819650"/>
              <a:gd name="connsiteY24" fmla="*/ 4799850 h 5143499"/>
              <a:gd name="connsiteX25" fmla="*/ 3959447 w 4819650"/>
              <a:gd name="connsiteY25" fmla="*/ 4799850 h 5143499"/>
              <a:gd name="connsiteX26" fmla="*/ 3978181 w 4819650"/>
              <a:gd name="connsiteY26" fmla="*/ 4771689 h 5143499"/>
              <a:gd name="connsiteX27" fmla="*/ 3996915 w 4819650"/>
              <a:gd name="connsiteY27" fmla="*/ 4799850 h 5143499"/>
              <a:gd name="connsiteX28" fmla="*/ 4019889 w 4819650"/>
              <a:gd name="connsiteY28" fmla="*/ 4799850 h 5143499"/>
              <a:gd name="connsiteX29" fmla="*/ 3989668 w 4819650"/>
              <a:gd name="connsiteY29" fmla="*/ 4756247 h 5143499"/>
              <a:gd name="connsiteX30" fmla="*/ 4019889 w 4819650"/>
              <a:gd name="connsiteY30" fmla="*/ 4713284 h 5143499"/>
              <a:gd name="connsiteX31" fmla="*/ 3996749 w 4819650"/>
              <a:gd name="connsiteY31" fmla="*/ 4713284 h 5143499"/>
              <a:gd name="connsiteX32" fmla="*/ 3978181 w 4819650"/>
              <a:gd name="connsiteY32" fmla="*/ 4741137 h 5143499"/>
              <a:gd name="connsiteX33" fmla="*/ 3959612 w 4819650"/>
              <a:gd name="connsiteY33" fmla="*/ 4713284 h 5143499"/>
              <a:gd name="connsiteX34" fmla="*/ 3936473 w 4819650"/>
              <a:gd name="connsiteY34" fmla="*/ 4713284 h 5143499"/>
              <a:gd name="connsiteX35" fmla="*/ 4336096 w 4819650"/>
              <a:gd name="connsiteY35" fmla="*/ 4730124 h 5143499"/>
              <a:gd name="connsiteX36" fmla="*/ 4304596 w 4819650"/>
              <a:gd name="connsiteY36" fmla="*/ 4737063 h 5143499"/>
              <a:gd name="connsiteX37" fmla="*/ 4330080 w 4819650"/>
              <a:gd name="connsiteY37" fmla="*/ 4761932 h 5143499"/>
              <a:gd name="connsiteX38" fmla="*/ 4336073 w 4819650"/>
              <a:gd name="connsiteY38" fmla="*/ 4764134 h 5143499"/>
              <a:gd name="connsiteX39" fmla="*/ 4351657 w 4819650"/>
              <a:gd name="connsiteY39" fmla="*/ 4774982 h 5143499"/>
              <a:gd name="connsiteX40" fmla="*/ 4337186 w 4819650"/>
              <a:gd name="connsiteY40" fmla="*/ 4782845 h 5143499"/>
              <a:gd name="connsiteX41" fmla="*/ 4308220 w 4819650"/>
              <a:gd name="connsiteY41" fmla="*/ 4775763 h 5143499"/>
              <a:gd name="connsiteX42" fmla="*/ 4303341 w 4819650"/>
              <a:gd name="connsiteY42" fmla="*/ 4793858 h 5143499"/>
              <a:gd name="connsiteX43" fmla="*/ 4338109 w 4819650"/>
              <a:gd name="connsiteY43" fmla="*/ 4801413 h 5143499"/>
              <a:gd name="connsiteX44" fmla="*/ 4372404 w 4819650"/>
              <a:gd name="connsiteY44" fmla="*/ 4774342 h 5143499"/>
              <a:gd name="connsiteX45" fmla="*/ 4345688 w 4819650"/>
              <a:gd name="connsiteY45" fmla="*/ 4747768 h 5143499"/>
              <a:gd name="connsiteX46" fmla="*/ 4339388 w 4819650"/>
              <a:gd name="connsiteY46" fmla="*/ 4745400 h 5143499"/>
              <a:gd name="connsiteX47" fmla="*/ 4336096 w 4819650"/>
              <a:gd name="connsiteY47" fmla="*/ 4730124 h 5143499"/>
              <a:gd name="connsiteX48" fmla="*/ 4107093 w 4819650"/>
              <a:gd name="connsiteY48" fmla="*/ 4711721 h 5143499"/>
              <a:gd name="connsiteX49" fmla="*/ 4070430 w 4819650"/>
              <a:gd name="connsiteY49" fmla="*/ 4744760 h 5143499"/>
              <a:gd name="connsiteX50" fmla="*/ 4070430 w 4819650"/>
              <a:gd name="connsiteY50" fmla="*/ 4799850 h 5143499"/>
              <a:gd name="connsiteX51" fmla="*/ 4091201 w 4819650"/>
              <a:gd name="connsiteY51" fmla="*/ 4799850 h 5143499"/>
              <a:gd name="connsiteX52" fmla="*/ 4091201 w 4819650"/>
              <a:gd name="connsiteY52" fmla="*/ 4746182 h 5143499"/>
              <a:gd name="connsiteX53" fmla="*/ 4106927 w 4819650"/>
              <a:gd name="connsiteY53" fmla="*/ 4731379 h 5143499"/>
              <a:gd name="connsiteX54" fmla="*/ 4122985 w 4819650"/>
              <a:gd name="connsiteY54" fmla="*/ 4746182 h 5143499"/>
              <a:gd name="connsiteX55" fmla="*/ 4122985 w 4819650"/>
              <a:gd name="connsiteY55" fmla="*/ 4799850 h 5143499"/>
              <a:gd name="connsiteX56" fmla="*/ 4143591 w 4819650"/>
              <a:gd name="connsiteY56" fmla="*/ 4799850 h 5143499"/>
              <a:gd name="connsiteX57" fmla="*/ 4143591 w 4819650"/>
              <a:gd name="connsiteY57" fmla="*/ 4746182 h 5143499"/>
              <a:gd name="connsiteX58" fmla="*/ 4159648 w 4819650"/>
              <a:gd name="connsiteY58" fmla="*/ 4731379 h 5143499"/>
              <a:gd name="connsiteX59" fmla="*/ 4175375 w 4819650"/>
              <a:gd name="connsiteY59" fmla="*/ 4746182 h 5143499"/>
              <a:gd name="connsiteX60" fmla="*/ 4175375 w 4819650"/>
              <a:gd name="connsiteY60" fmla="*/ 4799850 h 5143499"/>
              <a:gd name="connsiteX61" fmla="*/ 4196146 w 4819650"/>
              <a:gd name="connsiteY61" fmla="*/ 4799850 h 5143499"/>
              <a:gd name="connsiteX62" fmla="*/ 4196146 w 4819650"/>
              <a:gd name="connsiteY62" fmla="*/ 4744760 h 5143499"/>
              <a:gd name="connsiteX63" fmla="*/ 4159648 w 4819650"/>
              <a:gd name="connsiteY63" fmla="*/ 4711721 h 5143499"/>
              <a:gd name="connsiteX64" fmla="*/ 4133525 w 4819650"/>
              <a:gd name="connsiteY64" fmla="*/ 4722426 h 5143499"/>
              <a:gd name="connsiteX65" fmla="*/ 4107093 w 4819650"/>
              <a:gd name="connsiteY65" fmla="*/ 4711721 h 5143499"/>
              <a:gd name="connsiteX66" fmla="*/ 3892112 w 4819650"/>
              <a:gd name="connsiteY66" fmla="*/ 4711721 h 5143499"/>
              <a:gd name="connsiteX67" fmla="*/ 3849930 w 4819650"/>
              <a:gd name="connsiteY67" fmla="*/ 4756413 h 5143499"/>
              <a:gd name="connsiteX68" fmla="*/ 3892112 w 4819650"/>
              <a:gd name="connsiteY68" fmla="*/ 4801413 h 5143499"/>
              <a:gd name="connsiteX69" fmla="*/ 3934293 w 4819650"/>
              <a:gd name="connsiteY69" fmla="*/ 4756413 h 5143499"/>
              <a:gd name="connsiteX70" fmla="*/ 3892112 w 4819650"/>
              <a:gd name="connsiteY70" fmla="*/ 4711721 h 5143499"/>
              <a:gd name="connsiteX71" fmla="*/ 3846165 w 4819650"/>
              <a:gd name="connsiteY71" fmla="*/ 4712479 h 5143499"/>
              <a:gd name="connsiteX72" fmla="*/ 3799412 w 4819650"/>
              <a:gd name="connsiteY72" fmla="*/ 4749000 h 5143499"/>
              <a:gd name="connsiteX73" fmla="*/ 3799412 w 4819650"/>
              <a:gd name="connsiteY73" fmla="*/ 4799826 h 5143499"/>
              <a:gd name="connsiteX74" fmla="*/ 3820183 w 4819650"/>
              <a:gd name="connsiteY74" fmla="*/ 4799826 h 5143499"/>
              <a:gd name="connsiteX75" fmla="*/ 3837662 w 4819650"/>
              <a:gd name="connsiteY75" fmla="*/ 4731994 h 5143499"/>
              <a:gd name="connsiteX76" fmla="*/ 3842707 w 4819650"/>
              <a:gd name="connsiteY76" fmla="*/ 4732302 h 5143499"/>
              <a:gd name="connsiteX77" fmla="*/ 3846165 w 4819650"/>
              <a:gd name="connsiteY77" fmla="*/ 4712479 h 5143499"/>
              <a:gd name="connsiteX78" fmla="*/ 3783828 w 4819650"/>
              <a:gd name="connsiteY78" fmla="*/ 4756389 h 5143499"/>
              <a:gd name="connsiteX79" fmla="*/ 3783828 w 4819650"/>
              <a:gd name="connsiteY79" fmla="*/ 4756413 h 5143499"/>
              <a:gd name="connsiteX80" fmla="*/ 3783828 w 4819650"/>
              <a:gd name="connsiteY80" fmla="*/ 4756389 h 5143499"/>
              <a:gd name="connsiteX81" fmla="*/ 2094551 w 4819650"/>
              <a:gd name="connsiteY81" fmla="*/ 0 h 5143499"/>
              <a:gd name="connsiteX82" fmla="*/ 4819650 w 4819650"/>
              <a:gd name="connsiteY82" fmla="*/ 0 h 5143499"/>
              <a:gd name="connsiteX83" fmla="*/ 4819650 w 4819650"/>
              <a:gd name="connsiteY83" fmla="*/ 5143499 h 5143499"/>
              <a:gd name="connsiteX84" fmla="*/ 0 w 4819650"/>
              <a:gd name="connsiteY84" fmla="*/ 5143499 h 5143499"/>
              <a:gd name="connsiteX85" fmla="*/ 0 w 4819650"/>
              <a:gd name="connsiteY85" fmla="*/ 5143498 h 5143499"/>
              <a:gd name="connsiteX86" fmla="*/ 371745 w 4819650"/>
              <a:gd name="connsiteY86" fmla="*/ 5143498 h 5143499"/>
              <a:gd name="connsiteX87" fmla="*/ 1206499 w 4819650"/>
              <a:gd name="connsiteY87" fmla="*/ 1821610 h 5143499"/>
              <a:gd name="connsiteX88" fmla="*/ 2048326 w 4819650"/>
              <a:gd name="connsiteY88" fmla="*/ 58253 h 5143499"/>
              <a:gd name="connsiteX89" fmla="*/ 2094551 w 4819650"/>
              <a:gd name="connsiteY89" fmla="*/ 0 h 5143499"/>
              <a:gd name="connsiteX0" fmla="*/ 3892112 w 4819650"/>
              <a:gd name="connsiteY0" fmla="*/ 4731379 h 5143499"/>
              <a:gd name="connsiteX1" fmla="*/ 3913356 w 4819650"/>
              <a:gd name="connsiteY1" fmla="*/ 4756555 h 5143499"/>
              <a:gd name="connsiteX2" fmla="*/ 3892112 w 4819650"/>
              <a:gd name="connsiteY2" fmla="*/ 4781732 h 5143499"/>
              <a:gd name="connsiteX3" fmla="*/ 3870867 w 4819650"/>
              <a:gd name="connsiteY3" fmla="*/ 4756555 h 5143499"/>
              <a:gd name="connsiteX4" fmla="*/ 3892112 w 4819650"/>
              <a:gd name="connsiteY4" fmla="*/ 4731379 h 5143499"/>
              <a:gd name="connsiteX5" fmla="*/ 4212654 w 4819650"/>
              <a:gd name="connsiteY5" fmla="*/ 4713284 h 5143499"/>
              <a:gd name="connsiteX6" fmla="*/ 4212654 w 4819650"/>
              <a:gd name="connsiteY6" fmla="*/ 4762855 h 5143499"/>
              <a:gd name="connsiteX7" fmla="*/ 4251378 w 4819650"/>
              <a:gd name="connsiteY7" fmla="*/ 4801413 h 5143499"/>
              <a:gd name="connsiteX8" fmla="*/ 4290101 w 4819650"/>
              <a:gd name="connsiteY8" fmla="*/ 4762855 h 5143499"/>
              <a:gd name="connsiteX9" fmla="*/ 4290101 w 4819650"/>
              <a:gd name="connsiteY9" fmla="*/ 4713284 h 5143499"/>
              <a:gd name="connsiteX10" fmla="*/ 4290054 w 4819650"/>
              <a:gd name="connsiteY10" fmla="*/ 4713284 h 5143499"/>
              <a:gd name="connsiteX11" fmla="*/ 4269283 w 4819650"/>
              <a:gd name="connsiteY11" fmla="*/ 4713284 h 5143499"/>
              <a:gd name="connsiteX12" fmla="*/ 4269283 w 4819650"/>
              <a:gd name="connsiteY12" fmla="*/ 4762855 h 5143499"/>
              <a:gd name="connsiteX13" fmla="*/ 4251354 w 4819650"/>
              <a:gd name="connsiteY13" fmla="*/ 4781731 h 5143499"/>
              <a:gd name="connsiteX14" fmla="*/ 4233425 w 4819650"/>
              <a:gd name="connsiteY14" fmla="*/ 4762855 h 5143499"/>
              <a:gd name="connsiteX15" fmla="*/ 4233425 w 4819650"/>
              <a:gd name="connsiteY15" fmla="*/ 4713284 h 5143499"/>
              <a:gd name="connsiteX16" fmla="*/ 4212654 w 4819650"/>
              <a:gd name="connsiteY16" fmla="*/ 4713284 h 5143499"/>
              <a:gd name="connsiteX17" fmla="*/ 4031541 w 4819650"/>
              <a:gd name="connsiteY17" fmla="*/ 4713284 h 5143499"/>
              <a:gd name="connsiteX18" fmla="*/ 4031541 w 4819650"/>
              <a:gd name="connsiteY18" fmla="*/ 4799826 h 5143499"/>
              <a:gd name="connsiteX19" fmla="*/ 4052312 w 4819650"/>
              <a:gd name="connsiteY19" fmla="*/ 4799826 h 5143499"/>
              <a:gd name="connsiteX20" fmla="*/ 4052312 w 4819650"/>
              <a:gd name="connsiteY20" fmla="*/ 4713284 h 5143499"/>
              <a:gd name="connsiteX21" fmla="*/ 4031541 w 4819650"/>
              <a:gd name="connsiteY21" fmla="*/ 4713284 h 5143499"/>
              <a:gd name="connsiteX22" fmla="*/ 3936473 w 4819650"/>
              <a:gd name="connsiteY22" fmla="*/ 4713284 h 5143499"/>
              <a:gd name="connsiteX23" fmla="*/ 3966836 w 4819650"/>
              <a:gd name="connsiteY23" fmla="*/ 4756247 h 5143499"/>
              <a:gd name="connsiteX24" fmla="*/ 3936473 w 4819650"/>
              <a:gd name="connsiteY24" fmla="*/ 4799850 h 5143499"/>
              <a:gd name="connsiteX25" fmla="*/ 3959447 w 4819650"/>
              <a:gd name="connsiteY25" fmla="*/ 4799850 h 5143499"/>
              <a:gd name="connsiteX26" fmla="*/ 3978181 w 4819650"/>
              <a:gd name="connsiteY26" fmla="*/ 4771689 h 5143499"/>
              <a:gd name="connsiteX27" fmla="*/ 3996915 w 4819650"/>
              <a:gd name="connsiteY27" fmla="*/ 4799850 h 5143499"/>
              <a:gd name="connsiteX28" fmla="*/ 4019889 w 4819650"/>
              <a:gd name="connsiteY28" fmla="*/ 4799850 h 5143499"/>
              <a:gd name="connsiteX29" fmla="*/ 3989668 w 4819650"/>
              <a:gd name="connsiteY29" fmla="*/ 4756247 h 5143499"/>
              <a:gd name="connsiteX30" fmla="*/ 4019889 w 4819650"/>
              <a:gd name="connsiteY30" fmla="*/ 4713284 h 5143499"/>
              <a:gd name="connsiteX31" fmla="*/ 3996749 w 4819650"/>
              <a:gd name="connsiteY31" fmla="*/ 4713284 h 5143499"/>
              <a:gd name="connsiteX32" fmla="*/ 3978181 w 4819650"/>
              <a:gd name="connsiteY32" fmla="*/ 4741137 h 5143499"/>
              <a:gd name="connsiteX33" fmla="*/ 3959612 w 4819650"/>
              <a:gd name="connsiteY33" fmla="*/ 4713284 h 5143499"/>
              <a:gd name="connsiteX34" fmla="*/ 3936473 w 4819650"/>
              <a:gd name="connsiteY34" fmla="*/ 4713284 h 5143499"/>
              <a:gd name="connsiteX35" fmla="*/ 4336096 w 4819650"/>
              <a:gd name="connsiteY35" fmla="*/ 4730124 h 5143499"/>
              <a:gd name="connsiteX36" fmla="*/ 4304596 w 4819650"/>
              <a:gd name="connsiteY36" fmla="*/ 4737063 h 5143499"/>
              <a:gd name="connsiteX37" fmla="*/ 4330080 w 4819650"/>
              <a:gd name="connsiteY37" fmla="*/ 4761932 h 5143499"/>
              <a:gd name="connsiteX38" fmla="*/ 4336073 w 4819650"/>
              <a:gd name="connsiteY38" fmla="*/ 4764134 h 5143499"/>
              <a:gd name="connsiteX39" fmla="*/ 4351657 w 4819650"/>
              <a:gd name="connsiteY39" fmla="*/ 4774982 h 5143499"/>
              <a:gd name="connsiteX40" fmla="*/ 4337186 w 4819650"/>
              <a:gd name="connsiteY40" fmla="*/ 4782845 h 5143499"/>
              <a:gd name="connsiteX41" fmla="*/ 4308220 w 4819650"/>
              <a:gd name="connsiteY41" fmla="*/ 4775763 h 5143499"/>
              <a:gd name="connsiteX42" fmla="*/ 4303341 w 4819650"/>
              <a:gd name="connsiteY42" fmla="*/ 4793858 h 5143499"/>
              <a:gd name="connsiteX43" fmla="*/ 4338109 w 4819650"/>
              <a:gd name="connsiteY43" fmla="*/ 4801413 h 5143499"/>
              <a:gd name="connsiteX44" fmla="*/ 4372404 w 4819650"/>
              <a:gd name="connsiteY44" fmla="*/ 4774342 h 5143499"/>
              <a:gd name="connsiteX45" fmla="*/ 4345688 w 4819650"/>
              <a:gd name="connsiteY45" fmla="*/ 4747768 h 5143499"/>
              <a:gd name="connsiteX46" fmla="*/ 4339388 w 4819650"/>
              <a:gd name="connsiteY46" fmla="*/ 4745400 h 5143499"/>
              <a:gd name="connsiteX47" fmla="*/ 4336096 w 4819650"/>
              <a:gd name="connsiteY47" fmla="*/ 4730124 h 5143499"/>
              <a:gd name="connsiteX48" fmla="*/ 4107093 w 4819650"/>
              <a:gd name="connsiteY48" fmla="*/ 4711721 h 5143499"/>
              <a:gd name="connsiteX49" fmla="*/ 4070430 w 4819650"/>
              <a:gd name="connsiteY49" fmla="*/ 4744760 h 5143499"/>
              <a:gd name="connsiteX50" fmla="*/ 4070430 w 4819650"/>
              <a:gd name="connsiteY50" fmla="*/ 4799850 h 5143499"/>
              <a:gd name="connsiteX51" fmla="*/ 4091201 w 4819650"/>
              <a:gd name="connsiteY51" fmla="*/ 4799850 h 5143499"/>
              <a:gd name="connsiteX52" fmla="*/ 4091201 w 4819650"/>
              <a:gd name="connsiteY52" fmla="*/ 4746182 h 5143499"/>
              <a:gd name="connsiteX53" fmla="*/ 4106927 w 4819650"/>
              <a:gd name="connsiteY53" fmla="*/ 4731379 h 5143499"/>
              <a:gd name="connsiteX54" fmla="*/ 4122985 w 4819650"/>
              <a:gd name="connsiteY54" fmla="*/ 4746182 h 5143499"/>
              <a:gd name="connsiteX55" fmla="*/ 4122985 w 4819650"/>
              <a:gd name="connsiteY55" fmla="*/ 4799850 h 5143499"/>
              <a:gd name="connsiteX56" fmla="*/ 4143591 w 4819650"/>
              <a:gd name="connsiteY56" fmla="*/ 4799850 h 5143499"/>
              <a:gd name="connsiteX57" fmla="*/ 4143591 w 4819650"/>
              <a:gd name="connsiteY57" fmla="*/ 4746182 h 5143499"/>
              <a:gd name="connsiteX58" fmla="*/ 4159648 w 4819650"/>
              <a:gd name="connsiteY58" fmla="*/ 4731379 h 5143499"/>
              <a:gd name="connsiteX59" fmla="*/ 4175375 w 4819650"/>
              <a:gd name="connsiteY59" fmla="*/ 4746182 h 5143499"/>
              <a:gd name="connsiteX60" fmla="*/ 4175375 w 4819650"/>
              <a:gd name="connsiteY60" fmla="*/ 4799850 h 5143499"/>
              <a:gd name="connsiteX61" fmla="*/ 4196146 w 4819650"/>
              <a:gd name="connsiteY61" fmla="*/ 4799850 h 5143499"/>
              <a:gd name="connsiteX62" fmla="*/ 4196146 w 4819650"/>
              <a:gd name="connsiteY62" fmla="*/ 4744760 h 5143499"/>
              <a:gd name="connsiteX63" fmla="*/ 4159648 w 4819650"/>
              <a:gd name="connsiteY63" fmla="*/ 4711721 h 5143499"/>
              <a:gd name="connsiteX64" fmla="*/ 4133525 w 4819650"/>
              <a:gd name="connsiteY64" fmla="*/ 4722426 h 5143499"/>
              <a:gd name="connsiteX65" fmla="*/ 4107093 w 4819650"/>
              <a:gd name="connsiteY65" fmla="*/ 4711721 h 5143499"/>
              <a:gd name="connsiteX66" fmla="*/ 3892112 w 4819650"/>
              <a:gd name="connsiteY66" fmla="*/ 4711721 h 5143499"/>
              <a:gd name="connsiteX67" fmla="*/ 3849930 w 4819650"/>
              <a:gd name="connsiteY67" fmla="*/ 4756413 h 5143499"/>
              <a:gd name="connsiteX68" fmla="*/ 3892112 w 4819650"/>
              <a:gd name="connsiteY68" fmla="*/ 4801413 h 5143499"/>
              <a:gd name="connsiteX69" fmla="*/ 3934293 w 4819650"/>
              <a:gd name="connsiteY69" fmla="*/ 4756413 h 5143499"/>
              <a:gd name="connsiteX70" fmla="*/ 3892112 w 4819650"/>
              <a:gd name="connsiteY70" fmla="*/ 4711721 h 5143499"/>
              <a:gd name="connsiteX71" fmla="*/ 3846165 w 4819650"/>
              <a:gd name="connsiteY71" fmla="*/ 4712479 h 5143499"/>
              <a:gd name="connsiteX72" fmla="*/ 3799412 w 4819650"/>
              <a:gd name="connsiteY72" fmla="*/ 4799826 h 5143499"/>
              <a:gd name="connsiteX73" fmla="*/ 3820183 w 4819650"/>
              <a:gd name="connsiteY73" fmla="*/ 4799826 h 5143499"/>
              <a:gd name="connsiteX74" fmla="*/ 3837662 w 4819650"/>
              <a:gd name="connsiteY74" fmla="*/ 4731994 h 5143499"/>
              <a:gd name="connsiteX75" fmla="*/ 3842707 w 4819650"/>
              <a:gd name="connsiteY75" fmla="*/ 4732302 h 5143499"/>
              <a:gd name="connsiteX76" fmla="*/ 3846165 w 4819650"/>
              <a:gd name="connsiteY76" fmla="*/ 4712479 h 5143499"/>
              <a:gd name="connsiteX77" fmla="*/ 3783828 w 4819650"/>
              <a:gd name="connsiteY77" fmla="*/ 4756389 h 5143499"/>
              <a:gd name="connsiteX78" fmla="*/ 3783828 w 4819650"/>
              <a:gd name="connsiteY78" fmla="*/ 4756413 h 5143499"/>
              <a:gd name="connsiteX79" fmla="*/ 3783828 w 4819650"/>
              <a:gd name="connsiteY79" fmla="*/ 4756389 h 5143499"/>
              <a:gd name="connsiteX80" fmla="*/ 2094551 w 4819650"/>
              <a:gd name="connsiteY80" fmla="*/ 0 h 5143499"/>
              <a:gd name="connsiteX81" fmla="*/ 4819650 w 4819650"/>
              <a:gd name="connsiteY81" fmla="*/ 0 h 5143499"/>
              <a:gd name="connsiteX82" fmla="*/ 4819650 w 4819650"/>
              <a:gd name="connsiteY82" fmla="*/ 5143499 h 5143499"/>
              <a:gd name="connsiteX83" fmla="*/ 0 w 4819650"/>
              <a:gd name="connsiteY83" fmla="*/ 5143499 h 5143499"/>
              <a:gd name="connsiteX84" fmla="*/ 0 w 4819650"/>
              <a:gd name="connsiteY84" fmla="*/ 5143498 h 5143499"/>
              <a:gd name="connsiteX85" fmla="*/ 371745 w 4819650"/>
              <a:gd name="connsiteY85" fmla="*/ 5143498 h 5143499"/>
              <a:gd name="connsiteX86" fmla="*/ 1206499 w 4819650"/>
              <a:gd name="connsiteY86" fmla="*/ 1821610 h 5143499"/>
              <a:gd name="connsiteX87" fmla="*/ 2048326 w 4819650"/>
              <a:gd name="connsiteY87" fmla="*/ 58253 h 5143499"/>
              <a:gd name="connsiteX88" fmla="*/ 2094551 w 4819650"/>
              <a:gd name="connsiteY88" fmla="*/ 0 h 5143499"/>
              <a:gd name="connsiteX0" fmla="*/ 3892112 w 4819650"/>
              <a:gd name="connsiteY0" fmla="*/ 4731379 h 5143499"/>
              <a:gd name="connsiteX1" fmla="*/ 3913356 w 4819650"/>
              <a:gd name="connsiteY1" fmla="*/ 4756555 h 5143499"/>
              <a:gd name="connsiteX2" fmla="*/ 3892112 w 4819650"/>
              <a:gd name="connsiteY2" fmla="*/ 4781732 h 5143499"/>
              <a:gd name="connsiteX3" fmla="*/ 3870867 w 4819650"/>
              <a:gd name="connsiteY3" fmla="*/ 4756555 h 5143499"/>
              <a:gd name="connsiteX4" fmla="*/ 3892112 w 4819650"/>
              <a:gd name="connsiteY4" fmla="*/ 4731379 h 5143499"/>
              <a:gd name="connsiteX5" fmla="*/ 4212654 w 4819650"/>
              <a:gd name="connsiteY5" fmla="*/ 4713284 h 5143499"/>
              <a:gd name="connsiteX6" fmla="*/ 4212654 w 4819650"/>
              <a:gd name="connsiteY6" fmla="*/ 4762855 h 5143499"/>
              <a:gd name="connsiteX7" fmla="*/ 4251378 w 4819650"/>
              <a:gd name="connsiteY7" fmla="*/ 4801413 h 5143499"/>
              <a:gd name="connsiteX8" fmla="*/ 4290101 w 4819650"/>
              <a:gd name="connsiteY8" fmla="*/ 4762855 h 5143499"/>
              <a:gd name="connsiteX9" fmla="*/ 4290101 w 4819650"/>
              <a:gd name="connsiteY9" fmla="*/ 4713284 h 5143499"/>
              <a:gd name="connsiteX10" fmla="*/ 4290054 w 4819650"/>
              <a:gd name="connsiteY10" fmla="*/ 4713284 h 5143499"/>
              <a:gd name="connsiteX11" fmla="*/ 4269283 w 4819650"/>
              <a:gd name="connsiteY11" fmla="*/ 4713284 h 5143499"/>
              <a:gd name="connsiteX12" fmla="*/ 4269283 w 4819650"/>
              <a:gd name="connsiteY12" fmla="*/ 4762855 h 5143499"/>
              <a:gd name="connsiteX13" fmla="*/ 4251354 w 4819650"/>
              <a:gd name="connsiteY13" fmla="*/ 4781731 h 5143499"/>
              <a:gd name="connsiteX14" fmla="*/ 4233425 w 4819650"/>
              <a:gd name="connsiteY14" fmla="*/ 4762855 h 5143499"/>
              <a:gd name="connsiteX15" fmla="*/ 4233425 w 4819650"/>
              <a:gd name="connsiteY15" fmla="*/ 4713284 h 5143499"/>
              <a:gd name="connsiteX16" fmla="*/ 4212654 w 4819650"/>
              <a:gd name="connsiteY16" fmla="*/ 4713284 h 5143499"/>
              <a:gd name="connsiteX17" fmla="*/ 4031541 w 4819650"/>
              <a:gd name="connsiteY17" fmla="*/ 4713284 h 5143499"/>
              <a:gd name="connsiteX18" fmla="*/ 4031541 w 4819650"/>
              <a:gd name="connsiteY18" fmla="*/ 4799826 h 5143499"/>
              <a:gd name="connsiteX19" fmla="*/ 4052312 w 4819650"/>
              <a:gd name="connsiteY19" fmla="*/ 4799826 h 5143499"/>
              <a:gd name="connsiteX20" fmla="*/ 4052312 w 4819650"/>
              <a:gd name="connsiteY20" fmla="*/ 4713284 h 5143499"/>
              <a:gd name="connsiteX21" fmla="*/ 4031541 w 4819650"/>
              <a:gd name="connsiteY21" fmla="*/ 4713284 h 5143499"/>
              <a:gd name="connsiteX22" fmla="*/ 3936473 w 4819650"/>
              <a:gd name="connsiteY22" fmla="*/ 4713284 h 5143499"/>
              <a:gd name="connsiteX23" fmla="*/ 3966836 w 4819650"/>
              <a:gd name="connsiteY23" fmla="*/ 4756247 h 5143499"/>
              <a:gd name="connsiteX24" fmla="*/ 3936473 w 4819650"/>
              <a:gd name="connsiteY24" fmla="*/ 4799850 h 5143499"/>
              <a:gd name="connsiteX25" fmla="*/ 3959447 w 4819650"/>
              <a:gd name="connsiteY25" fmla="*/ 4799850 h 5143499"/>
              <a:gd name="connsiteX26" fmla="*/ 3978181 w 4819650"/>
              <a:gd name="connsiteY26" fmla="*/ 4771689 h 5143499"/>
              <a:gd name="connsiteX27" fmla="*/ 3996915 w 4819650"/>
              <a:gd name="connsiteY27" fmla="*/ 4799850 h 5143499"/>
              <a:gd name="connsiteX28" fmla="*/ 4019889 w 4819650"/>
              <a:gd name="connsiteY28" fmla="*/ 4799850 h 5143499"/>
              <a:gd name="connsiteX29" fmla="*/ 3989668 w 4819650"/>
              <a:gd name="connsiteY29" fmla="*/ 4756247 h 5143499"/>
              <a:gd name="connsiteX30" fmla="*/ 4019889 w 4819650"/>
              <a:gd name="connsiteY30" fmla="*/ 4713284 h 5143499"/>
              <a:gd name="connsiteX31" fmla="*/ 3996749 w 4819650"/>
              <a:gd name="connsiteY31" fmla="*/ 4713284 h 5143499"/>
              <a:gd name="connsiteX32" fmla="*/ 3978181 w 4819650"/>
              <a:gd name="connsiteY32" fmla="*/ 4741137 h 5143499"/>
              <a:gd name="connsiteX33" fmla="*/ 3959612 w 4819650"/>
              <a:gd name="connsiteY33" fmla="*/ 4713284 h 5143499"/>
              <a:gd name="connsiteX34" fmla="*/ 3936473 w 4819650"/>
              <a:gd name="connsiteY34" fmla="*/ 4713284 h 5143499"/>
              <a:gd name="connsiteX35" fmla="*/ 4336096 w 4819650"/>
              <a:gd name="connsiteY35" fmla="*/ 4730124 h 5143499"/>
              <a:gd name="connsiteX36" fmla="*/ 4304596 w 4819650"/>
              <a:gd name="connsiteY36" fmla="*/ 4737063 h 5143499"/>
              <a:gd name="connsiteX37" fmla="*/ 4330080 w 4819650"/>
              <a:gd name="connsiteY37" fmla="*/ 4761932 h 5143499"/>
              <a:gd name="connsiteX38" fmla="*/ 4336073 w 4819650"/>
              <a:gd name="connsiteY38" fmla="*/ 4764134 h 5143499"/>
              <a:gd name="connsiteX39" fmla="*/ 4351657 w 4819650"/>
              <a:gd name="connsiteY39" fmla="*/ 4774982 h 5143499"/>
              <a:gd name="connsiteX40" fmla="*/ 4337186 w 4819650"/>
              <a:gd name="connsiteY40" fmla="*/ 4782845 h 5143499"/>
              <a:gd name="connsiteX41" fmla="*/ 4308220 w 4819650"/>
              <a:gd name="connsiteY41" fmla="*/ 4775763 h 5143499"/>
              <a:gd name="connsiteX42" fmla="*/ 4303341 w 4819650"/>
              <a:gd name="connsiteY42" fmla="*/ 4793858 h 5143499"/>
              <a:gd name="connsiteX43" fmla="*/ 4338109 w 4819650"/>
              <a:gd name="connsiteY43" fmla="*/ 4801413 h 5143499"/>
              <a:gd name="connsiteX44" fmla="*/ 4372404 w 4819650"/>
              <a:gd name="connsiteY44" fmla="*/ 4774342 h 5143499"/>
              <a:gd name="connsiteX45" fmla="*/ 4345688 w 4819650"/>
              <a:gd name="connsiteY45" fmla="*/ 4747768 h 5143499"/>
              <a:gd name="connsiteX46" fmla="*/ 4339388 w 4819650"/>
              <a:gd name="connsiteY46" fmla="*/ 4745400 h 5143499"/>
              <a:gd name="connsiteX47" fmla="*/ 4336096 w 4819650"/>
              <a:gd name="connsiteY47" fmla="*/ 4730124 h 5143499"/>
              <a:gd name="connsiteX48" fmla="*/ 4107093 w 4819650"/>
              <a:gd name="connsiteY48" fmla="*/ 4711721 h 5143499"/>
              <a:gd name="connsiteX49" fmla="*/ 4070430 w 4819650"/>
              <a:gd name="connsiteY49" fmla="*/ 4744760 h 5143499"/>
              <a:gd name="connsiteX50" fmla="*/ 4070430 w 4819650"/>
              <a:gd name="connsiteY50" fmla="*/ 4799850 h 5143499"/>
              <a:gd name="connsiteX51" fmla="*/ 4091201 w 4819650"/>
              <a:gd name="connsiteY51" fmla="*/ 4799850 h 5143499"/>
              <a:gd name="connsiteX52" fmla="*/ 4091201 w 4819650"/>
              <a:gd name="connsiteY52" fmla="*/ 4746182 h 5143499"/>
              <a:gd name="connsiteX53" fmla="*/ 4106927 w 4819650"/>
              <a:gd name="connsiteY53" fmla="*/ 4731379 h 5143499"/>
              <a:gd name="connsiteX54" fmla="*/ 4122985 w 4819650"/>
              <a:gd name="connsiteY54" fmla="*/ 4746182 h 5143499"/>
              <a:gd name="connsiteX55" fmla="*/ 4122985 w 4819650"/>
              <a:gd name="connsiteY55" fmla="*/ 4799850 h 5143499"/>
              <a:gd name="connsiteX56" fmla="*/ 4143591 w 4819650"/>
              <a:gd name="connsiteY56" fmla="*/ 4799850 h 5143499"/>
              <a:gd name="connsiteX57" fmla="*/ 4143591 w 4819650"/>
              <a:gd name="connsiteY57" fmla="*/ 4746182 h 5143499"/>
              <a:gd name="connsiteX58" fmla="*/ 4159648 w 4819650"/>
              <a:gd name="connsiteY58" fmla="*/ 4731379 h 5143499"/>
              <a:gd name="connsiteX59" fmla="*/ 4175375 w 4819650"/>
              <a:gd name="connsiteY59" fmla="*/ 4746182 h 5143499"/>
              <a:gd name="connsiteX60" fmla="*/ 4175375 w 4819650"/>
              <a:gd name="connsiteY60" fmla="*/ 4799850 h 5143499"/>
              <a:gd name="connsiteX61" fmla="*/ 4196146 w 4819650"/>
              <a:gd name="connsiteY61" fmla="*/ 4799850 h 5143499"/>
              <a:gd name="connsiteX62" fmla="*/ 4196146 w 4819650"/>
              <a:gd name="connsiteY62" fmla="*/ 4744760 h 5143499"/>
              <a:gd name="connsiteX63" fmla="*/ 4159648 w 4819650"/>
              <a:gd name="connsiteY63" fmla="*/ 4711721 h 5143499"/>
              <a:gd name="connsiteX64" fmla="*/ 4133525 w 4819650"/>
              <a:gd name="connsiteY64" fmla="*/ 4722426 h 5143499"/>
              <a:gd name="connsiteX65" fmla="*/ 4107093 w 4819650"/>
              <a:gd name="connsiteY65" fmla="*/ 4711721 h 5143499"/>
              <a:gd name="connsiteX66" fmla="*/ 3892112 w 4819650"/>
              <a:gd name="connsiteY66" fmla="*/ 4711721 h 5143499"/>
              <a:gd name="connsiteX67" fmla="*/ 3849930 w 4819650"/>
              <a:gd name="connsiteY67" fmla="*/ 4756413 h 5143499"/>
              <a:gd name="connsiteX68" fmla="*/ 3892112 w 4819650"/>
              <a:gd name="connsiteY68" fmla="*/ 4801413 h 5143499"/>
              <a:gd name="connsiteX69" fmla="*/ 3934293 w 4819650"/>
              <a:gd name="connsiteY69" fmla="*/ 4756413 h 5143499"/>
              <a:gd name="connsiteX70" fmla="*/ 3892112 w 4819650"/>
              <a:gd name="connsiteY70" fmla="*/ 4711721 h 5143499"/>
              <a:gd name="connsiteX71" fmla="*/ 3846165 w 4819650"/>
              <a:gd name="connsiteY71" fmla="*/ 4712479 h 5143499"/>
              <a:gd name="connsiteX72" fmla="*/ 3799412 w 4819650"/>
              <a:gd name="connsiteY72" fmla="*/ 4799826 h 5143499"/>
              <a:gd name="connsiteX73" fmla="*/ 3820183 w 4819650"/>
              <a:gd name="connsiteY73" fmla="*/ 4799826 h 5143499"/>
              <a:gd name="connsiteX74" fmla="*/ 3837662 w 4819650"/>
              <a:gd name="connsiteY74" fmla="*/ 4731994 h 5143499"/>
              <a:gd name="connsiteX75" fmla="*/ 3842707 w 4819650"/>
              <a:gd name="connsiteY75" fmla="*/ 4732302 h 5143499"/>
              <a:gd name="connsiteX76" fmla="*/ 3846165 w 4819650"/>
              <a:gd name="connsiteY76" fmla="*/ 4712479 h 5143499"/>
              <a:gd name="connsiteX77" fmla="*/ 2094551 w 4819650"/>
              <a:gd name="connsiteY77" fmla="*/ 0 h 5143499"/>
              <a:gd name="connsiteX78" fmla="*/ 4819650 w 4819650"/>
              <a:gd name="connsiteY78" fmla="*/ 0 h 5143499"/>
              <a:gd name="connsiteX79" fmla="*/ 4819650 w 4819650"/>
              <a:gd name="connsiteY79" fmla="*/ 5143499 h 5143499"/>
              <a:gd name="connsiteX80" fmla="*/ 0 w 4819650"/>
              <a:gd name="connsiteY80" fmla="*/ 5143499 h 5143499"/>
              <a:gd name="connsiteX81" fmla="*/ 0 w 4819650"/>
              <a:gd name="connsiteY81" fmla="*/ 5143498 h 5143499"/>
              <a:gd name="connsiteX82" fmla="*/ 371745 w 4819650"/>
              <a:gd name="connsiteY82" fmla="*/ 5143498 h 5143499"/>
              <a:gd name="connsiteX83" fmla="*/ 1206499 w 4819650"/>
              <a:gd name="connsiteY83" fmla="*/ 1821610 h 5143499"/>
              <a:gd name="connsiteX84" fmla="*/ 2048326 w 4819650"/>
              <a:gd name="connsiteY84" fmla="*/ 58253 h 5143499"/>
              <a:gd name="connsiteX85" fmla="*/ 2094551 w 4819650"/>
              <a:gd name="connsiteY85" fmla="*/ 0 h 5143499"/>
              <a:gd name="connsiteX0" fmla="*/ 3892112 w 4819650"/>
              <a:gd name="connsiteY0" fmla="*/ 4731379 h 5143499"/>
              <a:gd name="connsiteX1" fmla="*/ 3913356 w 4819650"/>
              <a:gd name="connsiteY1" fmla="*/ 4756555 h 5143499"/>
              <a:gd name="connsiteX2" fmla="*/ 3892112 w 4819650"/>
              <a:gd name="connsiteY2" fmla="*/ 4781732 h 5143499"/>
              <a:gd name="connsiteX3" fmla="*/ 3870867 w 4819650"/>
              <a:gd name="connsiteY3" fmla="*/ 4756555 h 5143499"/>
              <a:gd name="connsiteX4" fmla="*/ 3892112 w 4819650"/>
              <a:gd name="connsiteY4" fmla="*/ 4731379 h 5143499"/>
              <a:gd name="connsiteX5" fmla="*/ 4212654 w 4819650"/>
              <a:gd name="connsiteY5" fmla="*/ 4713284 h 5143499"/>
              <a:gd name="connsiteX6" fmla="*/ 4212654 w 4819650"/>
              <a:gd name="connsiteY6" fmla="*/ 4762855 h 5143499"/>
              <a:gd name="connsiteX7" fmla="*/ 4251378 w 4819650"/>
              <a:gd name="connsiteY7" fmla="*/ 4801413 h 5143499"/>
              <a:gd name="connsiteX8" fmla="*/ 4290101 w 4819650"/>
              <a:gd name="connsiteY8" fmla="*/ 4762855 h 5143499"/>
              <a:gd name="connsiteX9" fmla="*/ 4290101 w 4819650"/>
              <a:gd name="connsiteY9" fmla="*/ 4713284 h 5143499"/>
              <a:gd name="connsiteX10" fmla="*/ 4290054 w 4819650"/>
              <a:gd name="connsiteY10" fmla="*/ 4713284 h 5143499"/>
              <a:gd name="connsiteX11" fmla="*/ 4269283 w 4819650"/>
              <a:gd name="connsiteY11" fmla="*/ 4713284 h 5143499"/>
              <a:gd name="connsiteX12" fmla="*/ 4269283 w 4819650"/>
              <a:gd name="connsiteY12" fmla="*/ 4762855 h 5143499"/>
              <a:gd name="connsiteX13" fmla="*/ 4251354 w 4819650"/>
              <a:gd name="connsiteY13" fmla="*/ 4781731 h 5143499"/>
              <a:gd name="connsiteX14" fmla="*/ 4233425 w 4819650"/>
              <a:gd name="connsiteY14" fmla="*/ 4762855 h 5143499"/>
              <a:gd name="connsiteX15" fmla="*/ 4233425 w 4819650"/>
              <a:gd name="connsiteY15" fmla="*/ 4713284 h 5143499"/>
              <a:gd name="connsiteX16" fmla="*/ 4212654 w 4819650"/>
              <a:gd name="connsiteY16" fmla="*/ 4713284 h 5143499"/>
              <a:gd name="connsiteX17" fmla="*/ 4031541 w 4819650"/>
              <a:gd name="connsiteY17" fmla="*/ 4713284 h 5143499"/>
              <a:gd name="connsiteX18" fmla="*/ 4031541 w 4819650"/>
              <a:gd name="connsiteY18" fmla="*/ 4799826 h 5143499"/>
              <a:gd name="connsiteX19" fmla="*/ 4052312 w 4819650"/>
              <a:gd name="connsiteY19" fmla="*/ 4799826 h 5143499"/>
              <a:gd name="connsiteX20" fmla="*/ 4052312 w 4819650"/>
              <a:gd name="connsiteY20" fmla="*/ 4713284 h 5143499"/>
              <a:gd name="connsiteX21" fmla="*/ 4031541 w 4819650"/>
              <a:gd name="connsiteY21" fmla="*/ 4713284 h 5143499"/>
              <a:gd name="connsiteX22" fmla="*/ 3936473 w 4819650"/>
              <a:gd name="connsiteY22" fmla="*/ 4713284 h 5143499"/>
              <a:gd name="connsiteX23" fmla="*/ 3966836 w 4819650"/>
              <a:gd name="connsiteY23" fmla="*/ 4756247 h 5143499"/>
              <a:gd name="connsiteX24" fmla="*/ 3936473 w 4819650"/>
              <a:gd name="connsiteY24" fmla="*/ 4799850 h 5143499"/>
              <a:gd name="connsiteX25" fmla="*/ 3959447 w 4819650"/>
              <a:gd name="connsiteY25" fmla="*/ 4799850 h 5143499"/>
              <a:gd name="connsiteX26" fmla="*/ 3978181 w 4819650"/>
              <a:gd name="connsiteY26" fmla="*/ 4771689 h 5143499"/>
              <a:gd name="connsiteX27" fmla="*/ 3996915 w 4819650"/>
              <a:gd name="connsiteY27" fmla="*/ 4799850 h 5143499"/>
              <a:gd name="connsiteX28" fmla="*/ 4019889 w 4819650"/>
              <a:gd name="connsiteY28" fmla="*/ 4799850 h 5143499"/>
              <a:gd name="connsiteX29" fmla="*/ 3989668 w 4819650"/>
              <a:gd name="connsiteY29" fmla="*/ 4756247 h 5143499"/>
              <a:gd name="connsiteX30" fmla="*/ 4019889 w 4819650"/>
              <a:gd name="connsiteY30" fmla="*/ 4713284 h 5143499"/>
              <a:gd name="connsiteX31" fmla="*/ 3996749 w 4819650"/>
              <a:gd name="connsiteY31" fmla="*/ 4713284 h 5143499"/>
              <a:gd name="connsiteX32" fmla="*/ 3978181 w 4819650"/>
              <a:gd name="connsiteY32" fmla="*/ 4741137 h 5143499"/>
              <a:gd name="connsiteX33" fmla="*/ 3959612 w 4819650"/>
              <a:gd name="connsiteY33" fmla="*/ 4713284 h 5143499"/>
              <a:gd name="connsiteX34" fmla="*/ 3936473 w 4819650"/>
              <a:gd name="connsiteY34" fmla="*/ 4713284 h 5143499"/>
              <a:gd name="connsiteX35" fmla="*/ 4336096 w 4819650"/>
              <a:gd name="connsiteY35" fmla="*/ 4730124 h 5143499"/>
              <a:gd name="connsiteX36" fmla="*/ 4304596 w 4819650"/>
              <a:gd name="connsiteY36" fmla="*/ 4737063 h 5143499"/>
              <a:gd name="connsiteX37" fmla="*/ 4330080 w 4819650"/>
              <a:gd name="connsiteY37" fmla="*/ 4761932 h 5143499"/>
              <a:gd name="connsiteX38" fmla="*/ 4336073 w 4819650"/>
              <a:gd name="connsiteY38" fmla="*/ 4764134 h 5143499"/>
              <a:gd name="connsiteX39" fmla="*/ 4351657 w 4819650"/>
              <a:gd name="connsiteY39" fmla="*/ 4774982 h 5143499"/>
              <a:gd name="connsiteX40" fmla="*/ 4337186 w 4819650"/>
              <a:gd name="connsiteY40" fmla="*/ 4782845 h 5143499"/>
              <a:gd name="connsiteX41" fmla="*/ 4308220 w 4819650"/>
              <a:gd name="connsiteY41" fmla="*/ 4775763 h 5143499"/>
              <a:gd name="connsiteX42" fmla="*/ 4303341 w 4819650"/>
              <a:gd name="connsiteY42" fmla="*/ 4793858 h 5143499"/>
              <a:gd name="connsiteX43" fmla="*/ 4338109 w 4819650"/>
              <a:gd name="connsiteY43" fmla="*/ 4801413 h 5143499"/>
              <a:gd name="connsiteX44" fmla="*/ 4372404 w 4819650"/>
              <a:gd name="connsiteY44" fmla="*/ 4774342 h 5143499"/>
              <a:gd name="connsiteX45" fmla="*/ 4345688 w 4819650"/>
              <a:gd name="connsiteY45" fmla="*/ 4747768 h 5143499"/>
              <a:gd name="connsiteX46" fmla="*/ 4339388 w 4819650"/>
              <a:gd name="connsiteY46" fmla="*/ 4745400 h 5143499"/>
              <a:gd name="connsiteX47" fmla="*/ 4336096 w 4819650"/>
              <a:gd name="connsiteY47" fmla="*/ 4730124 h 5143499"/>
              <a:gd name="connsiteX48" fmla="*/ 4107093 w 4819650"/>
              <a:gd name="connsiteY48" fmla="*/ 4711721 h 5143499"/>
              <a:gd name="connsiteX49" fmla="*/ 4070430 w 4819650"/>
              <a:gd name="connsiteY49" fmla="*/ 4744760 h 5143499"/>
              <a:gd name="connsiteX50" fmla="*/ 4070430 w 4819650"/>
              <a:gd name="connsiteY50" fmla="*/ 4799850 h 5143499"/>
              <a:gd name="connsiteX51" fmla="*/ 4091201 w 4819650"/>
              <a:gd name="connsiteY51" fmla="*/ 4799850 h 5143499"/>
              <a:gd name="connsiteX52" fmla="*/ 4091201 w 4819650"/>
              <a:gd name="connsiteY52" fmla="*/ 4746182 h 5143499"/>
              <a:gd name="connsiteX53" fmla="*/ 4106927 w 4819650"/>
              <a:gd name="connsiteY53" fmla="*/ 4731379 h 5143499"/>
              <a:gd name="connsiteX54" fmla="*/ 4122985 w 4819650"/>
              <a:gd name="connsiteY54" fmla="*/ 4746182 h 5143499"/>
              <a:gd name="connsiteX55" fmla="*/ 4122985 w 4819650"/>
              <a:gd name="connsiteY55" fmla="*/ 4799850 h 5143499"/>
              <a:gd name="connsiteX56" fmla="*/ 4143591 w 4819650"/>
              <a:gd name="connsiteY56" fmla="*/ 4799850 h 5143499"/>
              <a:gd name="connsiteX57" fmla="*/ 4143591 w 4819650"/>
              <a:gd name="connsiteY57" fmla="*/ 4746182 h 5143499"/>
              <a:gd name="connsiteX58" fmla="*/ 4159648 w 4819650"/>
              <a:gd name="connsiteY58" fmla="*/ 4731379 h 5143499"/>
              <a:gd name="connsiteX59" fmla="*/ 4175375 w 4819650"/>
              <a:gd name="connsiteY59" fmla="*/ 4746182 h 5143499"/>
              <a:gd name="connsiteX60" fmla="*/ 4175375 w 4819650"/>
              <a:gd name="connsiteY60" fmla="*/ 4799850 h 5143499"/>
              <a:gd name="connsiteX61" fmla="*/ 4196146 w 4819650"/>
              <a:gd name="connsiteY61" fmla="*/ 4799850 h 5143499"/>
              <a:gd name="connsiteX62" fmla="*/ 4196146 w 4819650"/>
              <a:gd name="connsiteY62" fmla="*/ 4744760 h 5143499"/>
              <a:gd name="connsiteX63" fmla="*/ 4159648 w 4819650"/>
              <a:gd name="connsiteY63" fmla="*/ 4711721 h 5143499"/>
              <a:gd name="connsiteX64" fmla="*/ 4133525 w 4819650"/>
              <a:gd name="connsiteY64" fmla="*/ 4722426 h 5143499"/>
              <a:gd name="connsiteX65" fmla="*/ 4107093 w 4819650"/>
              <a:gd name="connsiteY65" fmla="*/ 4711721 h 5143499"/>
              <a:gd name="connsiteX66" fmla="*/ 3892112 w 4819650"/>
              <a:gd name="connsiteY66" fmla="*/ 4711721 h 5143499"/>
              <a:gd name="connsiteX67" fmla="*/ 3849930 w 4819650"/>
              <a:gd name="connsiteY67" fmla="*/ 4756413 h 5143499"/>
              <a:gd name="connsiteX68" fmla="*/ 3892112 w 4819650"/>
              <a:gd name="connsiteY68" fmla="*/ 4801413 h 5143499"/>
              <a:gd name="connsiteX69" fmla="*/ 3934293 w 4819650"/>
              <a:gd name="connsiteY69" fmla="*/ 4756413 h 5143499"/>
              <a:gd name="connsiteX70" fmla="*/ 3892112 w 4819650"/>
              <a:gd name="connsiteY70" fmla="*/ 4711721 h 5143499"/>
              <a:gd name="connsiteX71" fmla="*/ 3842707 w 4819650"/>
              <a:gd name="connsiteY71" fmla="*/ 4732302 h 5143499"/>
              <a:gd name="connsiteX72" fmla="*/ 3799412 w 4819650"/>
              <a:gd name="connsiteY72" fmla="*/ 4799826 h 5143499"/>
              <a:gd name="connsiteX73" fmla="*/ 3820183 w 4819650"/>
              <a:gd name="connsiteY73" fmla="*/ 4799826 h 5143499"/>
              <a:gd name="connsiteX74" fmla="*/ 3837662 w 4819650"/>
              <a:gd name="connsiteY74" fmla="*/ 4731994 h 5143499"/>
              <a:gd name="connsiteX75" fmla="*/ 3842707 w 4819650"/>
              <a:gd name="connsiteY75" fmla="*/ 4732302 h 5143499"/>
              <a:gd name="connsiteX76" fmla="*/ 2094551 w 4819650"/>
              <a:gd name="connsiteY76" fmla="*/ 0 h 5143499"/>
              <a:gd name="connsiteX77" fmla="*/ 4819650 w 4819650"/>
              <a:gd name="connsiteY77" fmla="*/ 0 h 5143499"/>
              <a:gd name="connsiteX78" fmla="*/ 4819650 w 4819650"/>
              <a:gd name="connsiteY78" fmla="*/ 5143499 h 5143499"/>
              <a:gd name="connsiteX79" fmla="*/ 0 w 4819650"/>
              <a:gd name="connsiteY79" fmla="*/ 5143499 h 5143499"/>
              <a:gd name="connsiteX80" fmla="*/ 0 w 4819650"/>
              <a:gd name="connsiteY80" fmla="*/ 5143498 h 5143499"/>
              <a:gd name="connsiteX81" fmla="*/ 371745 w 4819650"/>
              <a:gd name="connsiteY81" fmla="*/ 5143498 h 5143499"/>
              <a:gd name="connsiteX82" fmla="*/ 1206499 w 4819650"/>
              <a:gd name="connsiteY82" fmla="*/ 1821610 h 5143499"/>
              <a:gd name="connsiteX83" fmla="*/ 2048326 w 4819650"/>
              <a:gd name="connsiteY83" fmla="*/ 58253 h 5143499"/>
              <a:gd name="connsiteX84" fmla="*/ 2094551 w 4819650"/>
              <a:gd name="connsiteY84" fmla="*/ 0 h 5143499"/>
              <a:gd name="connsiteX0" fmla="*/ 3892112 w 4819650"/>
              <a:gd name="connsiteY0" fmla="*/ 4731379 h 5143499"/>
              <a:gd name="connsiteX1" fmla="*/ 3913356 w 4819650"/>
              <a:gd name="connsiteY1" fmla="*/ 4756555 h 5143499"/>
              <a:gd name="connsiteX2" fmla="*/ 3892112 w 4819650"/>
              <a:gd name="connsiteY2" fmla="*/ 4781732 h 5143499"/>
              <a:gd name="connsiteX3" fmla="*/ 3870867 w 4819650"/>
              <a:gd name="connsiteY3" fmla="*/ 4756555 h 5143499"/>
              <a:gd name="connsiteX4" fmla="*/ 3892112 w 4819650"/>
              <a:gd name="connsiteY4" fmla="*/ 4731379 h 5143499"/>
              <a:gd name="connsiteX5" fmla="*/ 4212654 w 4819650"/>
              <a:gd name="connsiteY5" fmla="*/ 4713284 h 5143499"/>
              <a:gd name="connsiteX6" fmla="*/ 4212654 w 4819650"/>
              <a:gd name="connsiteY6" fmla="*/ 4762855 h 5143499"/>
              <a:gd name="connsiteX7" fmla="*/ 4251378 w 4819650"/>
              <a:gd name="connsiteY7" fmla="*/ 4801413 h 5143499"/>
              <a:gd name="connsiteX8" fmla="*/ 4290101 w 4819650"/>
              <a:gd name="connsiteY8" fmla="*/ 4762855 h 5143499"/>
              <a:gd name="connsiteX9" fmla="*/ 4290101 w 4819650"/>
              <a:gd name="connsiteY9" fmla="*/ 4713284 h 5143499"/>
              <a:gd name="connsiteX10" fmla="*/ 4290054 w 4819650"/>
              <a:gd name="connsiteY10" fmla="*/ 4713284 h 5143499"/>
              <a:gd name="connsiteX11" fmla="*/ 4269283 w 4819650"/>
              <a:gd name="connsiteY11" fmla="*/ 4713284 h 5143499"/>
              <a:gd name="connsiteX12" fmla="*/ 4269283 w 4819650"/>
              <a:gd name="connsiteY12" fmla="*/ 4762855 h 5143499"/>
              <a:gd name="connsiteX13" fmla="*/ 4251354 w 4819650"/>
              <a:gd name="connsiteY13" fmla="*/ 4781731 h 5143499"/>
              <a:gd name="connsiteX14" fmla="*/ 4233425 w 4819650"/>
              <a:gd name="connsiteY14" fmla="*/ 4762855 h 5143499"/>
              <a:gd name="connsiteX15" fmla="*/ 4233425 w 4819650"/>
              <a:gd name="connsiteY15" fmla="*/ 4713284 h 5143499"/>
              <a:gd name="connsiteX16" fmla="*/ 4212654 w 4819650"/>
              <a:gd name="connsiteY16" fmla="*/ 4713284 h 5143499"/>
              <a:gd name="connsiteX17" fmla="*/ 4031541 w 4819650"/>
              <a:gd name="connsiteY17" fmla="*/ 4713284 h 5143499"/>
              <a:gd name="connsiteX18" fmla="*/ 4031541 w 4819650"/>
              <a:gd name="connsiteY18" fmla="*/ 4799826 h 5143499"/>
              <a:gd name="connsiteX19" fmla="*/ 4052312 w 4819650"/>
              <a:gd name="connsiteY19" fmla="*/ 4799826 h 5143499"/>
              <a:gd name="connsiteX20" fmla="*/ 4052312 w 4819650"/>
              <a:gd name="connsiteY20" fmla="*/ 4713284 h 5143499"/>
              <a:gd name="connsiteX21" fmla="*/ 4031541 w 4819650"/>
              <a:gd name="connsiteY21" fmla="*/ 4713284 h 5143499"/>
              <a:gd name="connsiteX22" fmla="*/ 3936473 w 4819650"/>
              <a:gd name="connsiteY22" fmla="*/ 4713284 h 5143499"/>
              <a:gd name="connsiteX23" fmla="*/ 3966836 w 4819650"/>
              <a:gd name="connsiteY23" fmla="*/ 4756247 h 5143499"/>
              <a:gd name="connsiteX24" fmla="*/ 3936473 w 4819650"/>
              <a:gd name="connsiteY24" fmla="*/ 4799850 h 5143499"/>
              <a:gd name="connsiteX25" fmla="*/ 3959447 w 4819650"/>
              <a:gd name="connsiteY25" fmla="*/ 4799850 h 5143499"/>
              <a:gd name="connsiteX26" fmla="*/ 3978181 w 4819650"/>
              <a:gd name="connsiteY26" fmla="*/ 4771689 h 5143499"/>
              <a:gd name="connsiteX27" fmla="*/ 3996915 w 4819650"/>
              <a:gd name="connsiteY27" fmla="*/ 4799850 h 5143499"/>
              <a:gd name="connsiteX28" fmla="*/ 4019889 w 4819650"/>
              <a:gd name="connsiteY28" fmla="*/ 4799850 h 5143499"/>
              <a:gd name="connsiteX29" fmla="*/ 3989668 w 4819650"/>
              <a:gd name="connsiteY29" fmla="*/ 4756247 h 5143499"/>
              <a:gd name="connsiteX30" fmla="*/ 4019889 w 4819650"/>
              <a:gd name="connsiteY30" fmla="*/ 4713284 h 5143499"/>
              <a:gd name="connsiteX31" fmla="*/ 3996749 w 4819650"/>
              <a:gd name="connsiteY31" fmla="*/ 4713284 h 5143499"/>
              <a:gd name="connsiteX32" fmla="*/ 3978181 w 4819650"/>
              <a:gd name="connsiteY32" fmla="*/ 4741137 h 5143499"/>
              <a:gd name="connsiteX33" fmla="*/ 3959612 w 4819650"/>
              <a:gd name="connsiteY33" fmla="*/ 4713284 h 5143499"/>
              <a:gd name="connsiteX34" fmla="*/ 3936473 w 4819650"/>
              <a:gd name="connsiteY34" fmla="*/ 4713284 h 5143499"/>
              <a:gd name="connsiteX35" fmla="*/ 4336096 w 4819650"/>
              <a:gd name="connsiteY35" fmla="*/ 4730124 h 5143499"/>
              <a:gd name="connsiteX36" fmla="*/ 4304596 w 4819650"/>
              <a:gd name="connsiteY36" fmla="*/ 4737063 h 5143499"/>
              <a:gd name="connsiteX37" fmla="*/ 4330080 w 4819650"/>
              <a:gd name="connsiteY37" fmla="*/ 4761932 h 5143499"/>
              <a:gd name="connsiteX38" fmla="*/ 4336073 w 4819650"/>
              <a:gd name="connsiteY38" fmla="*/ 4764134 h 5143499"/>
              <a:gd name="connsiteX39" fmla="*/ 4351657 w 4819650"/>
              <a:gd name="connsiteY39" fmla="*/ 4774982 h 5143499"/>
              <a:gd name="connsiteX40" fmla="*/ 4337186 w 4819650"/>
              <a:gd name="connsiteY40" fmla="*/ 4782845 h 5143499"/>
              <a:gd name="connsiteX41" fmla="*/ 4308220 w 4819650"/>
              <a:gd name="connsiteY41" fmla="*/ 4775763 h 5143499"/>
              <a:gd name="connsiteX42" fmla="*/ 4303341 w 4819650"/>
              <a:gd name="connsiteY42" fmla="*/ 4793858 h 5143499"/>
              <a:gd name="connsiteX43" fmla="*/ 4338109 w 4819650"/>
              <a:gd name="connsiteY43" fmla="*/ 4801413 h 5143499"/>
              <a:gd name="connsiteX44" fmla="*/ 4372404 w 4819650"/>
              <a:gd name="connsiteY44" fmla="*/ 4774342 h 5143499"/>
              <a:gd name="connsiteX45" fmla="*/ 4345688 w 4819650"/>
              <a:gd name="connsiteY45" fmla="*/ 4747768 h 5143499"/>
              <a:gd name="connsiteX46" fmla="*/ 4339388 w 4819650"/>
              <a:gd name="connsiteY46" fmla="*/ 4745400 h 5143499"/>
              <a:gd name="connsiteX47" fmla="*/ 4336096 w 4819650"/>
              <a:gd name="connsiteY47" fmla="*/ 4730124 h 5143499"/>
              <a:gd name="connsiteX48" fmla="*/ 4107093 w 4819650"/>
              <a:gd name="connsiteY48" fmla="*/ 4711721 h 5143499"/>
              <a:gd name="connsiteX49" fmla="*/ 4070430 w 4819650"/>
              <a:gd name="connsiteY49" fmla="*/ 4744760 h 5143499"/>
              <a:gd name="connsiteX50" fmla="*/ 4070430 w 4819650"/>
              <a:gd name="connsiteY50" fmla="*/ 4799850 h 5143499"/>
              <a:gd name="connsiteX51" fmla="*/ 4091201 w 4819650"/>
              <a:gd name="connsiteY51" fmla="*/ 4799850 h 5143499"/>
              <a:gd name="connsiteX52" fmla="*/ 4091201 w 4819650"/>
              <a:gd name="connsiteY52" fmla="*/ 4746182 h 5143499"/>
              <a:gd name="connsiteX53" fmla="*/ 4106927 w 4819650"/>
              <a:gd name="connsiteY53" fmla="*/ 4731379 h 5143499"/>
              <a:gd name="connsiteX54" fmla="*/ 4122985 w 4819650"/>
              <a:gd name="connsiteY54" fmla="*/ 4746182 h 5143499"/>
              <a:gd name="connsiteX55" fmla="*/ 4122985 w 4819650"/>
              <a:gd name="connsiteY55" fmla="*/ 4799850 h 5143499"/>
              <a:gd name="connsiteX56" fmla="*/ 4143591 w 4819650"/>
              <a:gd name="connsiteY56" fmla="*/ 4799850 h 5143499"/>
              <a:gd name="connsiteX57" fmla="*/ 4143591 w 4819650"/>
              <a:gd name="connsiteY57" fmla="*/ 4746182 h 5143499"/>
              <a:gd name="connsiteX58" fmla="*/ 4159648 w 4819650"/>
              <a:gd name="connsiteY58" fmla="*/ 4731379 h 5143499"/>
              <a:gd name="connsiteX59" fmla="*/ 4175375 w 4819650"/>
              <a:gd name="connsiteY59" fmla="*/ 4746182 h 5143499"/>
              <a:gd name="connsiteX60" fmla="*/ 4175375 w 4819650"/>
              <a:gd name="connsiteY60" fmla="*/ 4799850 h 5143499"/>
              <a:gd name="connsiteX61" fmla="*/ 4196146 w 4819650"/>
              <a:gd name="connsiteY61" fmla="*/ 4799850 h 5143499"/>
              <a:gd name="connsiteX62" fmla="*/ 4196146 w 4819650"/>
              <a:gd name="connsiteY62" fmla="*/ 4744760 h 5143499"/>
              <a:gd name="connsiteX63" fmla="*/ 4159648 w 4819650"/>
              <a:gd name="connsiteY63" fmla="*/ 4711721 h 5143499"/>
              <a:gd name="connsiteX64" fmla="*/ 4133525 w 4819650"/>
              <a:gd name="connsiteY64" fmla="*/ 4722426 h 5143499"/>
              <a:gd name="connsiteX65" fmla="*/ 4107093 w 4819650"/>
              <a:gd name="connsiteY65" fmla="*/ 4711721 h 5143499"/>
              <a:gd name="connsiteX66" fmla="*/ 3892112 w 4819650"/>
              <a:gd name="connsiteY66" fmla="*/ 4711721 h 5143499"/>
              <a:gd name="connsiteX67" fmla="*/ 3849930 w 4819650"/>
              <a:gd name="connsiteY67" fmla="*/ 4756413 h 5143499"/>
              <a:gd name="connsiteX68" fmla="*/ 3892112 w 4819650"/>
              <a:gd name="connsiteY68" fmla="*/ 4801413 h 5143499"/>
              <a:gd name="connsiteX69" fmla="*/ 3934293 w 4819650"/>
              <a:gd name="connsiteY69" fmla="*/ 4756413 h 5143499"/>
              <a:gd name="connsiteX70" fmla="*/ 3892112 w 4819650"/>
              <a:gd name="connsiteY70" fmla="*/ 4711721 h 5143499"/>
              <a:gd name="connsiteX71" fmla="*/ 3837662 w 4819650"/>
              <a:gd name="connsiteY71" fmla="*/ 4731994 h 5143499"/>
              <a:gd name="connsiteX72" fmla="*/ 3799412 w 4819650"/>
              <a:gd name="connsiteY72" fmla="*/ 4799826 h 5143499"/>
              <a:gd name="connsiteX73" fmla="*/ 3820183 w 4819650"/>
              <a:gd name="connsiteY73" fmla="*/ 4799826 h 5143499"/>
              <a:gd name="connsiteX74" fmla="*/ 3837662 w 4819650"/>
              <a:gd name="connsiteY74" fmla="*/ 4731994 h 5143499"/>
              <a:gd name="connsiteX75" fmla="*/ 2094551 w 4819650"/>
              <a:gd name="connsiteY75" fmla="*/ 0 h 5143499"/>
              <a:gd name="connsiteX76" fmla="*/ 4819650 w 4819650"/>
              <a:gd name="connsiteY76" fmla="*/ 0 h 5143499"/>
              <a:gd name="connsiteX77" fmla="*/ 4819650 w 4819650"/>
              <a:gd name="connsiteY77" fmla="*/ 5143499 h 5143499"/>
              <a:gd name="connsiteX78" fmla="*/ 0 w 4819650"/>
              <a:gd name="connsiteY78" fmla="*/ 5143499 h 5143499"/>
              <a:gd name="connsiteX79" fmla="*/ 0 w 4819650"/>
              <a:gd name="connsiteY79" fmla="*/ 5143498 h 5143499"/>
              <a:gd name="connsiteX80" fmla="*/ 371745 w 4819650"/>
              <a:gd name="connsiteY80" fmla="*/ 5143498 h 5143499"/>
              <a:gd name="connsiteX81" fmla="*/ 1206499 w 4819650"/>
              <a:gd name="connsiteY81" fmla="*/ 1821610 h 5143499"/>
              <a:gd name="connsiteX82" fmla="*/ 2048326 w 4819650"/>
              <a:gd name="connsiteY82" fmla="*/ 58253 h 5143499"/>
              <a:gd name="connsiteX83" fmla="*/ 2094551 w 4819650"/>
              <a:gd name="connsiteY83" fmla="*/ 0 h 5143499"/>
              <a:gd name="connsiteX0" fmla="*/ 3892112 w 4819650"/>
              <a:gd name="connsiteY0" fmla="*/ 4731379 h 5143499"/>
              <a:gd name="connsiteX1" fmla="*/ 3913356 w 4819650"/>
              <a:gd name="connsiteY1" fmla="*/ 4756555 h 5143499"/>
              <a:gd name="connsiteX2" fmla="*/ 3892112 w 4819650"/>
              <a:gd name="connsiteY2" fmla="*/ 4781732 h 5143499"/>
              <a:gd name="connsiteX3" fmla="*/ 3870867 w 4819650"/>
              <a:gd name="connsiteY3" fmla="*/ 4756555 h 5143499"/>
              <a:gd name="connsiteX4" fmla="*/ 3892112 w 4819650"/>
              <a:gd name="connsiteY4" fmla="*/ 4731379 h 5143499"/>
              <a:gd name="connsiteX5" fmla="*/ 4212654 w 4819650"/>
              <a:gd name="connsiteY5" fmla="*/ 4713284 h 5143499"/>
              <a:gd name="connsiteX6" fmla="*/ 4212654 w 4819650"/>
              <a:gd name="connsiteY6" fmla="*/ 4762855 h 5143499"/>
              <a:gd name="connsiteX7" fmla="*/ 4251378 w 4819650"/>
              <a:gd name="connsiteY7" fmla="*/ 4801413 h 5143499"/>
              <a:gd name="connsiteX8" fmla="*/ 4290101 w 4819650"/>
              <a:gd name="connsiteY8" fmla="*/ 4762855 h 5143499"/>
              <a:gd name="connsiteX9" fmla="*/ 4290101 w 4819650"/>
              <a:gd name="connsiteY9" fmla="*/ 4713284 h 5143499"/>
              <a:gd name="connsiteX10" fmla="*/ 4290054 w 4819650"/>
              <a:gd name="connsiteY10" fmla="*/ 4713284 h 5143499"/>
              <a:gd name="connsiteX11" fmla="*/ 4269283 w 4819650"/>
              <a:gd name="connsiteY11" fmla="*/ 4713284 h 5143499"/>
              <a:gd name="connsiteX12" fmla="*/ 4269283 w 4819650"/>
              <a:gd name="connsiteY12" fmla="*/ 4762855 h 5143499"/>
              <a:gd name="connsiteX13" fmla="*/ 4251354 w 4819650"/>
              <a:gd name="connsiteY13" fmla="*/ 4781731 h 5143499"/>
              <a:gd name="connsiteX14" fmla="*/ 4233425 w 4819650"/>
              <a:gd name="connsiteY14" fmla="*/ 4762855 h 5143499"/>
              <a:gd name="connsiteX15" fmla="*/ 4233425 w 4819650"/>
              <a:gd name="connsiteY15" fmla="*/ 4713284 h 5143499"/>
              <a:gd name="connsiteX16" fmla="*/ 4212654 w 4819650"/>
              <a:gd name="connsiteY16" fmla="*/ 4713284 h 5143499"/>
              <a:gd name="connsiteX17" fmla="*/ 4031541 w 4819650"/>
              <a:gd name="connsiteY17" fmla="*/ 4713284 h 5143499"/>
              <a:gd name="connsiteX18" fmla="*/ 4031541 w 4819650"/>
              <a:gd name="connsiteY18" fmla="*/ 4799826 h 5143499"/>
              <a:gd name="connsiteX19" fmla="*/ 4052312 w 4819650"/>
              <a:gd name="connsiteY19" fmla="*/ 4799826 h 5143499"/>
              <a:gd name="connsiteX20" fmla="*/ 4052312 w 4819650"/>
              <a:gd name="connsiteY20" fmla="*/ 4713284 h 5143499"/>
              <a:gd name="connsiteX21" fmla="*/ 4031541 w 4819650"/>
              <a:gd name="connsiteY21" fmla="*/ 4713284 h 5143499"/>
              <a:gd name="connsiteX22" fmla="*/ 3936473 w 4819650"/>
              <a:gd name="connsiteY22" fmla="*/ 4713284 h 5143499"/>
              <a:gd name="connsiteX23" fmla="*/ 3966836 w 4819650"/>
              <a:gd name="connsiteY23" fmla="*/ 4756247 h 5143499"/>
              <a:gd name="connsiteX24" fmla="*/ 3936473 w 4819650"/>
              <a:gd name="connsiteY24" fmla="*/ 4799850 h 5143499"/>
              <a:gd name="connsiteX25" fmla="*/ 3959447 w 4819650"/>
              <a:gd name="connsiteY25" fmla="*/ 4799850 h 5143499"/>
              <a:gd name="connsiteX26" fmla="*/ 3978181 w 4819650"/>
              <a:gd name="connsiteY26" fmla="*/ 4771689 h 5143499"/>
              <a:gd name="connsiteX27" fmla="*/ 3996915 w 4819650"/>
              <a:gd name="connsiteY27" fmla="*/ 4799850 h 5143499"/>
              <a:gd name="connsiteX28" fmla="*/ 4019889 w 4819650"/>
              <a:gd name="connsiteY28" fmla="*/ 4799850 h 5143499"/>
              <a:gd name="connsiteX29" fmla="*/ 3989668 w 4819650"/>
              <a:gd name="connsiteY29" fmla="*/ 4756247 h 5143499"/>
              <a:gd name="connsiteX30" fmla="*/ 4019889 w 4819650"/>
              <a:gd name="connsiteY30" fmla="*/ 4713284 h 5143499"/>
              <a:gd name="connsiteX31" fmla="*/ 3996749 w 4819650"/>
              <a:gd name="connsiteY31" fmla="*/ 4713284 h 5143499"/>
              <a:gd name="connsiteX32" fmla="*/ 3978181 w 4819650"/>
              <a:gd name="connsiteY32" fmla="*/ 4741137 h 5143499"/>
              <a:gd name="connsiteX33" fmla="*/ 3959612 w 4819650"/>
              <a:gd name="connsiteY33" fmla="*/ 4713284 h 5143499"/>
              <a:gd name="connsiteX34" fmla="*/ 3936473 w 4819650"/>
              <a:gd name="connsiteY34" fmla="*/ 4713284 h 5143499"/>
              <a:gd name="connsiteX35" fmla="*/ 4336096 w 4819650"/>
              <a:gd name="connsiteY35" fmla="*/ 4730124 h 5143499"/>
              <a:gd name="connsiteX36" fmla="*/ 4304596 w 4819650"/>
              <a:gd name="connsiteY36" fmla="*/ 4737063 h 5143499"/>
              <a:gd name="connsiteX37" fmla="*/ 4330080 w 4819650"/>
              <a:gd name="connsiteY37" fmla="*/ 4761932 h 5143499"/>
              <a:gd name="connsiteX38" fmla="*/ 4336073 w 4819650"/>
              <a:gd name="connsiteY38" fmla="*/ 4764134 h 5143499"/>
              <a:gd name="connsiteX39" fmla="*/ 4351657 w 4819650"/>
              <a:gd name="connsiteY39" fmla="*/ 4774982 h 5143499"/>
              <a:gd name="connsiteX40" fmla="*/ 4337186 w 4819650"/>
              <a:gd name="connsiteY40" fmla="*/ 4782845 h 5143499"/>
              <a:gd name="connsiteX41" fmla="*/ 4308220 w 4819650"/>
              <a:gd name="connsiteY41" fmla="*/ 4775763 h 5143499"/>
              <a:gd name="connsiteX42" fmla="*/ 4303341 w 4819650"/>
              <a:gd name="connsiteY42" fmla="*/ 4793858 h 5143499"/>
              <a:gd name="connsiteX43" fmla="*/ 4338109 w 4819650"/>
              <a:gd name="connsiteY43" fmla="*/ 4801413 h 5143499"/>
              <a:gd name="connsiteX44" fmla="*/ 4372404 w 4819650"/>
              <a:gd name="connsiteY44" fmla="*/ 4774342 h 5143499"/>
              <a:gd name="connsiteX45" fmla="*/ 4345688 w 4819650"/>
              <a:gd name="connsiteY45" fmla="*/ 4747768 h 5143499"/>
              <a:gd name="connsiteX46" fmla="*/ 4339388 w 4819650"/>
              <a:gd name="connsiteY46" fmla="*/ 4745400 h 5143499"/>
              <a:gd name="connsiteX47" fmla="*/ 4336096 w 4819650"/>
              <a:gd name="connsiteY47" fmla="*/ 4730124 h 5143499"/>
              <a:gd name="connsiteX48" fmla="*/ 4107093 w 4819650"/>
              <a:gd name="connsiteY48" fmla="*/ 4711721 h 5143499"/>
              <a:gd name="connsiteX49" fmla="*/ 4070430 w 4819650"/>
              <a:gd name="connsiteY49" fmla="*/ 4744760 h 5143499"/>
              <a:gd name="connsiteX50" fmla="*/ 4070430 w 4819650"/>
              <a:gd name="connsiteY50" fmla="*/ 4799850 h 5143499"/>
              <a:gd name="connsiteX51" fmla="*/ 4091201 w 4819650"/>
              <a:gd name="connsiteY51" fmla="*/ 4799850 h 5143499"/>
              <a:gd name="connsiteX52" fmla="*/ 4091201 w 4819650"/>
              <a:gd name="connsiteY52" fmla="*/ 4746182 h 5143499"/>
              <a:gd name="connsiteX53" fmla="*/ 4106927 w 4819650"/>
              <a:gd name="connsiteY53" fmla="*/ 4731379 h 5143499"/>
              <a:gd name="connsiteX54" fmla="*/ 4122985 w 4819650"/>
              <a:gd name="connsiteY54" fmla="*/ 4746182 h 5143499"/>
              <a:gd name="connsiteX55" fmla="*/ 4122985 w 4819650"/>
              <a:gd name="connsiteY55" fmla="*/ 4799850 h 5143499"/>
              <a:gd name="connsiteX56" fmla="*/ 4143591 w 4819650"/>
              <a:gd name="connsiteY56" fmla="*/ 4799850 h 5143499"/>
              <a:gd name="connsiteX57" fmla="*/ 4143591 w 4819650"/>
              <a:gd name="connsiteY57" fmla="*/ 4746182 h 5143499"/>
              <a:gd name="connsiteX58" fmla="*/ 4159648 w 4819650"/>
              <a:gd name="connsiteY58" fmla="*/ 4731379 h 5143499"/>
              <a:gd name="connsiteX59" fmla="*/ 4175375 w 4819650"/>
              <a:gd name="connsiteY59" fmla="*/ 4746182 h 5143499"/>
              <a:gd name="connsiteX60" fmla="*/ 4175375 w 4819650"/>
              <a:gd name="connsiteY60" fmla="*/ 4799850 h 5143499"/>
              <a:gd name="connsiteX61" fmla="*/ 4196146 w 4819650"/>
              <a:gd name="connsiteY61" fmla="*/ 4799850 h 5143499"/>
              <a:gd name="connsiteX62" fmla="*/ 4196146 w 4819650"/>
              <a:gd name="connsiteY62" fmla="*/ 4744760 h 5143499"/>
              <a:gd name="connsiteX63" fmla="*/ 4159648 w 4819650"/>
              <a:gd name="connsiteY63" fmla="*/ 4711721 h 5143499"/>
              <a:gd name="connsiteX64" fmla="*/ 4133525 w 4819650"/>
              <a:gd name="connsiteY64" fmla="*/ 4722426 h 5143499"/>
              <a:gd name="connsiteX65" fmla="*/ 4107093 w 4819650"/>
              <a:gd name="connsiteY65" fmla="*/ 4711721 h 5143499"/>
              <a:gd name="connsiteX66" fmla="*/ 3892112 w 4819650"/>
              <a:gd name="connsiteY66" fmla="*/ 4711721 h 5143499"/>
              <a:gd name="connsiteX67" fmla="*/ 3849930 w 4819650"/>
              <a:gd name="connsiteY67" fmla="*/ 4756413 h 5143499"/>
              <a:gd name="connsiteX68" fmla="*/ 3892112 w 4819650"/>
              <a:gd name="connsiteY68" fmla="*/ 4801413 h 5143499"/>
              <a:gd name="connsiteX69" fmla="*/ 3934293 w 4819650"/>
              <a:gd name="connsiteY69" fmla="*/ 4756413 h 5143499"/>
              <a:gd name="connsiteX70" fmla="*/ 3892112 w 4819650"/>
              <a:gd name="connsiteY70" fmla="*/ 4711721 h 5143499"/>
              <a:gd name="connsiteX71" fmla="*/ 3820183 w 4819650"/>
              <a:gd name="connsiteY71" fmla="*/ 4799826 h 5143499"/>
              <a:gd name="connsiteX72" fmla="*/ 3799412 w 4819650"/>
              <a:gd name="connsiteY72" fmla="*/ 4799826 h 5143499"/>
              <a:gd name="connsiteX73" fmla="*/ 3820183 w 4819650"/>
              <a:gd name="connsiteY73" fmla="*/ 4799826 h 5143499"/>
              <a:gd name="connsiteX74" fmla="*/ 2094551 w 4819650"/>
              <a:gd name="connsiteY74" fmla="*/ 0 h 5143499"/>
              <a:gd name="connsiteX75" fmla="*/ 4819650 w 4819650"/>
              <a:gd name="connsiteY75" fmla="*/ 0 h 5143499"/>
              <a:gd name="connsiteX76" fmla="*/ 4819650 w 4819650"/>
              <a:gd name="connsiteY76" fmla="*/ 5143499 h 5143499"/>
              <a:gd name="connsiteX77" fmla="*/ 0 w 4819650"/>
              <a:gd name="connsiteY77" fmla="*/ 5143499 h 5143499"/>
              <a:gd name="connsiteX78" fmla="*/ 0 w 4819650"/>
              <a:gd name="connsiteY78" fmla="*/ 5143498 h 5143499"/>
              <a:gd name="connsiteX79" fmla="*/ 371745 w 4819650"/>
              <a:gd name="connsiteY79" fmla="*/ 5143498 h 5143499"/>
              <a:gd name="connsiteX80" fmla="*/ 1206499 w 4819650"/>
              <a:gd name="connsiteY80" fmla="*/ 1821610 h 5143499"/>
              <a:gd name="connsiteX81" fmla="*/ 2048326 w 4819650"/>
              <a:gd name="connsiteY81" fmla="*/ 58253 h 5143499"/>
              <a:gd name="connsiteX82" fmla="*/ 2094551 w 4819650"/>
              <a:gd name="connsiteY82" fmla="*/ 0 h 5143499"/>
              <a:gd name="connsiteX0" fmla="*/ 3892112 w 4819650"/>
              <a:gd name="connsiteY0" fmla="*/ 4731379 h 5143499"/>
              <a:gd name="connsiteX1" fmla="*/ 3913356 w 4819650"/>
              <a:gd name="connsiteY1" fmla="*/ 4756555 h 5143499"/>
              <a:gd name="connsiteX2" fmla="*/ 3892112 w 4819650"/>
              <a:gd name="connsiteY2" fmla="*/ 4781732 h 5143499"/>
              <a:gd name="connsiteX3" fmla="*/ 3870867 w 4819650"/>
              <a:gd name="connsiteY3" fmla="*/ 4756555 h 5143499"/>
              <a:gd name="connsiteX4" fmla="*/ 3892112 w 4819650"/>
              <a:gd name="connsiteY4" fmla="*/ 4731379 h 5143499"/>
              <a:gd name="connsiteX5" fmla="*/ 4212654 w 4819650"/>
              <a:gd name="connsiteY5" fmla="*/ 4713284 h 5143499"/>
              <a:gd name="connsiteX6" fmla="*/ 4212654 w 4819650"/>
              <a:gd name="connsiteY6" fmla="*/ 4762855 h 5143499"/>
              <a:gd name="connsiteX7" fmla="*/ 4251378 w 4819650"/>
              <a:gd name="connsiteY7" fmla="*/ 4801413 h 5143499"/>
              <a:gd name="connsiteX8" fmla="*/ 4290101 w 4819650"/>
              <a:gd name="connsiteY8" fmla="*/ 4762855 h 5143499"/>
              <a:gd name="connsiteX9" fmla="*/ 4290101 w 4819650"/>
              <a:gd name="connsiteY9" fmla="*/ 4713284 h 5143499"/>
              <a:gd name="connsiteX10" fmla="*/ 4290054 w 4819650"/>
              <a:gd name="connsiteY10" fmla="*/ 4713284 h 5143499"/>
              <a:gd name="connsiteX11" fmla="*/ 4269283 w 4819650"/>
              <a:gd name="connsiteY11" fmla="*/ 4713284 h 5143499"/>
              <a:gd name="connsiteX12" fmla="*/ 4269283 w 4819650"/>
              <a:gd name="connsiteY12" fmla="*/ 4762855 h 5143499"/>
              <a:gd name="connsiteX13" fmla="*/ 4251354 w 4819650"/>
              <a:gd name="connsiteY13" fmla="*/ 4781731 h 5143499"/>
              <a:gd name="connsiteX14" fmla="*/ 4233425 w 4819650"/>
              <a:gd name="connsiteY14" fmla="*/ 4762855 h 5143499"/>
              <a:gd name="connsiteX15" fmla="*/ 4233425 w 4819650"/>
              <a:gd name="connsiteY15" fmla="*/ 4713284 h 5143499"/>
              <a:gd name="connsiteX16" fmla="*/ 4212654 w 4819650"/>
              <a:gd name="connsiteY16" fmla="*/ 4713284 h 5143499"/>
              <a:gd name="connsiteX17" fmla="*/ 4031541 w 4819650"/>
              <a:gd name="connsiteY17" fmla="*/ 4713284 h 5143499"/>
              <a:gd name="connsiteX18" fmla="*/ 4031541 w 4819650"/>
              <a:gd name="connsiteY18" fmla="*/ 4799826 h 5143499"/>
              <a:gd name="connsiteX19" fmla="*/ 4052312 w 4819650"/>
              <a:gd name="connsiteY19" fmla="*/ 4799826 h 5143499"/>
              <a:gd name="connsiteX20" fmla="*/ 4052312 w 4819650"/>
              <a:gd name="connsiteY20" fmla="*/ 4713284 h 5143499"/>
              <a:gd name="connsiteX21" fmla="*/ 4031541 w 4819650"/>
              <a:gd name="connsiteY21" fmla="*/ 4713284 h 5143499"/>
              <a:gd name="connsiteX22" fmla="*/ 3936473 w 4819650"/>
              <a:gd name="connsiteY22" fmla="*/ 4713284 h 5143499"/>
              <a:gd name="connsiteX23" fmla="*/ 3966836 w 4819650"/>
              <a:gd name="connsiteY23" fmla="*/ 4756247 h 5143499"/>
              <a:gd name="connsiteX24" fmla="*/ 3936473 w 4819650"/>
              <a:gd name="connsiteY24" fmla="*/ 4799850 h 5143499"/>
              <a:gd name="connsiteX25" fmla="*/ 3959447 w 4819650"/>
              <a:gd name="connsiteY25" fmla="*/ 4799850 h 5143499"/>
              <a:gd name="connsiteX26" fmla="*/ 3978181 w 4819650"/>
              <a:gd name="connsiteY26" fmla="*/ 4771689 h 5143499"/>
              <a:gd name="connsiteX27" fmla="*/ 3996915 w 4819650"/>
              <a:gd name="connsiteY27" fmla="*/ 4799850 h 5143499"/>
              <a:gd name="connsiteX28" fmla="*/ 4019889 w 4819650"/>
              <a:gd name="connsiteY28" fmla="*/ 4799850 h 5143499"/>
              <a:gd name="connsiteX29" fmla="*/ 3989668 w 4819650"/>
              <a:gd name="connsiteY29" fmla="*/ 4756247 h 5143499"/>
              <a:gd name="connsiteX30" fmla="*/ 4019889 w 4819650"/>
              <a:gd name="connsiteY30" fmla="*/ 4713284 h 5143499"/>
              <a:gd name="connsiteX31" fmla="*/ 3996749 w 4819650"/>
              <a:gd name="connsiteY31" fmla="*/ 4713284 h 5143499"/>
              <a:gd name="connsiteX32" fmla="*/ 3978181 w 4819650"/>
              <a:gd name="connsiteY32" fmla="*/ 4741137 h 5143499"/>
              <a:gd name="connsiteX33" fmla="*/ 3959612 w 4819650"/>
              <a:gd name="connsiteY33" fmla="*/ 4713284 h 5143499"/>
              <a:gd name="connsiteX34" fmla="*/ 3936473 w 4819650"/>
              <a:gd name="connsiteY34" fmla="*/ 4713284 h 5143499"/>
              <a:gd name="connsiteX35" fmla="*/ 4336096 w 4819650"/>
              <a:gd name="connsiteY35" fmla="*/ 4730124 h 5143499"/>
              <a:gd name="connsiteX36" fmla="*/ 4304596 w 4819650"/>
              <a:gd name="connsiteY36" fmla="*/ 4737063 h 5143499"/>
              <a:gd name="connsiteX37" fmla="*/ 4330080 w 4819650"/>
              <a:gd name="connsiteY37" fmla="*/ 4761932 h 5143499"/>
              <a:gd name="connsiteX38" fmla="*/ 4336073 w 4819650"/>
              <a:gd name="connsiteY38" fmla="*/ 4764134 h 5143499"/>
              <a:gd name="connsiteX39" fmla="*/ 4351657 w 4819650"/>
              <a:gd name="connsiteY39" fmla="*/ 4774982 h 5143499"/>
              <a:gd name="connsiteX40" fmla="*/ 4337186 w 4819650"/>
              <a:gd name="connsiteY40" fmla="*/ 4782845 h 5143499"/>
              <a:gd name="connsiteX41" fmla="*/ 4308220 w 4819650"/>
              <a:gd name="connsiteY41" fmla="*/ 4775763 h 5143499"/>
              <a:gd name="connsiteX42" fmla="*/ 4303341 w 4819650"/>
              <a:gd name="connsiteY42" fmla="*/ 4793858 h 5143499"/>
              <a:gd name="connsiteX43" fmla="*/ 4338109 w 4819650"/>
              <a:gd name="connsiteY43" fmla="*/ 4801413 h 5143499"/>
              <a:gd name="connsiteX44" fmla="*/ 4372404 w 4819650"/>
              <a:gd name="connsiteY44" fmla="*/ 4774342 h 5143499"/>
              <a:gd name="connsiteX45" fmla="*/ 4345688 w 4819650"/>
              <a:gd name="connsiteY45" fmla="*/ 4747768 h 5143499"/>
              <a:gd name="connsiteX46" fmla="*/ 4339388 w 4819650"/>
              <a:gd name="connsiteY46" fmla="*/ 4745400 h 5143499"/>
              <a:gd name="connsiteX47" fmla="*/ 4336096 w 4819650"/>
              <a:gd name="connsiteY47" fmla="*/ 4730124 h 5143499"/>
              <a:gd name="connsiteX48" fmla="*/ 4107093 w 4819650"/>
              <a:gd name="connsiteY48" fmla="*/ 4711721 h 5143499"/>
              <a:gd name="connsiteX49" fmla="*/ 4070430 w 4819650"/>
              <a:gd name="connsiteY49" fmla="*/ 4744760 h 5143499"/>
              <a:gd name="connsiteX50" fmla="*/ 4070430 w 4819650"/>
              <a:gd name="connsiteY50" fmla="*/ 4799850 h 5143499"/>
              <a:gd name="connsiteX51" fmla="*/ 4091201 w 4819650"/>
              <a:gd name="connsiteY51" fmla="*/ 4799850 h 5143499"/>
              <a:gd name="connsiteX52" fmla="*/ 4091201 w 4819650"/>
              <a:gd name="connsiteY52" fmla="*/ 4746182 h 5143499"/>
              <a:gd name="connsiteX53" fmla="*/ 4106927 w 4819650"/>
              <a:gd name="connsiteY53" fmla="*/ 4731379 h 5143499"/>
              <a:gd name="connsiteX54" fmla="*/ 4122985 w 4819650"/>
              <a:gd name="connsiteY54" fmla="*/ 4746182 h 5143499"/>
              <a:gd name="connsiteX55" fmla="*/ 4122985 w 4819650"/>
              <a:gd name="connsiteY55" fmla="*/ 4799850 h 5143499"/>
              <a:gd name="connsiteX56" fmla="*/ 4143591 w 4819650"/>
              <a:gd name="connsiteY56" fmla="*/ 4799850 h 5143499"/>
              <a:gd name="connsiteX57" fmla="*/ 4143591 w 4819650"/>
              <a:gd name="connsiteY57" fmla="*/ 4746182 h 5143499"/>
              <a:gd name="connsiteX58" fmla="*/ 4159648 w 4819650"/>
              <a:gd name="connsiteY58" fmla="*/ 4731379 h 5143499"/>
              <a:gd name="connsiteX59" fmla="*/ 4175375 w 4819650"/>
              <a:gd name="connsiteY59" fmla="*/ 4746182 h 5143499"/>
              <a:gd name="connsiteX60" fmla="*/ 4175375 w 4819650"/>
              <a:gd name="connsiteY60" fmla="*/ 4799850 h 5143499"/>
              <a:gd name="connsiteX61" fmla="*/ 4196146 w 4819650"/>
              <a:gd name="connsiteY61" fmla="*/ 4799850 h 5143499"/>
              <a:gd name="connsiteX62" fmla="*/ 4196146 w 4819650"/>
              <a:gd name="connsiteY62" fmla="*/ 4744760 h 5143499"/>
              <a:gd name="connsiteX63" fmla="*/ 4159648 w 4819650"/>
              <a:gd name="connsiteY63" fmla="*/ 4711721 h 5143499"/>
              <a:gd name="connsiteX64" fmla="*/ 4133525 w 4819650"/>
              <a:gd name="connsiteY64" fmla="*/ 4722426 h 5143499"/>
              <a:gd name="connsiteX65" fmla="*/ 4107093 w 4819650"/>
              <a:gd name="connsiteY65" fmla="*/ 4711721 h 5143499"/>
              <a:gd name="connsiteX66" fmla="*/ 3892112 w 4819650"/>
              <a:gd name="connsiteY66" fmla="*/ 4711721 h 5143499"/>
              <a:gd name="connsiteX67" fmla="*/ 3849930 w 4819650"/>
              <a:gd name="connsiteY67" fmla="*/ 4756413 h 5143499"/>
              <a:gd name="connsiteX68" fmla="*/ 3892112 w 4819650"/>
              <a:gd name="connsiteY68" fmla="*/ 4801413 h 5143499"/>
              <a:gd name="connsiteX69" fmla="*/ 3934293 w 4819650"/>
              <a:gd name="connsiteY69" fmla="*/ 4756413 h 5143499"/>
              <a:gd name="connsiteX70" fmla="*/ 3892112 w 4819650"/>
              <a:gd name="connsiteY70" fmla="*/ 4711721 h 5143499"/>
              <a:gd name="connsiteX71" fmla="*/ 2094551 w 4819650"/>
              <a:gd name="connsiteY71" fmla="*/ 0 h 5143499"/>
              <a:gd name="connsiteX72" fmla="*/ 4819650 w 4819650"/>
              <a:gd name="connsiteY72" fmla="*/ 0 h 5143499"/>
              <a:gd name="connsiteX73" fmla="*/ 4819650 w 4819650"/>
              <a:gd name="connsiteY73" fmla="*/ 5143499 h 5143499"/>
              <a:gd name="connsiteX74" fmla="*/ 0 w 4819650"/>
              <a:gd name="connsiteY74" fmla="*/ 5143499 h 5143499"/>
              <a:gd name="connsiteX75" fmla="*/ 0 w 4819650"/>
              <a:gd name="connsiteY75" fmla="*/ 5143498 h 5143499"/>
              <a:gd name="connsiteX76" fmla="*/ 371745 w 4819650"/>
              <a:gd name="connsiteY76" fmla="*/ 5143498 h 5143499"/>
              <a:gd name="connsiteX77" fmla="*/ 1206499 w 4819650"/>
              <a:gd name="connsiteY77" fmla="*/ 1821610 h 5143499"/>
              <a:gd name="connsiteX78" fmla="*/ 2048326 w 4819650"/>
              <a:gd name="connsiteY78" fmla="*/ 58253 h 5143499"/>
              <a:gd name="connsiteX79" fmla="*/ 2094551 w 4819650"/>
              <a:gd name="connsiteY79" fmla="*/ 0 h 5143499"/>
              <a:gd name="connsiteX0" fmla="*/ 3892112 w 4819650"/>
              <a:gd name="connsiteY0" fmla="*/ 4731379 h 5143499"/>
              <a:gd name="connsiteX1" fmla="*/ 3913356 w 4819650"/>
              <a:gd name="connsiteY1" fmla="*/ 4756555 h 5143499"/>
              <a:gd name="connsiteX2" fmla="*/ 3892112 w 4819650"/>
              <a:gd name="connsiteY2" fmla="*/ 4781732 h 5143499"/>
              <a:gd name="connsiteX3" fmla="*/ 3870867 w 4819650"/>
              <a:gd name="connsiteY3" fmla="*/ 4756555 h 5143499"/>
              <a:gd name="connsiteX4" fmla="*/ 3892112 w 4819650"/>
              <a:gd name="connsiteY4" fmla="*/ 4731379 h 5143499"/>
              <a:gd name="connsiteX5" fmla="*/ 4212654 w 4819650"/>
              <a:gd name="connsiteY5" fmla="*/ 4713284 h 5143499"/>
              <a:gd name="connsiteX6" fmla="*/ 4212654 w 4819650"/>
              <a:gd name="connsiteY6" fmla="*/ 4762855 h 5143499"/>
              <a:gd name="connsiteX7" fmla="*/ 4251378 w 4819650"/>
              <a:gd name="connsiteY7" fmla="*/ 4801413 h 5143499"/>
              <a:gd name="connsiteX8" fmla="*/ 4290101 w 4819650"/>
              <a:gd name="connsiteY8" fmla="*/ 4762855 h 5143499"/>
              <a:gd name="connsiteX9" fmla="*/ 4290101 w 4819650"/>
              <a:gd name="connsiteY9" fmla="*/ 4713284 h 5143499"/>
              <a:gd name="connsiteX10" fmla="*/ 4290054 w 4819650"/>
              <a:gd name="connsiteY10" fmla="*/ 4713284 h 5143499"/>
              <a:gd name="connsiteX11" fmla="*/ 4269283 w 4819650"/>
              <a:gd name="connsiteY11" fmla="*/ 4713284 h 5143499"/>
              <a:gd name="connsiteX12" fmla="*/ 4269283 w 4819650"/>
              <a:gd name="connsiteY12" fmla="*/ 4762855 h 5143499"/>
              <a:gd name="connsiteX13" fmla="*/ 4251354 w 4819650"/>
              <a:gd name="connsiteY13" fmla="*/ 4781731 h 5143499"/>
              <a:gd name="connsiteX14" fmla="*/ 4233425 w 4819650"/>
              <a:gd name="connsiteY14" fmla="*/ 4762855 h 5143499"/>
              <a:gd name="connsiteX15" fmla="*/ 4233425 w 4819650"/>
              <a:gd name="connsiteY15" fmla="*/ 4713284 h 5143499"/>
              <a:gd name="connsiteX16" fmla="*/ 4212654 w 4819650"/>
              <a:gd name="connsiteY16" fmla="*/ 4713284 h 5143499"/>
              <a:gd name="connsiteX17" fmla="*/ 4031541 w 4819650"/>
              <a:gd name="connsiteY17" fmla="*/ 4713284 h 5143499"/>
              <a:gd name="connsiteX18" fmla="*/ 4031541 w 4819650"/>
              <a:gd name="connsiteY18" fmla="*/ 4799826 h 5143499"/>
              <a:gd name="connsiteX19" fmla="*/ 4052312 w 4819650"/>
              <a:gd name="connsiteY19" fmla="*/ 4799826 h 5143499"/>
              <a:gd name="connsiteX20" fmla="*/ 4052312 w 4819650"/>
              <a:gd name="connsiteY20" fmla="*/ 4713284 h 5143499"/>
              <a:gd name="connsiteX21" fmla="*/ 4031541 w 4819650"/>
              <a:gd name="connsiteY21" fmla="*/ 4713284 h 5143499"/>
              <a:gd name="connsiteX22" fmla="*/ 3936473 w 4819650"/>
              <a:gd name="connsiteY22" fmla="*/ 4713284 h 5143499"/>
              <a:gd name="connsiteX23" fmla="*/ 3966836 w 4819650"/>
              <a:gd name="connsiteY23" fmla="*/ 4756247 h 5143499"/>
              <a:gd name="connsiteX24" fmla="*/ 3936473 w 4819650"/>
              <a:gd name="connsiteY24" fmla="*/ 4799850 h 5143499"/>
              <a:gd name="connsiteX25" fmla="*/ 3959447 w 4819650"/>
              <a:gd name="connsiteY25" fmla="*/ 4799850 h 5143499"/>
              <a:gd name="connsiteX26" fmla="*/ 3978181 w 4819650"/>
              <a:gd name="connsiteY26" fmla="*/ 4771689 h 5143499"/>
              <a:gd name="connsiteX27" fmla="*/ 3996915 w 4819650"/>
              <a:gd name="connsiteY27" fmla="*/ 4799850 h 5143499"/>
              <a:gd name="connsiteX28" fmla="*/ 4019889 w 4819650"/>
              <a:gd name="connsiteY28" fmla="*/ 4799850 h 5143499"/>
              <a:gd name="connsiteX29" fmla="*/ 3989668 w 4819650"/>
              <a:gd name="connsiteY29" fmla="*/ 4756247 h 5143499"/>
              <a:gd name="connsiteX30" fmla="*/ 4019889 w 4819650"/>
              <a:gd name="connsiteY30" fmla="*/ 4713284 h 5143499"/>
              <a:gd name="connsiteX31" fmla="*/ 3996749 w 4819650"/>
              <a:gd name="connsiteY31" fmla="*/ 4713284 h 5143499"/>
              <a:gd name="connsiteX32" fmla="*/ 3978181 w 4819650"/>
              <a:gd name="connsiteY32" fmla="*/ 4741137 h 5143499"/>
              <a:gd name="connsiteX33" fmla="*/ 3959612 w 4819650"/>
              <a:gd name="connsiteY33" fmla="*/ 4713284 h 5143499"/>
              <a:gd name="connsiteX34" fmla="*/ 3936473 w 4819650"/>
              <a:gd name="connsiteY34" fmla="*/ 4713284 h 5143499"/>
              <a:gd name="connsiteX35" fmla="*/ 4336096 w 4819650"/>
              <a:gd name="connsiteY35" fmla="*/ 4730124 h 5143499"/>
              <a:gd name="connsiteX36" fmla="*/ 4304596 w 4819650"/>
              <a:gd name="connsiteY36" fmla="*/ 4737063 h 5143499"/>
              <a:gd name="connsiteX37" fmla="*/ 4330080 w 4819650"/>
              <a:gd name="connsiteY37" fmla="*/ 4761932 h 5143499"/>
              <a:gd name="connsiteX38" fmla="*/ 4336073 w 4819650"/>
              <a:gd name="connsiteY38" fmla="*/ 4764134 h 5143499"/>
              <a:gd name="connsiteX39" fmla="*/ 4351657 w 4819650"/>
              <a:gd name="connsiteY39" fmla="*/ 4774982 h 5143499"/>
              <a:gd name="connsiteX40" fmla="*/ 4337186 w 4819650"/>
              <a:gd name="connsiteY40" fmla="*/ 4782845 h 5143499"/>
              <a:gd name="connsiteX41" fmla="*/ 4308220 w 4819650"/>
              <a:gd name="connsiteY41" fmla="*/ 4775763 h 5143499"/>
              <a:gd name="connsiteX42" fmla="*/ 4303341 w 4819650"/>
              <a:gd name="connsiteY42" fmla="*/ 4793858 h 5143499"/>
              <a:gd name="connsiteX43" fmla="*/ 4338109 w 4819650"/>
              <a:gd name="connsiteY43" fmla="*/ 4801413 h 5143499"/>
              <a:gd name="connsiteX44" fmla="*/ 4372404 w 4819650"/>
              <a:gd name="connsiteY44" fmla="*/ 4774342 h 5143499"/>
              <a:gd name="connsiteX45" fmla="*/ 4345688 w 4819650"/>
              <a:gd name="connsiteY45" fmla="*/ 4747768 h 5143499"/>
              <a:gd name="connsiteX46" fmla="*/ 4339388 w 4819650"/>
              <a:gd name="connsiteY46" fmla="*/ 4745400 h 5143499"/>
              <a:gd name="connsiteX47" fmla="*/ 4336096 w 4819650"/>
              <a:gd name="connsiteY47" fmla="*/ 4730124 h 5143499"/>
              <a:gd name="connsiteX48" fmla="*/ 4107093 w 4819650"/>
              <a:gd name="connsiteY48" fmla="*/ 4711721 h 5143499"/>
              <a:gd name="connsiteX49" fmla="*/ 4070430 w 4819650"/>
              <a:gd name="connsiteY49" fmla="*/ 4744760 h 5143499"/>
              <a:gd name="connsiteX50" fmla="*/ 4070430 w 4819650"/>
              <a:gd name="connsiteY50" fmla="*/ 4799850 h 5143499"/>
              <a:gd name="connsiteX51" fmla="*/ 4091201 w 4819650"/>
              <a:gd name="connsiteY51" fmla="*/ 4799850 h 5143499"/>
              <a:gd name="connsiteX52" fmla="*/ 4091201 w 4819650"/>
              <a:gd name="connsiteY52" fmla="*/ 4746182 h 5143499"/>
              <a:gd name="connsiteX53" fmla="*/ 4106927 w 4819650"/>
              <a:gd name="connsiteY53" fmla="*/ 4731379 h 5143499"/>
              <a:gd name="connsiteX54" fmla="*/ 4122985 w 4819650"/>
              <a:gd name="connsiteY54" fmla="*/ 4746182 h 5143499"/>
              <a:gd name="connsiteX55" fmla="*/ 4122985 w 4819650"/>
              <a:gd name="connsiteY55" fmla="*/ 4799850 h 5143499"/>
              <a:gd name="connsiteX56" fmla="*/ 4143591 w 4819650"/>
              <a:gd name="connsiteY56" fmla="*/ 4799850 h 5143499"/>
              <a:gd name="connsiteX57" fmla="*/ 4143591 w 4819650"/>
              <a:gd name="connsiteY57" fmla="*/ 4746182 h 5143499"/>
              <a:gd name="connsiteX58" fmla="*/ 4159648 w 4819650"/>
              <a:gd name="connsiteY58" fmla="*/ 4731379 h 5143499"/>
              <a:gd name="connsiteX59" fmla="*/ 4175375 w 4819650"/>
              <a:gd name="connsiteY59" fmla="*/ 4746182 h 5143499"/>
              <a:gd name="connsiteX60" fmla="*/ 4175375 w 4819650"/>
              <a:gd name="connsiteY60" fmla="*/ 4799850 h 5143499"/>
              <a:gd name="connsiteX61" fmla="*/ 4196146 w 4819650"/>
              <a:gd name="connsiteY61" fmla="*/ 4799850 h 5143499"/>
              <a:gd name="connsiteX62" fmla="*/ 4196146 w 4819650"/>
              <a:gd name="connsiteY62" fmla="*/ 4744760 h 5143499"/>
              <a:gd name="connsiteX63" fmla="*/ 4159648 w 4819650"/>
              <a:gd name="connsiteY63" fmla="*/ 4711721 h 5143499"/>
              <a:gd name="connsiteX64" fmla="*/ 4133525 w 4819650"/>
              <a:gd name="connsiteY64" fmla="*/ 4722426 h 5143499"/>
              <a:gd name="connsiteX65" fmla="*/ 4107093 w 4819650"/>
              <a:gd name="connsiteY65" fmla="*/ 4711721 h 5143499"/>
              <a:gd name="connsiteX66" fmla="*/ 3934293 w 4819650"/>
              <a:gd name="connsiteY66" fmla="*/ 4756413 h 5143499"/>
              <a:gd name="connsiteX67" fmla="*/ 3849930 w 4819650"/>
              <a:gd name="connsiteY67" fmla="*/ 4756413 h 5143499"/>
              <a:gd name="connsiteX68" fmla="*/ 3892112 w 4819650"/>
              <a:gd name="connsiteY68" fmla="*/ 4801413 h 5143499"/>
              <a:gd name="connsiteX69" fmla="*/ 3934293 w 4819650"/>
              <a:gd name="connsiteY69" fmla="*/ 4756413 h 5143499"/>
              <a:gd name="connsiteX70" fmla="*/ 2094551 w 4819650"/>
              <a:gd name="connsiteY70" fmla="*/ 0 h 5143499"/>
              <a:gd name="connsiteX71" fmla="*/ 4819650 w 4819650"/>
              <a:gd name="connsiteY71" fmla="*/ 0 h 5143499"/>
              <a:gd name="connsiteX72" fmla="*/ 4819650 w 4819650"/>
              <a:gd name="connsiteY72" fmla="*/ 5143499 h 5143499"/>
              <a:gd name="connsiteX73" fmla="*/ 0 w 4819650"/>
              <a:gd name="connsiteY73" fmla="*/ 5143499 h 5143499"/>
              <a:gd name="connsiteX74" fmla="*/ 0 w 4819650"/>
              <a:gd name="connsiteY74" fmla="*/ 5143498 h 5143499"/>
              <a:gd name="connsiteX75" fmla="*/ 371745 w 4819650"/>
              <a:gd name="connsiteY75" fmla="*/ 5143498 h 5143499"/>
              <a:gd name="connsiteX76" fmla="*/ 1206499 w 4819650"/>
              <a:gd name="connsiteY76" fmla="*/ 1821610 h 5143499"/>
              <a:gd name="connsiteX77" fmla="*/ 2048326 w 4819650"/>
              <a:gd name="connsiteY77" fmla="*/ 58253 h 5143499"/>
              <a:gd name="connsiteX78" fmla="*/ 2094551 w 4819650"/>
              <a:gd name="connsiteY78" fmla="*/ 0 h 5143499"/>
              <a:gd name="connsiteX0" fmla="*/ 3870867 w 4819650"/>
              <a:gd name="connsiteY0" fmla="*/ 4756555 h 5143499"/>
              <a:gd name="connsiteX1" fmla="*/ 3913356 w 4819650"/>
              <a:gd name="connsiteY1" fmla="*/ 4756555 h 5143499"/>
              <a:gd name="connsiteX2" fmla="*/ 3892112 w 4819650"/>
              <a:gd name="connsiteY2" fmla="*/ 4781732 h 5143499"/>
              <a:gd name="connsiteX3" fmla="*/ 3870867 w 4819650"/>
              <a:gd name="connsiteY3" fmla="*/ 4756555 h 5143499"/>
              <a:gd name="connsiteX4" fmla="*/ 4212654 w 4819650"/>
              <a:gd name="connsiteY4" fmla="*/ 4713284 h 5143499"/>
              <a:gd name="connsiteX5" fmla="*/ 4212654 w 4819650"/>
              <a:gd name="connsiteY5" fmla="*/ 4762855 h 5143499"/>
              <a:gd name="connsiteX6" fmla="*/ 4251378 w 4819650"/>
              <a:gd name="connsiteY6" fmla="*/ 4801413 h 5143499"/>
              <a:gd name="connsiteX7" fmla="*/ 4290101 w 4819650"/>
              <a:gd name="connsiteY7" fmla="*/ 4762855 h 5143499"/>
              <a:gd name="connsiteX8" fmla="*/ 4290101 w 4819650"/>
              <a:gd name="connsiteY8" fmla="*/ 4713284 h 5143499"/>
              <a:gd name="connsiteX9" fmla="*/ 4290054 w 4819650"/>
              <a:gd name="connsiteY9" fmla="*/ 4713284 h 5143499"/>
              <a:gd name="connsiteX10" fmla="*/ 4269283 w 4819650"/>
              <a:gd name="connsiteY10" fmla="*/ 4713284 h 5143499"/>
              <a:gd name="connsiteX11" fmla="*/ 4269283 w 4819650"/>
              <a:gd name="connsiteY11" fmla="*/ 4762855 h 5143499"/>
              <a:gd name="connsiteX12" fmla="*/ 4251354 w 4819650"/>
              <a:gd name="connsiteY12" fmla="*/ 4781731 h 5143499"/>
              <a:gd name="connsiteX13" fmla="*/ 4233425 w 4819650"/>
              <a:gd name="connsiteY13" fmla="*/ 4762855 h 5143499"/>
              <a:gd name="connsiteX14" fmla="*/ 4233425 w 4819650"/>
              <a:gd name="connsiteY14" fmla="*/ 4713284 h 5143499"/>
              <a:gd name="connsiteX15" fmla="*/ 4212654 w 4819650"/>
              <a:gd name="connsiteY15" fmla="*/ 4713284 h 5143499"/>
              <a:gd name="connsiteX16" fmla="*/ 4031541 w 4819650"/>
              <a:gd name="connsiteY16" fmla="*/ 4713284 h 5143499"/>
              <a:gd name="connsiteX17" fmla="*/ 4031541 w 4819650"/>
              <a:gd name="connsiteY17" fmla="*/ 4799826 h 5143499"/>
              <a:gd name="connsiteX18" fmla="*/ 4052312 w 4819650"/>
              <a:gd name="connsiteY18" fmla="*/ 4799826 h 5143499"/>
              <a:gd name="connsiteX19" fmla="*/ 4052312 w 4819650"/>
              <a:gd name="connsiteY19" fmla="*/ 4713284 h 5143499"/>
              <a:gd name="connsiteX20" fmla="*/ 4031541 w 4819650"/>
              <a:gd name="connsiteY20" fmla="*/ 4713284 h 5143499"/>
              <a:gd name="connsiteX21" fmla="*/ 3936473 w 4819650"/>
              <a:gd name="connsiteY21" fmla="*/ 4713284 h 5143499"/>
              <a:gd name="connsiteX22" fmla="*/ 3966836 w 4819650"/>
              <a:gd name="connsiteY22" fmla="*/ 4756247 h 5143499"/>
              <a:gd name="connsiteX23" fmla="*/ 3936473 w 4819650"/>
              <a:gd name="connsiteY23" fmla="*/ 4799850 h 5143499"/>
              <a:gd name="connsiteX24" fmla="*/ 3959447 w 4819650"/>
              <a:gd name="connsiteY24" fmla="*/ 4799850 h 5143499"/>
              <a:gd name="connsiteX25" fmla="*/ 3978181 w 4819650"/>
              <a:gd name="connsiteY25" fmla="*/ 4771689 h 5143499"/>
              <a:gd name="connsiteX26" fmla="*/ 3996915 w 4819650"/>
              <a:gd name="connsiteY26" fmla="*/ 4799850 h 5143499"/>
              <a:gd name="connsiteX27" fmla="*/ 4019889 w 4819650"/>
              <a:gd name="connsiteY27" fmla="*/ 4799850 h 5143499"/>
              <a:gd name="connsiteX28" fmla="*/ 3989668 w 4819650"/>
              <a:gd name="connsiteY28" fmla="*/ 4756247 h 5143499"/>
              <a:gd name="connsiteX29" fmla="*/ 4019889 w 4819650"/>
              <a:gd name="connsiteY29" fmla="*/ 4713284 h 5143499"/>
              <a:gd name="connsiteX30" fmla="*/ 3996749 w 4819650"/>
              <a:gd name="connsiteY30" fmla="*/ 4713284 h 5143499"/>
              <a:gd name="connsiteX31" fmla="*/ 3978181 w 4819650"/>
              <a:gd name="connsiteY31" fmla="*/ 4741137 h 5143499"/>
              <a:gd name="connsiteX32" fmla="*/ 3959612 w 4819650"/>
              <a:gd name="connsiteY32" fmla="*/ 4713284 h 5143499"/>
              <a:gd name="connsiteX33" fmla="*/ 3936473 w 4819650"/>
              <a:gd name="connsiteY33" fmla="*/ 4713284 h 5143499"/>
              <a:gd name="connsiteX34" fmla="*/ 4336096 w 4819650"/>
              <a:gd name="connsiteY34" fmla="*/ 4730124 h 5143499"/>
              <a:gd name="connsiteX35" fmla="*/ 4304596 w 4819650"/>
              <a:gd name="connsiteY35" fmla="*/ 4737063 h 5143499"/>
              <a:gd name="connsiteX36" fmla="*/ 4330080 w 4819650"/>
              <a:gd name="connsiteY36" fmla="*/ 4761932 h 5143499"/>
              <a:gd name="connsiteX37" fmla="*/ 4336073 w 4819650"/>
              <a:gd name="connsiteY37" fmla="*/ 4764134 h 5143499"/>
              <a:gd name="connsiteX38" fmla="*/ 4351657 w 4819650"/>
              <a:gd name="connsiteY38" fmla="*/ 4774982 h 5143499"/>
              <a:gd name="connsiteX39" fmla="*/ 4337186 w 4819650"/>
              <a:gd name="connsiteY39" fmla="*/ 4782845 h 5143499"/>
              <a:gd name="connsiteX40" fmla="*/ 4308220 w 4819650"/>
              <a:gd name="connsiteY40" fmla="*/ 4775763 h 5143499"/>
              <a:gd name="connsiteX41" fmla="*/ 4303341 w 4819650"/>
              <a:gd name="connsiteY41" fmla="*/ 4793858 h 5143499"/>
              <a:gd name="connsiteX42" fmla="*/ 4338109 w 4819650"/>
              <a:gd name="connsiteY42" fmla="*/ 4801413 h 5143499"/>
              <a:gd name="connsiteX43" fmla="*/ 4372404 w 4819650"/>
              <a:gd name="connsiteY43" fmla="*/ 4774342 h 5143499"/>
              <a:gd name="connsiteX44" fmla="*/ 4345688 w 4819650"/>
              <a:gd name="connsiteY44" fmla="*/ 4747768 h 5143499"/>
              <a:gd name="connsiteX45" fmla="*/ 4339388 w 4819650"/>
              <a:gd name="connsiteY45" fmla="*/ 4745400 h 5143499"/>
              <a:gd name="connsiteX46" fmla="*/ 4336096 w 4819650"/>
              <a:gd name="connsiteY46" fmla="*/ 4730124 h 5143499"/>
              <a:gd name="connsiteX47" fmla="*/ 4107093 w 4819650"/>
              <a:gd name="connsiteY47" fmla="*/ 4711721 h 5143499"/>
              <a:gd name="connsiteX48" fmla="*/ 4070430 w 4819650"/>
              <a:gd name="connsiteY48" fmla="*/ 4744760 h 5143499"/>
              <a:gd name="connsiteX49" fmla="*/ 4070430 w 4819650"/>
              <a:gd name="connsiteY49" fmla="*/ 4799850 h 5143499"/>
              <a:gd name="connsiteX50" fmla="*/ 4091201 w 4819650"/>
              <a:gd name="connsiteY50" fmla="*/ 4799850 h 5143499"/>
              <a:gd name="connsiteX51" fmla="*/ 4091201 w 4819650"/>
              <a:gd name="connsiteY51" fmla="*/ 4746182 h 5143499"/>
              <a:gd name="connsiteX52" fmla="*/ 4106927 w 4819650"/>
              <a:gd name="connsiteY52" fmla="*/ 4731379 h 5143499"/>
              <a:gd name="connsiteX53" fmla="*/ 4122985 w 4819650"/>
              <a:gd name="connsiteY53" fmla="*/ 4746182 h 5143499"/>
              <a:gd name="connsiteX54" fmla="*/ 4122985 w 4819650"/>
              <a:gd name="connsiteY54" fmla="*/ 4799850 h 5143499"/>
              <a:gd name="connsiteX55" fmla="*/ 4143591 w 4819650"/>
              <a:gd name="connsiteY55" fmla="*/ 4799850 h 5143499"/>
              <a:gd name="connsiteX56" fmla="*/ 4143591 w 4819650"/>
              <a:gd name="connsiteY56" fmla="*/ 4746182 h 5143499"/>
              <a:gd name="connsiteX57" fmla="*/ 4159648 w 4819650"/>
              <a:gd name="connsiteY57" fmla="*/ 4731379 h 5143499"/>
              <a:gd name="connsiteX58" fmla="*/ 4175375 w 4819650"/>
              <a:gd name="connsiteY58" fmla="*/ 4746182 h 5143499"/>
              <a:gd name="connsiteX59" fmla="*/ 4175375 w 4819650"/>
              <a:gd name="connsiteY59" fmla="*/ 4799850 h 5143499"/>
              <a:gd name="connsiteX60" fmla="*/ 4196146 w 4819650"/>
              <a:gd name="connsiteY60" fmla="*/ 4799850 h 5143499"/>
              <a:gd name="connsiteX61" fmla="*/ 4196146 w 4819650"/>
              <a:gd name="connsiteY61" fmla="*/ 4744760 h 5143499"/>
              <a:gd name="connsiteX62" fmla="*/ 4159648 w 4819650"/>
              <a:gd name="connsiteY62" fmla="*/ 4711721 h 5143499"/>
              <a:gd name="connsiteX63" fmla="*/ 4133525 w 4819650"/>
              <a:gd name="connsiteY63" fmla="*/ 4722426 h 5143499"/>
              <a:gd name="connsiteX64" fmla="*/ 4107093 w 4819650"/>
              <a:gd name="connsiteY64" fmla="*/ 4711721 h 5143499"/>
              <a:gd name="connsiteX65" fmla="*/ 3934293 w 4819650"/>
              <a:gd name="connsiteY65" fmla="*/ 4756413 h 5143499"/>
              <a:gd name="connsiteX66" fmla="*/ 3849930 w 4819650"/>
              <a:gd name="connsiteY66" fmla="*/ 4756413 h 5143499"/>
              <a:gd name="connsiteX67" fmla="*/ 3892112 w 4819650"/>
              <a:gd name="connsiteY67" fmla="*/ 4801413 h 5143499"/>
              <a:gd name="connsiteX68" fmla="*/ 3934293 w 4819650"/>
              <a:gd name="connsiteY68" fmla="*/ 4756413 h 5143499"/>
              <a:gd name="connsiteX69" fmla="*/ 2094551 w 4819650"/>
              <a:gd name="connsiteY69" fmla="*/ 0 h 5143499"/>
              <a:gd name="connsiteX70" fmla="*/ 4819650 w 4819650"/>
              <a:gd name="connsiteY70" fmla="*/ 0 h 5143499"/>
              <a:gd name="connsiteX71" fmla="*/ 4819650 w 4819650"/>
              <a:gd name="connsiteY71" fmla="*/ 5143499 h 5143499"/>
              <a:gd name="connsiteX72" fmla="*/ 0 w 4819650"/>
              <a:gd name="connsiteY72" fmla="*/ 5143499 h 5143499"/>
              <a:gd name="connsiteX73" fmla="*/ 0 w 4819650"/>
              <a:gd name="connsiteY73" fmla="*/ 5143498 h 5143499"/>
              <a:gd name="connsiteX74" fmla="*/ 371745 w 4819650"/>
              <a:gd name="connsiteY74" fmla="*/ 5143498 h 5143499"/>
              <a:gd name="connsiteX75" fmla="*/ 1206499 w 4819650"/>
              <a:gd name="connsiteY75" fmla="*/ 1821610 h 5143499"/>
              <a:gd name="connsiteX76" fmla="*/ 2048326 w 4819650"/>
              <a:gd name="connsiteY76" fmla="*/ 58253 h 5143499"/>
              <a:gd name="connsiteX77" fmla="*/ 2094551 w 4819650"/>
              <a:gd name="connsiteY77" fmla="*/ 0 h 5143499"/>
              <a:gd name="connsiteX0" fmla="*/ 3870867 w 4819650"/>
              <a:gd name="connsiteY0" fmla="*/ 4756555 h 5143499"/>
              <a:gd name="connsiteX1" fmla="*/ 3892112 w 4819650"/>
              <a:gd name="connsiteY1" fmla="*/ 4781732 h 5143499"/>
              <a:gd name="connsiteX2" fmla="*/ 3870867 w 4819650"/>
              <a:gd name="connsiteY2" fmla="*/ 4756555 h 5143499"/>
              <a:gd name="connsiteX3" fmla="*/ 4212654 w 4819650"/>
              <a:gd name="connsiteY3" fmla="*/ 4713284 h 5143499"/>
              <a:gd name="connsiteX4" fmla="*/ 4212654 w 4819650"/>
              <a:gd name="connsiteY4" fmla="*/ 4762855 h 5143499"/>
              <a:gd name="connsiteX5" fmla="*/ 4251378 w 4819650"/>
              <a:gd name="connsiteY5" fmla="*/ 4801413 h 5143499"/>
              <a:gd name="connsiteX6" fmla="*/ 4290101 w 4819650"/>
              <a:gd name="connsiteY6" fmla="*/ 4762855 h 5143499"/>
              <a:gd name="connsiteX7" fmla="*/ 4290101 w 4819650"/>
              <a:gd name="connsiteY7" fmla="*/ 4713284 h 5143499"/>
              <a:gd name="connsiteX8" fmla="*/ 4290054 w 4819650"/>
              <a:gd name="connsiteY8" fmla="*/ 4713284 h 5143499"/>
              <a:gd name="connsiteX9" fmla="*/ 4269283 w 4819650"/>
              <a:gd name="connsiteY9" fmla="*/ 4713284 h 5143499"/>
              <a:gd name="connsiteX10" fmla="*/ 4269283 w 4819650"/>
              <a:gd name="connsiteY10" fmla="*/ 4762855 h 5143499"/>
              <a:gd name="connsiteX11" fmla="*/ 4251354 w 4819650"/>
              <a:gd name="connsiteY11" fmla="*/ 4781731 h 5143499"/>
              <a:gd name="connsiteX12" fmla="*/ 4233425 w 4819650"/>
              <a:gd name="connsiteY12" fmla="*/ 4762855 h 5143499"/>
              <a:gd name="connsiteX13" fmla="*/ 4233425 w 4819650"/>
              <a:gd name="connsiteY13" fmla="*/ 4713284 h 5143499"/>
              <a:gd name="connsiteX14" fmla="*/ 4212654 w 4819650"/>
              <a:gd name="connsiteY14" fmla="*/ 4713284 h 5143499"/>
              <a:gd name="connsiteX15" fmla="*/ 4031541 w 4819650"/>
              <a:gd name="connsiteY15" fmla="*/ 4713284 h 5143499"/>
              <a:gd name="connsiteX16" fmla="*/ 4031541 w 4819650"/>
              <a:gd name="connsiteY16" fmla="*/ 4799826 h 5143499"/>
              <a:gd name="connsiteX17" fmla="*/ 4052312 w 4819650"/>
              <a:gd name="connsiteY17" fmla="*/ 4799826 h 5143499"/>
              <a:gd name="connsiteX18" fmla="*/ 4052312 w 4819650"/>
              <a:gd name="connsiteY18" fmla="*/ 4713284 h 5143499"/>
              <a:gd name="connsiteX19" fmla="*/ 4031541 w 4819650"/>
              <a:gd name="connsiteY19" fmla="*/ 4713284 h 5143499"/>
              <a:gd name="connsiteX20" fmla="*/ 3936473 w 4819650"/>
              <a:gd name="connsiteY20" fmla="*/ 4713284 h 5143499"/>
              <a:gd name="connsiteX21" fmla="*/ 3966836 w 4819650"/>
              <a:gd name="connsiteY21" fmla="*/ 4756247 h 5143499"/>
              <a:gd name="connsiteX22" fmla="*/ 3936473 w 4819650"/>
              <a:gd name="connsiteY22" fmla="*/ 4799850 h 5143499"/>
              <a:gd name="connsiteX23" fmla="*/ 3959447 w 4819650"/>
              <a:gd name="connsiteY23" fmla="*/ 4799850 h 5143499"/>
              <a:gd name="connsiteX24" fmla="*/ 3978181 w 4819650"/>
              <a:gd name="connsiteY24" fmla="*/ 4771689 h 5143499"/>
              <a:gd name="connsiteX25" fmla="*/ 3996915 w 4819650"/>
              <a:gd name="connsiteY25" fmla="*/ 4799850 h 5143499"/>
              <a:gd name="connsiteX26" fmla="*/ 4019889 w 4819650"/>
              <a:gd name="connsiteY26" fmla="*/ 4799850 h 5143499"/>
              <a:gd name="connsiteX27" fmla="*/ 3989668 w 4819650"/>
              <a:gd name="connsiteY27" fmla="*/ 4756247 h 5143499"/>
              <a:gd name="connsiteX28" fmla="*/ 4019889 w 4819650"/>
              <a:gd name="connsiteY28" fmla="*/ 4713284 h 5143499"/>
              <a:gd name="connsiteX29" fmla="*/ 3996749 w 4819650"/>
              <a:gd name="connsiteY29" fmla="*/ 4713284 h 5143499"/>
              <a:gd name="connsiteX30" fmla="*/ 3978181 w 4819650"/>
              <a:gd name="connsiteY30" fmla="*/ 4741137 h 5143499"/>
              <a:gd name="connsiteX31" fmla="*/ 3959612 w 4819650"/>
              <a:gd name="connsiteY31" fmla="*/ 4713284 h 5143499"/>
              <a:gd name="connsiteX32" fmla="*/ 3936473 w 4819650"/>
              <a:gd name="connsiteY32" fmla="*/ 4713284 h 5143499"/>
              <a:gd name="connsiteX33" fmla="*/ 4336096 w 4819650"/>
              <a:gd name="connsiteY33" fmla="*/ 4730124 h 5143499"/>
              <a:gd name="connsiteX34" fmla="*/ 4304596 w 4819650"/>
              <a:gd name="connsiteY34" fmla="*/ 4737063 h 5143499"/>
              <a:gd name="connsiteX35" fmla="*/ 4330080 w 4819650"/>
              <a:gd name="connsiteY35" fmla="*/ 4761932 h 5143499"/>
              <a:gd name="connsiteX36" fmla="*/ 4336073 w 4819650"/>
              <a:gd name="connsiteY36" fmla="*/ 4764134 h 5143499"/>
              <a:gd name="connsiteX37" fmla="*/ 4351657 w 4819650"/>
              <a:gd name="connsiteY37" fmla="*/ 4774982 h 5143499"/>
              <a:gd name="connsiteX38" fmla="*/ 4337186 w 4819650"/>
              <a:gd name="connsiteY38" fmla="*/ 4782845 h 5143499"/>
              <a:gd name="connsiteX39" fmla="*/ 4308220 w 4819650"/>
              <a:gd name="connsiteY39" fmla="*/ 4775763 h 5143499"/>
              <a:gd name="connsiteX40" fmla="*/ 4303341 w 4819650"/>
              <a:gd name="connsiteY40" fmla="*/ 4793858 h 5143499"/>
              <a:gd name="connsiteX41" fmla="*/ 4338109 w 4819650"/>
              <a:gd name="connsiteY41" fmla="*/ 4801413 h 5143499"/>
              <a:gd name="connsiteX42" fmla="*/ 4372404 w 4819650"/>
              <a:gd name="connsiteY42" fmla="*/ 4774342 h 5143499"/>
              <a:gd name="connsiteX43" fmla="*/ 4345688 w 4819650"/>
              <a:gd name="connsiteY43" fmla="*/ 4747768 h 5143499"/>
              <a:gd name="connsiteX44" fmla="*/ 4339388 w 4819650"/>
              <a:gd name="connsiteY44" fmla="*/ 4745400 h 5143499"/>
              <a:gd name="connsiteX45" fmla="*/ 4336096 w 4819650"/>
              <a:gd name="connsiteY45" fmla="*/ 4730124 h 5143499"/>
              <a:gd name="connsiteX46" fmla="*/ 4107093 w 4819650"/>
              <a:gd name="connsiteY46" fmla="*/ 4711721 h 5143499"/>
              <a:gd name="connsiteX47" fmla="*/ 4070430 w 4819650"/>
              <a:gd name="connsiteY47" fmla="*/ 4744760 h 5143499"/>
              <a:gd name="connsiteX48" fmla="*/ 4070430 w 4819650"/>
              <a:gd name="connsiteY48" fmla="*/ 4799850 h 5143499"/>
              <a:gd name="connsiteX49" fmla="*/ 4091201 w 4819650"/>
              <a:gd name="connsiteY49" fmla="*/ 4799850 h 5143499"/>
              <a:gd name="connsiteX50" fmla="*/ 4091201 w 4819650"/>
              <a:gd name="connsiteY50" fmla="*/ 4746182 h 5143499"/>
              <a:gd name="connsiteX51" fmla="*/ 4106927 w 4819650"/>
              <a:gd name="connsiteY51" fmla="*/ 4731379 h 5143499"/>
              <a:gd name="connsiteX52" fmla="*/ 4122985 w 4819650"/>
              <a:gd name="connsiteY52" fmla="*/ 4746182 h 5143499"/>
              <a:gd name="connsiteX53" fmla="*/ 4122985 w 4819650"/>
              <a:gd name="connsiteY53" fmla="*/ 4799850 h 5143499"/>
              <a:gd name="connsiteX54" fmla="*/ 4143591 w 4819650"/>
              <a:gd name="connsiteY54" fmla="*/ 4799850 h 5143499"/>
              <a:gd name="connsiteX55" fmla="*/ 4143591 w 4819650"/>
              <a:gd name="connsiteY55" fmla="*/ 4746182 h 5143499"/>
              <a:gd name="connsiteX56" fmla="*/ 4159648 w 4819650"/>
              <a:gd name="connsiteY56" fmla="*/ 4731379 h 5143499"/>
              <a:gd name="connsiteX57" fmla="*/ 4175375 w 4819650"/>
              <a:gd name="connsiteY57" fmla="*/ 4746182 h 5143499"/>
              <a:gd name="connsiteX58" fmla="*/ 4175375 w 4819650"/>
              <a:gd name="connsiteY58" fmla="*/ 4799850 h 5143499"/>
              <a:gd name="connsiteX59" fmla="*/ 4196146 w 4819650"/>
              <a:gd name="connsiteY59" fmla="*/ 4799850 h 5143499"/>
              <a:gd name="connsiteX60" fmla="*/ 4196146 w 4819650"/>
              <a:gd name="connsiteY60" fmla="*/ 4744760 h 5143499"/>
              <a:gd name="connsiteX61" fmla="*/ 4159648 w 4819650"/>
              <a:gd name="connsiteY61" fmla="*/ 4711721 h 5143499"/>
              <a:gd name="connsiteX62" fmla="*/ 4133525 w 4819650"/>
              <a:gd name="connsiteY62" fmla="*/ 4722426 h 5143499"/>
              <a:gd name="connsiteX63" fmla="*/ 4107093 w 4819650"/>
              <a:gd name="connsiteY63" fmla="*/ 4711721 h 5143499"/>
              <a:gd name="connsiteX64" fmla="*/ 3934293 w 4819650"/>
              <a:gd name="connsiteY64" fmla="*/ 4756413 h 5143499"/>
              <a:gd name="connsiteX65" fmla="*/ 3849930 w 4819650"/>
              <a:gd name="connsiteY65" fmla="*/ 4756413 h 5143499"/>
              <a:gd name="connsiteX66" fmla="*/ 3892112 w 4819650"/>
              <a:gd name="connsiteY66" fmla="*/ 4801413 h 5143499"/>
              <a:gd name="connsiteX67" fmla="*/ 3934293 w 4819650"/>
              <a:gd name="connsiteY67" fmla="*/ 4756413 h 5143499"/>
              <a:gd name="connsiteX68" fmla="*/ 2094551 w 4819650"/>
              <a:gd name="connsiteY68" fmla="*/ 0 h 5143499"/>
              <a:gd name="connsiteX69" fmla="*/ 4819650 w 4819650"/>
              <a:gd name="connsiteY69" fmla="*/ 0 h 5143499"/>
              <a:gd name="connsiteX70" fmla="*/ 4819650 w 4819650"/>
              <a:gd name="connsiteY70" fmla="*/ 5143499 h 5143499"/>
              <a:gd name="connsiteX71" fmla="*/ 0 w 4819650"/>
              <a:gd name="connsiteY71" fmla="*/ 5143499 h 5143499"/>
              <a:gd name="connsiteX72" fmla="*/ 0 w 4819650"/>
              <a:gd name="connsiteY72" fmla="*/ 5143498 h 5143499"/>
              <a:gd name="connsiteX73" fmla="*/ 371745 w 4819650"/>
              <a:gd name="connsiteY73" fmla="*/ 5143498 h 5143499"/>
              <a:gd name="connsiteX74" fmla="*/ 1206499 w 4819650"/>
              <a:gd name="connsiteY74" fmla="*/ 1821610 h 5143499"/>
              <a:gd name="connsiteX75" fmla="*/ 2048326 w 4819650"/>
              <a:gd name="connsiteY75" fmla="*/ 58253 h 5143499"/>
              <a:gd name="connsiteX76" fmla="*/ 2094551 w 4819650"/>
              <a:gd name="connsiteY76" fmla="*/ 0 h 5143499"/>
              <a:gd name="connsiteX0" fmla="*/ 3870867 w 4819650"/>
              <a:gd name="connsiteY0" fmla="*/ 4756555 h 5143499"/>
              <a:gd name="connsiteX1" fmla="*/ 3892112 w 4819650"/>
              <a:gd name="connsiteY1" fmla="*/ 4781732 h 5143499"/>
              <a:gd name="connsiteX2" fmla="*/ 3870867 w 4819650"/>
              <a:gd name="connsiteY2" fmla="*/ 4756555 h 5143499"/>
              <a:gd name="connsiteX3" fmla="*/ 4212654 w 4819650"/>
              <a:gd name="connsiteY3" fmla="*/ 4713284 h 5143499"/>
              <a:gd name="connsiteX4" fmla="*/ 4212654 w 4819650"/>
              <a:gd name="connsiteY4" fmla="*/ 4762855 h 5143499"/>
              <a:gd name="connsiteX5" fmla="*/ 4251378 w 4819650"/>
              <a:gd name="connsiteY5" fmla="*/ 4801413 h 5143499"/>
              <a:gd name="connsiteX6" fmla="*/ 4290101 w 4819650"/>
              <a:gd name="connsiteY6" fmla="*/ 4762855 h 5143499"/>
              <a:gd name="connsiteX7" fmla="*/ 4290101 w 4819650"/>
              <a:gd name="connsiteY7" fmla="*/ 4713284 h 5143499"/>
              <a:gd name="connsiteX8" fmla="*/ 4290054 w 4819650"/>
              <a:gd name="connsiteY8" fmla="*/ 4713284 h 5143499"/>
              <a:gd name="connsiteX9" fmla="*/ 4269283 w 4819650"/>
              <a:gd name="connsiteY9" fmla="*/ 4713284 h 5143499"/>
              <a:gd name="connsiteX10" fmla="*/ 4269283 w 4819650"/>
              <a:gd name="connsiteY10" fmla="*/ 4762855 h 5143499"/>
              <a:gd name="connsiteX11" fmla="*/ 4251354 w 4819650"/>
              <a:gd name="connsiteY11" fmla="*/ 4781731 h 5143499"/>
              <a:gd name="connsiteX12" fmla="*/ 4233425 w 4819650"/>
              <a:gd name="connsiteY12" fmla="*/ 4762855 h 5143499"/>
              <a:gd name="connsiteX13" fmla="*/ 4233425 w 4819650"/>
              <a:gd name="connsiteY13" fmla="*/ 4713284 h 5143499"/>
              <a:gd name="connsiteX14" fmla="*/ 4212654 w 4819650"/>
              <a:gd name="connsiteY14" fmla="*/ 4713284 h 5143499"/>
              <a:gd name="connsiteX15" fmla="*/ 4031541 w 4819650"/>
              <a:gd name="connsiteY15" fmla="*/ 4713284 h 5143499"/>
              <a:gd name="connsiteX16" fmla="*/ 4031541 w 4819650"/>
              <a:gd name="connsiteY16" fmla="*/ 4799826 h 5143499"/>
              <a:gd name="connsiteX17" fmla="*/ 4052312 w 4819650"/>
              <a:gd name="connsiteY17" fmla="*/ 4799826 h 5143499"/>
              <a:gd name="connsiteX18" fmla="*/ 4052312 w 4819650"/>
              <a:gd name="connsiteY18" fmla="*/ 4713284 h 5143499"/>
              <a:gd name="connsiteX19" fmla="*/ 4031541 w 4819650"/>
              <a:gd name="connsiteY19" fmla="*/ 4713284 h 5143499"/>
              <a:gd name="connsiteX20" fmla="*/ 3936473 w 4819650"/>
              <a:gd name="connsiteY20" fmla="*/ 4713284 h 5143499"/>
              <a:gd name="connsiteX21" fmla="*/ 3966836 w 4819650"/>
              <a:gd name="connsiteY21" fmla="*/ 4756247 h 5143499"/>
              <a:gd name="connsiteX22" fmla="*/ 3936473 w 4819650"/>
              <a:gd name="connsiteY22" fmla="*/ 4799850 h 5143499"/>
              <a:gd name="connsiteX23" fmla="*/ 3959447 w 4819650"/>
              <a:gd name="connsiteY23" fmla="*/ 4799850 h 5143499"/>
              <a:gd name="connsiteX24" fmla="*/ 3978181 w 4819650"/>
              <a:gd name="connsiteY24" fmla="*/ 4771689 h 5143499"/>
              <a:gd name="connsiteX25" fmla="*/ 3996915 w 4819650"/>
              <a:gd name="connsiteY25" fmla="*/ 4799850 h 5143499"/>
              <a:gd name="connsiteX26" fmla="*/ 4019889 w 4819650"/>
              <a:gd name="connsiteY26" fmla="*/ 4799850 h 5143499"/>
              <a:gd name="connsiteX27" fmla="*/ 3989668 w 4819650"/>
              <a:gd name="connsiteY27" fmla="*/ 4756247 h 5143499"/>
              <a:gd name="connsiteX28" fmla="*/ 4019889 w 4819650"/>
              <a:gd name="connsiteY28" fmla="*/ 4713284 h 5143499"/>
              <a:gd name="connsiteX29" fmla="*/ 3996749 w 4819650"/>
              <a:gd name="connsiteY29" fmla="*/ 4713284 h 5143499"/>
              <a:gd name="connsiteX30" fmla="*/ 3978181 w 4819650"/>
              <a:gd name="connsiteY30" fmla="*/ 4741137 h 5143499"/>
              <a:gd name="connsiteX31" fmla="*/ 3959612 w 4819650"/>
              <a:gd name="connsiteY31" fmla="*/ 4713284 h 5143499"/>
              <a:gd name="connsiteX32" fmla="*/ 3936473 w 4819650"/>
              <a:gd name="connsiteY32" fmla="*/ 4713284 h 5143499"/>
              <a:gd name="connsiteX33" fmla="*/ 4336096 w 4819650"/>
              <a:gd name="connsiteY33" fmla="*/ 4730124 h 5143499"/>
              <a:gd name="connsiteX34" fmla="*/ 4304596 w 4819650"/>
              <a:gd name="connsiteY34" fmla="*/ 4737063 h 5143499"/>
              <a:gd name="connsiteX35" fmla="*/ 4330080 w 4819650"/>
              <a:gd name="connsiteY35" fmla="*/ 4761932 h 5143499"/>
              <a:gd name="connsiteX36" fmla="*/ 4336073 w 4819650"/>
              <a:gd name="connsiteY36" fmla="*/ 4764134 h 5143499"/>
              <a:gd name="connsiteX37" fmla="*/ 4351657 w 4819650"/>
              <a:gd name="connsiteY37" fmla="*/ 4774982 h 5143499"/>
              <a:gd name="connsiteX38" fmla="*/ 4337186 w 4819650"/>
              <a:gd name="connsiteY38" fmla="*/ 4782845 h 5143499"/>
              <a:gd name="connsiteX39" fmla="*/ 4308220 w 4819650"/>
              <a:gd name="connsiteY39" fmla="*/ 4775763 h 5143499"/>
              <a:gd name="connsiteX40" fmla="*/ 4303341 w 4819650"/>
              <a:gd name="connsiteY40" fmla="*/ 4793858 h 5143499"/>
              <a:gd name="connsiteX41" fmla="*/ 4338109 w 4819650"/>
              <a:gd name="connsiteY41" fmla="*/ 4801413 h 5143499"/>
              <a:gd name="connsiteX42" fmla="*/ 4372404 w 4819650"/>
              <a:gd name="connsiteY42" fmla="*/ 4774342 h 5143499"/>
              <a:gd name="connsiteX43" fmla="*/ 4345688 w 4819650"/>
              <a:gd name="connsiteY43" fmla="*/ 4747768 h 5143499"/>
              <a:gd name="connsiteX44" fmla="*/ 4339388 w 4819650"/>
              <a:gd name="connsiteY44" fmla="*/ 4745400 h 5143499"/>
              <a:gd name="connsiteX45" fmla="*/ 4336096 w 4819650"/>
              <a:gd name="connsiteY45" fmla="*/ 4730124 h 5143499"/>
              <a:gd name="connsiteX46" fmla="*/ 4107093 w 4819650"/>
              <a:gd name="connsiteY46" fmla="*/ 4711721 h 5143499"/>
              <a:gd name="connsiteX47" fmla="*/ 4070430 w 4819650"/>
              <a:gd name="connsiteY47" fmla="*/ 4744760 h 5143499"/>
              <a:gd name="connsiteX48" fmla="*/ 4070430 w 4819650"/>
              <a:gd name="connsiteY48" fmla="*/ 4799850 h 5143499"/>
              <a:gd name="connsiteX49" fmla="*/ 4091201 w 4819650"/>
              <a:gd name="connsiteY49" fmla="*/ 4799850 h 5143499"/>
              <a:gd name="connsiteX50" fmla="*/ 4091201 w 4819650"/>
              <a:gd name="connsiteY50" fmla="*/ 4746182 h 5143499"/>
              <a:gd name="connsiteX51" fmla="*/ 4106927 w 4819650"/>
              <a:gd name="connsiteY51" fmla="*/ 4731379 h 5143499"/>
              <a:gd name="connsiteX52" fmla="*/ 4122985 w 4819650"/>
              <a:gd name="connsiteY52" fmla="*/ 4746182 h 5143499"/>
              <a:gd name="connsiteX53" fmla="*/ 4122985 w 4819650"/>
              <a:gd name="connsiteY53" fmla="*/ 4799850 h 5143499"/>
              <a:gd name="connsiteX54" fmla="*/ 4143591 w 4819650"/>
              <a:gd name="connsiteY54" fmla="*/ 4799850 h 5143499"/>
              <a:gd name="connsiteX55" fmla="*/ 4143591 w 4819650"/>
              <a:gd name="connsiteY55" fmla="*/ 4746182 h 5143499"/>
              <a:gd name="connsiteX56" fmla="*/ 4159648 w 4819650"/>
              <a:gd name="connsiteY56" fmla="*/ 4731379 h 5143499"/>
              <a:gd name="connsiteX57" fmla="*/ 4175375 w 4819650"/>
              <a:gd name="connsiteY57" fmla="*/ 4746182 h 5143499"/>
              <a:gd name="connsiteX58" fmla="*/ 4175375 w 4819650"/>
              <a:gd name="connsiteY58" fmla="*/ 4799850 h 5143499"/>
              <a:gd name="connsiteX59" fmla="*/ 4196146 w 4819650"/>
              <a:gd name="connsiteY59" fmla="*/ 4799850 h 5143499"/>
              <a:gd name="connsiteX60" fmla="*/ 4196146 w 4819650"/>
              <a:gd name="connsiteY60" fmla="*/ 4744760 h 5143499"/>
              <a:gd name="connsiteX61" fmla="*/ 4159648 w 4819650"/>
              <a:gd name="connsiteY61" fmla="*/ 4711721 h 5143499"/>
              <a:gd name="connsiteX62" fmla="*/ 4133525 w 4819650"/>
              <a:gd name="connsiteY62" fmla="*/ 4722426 h 5143499"/>
              <a:gd name="connsiteX63" fmla="*/ 4107093 w 4819650"/>
              <a:gd name="connsiteY63" fmla="*/ 4711721 h 5143499"/>
              <a:gd name="connsiteX64" fmla="*/ 3892112 w 4819650"/>
              <a:gd name="connsiteY64" fmla="*/ 4801413 h 5143499"/>
              <a:gd name="connsiteX65" fmla="*/ 3849930 w 4819650"/>
              <a:gd name="connsiteY65" fmla="*/ 4756413 h 5143499"/>
              <a:gd name="connsiteX66" fmla="*/ 3892112 w 4819650"/>
              <a:gd name="connsiteY66" fmla="*/ 4801413 h 5143499"/>
              <a:gd name="connsiteX67" fmla="*/ 2094551 w 4819650"/>
              <a:gd name="connsiteY67" fmla="*/ 0 h 5143499"/>
              <a:gd name="connsiteX68" fmla="*/ 4819650 w 4819650"/>
              <a:gd name="connsiteY68" fmla="*/ 0 h 5143499"/>
              <a:gd name="connsiteX69" fmla="*/ 4819650 w 4819650"/>
              <a:gd name="connsiteY69" fmla="*/ 5143499 h 5143499"/>
              <a:gd name="connsiteX70" fmla="*/ 0 w 4819650"/>
              <a:gd name="connsiteY70" fmla="*/ 5143499 h 5143499"/>
              <a:gd name="connsiteX71" fmla="*/ 0 w 4819650"/>
              <a:gd name="connsiteY71" fmla="*/ 5143498 h 5143499"/>
              <a:gd name="connsiteX72" fmla="*/ 371745 w 4819650"/>
              <a:gd name="connsiteY72" fmla="*/ 5143498 h 5143499"/>
              <a:gd name="connsiteX73" fmla="*/ 1206499 w 4819650"/>
              <a:gd name="connsiteY73" fmla="*/ 1821610 h 5143499"/>
              <a:gd name="connsiteX74" fmla="*/ 2048326 w 4819650"/>
              <a:gd name="connsiteY74" fmla="*/ 58253 h 5143499"/>
              <a:gd name="connsiteX75" fmla="*/ 2094551 w 4819650"/>
              <a:gd name="connsiteY75" fmla="*/ 0 h 5143499"/>
              <a:gd name="connsiteX0" fmla="*/ 4212654 w 4819650"/>
              <a:gd name="connsiteY0" fmla="*/ 4713284 h 5143499"/>
              <a:gd name="connsiteX1" fmla="*/ 4212654 w 4819650"/>
              <a:gd name="connsiteY1" fmla="*/ 4762855 h 5143499"/>
              <a:gd name="connsiteX2" fmla="*/ 4251378 w 4819650"/>
              <a:gd name="connsiteY2" fmla="*/ 4801413 h 5143499"/>
              <a:gd name="connsiteX3" fmla="*/ 4290101 w 4819650"/>
              <a:gd name="connsiteY3" fmla="*/ 4762855 h 5143499"/>
              <a:gd name="connsiteX4" fmla="*/ 4290101 w 4819650"/>
              <a:gd name="connsiteY4" fmla="*/ 4713284 h 5143499"/>
              <a:gd name="connsiteX5" fmla="*/ 4290054 w 4819650"/>
              <a:gd name="connsiteY5" fmla="*/ 4713284 h 5143499"/>
              <a:gd name="connsiteX6" fmla="*/ 4269283 w 4819650"/>
              <a:gd name="connsiteY6" fmla="*/ 4713284 h 5143499"/>
              <a:gd name="connsiteX7" fmla="*/ 4269283 w 4819650"/>
              <a:gd name="connsiteY7" fmla="*/ 4762855 h 5143499"/>
              <a:gd name="connsiteX8" fmla="*/ 4251354 w 4819650"/>
              <a:gd name="connsiteY8" fmla="*/ 4781731 h 5143499"/>
              <a:gd name="connsiteX9" fmla="*/ 4233425 w 4819650"/>
              <a:gd name="connsiteY9" fmla="*/ 4762855 h 5143499"/>
              <a:gd name="connsiteX10" fmla="*/ 4233425 w 4819650"/>
              <a:gd name="connsiteY10" fmla="*/ 4713284 h 5143499"/>
              <a:gd name="connsiteX11" fmla="*/ 4212654 w 4819650"/>
              <a:gd name="connsiteY11" fmla="*/ 4713284 h 5143499"/>
              <a:gd name="connsiteX12" fmla="*/ 4031541 w 4819650"/>
              <a:gd name="connsiteY12" fmla="*/ 4713284 h 5143499"/>
              <a:gd name="connsiteX13" fmla="*/ 4031541 w 4819650"/>
              <a:gd name="connsiteY13" fmla="*/ 4799826 h 5143499"/>
              <a:gd name="connsiteX14" fmla="*/ 4052312 w 4819650"/>
              <a:gd name="connsiteY14" fmla="*/ 4799826 h 5143499"/>
              <a:gd name="connsiteX15" fmla="*/ 4052312 w 4819650"/>
              <a:gd name="connsiteY15" fmla="*/ 4713284 h 5143499"/>
              <a:gd name="connsiteX16" fmla="*/ 4031541 w 4819650"/>
              <a:gd name="connsiteY16" fmla="*/ 4713284 h 5143499"/>
              <a:gd name="connsiteX17" fmla="*/ 3936473 w 4819650"/>
              <a:gd name="connsiteY17" fmla="*/ 4713284 h 5143499"/>
              <a:gd name="connsiteX18" fmla="*/ 3966836 w 4819650"/>
              <a:gd name="connsiteY18" fmla="*/ 4756247 h 5143499"/>
              <a:gd name="connsiteX19" fmla="*/ 3936473 w 4819650"/>
              <a:gd name="connsiteY19" fmla="*/ 4799850 h 5143499"/>
              <a:gd name="connsiteX20" fmla="*/ 3959447 w 4819650"/>
              <a:gd name="connsiteY20" fmla="*/ 4799850 h 5143499"/>
              <a:gd name="connsiteX21" fmla="*/ 3978181 w 4819650"/>
              <a:gd name="connsiteY21" fmla="*/ 4771689 h 5143499"/>
              <a:gd name="connsiteX22" fmla="*/ 3996915 w 4819650"/>
              <a:gd name="connsiteY22" fmla="*/ 4799850 h 5143499"/>
              <a:gd name="connsiteX23" fmla="*/ 4019889 w 4819650"/>
              <a:gd name="connsiteY23" fmla="*/ 4799850 h 5143499"/>
              <a:gd name="connsiteX24" fmla="*/ 3989668 w 4819650"/>
              <a:gd name="connsiteY24" fmla="*/ 4756247 h 5143499"/>
              <a:gd name="connsiteX25" fmla="*/ 4019889 w 4819650"/>
              <a:gd name="connsiteY25" fmla="*/ 4713284 h 5143499"/>
              <a:gd name="connsiteX26" fmla="*/ 3996749 w 4819650"/>
              <a:gd name="connsiteY26" fmla="*/ 4713284 h 5143499"/>
              <a:gd name="connsiteX27" fmla="*/ 3978181 w 4819650"/>
              <a:gd name="connsiteY27" fmla="*/ 4741137 h 5143499"/>
              <a:gd name="connsiteX28" fmla="*/ 3959612 w 4819650"/>
              <a:gd name="connsiteY28" fmla="*/ 4713284 h 5143499"/>
              <a:gd name="connsiteX29" fmla="*/ 3936473 w 4819650"/>
              <a:gd name="connsiteY29" fmla="*/ 4713284 h 5143499"/>
              <a:gd name="connsiteX30" fmla="*/ 4336096 w 4819650"/>
              <a:gd name="connsiteY30" fmla="*/ 4730124 h 5143499"/>
              <a:gd name="connsiteX31" fmla="*/ 4304596 w 4819650"/>
              <a:gd name="connsiteY31" fmla="*/ 4737063 h 5143499"/>
              <a:gd name="connsiteX32" fmla="*/ 4330080 w 4819650"/>
              <a:gd name="connsiteY32" fmla="*/ 4761932 h 5143499"/>
              <a:gd name="connsiteX33" fmla="*/ 4336073 w 4819650"/>
              <a:gd name="connsiteY33" fmla="*/ 4764134 h 5143499"/>
              <a:gd name="connsiteX34" fmla="*/ 4351657 w 4819650"/>
              <a:gd name="connsiteY34" fmla="*/ 4774982 h 5143499"/>
              <a:gd name="connsiteX35" fmla="*/ 4337186 w 4819650"/>
              <a:gd name="connsiteY35" fmla="*/ 4782845 h 5143499"/>
              <a:gd name="connsiteX36" fmla="*/ 4308220 w 4819650"/>
              <a:gd name="connsiteY36" fmla="*/ 4775763 h 5143499"/>
              <a:gd name="connsiteX37" fmla="*/ 4303341 w 4819650"/>
              <a:gd name="connsiteY37" fmla="*/ 4793858 h 5143499"/>
              <a:gd name="connsiteX38" fmla="*/ 4338109 w 4819650"/>
              <a:gd name="connsiteY38" fmla="*/ 4801413 h 5143499"/>
              <a:gd name="connsiteX39" fmla="*/ 4372404 w 4819650"/>
              <a:gd name="connsiteY39" fmla="*/ 4774342 h 5143499"/>
              <a:gd name="connsiteX40" fmla="*/ 4345688 w 4819650"/>
              <a:gd name="connsiteY40" fmla="*/ 4747768 h 5143499"/>
              <a:gd name="connsiteX41" fmla="*/ 4339388 w 4819650"/>
              <a:gd name="connsiteY41" fmla="*/ 4745400 h 5143499"/>
              <a:gd name="connsiteX42" fmla="*/ 4336096 w 4819650"/>
              <a:gd name="connsiteY42" fmla="*/ 4730124 h 5143499"/>
              <a:gd name="connsiteX43" fmla="*/ 4107093 w 4819650"/>
              <a:gd name="connsiteY43" fmla="*/ 4711721 h 5143499"/>
              <a:gd name="connsiteX44" fmla="*/ 4070430 w 4819650"/>
              <a:gd name="connsiteY44" fmla="*/ 4744760 h 5143499"/>
              <a:gd name="connsiteX45" fmla="*/ 4070430 w 4819650"/>
              <a:gd name="connsiteY45" fmla="*/ 4799850 h 5143499"/>
              <a:gd name="connsiteX46" fmla="*/ 4091201 w 4819650"/>
              <a:gd name="connsiteY46" fmla="*/ 4799850 h 5143499"/>
              <a:gd name="connsiteX47" fmla="*/ 4091201 w 4819650"/>
              <a:gd name="connsiteY47" fmla="*/ 4746182 h 5143499"/>
              <a:gd name="connsiteX48" fmla="*/ 4106927 w 4819650"/>
              <a:gd name="connsiteY48" fmla="*/ 4731379 h 5143499"/>
              <a:gd name="connsiteX49" fmla="*/ 4122985 w 4819650"/>
              <a:gd name="connsiteY49" fmla="*/ 4746182 h 5143499"/>
              <a:gd name="connsiteX50" fmla="*/ 4122985 w 4819650"/>
              <a:gd name="connsiteY50" fmla="*/ 4799850 h 5143499"/>
              <a:gd name="connsiteX51" fmla="*/ 4143591 w 4819650"/>
              <a:gd name="connsiteY51" fmla="*/ 4799850 h 5143499"/>
              <a:gd name="connsiteX52" fmla="*/ 4143591 w 4819650"/>
              <a:gd name="connsiteY52" fmla="*/ 4746182 h 5143499"/>
              <a:gd name="connsiteX53" fmla="*/ 4159648 w 4819650"/>
              <a:gd name="connsiteY53" fmla="*/ 4731379 h 5143499"/>
              <a:gd name="connsiteX54" fmla="*/ 4175375 w 4819650"/>
              <a:gd name="connsiteY54" fmla="*/ 4746182 h 5143499"/>
              <a:gd name="connsiteX55" fmla="*/ 4175375 w 4819650"/>
              <a:gd name="connsiteY55" fmla="*/ 4799850 h 5143499"/>
              <a:gd name="connsiteX56" fmla="*/ 4196146 w 4819650"/>
              <a:gd name="connsiteY56" fmla="*/ 4799850 h 5143499"/>
              <a:gd name="connsiteX57" fmla="*/ 4196146 w 4819650"/>
              <a:gd name="connsiteY57" fmla="*/ 4744760 h 5143499"/>
              <a:gd name="connsiteX58" fmla="*/ 4159648 w 4819650"/>
              <a:gd name="connsiteY58" fmla="*/ 4711721 h 5143499"/>
              <a:gd name="connsiteX59" fmla="*/ 4133525 w 4819650"/>
              <a:gd name="connsiteY59" fmla="*/ 4722426 h 5143499"/>
              <a:gd name="connsiteX60" fmla="*/ 4107093 w 4819650"/>
              <a:gd name="connsiteY60" fmla="*/ 4711721 h 5143499"/>
              <a:gd name="connsiteX61" fmla="*/ 3892112 w 4819650"/>
              <a:gd name="connsiteY61" fmla="*/ 4801413 h 5143499"/>
              <a:gd name="connsiteX62" fmla="*/ 3849930 w 4819650"/>
              <a:gd name="connsiteY62" fmla="*/ 4756413 h 5143499"/>
              <a:gd name="connsiteX63" fmla="*/ 3892112 w 4819650"/>
              <a:gd name="connsiteY63" fmla="*/ 4801413 h 5143499"/>
              <a:gd name="connsiteX64" fmla="*/ 2094551 w 4819650"/>
              <a:gd name="connsiteY64" fmla="*/ 0 h 5143499"/>
              <a:gd name="connsiteX65" fmla="*/ 4819650 w 4819650"/>
              <a:gd name="connsiteY65" fmla="*/ 0 h 5143499"/>
              <a:gd name="connsiteX66" fmla="*/ 4819650 w 4819650"/>
              <a:gd name="connsiteY66" fmla="*/ 5143499 h 5143499"/>
              <a:gd name="connsiteX67" fmla="*/ 0 w 4819650"/>
              <a:gd name="connsiteY67" fmla="*/ 5143499 h 5143499"/>
              <a:gd name="connsiteX68" fmla="*/ 0 w 4819650"/>
              <a:gd name="connsiteY68" fmla="*/ 5143498 h 5143499"/>
              <a:gd name="connsiteX69" fmla="*/ 371745 w 4819650"/>
              <a:gd name="connsiteY69" fmla="*/ 5143498 h 5143499"/>
              <a:gd name="connsiteX70" fmla="*/ 1206499 w 4819650"/>
              <a:gd name="connsiteY70" fmla="*/ 1821610 h 5143499"/>
              <a:gd name="connsiteX71" fmla="*/ 2048326 w 4819650"/>
              <a:gd name="connsiteY71" fmla="*/ 58253 h 5143499"/>
              <a:gd name="connsiteX72" fmla="*/ 2094551 w 4819650"/>
              <a:gd name="connsiteY72" fmla="*/ 0 h 5143499"/>
              <a:gd name="connsiteX0" fmla="*/ 4212654 w 4819650"/>
              <a:gd name="connsiteY0" fmla="*/ 4713284 h 5143499"/>
              <a:gd name="connsiteX1" fmla="*/ 4212654 w 4819650"/>
              <a:gd name="connsiteY1" fmla="*/ 4762855 h 5143499"/>
              <a:gd name="connsiteX2" fmla="*/ 4251378 w 4819650"/>
              <a:gd name="connsiteY2" fmla="*/ 4801413 h 5143499"/>
              <a:gd name="connsiteX3" fmla="*/ 4290101 w 4819650"/>
              <a:gd name="connsiteY3" fmla="*/ 4762855 h 5143499"/>
              <a:gd name="connsiteX4" fmla="*/ 4290101 w 4819650"/>
              <a:gd name="connsiteY4" fmla="*/ 4713284 h 5143499"/>
              <a:gd name="connsiteX5" fmla="*/ 4290054 w 4819650"/>
              <a:gd name="connsiteY5" fmla="*/ 4713284 h 5143499"/>
              <a:gd name="connsiteX6" fmla="*/ 4269283 w 4819650"/>
              <a:gd name="connsiteY6" fmla="*/ 4713284 h 5143499"/>
              <a:gd name="connsiteX7" fmla="*/ 4269283 w 4819650"/>
              <a:gd name="connsiteY7" fmla="*/ 4762855 h 5143499"/>
              <a:gd name="connsiteX8" fmla="*/ 4251354 w 4819650"/>
              <a:gd name="connsiteY8" fmla="*/ 4781731 h 5143499"/>
              <a:gd name="connsiteX9" fmla="*/ 4233425 w 4819650"/>
              <a:gd name="connsiteY9" fmla="*/ 4762855 h 5143499"/>
              <a:gd name="connsiteX10" fmla="*/ 4233425 w 4819650"/>
              <a:gd name="connsiteY10" fmla="*/ 4713284 h 5143499"/>
              <a:gd name="connsiteX11" fmla="*/ 4212654 w 4819650"/>
              <a:gd name="connsiteY11" fmla="*/ 4713284 h 5143499"/>
              <a:gd name="connsiteX12" fmla="*/ 4031541 w 4819650"/>
              <a:gd name="connsiteY12" fmla="*/ 4713284 h 5143499"/>
              <a:gd name="connsiteX13" fmla="*/ 4031541 w 4819650"/>
              <a:gd name="connsiteY13" fmla="*/ 4799826 h 5143499"/>
              <a:gd name="connsiteX14" fmla="*/ 4052312 w 4819650"/>
              <a:gd name="connsiteY14" fmla="*/ 4799826 h 5143499"/>
              <a:gd name="connsiteX15" fmla="*/ 4052312 w 4819650"/>
              <a:gd name="connsiteY15" fmla="*/ 4713284 h 5143499"/>
              <a:gd name="connsiteX16" fmla="*/ 4031541 w 4819650"/>
              <a:gd name="connsiteY16" fmla="*/ 4713284 h 5143499"/>
              <a:gd name="connsiteX17" fmla="*/ 3936473 w 4819650"/>
              <a:gd name="connsiteY17" fmla="*/ 4713284 h 5143499"/>
              <a:gd name="connsiteX18" fmla="*/ 3966836 w 4819650"/>
              <a:gd name="connsiteY18" fmla="*/ 4756247 h 5143499"/>
              <a:gd name="connsiteX19" fmla="*/ 3936473 w 4819650"/>
              <a:gd name="connsiteY19" fmla="*/ 4799850 h 5143499"/>
              <a:gd name="connsiteX20" fmla="*/ 3959447 w 4819650"/>
              <a:gd name="connsiteY20" fmla="*/ 4799850 h 5143499"/>
              <a:gd name="connsiteX21" fmla="*/ 3978181 w 4819650"/>
              <a:gd name="connsiteY21" fmla="*/ 4771689 h 5143499"/>
              <a:gd name="connsiteX22" fmla="*/ 3996915 w 4819650"/>
              <a:gd name="connsiteY22" fmla="*/ 4799850 h 5143499"/>
              <a:gd name="connsiteX23" fmla="*/ 4019889 w 4819650"/>
              <a:gd name="connsiteY23" fmla="*/ 4799850 h 5143499"/>
              <a:gd name="connsiteX24" fmla="*/ 3989668 w 4819650"/>
              <a:gd name="connsiteY24" fmla="*/ 4756247 h 5143499"/>
              <a:gd name="connsiteX25" fmla="*/ 4019889 w 4819650"/>
              <a:gd name="connsiteY25" fmla="*/ 4713284 h 5143499"/>
              <a:gd name="connsiteX26" fmla="*/ 3996749 w 4819650"/>
              <a:gd name="connsiteY26" fmla="*/ 4713284 h 5143499"/>
              <a:gd name="connsiteX27" fmla="*/ 3978181 w 4819650"/>
              <a:gd name="connsiteY27" fmla="*/ 4741137 h 5143499"/>
              <a:gd name="connsiteX28" fmla="*/ 3959612 w 4819650"/>
              <a:gd name="connsiteY28" fmla="*/ 4713284 h 5143499"/>
              <a:gd name="connsiteX29" fmla="*/ 3936473 w 4819650"/>
              <a:gd name="connsiteY29" fmla="*/ 4713284 h 5143499"/>
              <a:gd name="connsiteX30" fmla="*/ 4336096 w 4819650"/>
              <a:gd name="connsiteY30" fmla="*/ 4730124 h 5143499"/>
              <a:gd name="connsiteX31" fmla="*/ 4304596 w 4819650"/>
              <a:gd name="connsiteY31" fmla="*/ 4737063 h 5143499"/>
              <a:gd name="connsiteX32" fmla="*/ 4330080 w 4819650"/>
              <a:gd name="connsiteY32" fmla="*/ 4761932 h 5143499"/>
              <a:gd name="connsiteX33" fmla="*/ 4336073 w 4819650"/>
              <a:gd name="connsiteY33" fmla="*/ 4764134 h 5143499"/>
              <a:gd name="connsiteX34" fmla="*/ 4351657 w 4819650"/>
              <a:gd name="connsiteY34" fmla="*/ 4774982 h 5143499"/>
              <a:gd name="connsiteX35" fmla="*/ 4337186 w 4819650"/>
              <a:gd name="connsiteY35" fmla="*/ 4782845 h 5143499"/>
              <a:gd name="connsiteX36" fmla="*/ 4308220 w 4819650"/>
              <a:gd name="connsiteY36" fmla="*/ 4775763 h 5143499"/>
              <a:gd name="connsiteX37" fmla="*/ 4303341 w 4819650"/>
              <a:gd name="connsiteY37" fmla="*/ 4793858 h 5143499"/>
              <a:gd name="connsiteX38" fmla="*/ 4338109 w 4819650"/>
              <a:gd name="connsiteY38" fmla="*/ 4801413 h 5143499"/>
              <a:gd name="connsiteX39" fmla="*/ 4372404 w 4819650"/>
              <a:gd name="connsiteY39" fmla="*/ 4774342 h 5143499"/>
              <a:gd name="connsiteX40" fmla="*/ 4345688 w 4819650"/>
              <a:gd name="connsiteY40" fmla="*/ 4747768 h 5143499"/>
              <a:gd name="connsiteX41" fmla="*/ 4339388 w 4819650"/>
              <a:gd name="connsiteY41" fmla="*/ 4745400 h 5143499"/>
              <a:gd name="connsiteX42" fmla="*/ 4336096 w 4819650"/>
              <a:gd name="connsiteY42" fmla="*/ 4730124 h 5143499"/>
              <a:gd name="connsiteX43" fmla="*/ 4107093 w 4819650"/>
              <a:gd name="connsiteY43" fmla="*/ 4711721 h 5143499"/>
              <a:gd name="connsiteX44" fmla="*/ 4070430 w 4819650"/>
              <a:gd name="connsiteY44" fmla="*/ 4744760 h 5143499"/>
              <a:gd name="connsiteX45" fmla="*/ 4070430 w 4819650"/>
              <a:gd name="connsiteY45" fmla="*/ 4799850 h 5143499"/>
              <a:gd name="connsiteX46" fmla="*/ 4091201 w 4819650"/>
              <a:gd name="connsiteY46" fmla="*/ 4799850 h 5143499"/>
              <a:gd name="connsiteX47" fmla="*/ 4091201 w 4819650"/>
              <a:gd name="connsiteY47" fmla="*/ 4746182 h 5143499"/>
              <a:gd name="connsiteX48" fmla="*/ 4106927 w 4819650"/>
              <a:gd name="connsiteY48" fmla="*/ 4731379 h 5143499"/>
              <a:gd name="connsiteX49" fmla="*/ 4122985 w 4819650"/>
              <a:gd name="connsiteY49" fmla="*/ 4746182 h 5143499"/>
              <a:gd name="connsiteX50" fmla="*/ 4122985 w 4819650"/>
              <a:gd name="connsiteY50" fmla="*/ 4799850 h 5143499"/>
              <a:gd name="connsiteX51" fmla="*/ 4143591 w 4819650"/>
              <a:gd name="connsiteY51" fmla="*/ 4799850 h 5143499"/>
              <a:gd name="connsiteX52" fmla="*/ 4143591 w 4819650"/>
              <a:gd name="connsiteY52" fmla="*/ 4746182 h 5143499"/>
              <a:gd name="connsiteX53" fmla="*/ 4159648 w 4819650"/>
              <a:gd name="connsiteY53" fmla="*/ 4731379 h 5143499"/>
              <a:gd name="connsiteX54" fmla="*/ 4175375 w 4819650"/>
              <a:gd name="connsiteY54" fmla="*/ 4746182 h 5143499"/>
              <a:gd name="connsiteX55" fmla="*/ 4175375 w 4819650"/>
              <a:gd name="connsiteY55" fmla="*/ 4799850 h 5143499"/>
              <a:gd name="connsiteX56" fmla="*/ 4196146 w 4819650"/>
              <a:gd name="connsiteY56" fmla="*/ 4799850 h 5143499"/>
              <a:gd name="connsiteX57" fmla="*/ 4196146 w 4819650"/>
              <a:gd name="connsiteY57" fmla="*/ 4744760 h 5143499"/>
              <a:gd name="connsiteX58" fmla="*/ 4159648 w 4819650"/>
              <a:gd name="connsiteY58" fmla="*/ 4711721 h 5143499"/>
              <a:gd name="connsiteX59" fmla="*/ 4133525 w 4819650"/>
              <a:gd name="connsiteY59" fmla="*/ 4722426 h 5143499"/>
              <a:gd name="connsiteX60" fmla="*/ 4107093 w 4819650"/>
              <a:gd name="connsiteY60" fmla="*/ 4711721 h 5143499"/>
              <a:gd name="connsiteX61" fmla="*/ 2094551 w 4819650"/>
              <a:gd name="connsiteY61" fmla="*/ 0 h 5143499"/>
              <a:gd name="connsiteX62" fmla="*/ 4819650 w 4819650"/>
              <a:gd name="connsiteY62" fmla="*/ 0 h 5143499"/>
              <a:gd name="connsiteX63" fmla="*/ 4819650 w 4819650"/>
              <a:gd name="connsiteY63" fmla="*/ 5143499 h 5143499"/>
              <a:gd name="connsiteX64" fmla="*/ 0 w 4819650"/>
              <a:gd name="connsiteY64" fmla="*/ 5143499 h 5143499"/>
              <a:gd name="connsiteX65" fmla="*/ 0 w 4819650"/>
              <a:gd name="connsiteY65" fmla="*/ 5143498 h 5143499"/>
              <a:gd name="connsiteX66" fmla="*/ 371745 w 4819650"/>
              <a:gd name="connsiteY66" fmla="*/ 5143498 h 5143499"/>
              <a:gd name="connsiteX67" fmla="*/ 1206499 w 4819650"/>
              <a:gd name="connsiteY67" fmla="*/ 1821610 h 5143499"/>
              <a:gd name="connsiteX68" fmla="*/ 2048326 w 4819650"/>
              <a:gd name="connsiteY68" fmla="*/ 58253 h 5143499"/>
              <a:gd name="connsiteX69" fmla="*/ 2094551 w 4819650"/>
              <a:gd name="connsiteY69" fmla="*/ 0 h 5143499"/>
              <a:gd name="connsiteX0" fmla="*/ 4212654 w 4819650"/>
              <a:gd name="connsiteY0" fmla="*/ 4713284 h 5143499"/>
              <a:gd name="connsiteX1" fmla="*/ 4212654 w 4819650"/>
              <a:gd name="connsiteY1" fmla="*/ 4762855 h 5143499"/>
              <a:gd name="connsiteX2" fmla="*/ 4251378 w 4819650"/>
              <a:gd name="connsiteY2" fmla="*/ 4801413 h 5143499"/>
              <a:gd name="connsiteX3" fmla="*/ 4290101 w 4819650"/>
              <a:gd name="connsiteY3" fmla="*/ 4762855 h 5143499"/>
              <a:gd name="connsiteX4" fmla="*/ 4290101 w 4819650"/>
              <a:gd name="connsiteY4" fmla="*/ 4713284 h 5143499"/>
              <a:gd name="connsiteX5" fmla="*/ 4290054 w 4819650"/>
              <a:gd name="connsiteY5" fmla="*/ 4713284 h 5143499"/>
              <a:gd name="connsiteX6" fmla="*/ 4269283 w 4819650"/>
              <a:gd name="connsiteY6" fmla="*/ 4713284 h 5143499"/>
              <a:gd name="connsiteX7" fmla="*/ 4269283 w 4819650"/>
              <a:gd name="connsiteY7" fmla="*/ 4762855 h 5143499"/>
              <a:gd name="connsiteX8" fmla="*/ 4251354 w 4819650"/>
              <a:gd name="connsiteY8" fmla="*/ 4781731 h 5143499"/>
              <a:gd name="connsiteX9" fmla="*/ 4233425 w 4819650"/>
              <a:gd name="connsiteY9" fmla="*/ 4762855 h 5143499"/>
              <a:gd name="connsiteX10" fmla="*/ 4233425 w 4819650"/>
              <a:gd name="connsiteY10" fmla="*/ 4713284 h 5143499"/>
              <a:gd name="connsiteX11" fmla="*/ 4212654 w 4819650"/>
              <a:gd name="connsiteY11" fmla="*/ 4713284 h 5143499"/>
              <a:gd name="connsiteX12" fmla="*/ 4031541 w 4819650"/>
              <a:gd name="connsiteY12" fmla="*/ 4713284 h 5143499"/>
              <a:gd name="connsiteX13" fmla="*/ 4031541 w 4819650"/>
              <a:gd name="connsiteY13" fmla="*/ 4799826 h 5143499"/>
              <a:gd name="connsiteX14" fmla="*/ 4052312 w 4819650"/>
              <a:gd name="connsiteY14" fmla="*/ 4799826 h 5143499"/>
              <a:gd name="connsiteX15" fmla="*/ 4052312 w 4819650"/>
              <a:gd name="connsiteY15" fmla="*/ 4713284 h 5143499"/>
              <a:gd name="connsiteX16" fmla="*/ 4031541 w 4819650"/>
              <a:gd name="connsiteY16" fmla="*/ 4713284 h 5143499"/>
              <a:gd name="connsiteX17" fmla="*/ 3936473 w 4819650"/>
              <a:gd name="connsiteY17" fmla="*/ 4713284 h 5143499"/>
              <a:gd name="connsiteX18" fmla="*/ 3966836 w 4819650"/>
              <a:gd name="connsiteY18" fmla="*/ 4756247 h 5143499"/>
              <a:gd name="connsiteX19" fmla="*/ 3936473 w 4819650"/>
              <a:gd name="connsiteY19" fmla="*/ 4799850 h 5143499"/>
              <a:gd name="connsiteX20" fmla="*/ 3959447 w 4819650"/>
              <a:gd name="connsiteY20" fmla="*/ 4799850 h 5143499"/>
              <a:gd name="connsiteX21" fmla="*/ 3978181 w 4819650"/>
              <a:gd name="connsiteY21" fmla="*/ 4771689 h 5143499"/>
              <a:gd name="connsiteX22" fmla="*/ 3996915 w 4819650"/>
              <a:gd name="connsiteY22" fmla="*/ 4799850 h 5143499"/>
              <a:gd name="connsiteX23" fmla="*/ 4019889 w 4819650"/>
              <a:gd name="connsiteY23" fmla="*/ 4799850 h 5143499"/>
              <a:gd name="connsiteX24" fmla="*/ 3989668 w 4819650"/>
              <a:gd name="connsiteY24" fmla="*/ 4756247 h 5143499"/>
              <a:gd name="connsiteX25" fmla="*/ 4019889 w 4819650"/>
              <a:gd name="connsiteY25" fmla="*/ 4713284 h 5143499"/>
              <a:gd name="connsiteX26" fmla="*/ 3978181 w 4819650"/>
              <a:gd name="connsiteY26" fmla="*/ 4741137 h 5143499"/>
              <a:gd name="connsiteX27" fmla="*/ 3959612 w 4819650"/>
              <a:gd name="connsiteY27" fmla="*/ 4713284 h 5143499"/>
              <a:gd name="connsiteX28" fmla="*/ 3936473 w 4819650"/>
              <a:gd name="connsiteY28" fmla="*/ 4713284 h 5143499"/>
              <a:gd name="connsiteX29" fmla="*/ 4336096 w 4819650"/>
              <a:gd name="connsiteY29" fmla="*/ 4730124 h 5143499"/>
              <a:gd name="connsiteX30" fmla="*/ 4304596 w 4819650"/>
              <a:gd name="connsiteY30" fmla="*/ 4737063 h 5143499"/>
              <a:gd name="connsiteX31" fmla="*/ 4330080 w 4819650"/>
              <a:gd name="connsiteY31" fmla="*/ 4761932 h 5143499"/>
              <a:gd name="connsiteX32" fmla="*/ 4336073 w 4819650"/>
              <a:gd name="connsiteY32" fmla="*/ 4764134 h 5143499"/>
              <a:gd name="connsiteX33" fmla="*/ 4351657 w 4819650"/>
              <a:gd name="connsiteY33" fmla="*/ 4774982 h 5143499"/>
              <a:gd name="connsiteX34" fmla="*/ 4337186 w 4819650"/>
              <a:gd name="connsiteY34" fmla="*/ 4782845 h 5143499"/>
              <a:gd name="connsiteX35" fmla="*/ 4308220 w 4819650"/>
              <a:gd name="connsiteY35" fmla="*/ 4775763 h 5143499"/>
              <a:gd name="connsiteX36" fmla="*/ 4303341 w 4819650"/>
              <a:gd name="connsiteY36" fmla="*/ 4793858 h 5143499"/>
              <a:gd name="connsiteX37" fmla="*/ 4338109 w 4819650"/>
              <a:gd name="connsiteY37" fmla="*/ 4801413 h 5143499"/>
              <a:gd name="connsiteX38" fmla="*/ 4372404 w 4819650"/>
              <a:gd name="connsiteY38" fmla="*/ 4774342 h 5143499"/>
              <a:gd name="connsiteX39" fmla="*/ 4345688 w 4819650"/>
              <a:gd name="connsiteY39" fmla="*/ 4747768 h 5143499"/>
              <a:gd name="connsiteX40" fmla="*/ 4339388 w 4819650"/>
              <a:gd name="connsiteY40" fmla="*/ 4745400 h 5143499"/>
              <a:gd name="connsiteX41" fmla="*/ 4336096 w 4819650"/>
              <a:gd name="connsiteY41" fmla="*/ 4730124 h 5143499"/>
              <a:gd name="connsiteX42" fmla="*/ 4107093 w 4819650"/>
              <a:gd name="connsiteY42" fmla="*/ 4711721 h 5143499"/>
              <a:gd name="connsiteX43" fmla="*/ 4070430 w 4819650"/>
              <a:gd name="connsiteY43" fmla="*/ 4744760 h 5143499"/>
              <a:gd name="connsiteX44" fmla="*/ 4070430 w 4819650"/>
              <a:gd name="connsiteY44" fmla="*/ 4799850 h 5143499"/>
              <a:gd name="connsiteX45" fmla="*/ 4091201 w 4819650"/>
              <a:gd name="connsiteY45" fmla="*/ 4799850 h 5143499"/>
              <a:gd name="connsiteX46" fmla="*/ 4091201 w 4819650"/>
              <a:gd name="connsiteY46" fmla="*/ 4746182 h 5143499"/>
              <a:gd name="connsiteX47" fmla="*/ 4106927 w 4819650"/>
              <a:gd name="connsiteY47" fmla="*/ 4731379 h 5143499"/>
              <a:gd name="connsiteX48" fmla="*/ 4122985 w 4819650"/>
              <a:gd name="connsiteY48" fmla="*/ 4746182 h 5143499"/>
              <a:gd name="connsiteX49" fmla="*/ 4122985 w 4819650"/>
              <a:gd name="connsiteY49" fmla="*/ 4799850 h 5143499"/>
              <a:gd name="connsiteX50" fmla="*/ 4143591 w 4819650"/>
              <a:gd name="connsiteY50" fmla="*/ 4799850 h 5143499"/>
              <a:gd name="connsiteX51" fmla="*/ 4143591 w 4819650"/>
              <a:gd name="connsiteY51" fmla="*/ 4746182 h 5143499"/>
              <a:gd name="connsiteX52" fmla="*/ 4159648 w 4819650"/>
              <a:gd name="connsiteY52" fmla="*/ 4731379 h 5143499"/>
              <a:gd name="connsiteX53" fmla="*/ 4175375 w 4819650"/>
              <a:gd name="connsiteY53" fmla="*/ 4746182 h 5143499"/>
              <a:gd name="connsiteX54" fmla="*/ 4175375 w 4819650"/>
              <a:gd name="connsiteY54" fmla="*/ 4799850 h 5143499"/>
              <a:gd name="connsiteX55" fmla="*/ 4196146 w 4819650"/>
              <a:gd name="connsiteY55" fmla="*/ 4799850 h 5143499"/>
              <a:gd name="connsiteX56" fmla="*/ 4196146 w 4819650"/>
              <a:gd name="connsiteY56" fmla="*/ 4744760 h 5143499"/>
              <a:gd name="connsiteX57" fmla="*/ 4159648 w 4819650"/>
              <a:gd name="connsiteY57" fmla="*/ 4711721 h 5143499"/>
              <a:gd name="connsiteX58" fmla="*/ 4133525 w 4819650"/>
              <a:gd name="connsiteY58" fmla="*/ 4722426 h 5143499"/>
              <a:gd name="connsiteX59" fmla="*/ 4107093 w 4819650"/>
              <a:gd name="connsiteY59" fmla="*/ 4711721 h 5143499"/>
              <a:gd name="connsiteX60" fmla="*/ 2094551 w 4819650"/>
              <a:gd name="connsiteY60" fmla="*/ 0 h 5143499"/>
              <a:gd name="connsiteX61" fmla="*/ 4819650 w 4819650"/>
              <a:gd name="connsiteY61" fmla="*/ 0 h 5143499"/>
              <a:gd name="connsiteX62" fmla="*/ 4819650 w 4819650"/>
              <a:gd name="connsiteY62" fmla="*/ 5143499 h 5143499"/>
              <a:gd name="connsiteX63" fmla="*/ 0 w 4819650"/>
              <a:gd name="connsiteY63" fmla="*/ 5143499 h 5143499"/>
              <a:gd name="connsiteX64" fmla="*/ 0 w 4819650"/>
              <a:gd name="connsiteY64" fmla="*/ 5143498 h 5143499"/>
              <a:gd name="connsiteX65" fmla="*/ 371745 w 4819650"/>
              <a:gd name="connsiteY65" fmla="*/ 5143498 h 5143499"/>
              <a:gd name="connsiteX66" fmla="*/ 1206499 w 4819650"/>
              <a:gd name="connsiteY66" fmla="*/ 1821610 h 5143499"/>
              <a:gd name="connsiteX67" fmla="*/ 2048326 w 4819650"/>
              <a:gd name="connsiteY67" fmla="*/ 58253 h 5143499"/>
              <a:gd name="connsiteX68" fmla="*/ 2094551 w 4819650"/>
              <a:gd name="connsiteY68" fmla="*/ 0 h 5143499"/>
              <a:gd name="connsiteX0" fmla="*/ 4212654 w 4819650"/>
              <a:gd name="connsiteY0" fmla="*/ 4713284 h 5143499"/>
              <a:gd name="connsiteX1" fmla="*/ 4212654 w 4819650"/>
              <a:gd name="connsiteY1" fmla="*/ 4762855 h 5143499"/>
              <a:gd name="connsiteX2" fmla="*/ 4251378 w 4819650"/>
              <a:gd name="connsiteY2" fmla="*/ 4801413 h 5143499"/>
              <a:gd name="connsiteX3" fmla="*/ 4290101 w 4819650"/>
              <a:gd name="connsiteY3" fmla="*/ 4762855 h 5143499"/>
              <a:gd name="connsiteX4" fmla="*/ 4290101 w 4819650"/>
              <a:gd name="connsiteY4" fmla="*/ 4713284 h 5143499"/>
              <a:gd name="connsiteX5" fmla="*/ 4290054 w 4819650"/>
              <a:gd name="connsiteY5" fmla="*/ 4713284 h 5143499"/>
              <a:gd name="connsiteX6" fmla="*/ 4269283 w 4819650"/>
              <a:gd name="connsiteY6" fmla="*/ 4713284 h 5143499"/>
              <a:gd name="connsiteX7" fmla="*/ 4269283 w 4819650"/>
              <a:gd name="connsiteY7" fmla="*/ 4762855 h 5143499"/>
              <a:gd name="connsiteX8" fmla="*/ 4251354 w 4819650"/>
              <a:gd name="connsiteY8" fmla="*/ 4781731 h 5143499"/>
              <a:gd name="connsiteX9" fmla="*/ 4233425 w 4819650"/>
              <a:gd name="connsiteY9" fmla="*/ 4762855 h 5143499"/>
              <a:gd name="connsiteX10" fmla="*/ 4233425 w 4819650"/>
              <a:gd name="connsiteY10" fmla="*/ 4713284 h 5143499"/>
              <a:gd name="connsiteX11" fmla="*/ 4212654 w 4819650"/>
              <a:gd name="connsiteY11" fmla="*/ 4713284 h 5143499"/>
              <a:gd name="connsiteX12" fmla="*/ 4031541 w 4819650"/>
              <a:gd name="connsiteY12" fmla="*/ 4713284 h 5143499"/>
              <a:gd name="connsiteX13" fmla="*/ 4031541 w 4819650"/>
              <a:gd name="connsiteY13" fmla="*/ 4799826 h 5143499"/>
              <a:gd name="connsiteX14" fmla="*/ 4052312 w 4819650"/>
              <a:gd name="connsiteY14" fmla="*/ 4799826 h 5143499"/>
              <a:gd name="connsiteX15" fmla="*/ 4052312 w 4819650"/>
              <a:gd name="connsiteY15" fmla="*/ 4713284 h 5143499"/>
              <a:gd name="connsiteX16" fmla="*/ 4031541 w 4819650"/>
              <a:gd name="connsiteY16" fmla="*/ 4713284 h 5143499"/>
              <a:gd name="connsiteX17" fmla="*/ 3936473 w 4819650"/>
              <a:gd name="connsiteY17" fmla="*/ 4713284 h 5143499"/>
              <a:gd name="connsiteX18" fmla="*/ 3966836 w 4819650"/>
              <a:gd name="connsiteY18" fmla="*/ 4756247 h 5143499"/>
              <a:gd name="connsiteX19" fmla="*/ 3936473 w 4819650"/>
              <a:gd name="connsiteY19" fmla="*/ 4799850 h 5143499"/>
              <a:gd name="connsiteX20" fmla="*/ 3959447 w 4819650"/>
              <a:gd name="connsiteY20" fmla="*/ 4799850 h 5143499"/>
              <a:gd name="connsiteX21" fmla="*/ 3978181 w 4819650"/>
              <a:gd name="connsiteY21" fmla="*/ 4771689 h 5143499"/>
              <a:gd name="connsiteX22" fmla="*/ 3996915 w 4819650"/>
              <a:gd name="connsiteY22" fmla="*/ 4799850 h 5143499"/>
              <a:gd name="connsiteX23" fmla="*/ 4019889 w 4819650"/>
              <a:gd name="connsiteY23" fmla="*/ 4799850 h 5143499"/>
              <a:gd name="connsiteX24" fmla="*/ 3989668 w 4819650"/>
              <a:gd name="connsiteY24" fmla="*/ 4756247 h 5143499"/>
              <a:gd name="connsiteX25" fmla="*/ 4019889 w 4819650"/>
              <a:gd name="connsiteY25" fmla="*/ 4713284 h 5143499"/>
              <a:gd name="connsiteX26" fmla="*/ 3978181 w 4819650"/>
              <a:gd name="connsiteY26" fmla="*/ 4741137 h 5143499"/>
              <a:gd name="connsiteX27" fmla="*/ 3936473 w 4819650"/>
              <a:gd name="connsiteY27" fmla="*/ 4713284 h 5143499"/>
              <a:gd name="connsiteX28" fmla="*/ 4336096 w 4819650"/>
              <a:gd name="connsiteY28" fmla="*/ 4730124 h 5143499"/>
              <a:gd name="connsiteX29" fmla="*/ 4304596 w 4819650"/>
              <a:gd name="connsiteY29" fmla="*/ 4737063 h 5143499"/>
              <a:gd name="connsiteX30" fmla="*/ 4330080 w 4819650"/>
              <a:gd name="connsiteY30" fmla="*/ 4761932 h 5143499"/>
              <a:gd name="connsiteX31" fmla="*/ 4336073 w 4819650"/>
              <a:gd name="connsiteY31" fmla="*/ 4764134 h 5143499"/>
              <a:gd name="connsiteX32" fmla="*/ 4351657 w 4819650"/>
              <a:gd name="connsiteY32" fmla="*/ 4774982 h 5143499"/>
              <a:gd name="connsiteX33" fmla="*/ 4337186 w 4819650"/>
              <a:gd name="connsiteY33" fmla="*/ 4782845 h 5143499"/>
              <a:gd name="connsiteX34" fmla="*/ 4308220 w 4819650"/>
              <a:gd name="connsiteY34" fmla="*/ 4775763 h 5143499"/>
              <a:gd name="connsiteX35" fmla="*/ 4303341 w 4819650"/>
              <a:gd name="connsiteY35" fmla="*/ 4793858 h 5143499"/>
              <a:gd name="connsiteX36" fmla="*/ 4338109 w 4819650"/>
              <a:gd name="connsiteY36" fmla="*/ 4801413 h 5143499"/>
              <a:gd name="connsiteX37" fmla="*/ 4372404 w 4819650"/>
              <a:gd name="connsiteY37" fmla="*/ 4774342 h 5143499"/>
              <a:gd name="connsiteX38" fmla="*/ 4345688 w 4819650"/>
              <a:gd name="connsiteY38" fmla="*/ 4747768 h 5143499"/>
              <a:gd name="connsiteX39" fmla="*/ 4339388 w 4819650"/>
              <a:gd name="connsiteY39" fmla="*/ 4745400 h 5143499"/>
              <a:gd name="connsiteX40" fmla="*/ 4336096 w 4819650"/>
              <a:gd name="connsiteY40" fmla="*/ 4730124 h 5143499"/>
              <a:gd name="connsiteX41" fmla="*/ 4107093 w 4819650"/>
              <a:gd name="connsiteY41" fmla="*/ 4711721 h 5143499"/>
              <a:gd name="connsiteX42" fmla="*/ 4070430 w 4819650"/>
              <a:gd name="connsiteY42" fmla="*/ 4744760 h 5143499"/>
              <a:gd name="connsiteX43" fmla="*/ 4070430 w 4819650"/>
              <a:gd name="connsiteY43" fmla="*/ 4799850 h 5143499"/>
              <a:gd name="connsiteX44" fmla="*/ 4091201 w 4819650"/>
              <a:gd name="connsiteY44" fmla="*/ 4799850 h 5143499"/>
              <a:gd name="connsiteX45" fmla="*/ 4091201 w 4819650"/>
              <a:gd name="connsiteY45" fmla="*/ 4746182 h 5143499"/>
              <a:gd name="connsiteX46" fmla="*/ 4106927 w 4819650"/>
              <a:gd name="connsiteY46" fmla="*/ 4731379 h 5143499"/>
              <a:gd name="connsiteX47" fmla="*/ 4122985 w 4819650"/>
              <a:gd name="connsiteY47" fmla="*/ 4746182 h 5143499"/>
              <a:gd name="connsiteX48" fmla="*/ 4122985 w 4819650"/>
              <a:gd name="connsiteY48" fmla="*/ 4799850 h 5143499"/>
              <a:gd name="connsiteX49" fmla="*/ 4143591 w 4819650"/>
              <a:gd name="connsiteY49" fmla="*/ 4799850 h 5143499"/>
              <a:gd name="connsiteX50" fmla="*/ 4143591 w 4819650"/>
              <a:gd name="connsiteY50" fmla="*/ 4746182 h 5143499"/>
              <a:gd name="connsiteX51" fmla="*/ 4159648 w 4819650"/>
              <a:gd name="connsiteY51" fmla="*/ 4731379 h 5143499"/>
              <a:gd name="connsiteX52" fmla="*/ 4175375 w 4819650"/>
              <a:gd name="connsiteY52" fmla="*/ 4746182 h 5143499"/>
              <a:gd name="connsiteX53" fmla="*/ 4175375 w 4819650"/>
              <a:gd name="connsiteY53" fmla="*/ 4799850 h 5143499"/>
              <a:gd name="connsiteX54" fmla="*/ 4196146 w 4819650"/>
              <a:gd name="connsiteY54" fmla="*/ 4799850 h 5143499"/>
              <a:gd name="connsiteX55" fmla="*/ 4196146 w 4819650"/>
              <a:gd name="connsiteY55" fmla="*/ 4744760 h 5143499"/>
              <a:gd name="connsiteX56" fmla="*/ 4159648 w 4819650"/>
              <a:gd name="connsiteY56" fmla="*/ 4711721 h 5143499"/>
              <a:gd name="connsiteX57" fmla="*/ 4133525 w 4819650"/>
              <a:gd name="connsiteY57" fmla="*/ 4722426 h 5143499"/>
              <a:gd name="connsiteX58" fmla="*/ 4107093 w 4819650"/>
              <a:gd name="connsiteY58" fmla="*/ 4711721 h 5143499"/>
              <a:gd name="connsiteX59" fmla="*/ 2094551 w 4819650"/>
              <a:gd name="connsiteY59" fmla="*/ 0 h 5143499"/>
              <a:gd name="connsiteX60" fmla="*/ 4819650 w 4819650"/>
              <a:gd name="connsiteY60" fmla="*/ 0 h 5143499"/>
              <a:gd name="connsiteX61" fmla="*/ 4819650 w 4819650"/>
              <a:gd name="connsiteY61" fmla="*/ 5143499 h 5143499"/>
              <a:gd name="connsiteX62" fmla="*/ 0 w 4819650"/>
              <a:gd name="connsiteY62" fmla="*/ 5143499 h 5143499"/>
              <a:gd name="connsiteX63" fmla="*/ 0 w 4819650"/>
              <a:gd name="connsiteY63" fmla="*/ 5143498 h 5143499"/>
              <a:gd name="connsiteX64" fmla="*/ 371745 w 4819650"/>
              <a:gd name="connsiteY64" fmla="*/ 5143498 h 5143499"/>
              <a:gd name="connsiteX65" fmla="*/ 1206499 w 4819650"/>
              <a:gd name="connsiteY65" fmla="*/ 1821610 h 5143499"/>
              <a:gd name="connsiteX66" fmla="*/ 2048326 w 4819650"/>
              <a:gd name="connsiteY66" fmla="*/ 58253 h 5143499"/>
              <a:gd name="connsiteX67" fmla="*/ 2094551 w 4819650"/>
              <a:gd name="connsiteY67" fmla="*/ 0 h 5143499"/>
              <a:gd name="connsiteX0" fmla="*/ 4212654 w 4819650"/>
              <a:gd name="connsiteY0" fmla="*/ 4713284 h 5143499"/>
              <a:gd name="connsiteX1" fmla="*/ 4212654 w 4819650"/>
              <a:gd name="connsiteY1" fmla="*/ 4762855 h 5143499"/>
              <a:gd name="connsiteX2" fmla="*/ 4251378 w 4819650"/>
              <a:gd name="connsiteY2" fmla="*/ 4801413 h 5143499"/>
              <a:gd name="connsiteX3" fmla="*/ 4290101 w 4819650"/>
              <a:gd name="connsiteY3" fmla="*/ 4762855 h 5143499"/>
              <a:gd name="connsiteX4" fmla="*/ 4290101 w 4819650"/>
              <a:gd name="connsiteY4" fmla="*/ 4713284 h 5143499"/>
              <a:gd name="connsiteX5" fmla="*/ 4290054 w 4819650"/>
              <a:gd name="connsiteY5" fmla="*/ 4713284 h 5143499"/>
              <a:gd name="connsiteX6" fmla="*/ 4269283 w 4819650"/>
              <a:gd name="connsiteY6" fmla="*/ 4713284 h 5143499"/>
              <a:gd name="connsiteX7" fmla="*/ 4269283 w 4819650"/>
              <a:gd name="connsiteY7" fmla="*/ 4762855 h 5143499"/>
              <a:gd name="connsiteX8" fmla="*/ 4251354 w 4819650"/>
              <a:gd name="connsiteY8" fmla="*/ 4781731 h 5143499"/>
              <a:gd name="connsiteX9" fmla="*/ 4233425 w 4819650"/>
              <a:gd name="connsiteY9" fmla="*/ 4762855 h 5143499"/>
              <a:gd name="connsiteX10" fmla="*/ 4233425 w 4819650"/>
              <a:gd name="connsiteY10" fmla="*/ 4713284 h 5143499"/>
              <a:gd name="connsiteX11" fmla="*/ 4212654 w 4819650"/>
              <a:gd name="connsiteY11" fmla="*/ 4713284 h 5143499"/>
              <a:gd name="connsiteX12" fmla="*/ 4031541 w 4819650"/>
              <a:gd name="connsiteY12" fmla="*/ 4713284 h 5143499"/>
              <a:gd name="connsiteX13" fmla="*/ 4031541 w 4819650"/>
              <a:gd name="connsiteY13" fmla="*/ 4799826 h 5143499"/>
              <a:gd name="connsiteX14" fmla="*/ 4052312 w 4819650"/>
              <a:gd name="connsiteY14" fmla="*/ 4799826 h 5143499"/>
              <a:gd name="connsiteX15" fmla="*/ 4052312 w 4819650"/>
              <a:gd name="connsiteY15" fmla="*/ 4713284 h 5143499"/>
              <a:gd name="connsiteX16" fmla="*/ 4031541 w 4819650"/>
              <a:gd name="connsiteY16" fmla="*/ 4713284 h 5143499"/>
              <a:gd name="connsiteX17" fmla="*/ 3978181 w 4819650"/>
              <a:gd name="connsiteY17" fmla="*/ 4741137 h 5143499"/>
              <a:gd name="connsiteX18" fmla="*/ 3966836 w 4819650"/>
              <a:gd name="connsiteY18" fmla="*/ 4756247 h 5143499"/>
              <a:gd name="connsiteX19" fmla="*/ 3936473 w 4819650"/>
              <a:gd name="connsiteY19" fmla="*/ 4799850 h 5143499"/>
              <a:gd name="connsiteX20" fmla="*/ 3959447 w 4819650"/>
              <a:gd name="connsiteY20" fmla="*/ 4799850 h 5143499"/>
              <a:gd name="connsiteX21" fmla="*/ 3978181 w 4819650"/>
              <a:gd name="connsiteY21" fmla="*/ 4771689 h 5143499"/>
              <a:gd name="connsiteX22" fmla="*/ 3996915 w 4819650"/>
              <a:gd name="connsiteY22" fmla="*/ 4799850 h 5143499"/>
              <a:gd name="connsiteX23" fmla="*/ 4019889 w 4819650"/>
              <a:gd name="connsiteY23" fmla="*/ 4799850 h 5143499"/>
              <a:gd name="connsiteX24" fmla="*/ 3989668 w 4819650"/>
              <a:gd name="connsiteY24" fmla="*/ 4756247 h 5143499"/>
              <a:gd name="connsiteX25" fmla="*/ 4019889 w 4819650"/>
              <a:gd name="connsiteY25" fmla="*/ 4713284 h 5143499"/>
              <a:gd name="connsiteX26" fmla="*/ 3978181 w 4819650"/>
              <a:gd name="connsiteY26" fmla="*/ 4741137 h 5143499"/>
              <a:gd name="connsiteX27" fmla="*/ 4336096 w 4819650"/>
              <a:gd name="connsiteY27" fmla="*/ 4730124 h 5143499"/>
              <a:gd name="connsiteX28" fmla="*/ 4304596 w 4819650"/>
              <a:gd name="connsiteY28" fmla="*/ 4737063 h 5143499"/>
              <a:gd name="connsiteX29" fmla="*/ 4330080 w 4819650"/>
              <a:gd name="connsiteY29" fmla="*/ 4761932 h 5143499"/>
              <a:gd name="connsiteX30" fmla="*/ 4336073 w 4819650"/>
              <a:gd name="connsiteY30" fmla="*/ 4764134 h 5143499"/>
              <a:gd name="connsiteX31" fmla="*/ 4351657 w 4819650"/>
              <a:gd name="connsiteY31" fmla="*/ 4774982 h 5143499"/>
              <a:gd name="connsiteX32" fmla="*/ 4337186 w 4819650"/>
              <a:gd name="connsiteY32" fmla="*/ 4782845 h 5143499"/>
              <a:gd name="connsiteX33" fmla="*/ 4308220 w 4819650"/>
              <a:gd name="connsiteY33" fmla="*/ 4775763 h 5143499"/>
              <a:gd name="connsiteX34" fmla="*/ 4303341 w 4819650"/>
              <a:gd name="connsiteY34" fmla="*/ 4793858 h 5143499"/>
              <a:gd name="connsiteX35" fmla="*/ 4338109 w 4819650"/>
              <a:gd name="connsiteY35" fmla="*/ 4801413 h 5143499"/>
              <a:gd name="connsiteX36" fmla="*/ 4372404 w 4819650"/>
              <a:gd name="connsiteY36" fmla="*/ 4774342 h 5143499"/>
              <a:gd name="connsiteX37" fmla="*/ 4345688 w 4819650"/>
              <a:gd name="connsiteY37" fmla="*/ 4747768 h 5143499"/>
              <a:gd name="connsiteX38" fmla="*/ 4339388 w 4819650"/>
              <a:gd name="connsiteY38" fmla="*/ 4745400 h 5143499"/>
              <a:gd name="connsiteX39" fmla="*/ 4336096 w 4819650"/>
              <a:gd name="connsiteY39" fmla="*/ 4730124 h 5143499"/>
              <a:gd name="connsiteX40" fmla="*/ 4107093 w 4819650"/>
              <a:gd name="connsiteY40" fmla="*/ 4711721 h 5143499"/>
              <a:gd name="connsiteX41" fmla="*/ 4070430 w 4819650"/>
              <a:gd name="connsiteY41" fmla="*/ 4744760 h 5143499"/>
              <a:gd name="connsiteX42" fmla="*/ 4070430 w 4819650"/>
              <a:gd name="connsiteY42" fmla="*/ 4799850 h 5143499"/>
              <a:gd name="connsiteX43" fmla="*/ 4091201 w 4819650"/>
              <a:gd name="connsiteY43" fmla="*/ 4799850 h 5143499"/>
              <a:gd name="connsiteX44" fmla="*/ 4091201 w 4819650"/>
              <a:gd name="connsiteY44" fmla="*/ 4746182 h 5143499"/>
              <a:gd name="connsiteX45" fmla="*/ 4106927 w 4819650"/>
              <a:gd name="connsiteY45" fmla="*/ 4731379 h 5143499"/>
              <a:gd name="connsiteX46" fmla="*/ 4122985 w 4819650"/>
              <a:gd name="connsiteY46" fmla="*/ 4746182 h 5143499"/>
              <a:gd name="connsiteX47" fmla="*/ 4122985 w 4819650"/>
              <a:gd name="connsiteY47" fmla="*/ 4799850 h 5143499"/>
              <a:gd name="connsiteX48" fmla="*/ 4143591 w 4819650"/>
              <a:gd name="connsiteY48" fmla="*/ 4799850 h 5143499"/>
              <a:gd name="connsiteX49" fmla="*/ 4143591 w 4819650"/>
              <a:gd name="connsiteY49" fmla="*/ 4746182 h 5143499"/>
              <a:gd name="connsiteX50" fmla="*/ 4159648 w 4819650"/>
              <a:gd name="connsiteY50" fmla="*/ 4731379 h 5143499"/>
              <a:gd name="connsiteX51" fmla="*/ 4175375 w 4819650"/>
              <a:gd name="connsiteY51" fmla="*/ 4746182 h 5143499"/>
              <a:gd name="connsiteX52" fmla="*/ 4175375 w 4819650"/>
              <a:gd name="connsiteY52" fmla="*/ 4799850 h 5143499"/>
              <a:gd name="connsiteX53" fmla="*/ 4196146 w 4819650"/>
              <a:gd name="connsiteY53" fmla="*/ 4799850 h 5143499"/>
              <a:gd name="connsiteX54" fmla="*/ 4196146 w 4819650"/>
              <a:gd name="connsiteY54" fmla="*/ 4744760 h 5143499"/>
              <a:gd name="connsiteX55" fmla="*/ 4159648 w 4819650"/>
              <a:gd name="connsiteY55" fmla="*/ 4711721 h 5143499"/>
              <a:gd name="connsiteX56" fmla="*/ 4133525 w 4819650"/>
              <a:gd name="connsiteY56" fmla="*/ 4722426 h 5143499"/>
              <a:gd name="connsiteX57" fmla="*/ 4107093 w 4819650"/>
              <a:gd name="connsiteY57" fmla="*/ 4711721 h 5143499"/>
              <a:gd name="connsiteX58" fmla="*/ 2094551 w 4819650"/>
              <a:gd name="connsiteY58" fmla="*/ 0 h 5143499"/>
              <a:gd name="connsiteX59" fmla="*/ 4819650 w 4819650"/>
              <a:gd name="connsiteY59" fmla="*/ 0 h 5143499"/>
              <a:gd name="connsiteX60" fmla="*/ 4819650 w 4819650"/>
              <a:gd name="connsiteY60" fmla="*/ 5143499 h 5143499"/>
              <a:gd name="connsiteX61" fmla="*/ 0 w 4819650"/>
              <a:gd name="connsiteY61" fmla="*/ 5143499 h 5143499"/>
              <a:gd name="connsiteX62" fmla="*/ 0 w 4819650"/>
              <a:gd name="connsiteY62" fmla="*/ 5143498 h 5143499"/>
              <a:gd name="connsiteX63" fmla="*/ 371745 w 4819650"/>
              <a:gd name="connsiteY63" fmla="*/ 5143498 h 5143499"/>
              <a:gd name="connsiteX64" fmla="*/ 1206499 w 4819650"/>
              <a:gd name="connsiteY64" fmla="*/ 1821610 h 5143499"/>
              <a:gd name="connsiteX65" fmla="*/ 2048326 w 4819650"/>
              <a:gd name="connsiteY65" fmla="*/ 58253 h 5143499"/>
              <a:gd name="connsiteX66" fmla="*/ 2094551 w 4819650"/>
              <a:gd name="connsiteY66" fmla="*/ 0 h 5143499"/>
              <a:gd name="connsiteX0" fmla="*/ 4212654 w 4819650"/>
              <a:gd name="connsiteY0" fmla="*/ 4713284 h 5143499"/>
              <a:gd name="connsiteX1" fmla="*/ 4212654 w 4819650"/>
              <a:gd name="connsiteY1" fmla="*/ 4762855 h 5143499"/>
              <a:gd name="connsiteX2" fmla="*/ 4251378 w 4819650"/>
              <a:gd name="connsiteY2" fmla="*/ 4801413 h 5143499"/>
              <a:gd name="connsiteX3" fmla="*/ 4290101 w 4819650"/>
              <a:gd name="connsiteY3" fmla="*/ 4762855 h 5143499"/>
              <a:gd name="connsiteX4" fmla="*/ 4290101 w 4819650"/>
              <a:gd name="connsiteY4" fmla="*/ 4713284 h 5143499"/>
              <a:gd name="connsiteX5" fmla="*/ 4290054 w 4819650"/>
              <a:gd name="connsiteY5" fmla="*/ 4713284 h 5143499"/>
              <a:gd name="connsiteX6" fmla="*/ 4269283 w 4819650"/>
              <a:gd name="connsiteY6" fmla="*/ 4713284 h 5143499"/>
              <a:gd name="connsiteX7" fmla="*/ 4269283 w 4819650"/>
              <a:gd name="connsiteY7" fmla="*/ 4762855 h 5143499"/>
              <a:gd name="connsiteX8" fmla="*/ 4251354 w 4819650"/>
              <a:gd name="connsiteY8" fmla="*/ 4781731 h 5143499"/>
              <a:gd name="connsiteX9" fmla="*/ 4233425 w 4819650"/>
              <a:gd name="connsiteY9" fmla="*/ 4762855 h 5143499"/>
              <a:gd name="connsiteX10" fmla="*/ 4233425 w 4819650"/>
              <a:gd name="connsiteY10" fmla="*/ 4713284 h 5143499"/>
              <a:gd name="connsiteX11" fmla="*/ 4212654 w 4819650"/>
              <a:gd name="connsiteY11" fmla="*/ 4713284 h 5143499"/>
              <a:gd name="connsiteX12" fmla="*/ 4031541 w 4819650"/>
              <a:gd name="connsiteY12" fmla="*/ 4713284 h 5143499"/>
              <a:gd name="connsiteX13" fmla="*/ 4031541 w 4819650"/>
              <a:gd name="connsiteY13" fmla="*/ 4799826 h 5143499"/>
              <a:gd name="connsiteX14" fmla="*/ 4052312 w 4819650"/>
              <a:gd name="connsiteY14" fmla="*/ 4799826 h 5143499"/>
              <a:gd name="connsiteX15" fmla="*/ 4052312 w 4819650"/>
              <a:gd name="connsiteY15" fmla="*/ 4713284 h 5143499"/>
              <a:gd name="connsiteX16" fmla="*/ 4031541 w 4819650"/>
              <a:gd name="connsiteY16" fmla="*/ 4713284 h 5143499"/>
              <a:gd name="connsiteX17" fmla="*/ 3978181 w 4819650"/>
              <a:gd name="connsiteY17" fmla="*/ 4741137 h 5143499"/>
              <a:gd name="connsiteX18" fmla="*/ 3966836 w 4819650"/>
              <a:gd name="connsiteY18" fmla="*/ 4756247 h 5143499"/>
              <a:gd name="connsiteX19" fmla="*/ 3936473 w 4819650"/>
              <a:gd name="connsiteY19" fmla="*/ 4799850 h 5143499"/>
              <a:gd name="connsiteX20" fmla="*/ 3959447 w 4819650"/>
              <a:gd name="connsiteY20" fmla="*/ 4799850 h 5143499"/>
              <a:gd name="connsiteX21" fmla="*/ 3978181 w 4819650"/>
              <a:gd name="connsiteY21" fmla="*/ 4771689 h 5143499"/>
              <a:gd name="connsiteX22" fmla="*/ 3996915 w 4819650"/>
              <a:gd name="connsiteY22" fmla="*/ 4799850 h 5143499"/>
              <a:gd name="connsiteX23" fmla="*/ 4019889 w 4819650"/>
              <a:gd name="connsiteY23" fmla="*/ 4799850 h 5143499"/>
              <a:gd name="connsiteX24" fmla="*/ 3989668 w 4819650"/>
              <a:gd name="connsiteY24" fmla="*/ 4756247 h 5143499"/>
              <a:gd name="connsiteX25" fmla="*/ 3978181 w 4819650"/>
              <a:gd name="connsiteY25" fmla="*/ 4741137 h 5143499"/>
              <a:gd name="connsiteX26" fmla="*/ 4336096 w 4819650"/>
              <a:gd name="connsiteY26" fmla="*/ 4730124 h 5143499"/>
              <a:gd name="connsiteX27" fmla="*/ 4304596 w 4819650"/>
              <a:gd name="connsiteY27" fmla="*/ 4737063 h 5143499"/>
              <a:gd name="connsiteX28" fmla="*/ 4330080 w 4819650"/>
              <a:gd name="connsiteY28" fmla="*/ 4761932 h 5143499"/>
              <a:gd name="connsiteX29" fmla="*/ 4336073 w 4819650"/>
              <a:gd name="connsiteY29" fmla="*/ 4764134 h 5143499"/>
              <a:gd name="connsiteX30" fmla="*/ 4351657 w 4819650"/>
              <a:gd name="connsiteY30" fmla="*/ 4774982 h 5143499"/>
              <a:gd name="connsiteX31" fmla="*/ 4337186 w 4819650"/>
              <a:gd name="connsiteY31" fmla="*/ 4782845 h 5143499"/>
              <a:gd name="connsiteX32" fmla="*/ 4308220 w 4819650"/>
              <a:gd name="connsiteY32" fmla="*/ 4775763 h 5143499"/>
              <a:gd name="connsiteX33" fmla="*/ 4303341 w 4819650"/>
              <a:gd name="connsiteY33" fmla="*/ 4793858 h 5143499"/>
              <a:gd name="connsiteX34" fmla="*/ 4338109 w 4819650"/>
              <a:gd name="connsiteY34" fmla="*/ 4801413 h 5143499"/>
              <a:gd name="connsiteX35" fmla="*/ 4372404 w 4819650"/>
              <a:gd name="connsiteY35" fmla="*/ 4774342 h 5143499"/>
              <a:gd name="connsiteX36" fmla="*/ 4345688 w 4819650"/>
              <a:gd name="connsiteY36" fmla="*/ 4747768 h 5143499"/>
              <a:gd name="connsiteX37" fmla="*/ 4339388 w 4819650"/>
              <a:gd name="connsiteY37" fmla="*/ 4745400 h 5143499"/>
              <a:gd name="connsiteX38" fmla="*/ 4336096 w 4819650"/>
              <a:gd name="connsiteY38" fmla="*/ 4730124 h 5143499"/>
              <a:gd name="connsiteX39" fmla="*/ 4107093 w 4819650"/>
              <a:gd name="connsiteY39" fmla="*/ 4711721 h 5143499"/>
              <a:gd name="connsiteX40" fmla="*/ 4070430 w 4819650"/>
              <a:gd name="connsiteY40" fmla="*/ 4744760 h 5143499"/>
              <a:gd name="connsiteX41" fmla="*/ 4070430 w 4819650"/>
              <a:gd name="connsiteY41" fmla="*/ 4799850 h 5143499"/>
              <a:gd name="connsiteX42" fmla="*/ 4091201 w 4819650"/>
              <a:gd name="connsiteY42" fmla="*/ 4799850 h 5143499"/>
              <a:gd name="connsiteX43" fmla="*/ 4091201 w 4819650"/>
              <a:gd name="connsiteY43" fmla="*/ 4746182 h 5143499"/>
              <a:gd name="connsiteX44" fmla="*/ 4106927 w 4819650"/>
              <a:gd name="connsiteY44" fmla="*/ 4731379 h 5143499"/>
              <a:gd name="connsiteX45" fmla="*/ 4122985 w 4819650"/>
              <a:gd name="connsiteY45" fmla="*/ 4746182 h 5143499"/>
              <a:gd name="connsiteX46" fmla="*/ 4122985 w 4819650"/>
              <a:gd name="connsiteY46" fmla="*/ 4799850 h 5143499"/>
              <a:gd name="connsiteX47" fmla="*/ 4143591 w 4819650"/>
              <a:gd name="connsiteY47" fmla="*/ 4799850 h 5143499"/>
              <a:gd name="connsiteX48" fmla="*/ 4143591 w 4819650"/>
              <a:gd name="connsiteY48" fmla="*/ 4746182 h 5143499"/>
              <a:gd name="connsiteX49" fmla="*/ 4159648 w 4819650"/>
              <a:gd name="connsiteY49" fmla="*/ 4731379 h 5143499"/>
              <a:gd name="connsiteX50" fmla="*/ 4175375 w 4819650"/>
              <a:gd name="connsiteY50" fmla="*/ 4746182 h 5143499"/>
              <a:gd name="connsiteX51" fmla="*/ 4175375 w 4819650"/>
              <a:gd name="connsiteY51" fmla="*/ 4799850 h 5143499"/>
              <a:gd name="connsiteX52" fmla="*/ 4196146 w 4819650"/>
              <a:gd name="connsiteY52" fmla="*/ 4799850 h 5143499"/>
              <a:gd name="connsiteX53" fmla="*/ 4196146 w 4819650"/>
              <a:gd name="connsiteY53" fmla="*/ 4744760 h 5143499"/>
              <a:gd name="connsiteX54" fmla="*/ 4159648 w 4819650"/>
              <a:gd name="connsiteY54" fmla="*/ 4711721 h 5143499"/>
              <a:gd name="connsiteX55" fmla="*/ 4133525 w 4819650"/>
              <a:gd name="connsiteY55" fmla="*/ 4722426 h 5143499"/>
              <a:gd name="connsiteX56" fmla="*/ 4107093 w 4819650"/>
              <a:gd name="connsiteY56" fmla="*/ 4711721 h 5143499"/>
              <a:gd name="connsiteX57" fmla="*/ 2094551 w 4819650"/>
              <a:gd name="connsiteY57" fmla="*/ 0 h 5143499"/>
              <a:gd name="connsiteX58" fmla="*/ 4819650 w 4819650"/>
              <a:gd name="connsiteY58" fmla="*/ 0 h 5143499"/>
              <a:gd name="connsiteX59" fmla="*/ 4819650 w 4819650"/>
              <a:gd name="connsiteY59" fmla="*/ 5143499 h 5143499"/>
              <a:gd name="connsiteX60" fmla="*/ 0 w 4819650"/>
              <a:gd name="connsiteY60" fmla="*/ 5143499 h 5143499"/>
              <a:gd name="connsiteX61" fmla="*/ 0 w 4819650"/>
              <a:gd name="connsiteY61" fmla="*/ 5143498 h 5143499"/>
              <a:gd name="connsiteX62" fmla="*/ 371745 w 4819650"/>
              <a:gd name="connsiteY62" fmla="*/ 5143498 h 5143499"/>
              <a:gd name="connsiteX63" fmla="*/ 1206499 w 4819650"/>
              <a:gd name="connsiteY63" fmla="*/ 1821610 h 5143499"/>
              <a:gd name="connsiteX64" fmla="*/ 2048326 w 4819650"/>
              <a:gd name="connsiteY64" fmla="*/ 58253 h 5143499"/>
              <a:gd name="connsiteX65" fmla="*/ 2094551 w 4819650"/>
              <a:gd name="connsiteY65" fmla="*/ 0 h 5143499"/>
              <a:gd name="connsiteX0" fmla="*/ 4212654 w 4819650"/>
              <a:gd name="connsiteY0" fmla="*/ 4713284 h 5143499"/>
              <a:gd name="connsiteX1" fmla="*/ 4212654 w 4819650"/>
              <a:gd name="connsiteY1" fmla="*/ 4762855 h 5143499"/>
              <a:gd name="connsiteX2" fmla="*/ 4251378 w 4819650"/>
              <a:gd name="connsiteY2" fmla="*/ 4801413 h 5143499"/>
              <a:gd name="connsiteX3" fmla="*/ 4290101 w 4819650"/>
              <a:gd name="connsiteY3" fmla="*/ 4762855 h 5143499"/>
              <a:gd name="connsiteX4" fmla="*/ 4290101 w 4819650"/>
              <a:gd name="connsiteY4" fmla="*/ 4713284 h 5143499"/>
              <a:gd name="connsiteX5" fmla="*/ 4290054 w 4819650"/>
              <a:gd name="connsiteY5" fmla="*/ 4713284 h 5143499"/>
              <a:gd name="connsiteX6" fmla="*/ 4269283 w 4819650"/>
              <a:gd name="connsiteY6" fmla="*/ 4713284 h 5143499"/>
              <a:gd name="connsiteX7" fmla="*/ 4269283 w 4819650"/>
              <a:gd name="connsiteY7" fmla="*/ 4762855 h 5143499"/>
              <a:gd name="connsiteX8" fmla="*/ 4251354 w 4819650"/>
              <a:gd name="connsiteY8" fmla="*/ 4781731 h 5143499"/>
              <a:gd name="connsiteX9" fmla="*/ 4233425 w 4819650"/>
              <a:gd name="connsiteY9" fmla="*/ 4762855 h 5143499"/>
              <a:gd name="connsiteX10" fmla="*/ 4233425 w 4819650"/>
              <a:gd name="connsiteY10" fmla="*/ 4713284 h 5143499"/>
              <a:gd name="connsiteX11" fmla="*/ 4212654 w 4819650"/>
              <a:gd name="connsiteY11" fmla="*/ 4713284 h 5143499"/>
              <a:gd name="connsiteX12" fmla="*/ 4031541 w 4819650"/>
              <a:gd name="connsiteY12" fmla="*/ 4713284 h 5143499"/>
              <a:gd name="connsiteX13" fmla="*/ 4031541 w 4819650"/>
              <a:gd name="connsiteY13" fmla="*/ 4799826 h 5143499"/>
              <a:gd name="connsiteX14" fmla="*/ 4052312 w 4819650"/>
              <a:gd name="connsiteY14" fmla="*/ 4799826 h 5143499"/>
              <a:gd name="connsiteX15" fmla="*/ 4052312 w 4819650"/>
              <a:gd name="connsiteY15" fmla="*/ 4713284 h 5143499"/>
              <a:gd name="connsiteX16" fmla="*/ 4031541 w 4819650"/>
              <a:gd name="connsiteY16" fmla="*/ 4713284 h 5143499"/>
              <a:gd name="connsiteX17" fmla="*/ 3989668 w 4819650"/>
              <a:gd name="connsiteY17" fmla="*/ 4756247 h 5143499"/>
              <a:gd name="connsiteX18" fmla="*/ 3966836 w 4819650"/>
              <a:gd name="connsiteY18" fmla="*/ 4756247 h 5143499"/>
              <a:gd name="connsiteX19" fmla="*/ 3936473 w 4819650"/>
              <a:gd name="connsiteY19" fmla="*/ 4799850 h 5143499"/>
              <a:gd name="connsiteX20" fmla="*/ 3959447 w 4819650"/>
              <a:gd name="connsiteY20" fmla="*/ 4799850 h 5143499"/>
              <a:gd name="connsiteX21" fmla="*/ 3978181 w 4819650"/>
              <a:gd name="connsiteY21" fmla="*/ 4771689 h 5143499"/>
              <a:gd name="connsiteX22" fmla="*/ 3996915 w 4819650"/>
              <a:gd name="connsiteY22" fmla="*/ 4799850 h 5143499"/>
              <a:gd name="connsiteX23" fmla="*/ 4019889 w 4819650"/>
              <a:gd name="connsiteY23" fmla="*/ 4799850 h 5143499"/>
              <a:gd name="connsiteX24" fmla="*/ 3989668 w 4819650"/>
              <a:gd name="connsiteY24" fmla="*/ 4756247 h 5143499"/>
              <a:gd name="connsiteX25" fmla="*/ 4336096 w 4819650"/>
              <a:gd name="connsiteY25" fmla="*/ 4730124 h 5143499"/>
              <a:gd name="connsiteX26" fmla="*/ 4304596 w 4819650"/>
              <a:gd name="connsiteY26" fmla="*/ 4737063 h 5143499"/>
              <a:gd name="connsiteX27" fmla="*/ 4330080 w 4819650"/>
              <a:gd name="connsiteY27" fmla="*/ 4761932 h 5143499"/>
              <a:gd name="connsiteX28" fmla="*/ 4336073 w 4819650"/>
              <a:gd name="connsiteY28" fmla="*/ 4764134 h 5143499"/>
              <a:gd name="connsiteX29" fmla="*/ 4351657 w 4819650"/>
              <a:gd name="connsiteY29" fmla="*/ 4774982 h 5143499"/>
              <a:gd name="connsiteX30" fmla="*/ 4337186 w 4819650"/>
              <a:gd name="connsiteY30" fmla="*/ 4782845 h 5143499"/>
              <a:gd name="connsiteX31" fmla="*/ 4308220 w 4819650"/>
              <a:gd name="connsiteY31" fmla="*/ 4775763 h 5143499"/>
              <a:gd name="connsiteX32" fmla="*/ 4303341 w 4819650"/>
              <a:gd name="connsiteY32" fmla="*/ 4793858 h 5143499"/>
              <a:gd name="connsiteX33" fmla="*/ 4338109 w 4819650"/>
              <a:gd name="connsiteY33" fmla="*/ 4801413 h 5143499"/>
              <a:gd name="connsiteX34" fmla="*/ 4372404 w 4819650"/>
              <a:gd name="connsiteY34" fmla="*/ 4774342 h 5143499"/>
              <a:gd name="connsiteX35" fmla="*/ 4345688 w 4819650"/>
              <a:gd name="connsiteY35" fmla="*/ 4747768 h 5143499"/>
              <a:gd name="connsiteX36" fmla="*/ 4339388 w 4819650"/>
              <a:gd name="connsiteY36" fmla="*/ 4745400 h 5143499"/>
              <a:gd name="connsiteX37" fmla="*/ 4336096 w 4819650"/>
              <a:gd name="connsiteY37" fmla="*/ 4730124 h 5143499"/>
              <a:gd name="connsiteX38" fmla="*/ 4107093 w 4819650"/>
              <a:gd name="connsiteY38" fmla="*/ 4711721 h 5143499"/>
              <a:gd name="connsiteX39" fmla="*/ 4070430 w 4819650"/>
              <a:gd name="connsiteY39" fmla="*/ 4744760 h 5143499"/>
              <a:gd name="connsiteX40" fmla="*/ 4070430 w 4819650"/>
              <a:gd name="connsiteY40" fmla="*/ 4799850 h 5143499"/>
              <a:gd name="connsiteX41" fmla="*/ 4091201 w 4819650"/>
              <a:gd name="connsiteY41" fmla="*/ 4799850 h 5143499"/>
              <a:gd name="connsiteX42" fmla="*/ 4091201 w 4819650"/>
              <a:gd name="connsiteY42" fmla="*/ 4746182 h 5143499"/>
              <a:gd name="connsiteX43" fmla="*/ 4106927 w 4819650"/>
              <a:gd name="connsiteY43" fmla="*/ 4731379 h 5143499"/>
              <a:gd name="connsiteX44" fmla="*/ 4122985 w 4819650"/>
              <a:gd name="connsiteY44" fmla="*/ 4746182 h 5143499"/>
              <a:gd name="connsiteX45" fmla="*/ 4122985 w 4819650"/>
              <a:gd name="connsiteY45" fmla="*/ 4799850 h 5143499"/>
              <a:gd name="connsiteX46" fmla="*/ 4143591 w 4819650"/>
              <a:gd name="connsiteY46" fmla="*/ 4799850 h 5143499"/>
              <a:gd name="connsiteX47" fmla="*/ 4143591 w 4819650"/>
              <a:gd name="connsiteY47" fmla="*/ 4746182 h 5143499"/>
              <a:gd name="connsiteX48" fmla="*/ 4159648 w 4819650"/>
              <a:gd name="connsiteY48" fmla="*/ 4731379 h 5143499"/>
              <a:gd name="connsiteX49" fmla="*/ 4175375 w 4819650"/>
              <a:gd name="connsiteY49" fmla="*/ 4746182 h 5143499"/>
              <a:gd name="connsiteX50" fmla="*/ 4175375 w 4819650"/>
              <a:gd name="connsiteY50" fmla="*/ 4799850 h 5143499"/>
              <a:gd name="connsiteX51" fmla="*/ 4196146 w 4819650"/>
              <a:gd name="connsiteY51" fmla="*/ 4799850 h 5143499"/>
              <a:gd name="connsiteX52" fmla="*/ 4196146 w 4819650"/>
              <a:gd name="connsiteY52" fmla="*/ 4744760 h 5143499"/>
              <a:gd name="connsiteX53" fmla="*/ 4159648 w 4819650"/>
              <a:gd name="connsiteY53" fmla="*/ 4711721 h 5143499"/>
              <a:gd name="connsiteX54" fmla="*/ 4133525 w 4819650"/>
              <a:gd name="connsiteY54" fmla="*/ 4722426 h 5143499"/>
              <a:gd name="connsiteX55" fmla="*/ 4107093 w 4819650"/>
              <a:gd name="connsiteY55" fmla="*/ 4711721 h 5143499"/>
              <a:gd name="connsiteX56" fmla="*/ 2094551 w 4819650"/>
              <a:gd name="connsiteY56" fmla="*/ 0 h 5143499"/>
              <a:gd name="connsiteX57" fmla="*/ 4819650 w 4819650"/>
              <a:gd name="connsiteY57" fmla="*/ 0 h 5143499"/>
              <a:gd name="connsiteX58" fmla="*/ 4819650 w 4819650"/>
              <a:gd name="connsiteY58" fmla="*/ 5143499 h 5143499"/>
              <a:gd name="connsiteX59" fmla="*/ 0 w 4819650"/>
              <a:gd name="connsiteY59" fmla="*/ 5143499 h 5143499"/>
              <a:gd name="connsiteX60" fmla="*/ 0 w 4819650"/>
              <a:gd name="connsiteY60" fmla="*/ 5143498 h 5143499"/>
              <a:gd name="connsiteX61" fmla="*/ 371745 w 4819650"/>
              <a:gd name="connsiteY61" fmla="*/ 5143498 h 5143499"/>
              <a:gd name="connsiteX62" fmla="*/ 1206499 w 4819650"/>
              <a:gd name="connsiteY62" fmla="*/ 1821610 h 5143499"/>
              <a:gd name="connsiteX63" fmla="*/ 2048326 w 4819650"/>
              <a:gd name="connsiteY63" fmla="*/ 58253 h 5143499"/>
              <a:gd name="connsiteX64" fmla="*/ 2094551 w 4819650"/>
              <a:gd name="connsiteY64" fmla="*/ 0 h 5143499"/>
              <a:gd name="connsiteX0" fmla="*/ 4212654 w 4819650"/>
              <a:gd name="connsiteY0" fmla="*/ 4713284 h 5143499"/>
              <a:gd name="connsiteX1" fmla="*/ 4212654 w 4819650"/>
              <a:gd name="connsiteY1" fmla="*/ 4762855 h 5143499"/>
              <a:gd name="connsiteX2" fmla="*/ 4251378 w 4819650"/>
              <a:gd name="connsiteY2" fmla="*/ 4801413 h 5143499"/>
              <a:gd name="connsiteX3" fmla="*/ 4290101 w 4819650"/>
              <a:gd name="connsiteY3" fmla="*/ 4762855 h 5143499"/>
              <a:gd name="connsiteX4" fmla="*/ 4290101 w 4819650"/>
              <a:gd name="connsiteY4" fmla="*/ 4713284 h 5143499"/>
              <a:gd name="connsiteX5" fmla="*/ 4290054 w 4819650"/>
              <a:gd name="connsiteY5" fmla="*/ 4713284 h 5143499"/>
              <a:gd name="connsiteX6" fmla="*/ 4269283 w 4819650"/>
              <a:gd name="connsiteY6" fmla="*/ 4713284 h 5143499"/>
              <a:gd name="connsiteX7" fmla="*/ 4269283 w 4819650"/>
              <a:gd name="connsiteY7" fmla="*/ 4762855 h 5143499"/>
              <a:gd name="connsiteX8" fmla="*/ 4251354 w 4819650"/>
              <a:gd name="connsiteY8" fmla="*/ 4781731 h 5143499"/>
              <a:gd name="connsiteX9" fmla="*/ 4233425 w 4819650"/>
              <a:gd name="connsiteY9" fmla="*/ 4762855 h 5143499"/>
              <a:gd name="connsiteX10" fmla="*/ 4233425 w 4819650"/>
              <a:gd name="connsiteY10" fmla="*/ 4713284 h 5143499"/>
              <a:gd name="connsiteX11" fmla="*/ 4212654 w 4819650"/>
              <a:gd name="connsiteY11" fmla="*/ 4713284 h 5143499"/>
              <a:gd name="connsiteX12" fmla="*/ 4031541 w 4819650"/>
              <a:gd name="connsiteY12" fmla="*/ 4713284 h 5143499"/>
              <a:gd name="connsiteX13" fmla="*/ 4031541 w 4819650"/>
              <a:gd name="connsiteY13" fmla="*/ 4799826 h 5143499"/>
              <a:gd name="connsiteX14" fmla="*/ 4052312 w 4819650"/>
              <a:gd name="connsiteY14" fmla="*/ 4799826 h 5143499"/>
              <a:gd name="connsiteX15" fmla="*/ 4052312 w 4819650"/>
              <a:gd name="connsiteY15" fmla="*/ 4713284 h 5143499"/>
              <a:gd name="connsiteX16" fmla="*/ 4031541 w 4819650"/>
              <a:gd name="connsiteY16" fmla="*/ 4713284 h 5143499"/>
              <a:gd name="connsiteX17" fmla="*/ 4019889 w 4819650"/>
              <a:gd name="connsiteY17" fmla="*/ 4799850 h 5143499"/>
              <a:gd name="connsiteX18" fmla="*/ 3966836 w 4819650"/>
              <a:gd name="connsiteY18" fmla="*/ 4756247 h 5143499"/>
              <a:gd name="connsiteX19" fmla="*/ 3936473 w 4819650"/>
              <a:gd name="connsiteY19" fmla="*/ 4799850 h 5143499"/>
              <a:gd name="connsiteX20" fmla="*/ 3959447 w 4819650"/>
              <a:gd name="connsiteY20" fmla="*/ 4799850 h 5143499"/>
              <a:gd name="connsiteX21" fmla="*/ 3978181 w 4819650"/>
              <a:gd name="connsiteY21" fmla="*/ 4771689 h 5143499"/>
              <a:gd name="connsiteX22" fmla="*/ 3996915 w 4819650"/>
              <a:gd name="connsiteY22" fmla="*/ 4799850 h 5143499"/>
              <a:gd name="connsiteX23" fmla="*/ 4019889 w 4819650"/>
              <a:gd name="connsiteY23" fmla="*/ 4799850 h 5143499"/>
              <a:gd name="connsiteX24" fmla="*/ 4336096 w 4819650"/>
              <a:gd name="connsiteY24" fmla="*/ 4730124 h 5143499"/>
              <a:gd name="connsiteX25" fmla="*/ 4304596 w 4819650"/>
              <a:gd name="connsiteY25" fmla="*/ 4737063 h 5143499"/>
              <a:gd name="connsiteX26" fmla="*/ 4330080 w 4819650"/>
              <a:gd name="connsiteY26" fmla="*/ 4761932 h 5143499"/>
              <a:gd name="connsiteX27" fmla="*/ 4336073 w 4819650"/>
              <a:gd name="connsiteY27" fmla="*/ 4764134 h 5143499"/>
              <a:gd name="connsiteX28" fmla="*/ 4351657 w 4819650"/>
              <a:gd name="connsiteY28" fmla="*/ 4774982 h 5143499"/>
              <a:gd name="connsiteX29" fmla="*/ 4337186 w 4819650"/>
              <a:gd name="connsiteY29" fmla="*/ 4782845 h 5143499"/>
              <a:gd name="connsiteX30" fmla="*/ 4308220 w 4819650"/>
              <a:gd name="connsiteY30" fmla="*/ 4775763 h 5143499"/>
              <a:gd name="connsiteX31" fmla="*/ 4303341 w 4819650"/>
              <a:gd name="connsiteY31" fmla="*/ 4793858 h 5143499"/>
              <a:gd name="connsiteX32" fmla="*/ 4338109 w 4819650"/>
              <a:gd name="connsiteY32" fmla="*/ 4801413 h 5143499"/>
              <a:gd name="connsiteX33" fmla="*/ 4372404 w 4819650"/>
              <a:gd name="connsiteY33" fmla="*/ 4774342 h 5143499"/>
              <a:gd name="connsiteX34" fmla="*/ 4345688 w 4819650"/>
              <a:gd name="connsiteY34" fmla="*/ 4747768 h 5143499"/>
              <a:gd name="connsiteX35" fmla="*/ 4339388 w 4819650"/>
              <a:gd name="connsiteY35" fmla="*/ 4745400 h 5143499"/>
              <a:gd name="connsiteX36" fmla="*/ 4336096 w 4819650"/>
              <a:gd name="connsiteY36" fmla="*/ 4730124 h 5143499"/>
              <a:gd name="connsiteX37" fmla="*/ 4107093 w 4819650"/>
              <a:gd name="connsiteY37" fmla="*/ 4711721 h 5143499"/>
              <a:gd name="connsiteX38" fmla="*/ 4070430 w 4819650"/>
              <a:gd name="connsiteY38" fmla="*/ 4744760 h 5143499"/>
              <a:gd name="connsiteX39" fmla="*/ 4070430 w 4819650"/>
              <a:gd name="connsiteY39" fmla="*/ 4799850 h 5143499"/>
              <a:gd name="connsiteX40" fmla="*/ 4091201 w 4819650"/>
              <a:gd name="connsiteY40" fmla="*/ 4799850 h 5143499"/>
              <a:gd name="connsiteX41" fmla="*/ 4091201 w 4819650"/>
              <a:gd name="connsiteY41" fmla="*/ 4746182 h 5143499"/>
              <a:gd name="connsiteX42" fmla="*/ 4106927 w 4819650"/>
              <a:gd name="connsiteY42" fmla="*/ 4731379 h 5143499"/>
              <a:gd name="connsiteX43" fmla="*/ 4122985 w 4819650"/>
              <a:gd name="connsiteY43" fmla="*/ 4746182 h 5143499"/>
              <a:gd name="connsiteX44" fmla="*/ 4122985 w 4819650"/>
              <a:gd name="connsiteY44" fmla="*/ 4799850 h 5143499"/>
              <a:gd name="connsiteX45" fmla="*/ 4143591 w 4819650"/>
              <a:gd name="connsiteY45" fmla="*/ 4799850 h 5143499"/>
              <a:gd name="connsiteX46" fmla="*/ 4143591 w 4819650"/>
              <a:gd name="connsiteY46" fmla="*/ 4746182 h 5143499"/>
              <a:gd name="connsiteX47" fmla="*/ 4159648 w 4819650"/>
              <a:gd name="connsiteY47" fmla="*/ 4731379 h 5143499"/>
              <a:gd name="connsiteX48" fmla="*/ 4175375 w 4819650"/>
              <a:gd name="connsiteY48" fmla="*/ 4746182 h 5143499"/>
              <a:gd name="connsiteX49" fmla="*/ 4175375 w 4819650"/>
              <a:gd name="connsiteY49" fmla="*/ 4799850 h 5143499"/>
              <a:gd name="connsiteX50" fmla="*/ 4196146 w 4819650"/>
              <a:gd name="connsiteY50" fmla="*/ 4799850 h 5143499"/>
              <a:gd name="connsiteX51" fmla="*/ 4196146 w 4819650"/>
              <a:gd name="connsiteY51" fmla="*/ 4744760 h 5143499"/>
              <a:gd name="connsiteX52" fmla="*/ 4159648 w 4819650"/>
              <a:gd name="connsiteY52" fmla="*/ 4711721 h 5143499"/>
              <a:gd name="connsiteX53" fmla="*/ 4133525 w 4819650"/>
              <a:gd name="connsiteY53" fmla="*/ 4722426 h 5143499"/>
              <a:gd name="connsiteX54" fmla="*/ 4107093 w 4819650"/>
              <a:gd name="connsiteY54" fmla="*/ 4711721 h 5143499"/>
              <a:gd name="connsiteX55" fmla="*/ 2094551 w 4819650"/>
              <a:gd name="connsiteY55" fmla="*/ 0 h 5143499"/>
              <a:gd name="connsiteX56" fmla="*/ 4819650 w 4819650"/>
              <a:gd name="connsiteY56" fmla="*/ 0 h 5143499"/>
              <a:gd name="connsiteX57" fmla="*/ 4819650 w 4819650"/>
              <a:gd name="connsiteY57" fmla="*/ 5143499 h 5143499"/>
              <a:gd name="connsiteX58" fmla="*/ 0 w 4819650"/>
              <a:gd name="connsiteY58" fmla="*/ 5143499 h 5143499"/>
              <a:gd name="connsiteX59" fmla="*/ 0 w 4819650"/>
              <a:gd name="connsiteY59" fmla="*/ 5143498 h 5143499"/>
              <a:gd name="connsiteX60" fmla="*/ 371745 w 4819650"/>
              <a:gd name="connsiteY60" fmla="*/ 5143498 h 5143499"/>
              <a:gd name="connsiteX61" fmla="*/ 1206499 w 4819650"/>
              <a:gd name="connsiteY61" fmla="*/ 1821610 h 5143499"/>
              <a:gd name="connsiteX62" fmla="*/ 2048326 w 4819650"/>
              <a:gd name="connsiteY62" fmla="*/ 58253 h 5143499"/>
              <a:gd name="connsiteX63" fmla="*/ 2094551 w 4819650"/>
              <a:gd name="connsiteY63" fmla="*/ 0 h 5143499"/>
              <a:gd name="connsiteX0" fmla="*/ 4212654 w 4819650"/>
              <a:gd name="connsiteY0" fmla="*/ 4713284 h 5143499"/>
              <a:gd name="connsiteX1" fmla="*/ 4212654 w 4819650"/>
              <a:gd name="connsiteY1" fmla="*/ 4762855 h 5143499"/>
              <a:gd name="connsiteX2" fmla="*/ 4251378 w 4819650"/>
              <a:gd name="connsiteY2" fmla="*/ 4801413 h 5143499"/>
              <a:gd name="connsiteX3" fmla="*/ 4290101 w 4819650"/>
              <a:gd name="connsiteY3" fmla="*/ 4762855 h 5143499"/>
              <a:gd name="connsiteX4" fmla="*/ 4290101 w 4819650"/>
              <a:gd name="connsiteY4" fmla="*/ 4713284 h 5143499"/>
              <a:gd name="connsiteX5" fmla="*/ 4290054 w 4819650"/>
              <a:gd name="connsiteY5" fmla="*/ 4713284 h 5143499"/>
              <a:gd name="connsiteX6" fmla="*/ 4269283 w 4819650"/>
              <a:gd name="connsiteY6" fmla="*/ 4713284 h 5143499"/>
              <a:gd name="connsiteX7" fmla="*/ 4269283 w 4819650"/>
              <a:gd name="connsiteY7" fmla="*/ 4762855 h 5143499"/>
              <a:gd name="connsiteX8" fmla="*/ 4251354 w 4819650"/>
              <a:gd name="connsiteY8" fmla="*/ 4781731 h 5143499"/>
              <a:gd name="connsiteX9" fmla="*/ 4233425 w 4819650"/>
              <a:gd name="connsiteY9" fmla="*/ 4762855 h 5143499"/>
              <a:gd name="connsiteX10" fmla="*/ 4233425 w 4819650"/>
              <a:gd name="connsiteY10" fmla="*/ 4713284 h 5143499"/>
              <a:gd name="connsiteX11" fmla="*/ 4212654 w 4819650"/>
              <a:gd name="connsiteY11" fmla="*/ 4713284 h 5143499"/>
              <a:gd name="connsiteX12" fmla="*/ 4031541 w 4819650"/>
              <a:gd name="connsiteY12" fmla="*/ 4713284 h 5143499"/>
              <a:gd name="connsiteX13" fmla="*/ 4031541 w 4819650"/>
              <a:gd name="connsiteY13" fmla="*/ 4799826 h 5143499"/>
              <a:gd name="connsiteX14" fmla="*/ 4052312 w 4819650"/>
              <a:gd name="connsiteY14" fmla="*/ 4799826 h 5143499"/>
              <a:gd name="connsiteX15" fmla="*/ 4052312 w 4819650"/>
              <a:gd name="connsiteY15" fmla="*/ 4713284 h 5143499"/>
              <a:gd name="connsiteX16" fmla="*/ 4031541 w 4819650"/>
              <a:gd name="connsiteY16" fmla="*/ 4713284 h 5143499"/>
              <a:gd name="connsiteX17" fmla="*/ 4019889 w 4819650"/>
              <a:gd name="connsiteY17" fmla="*/ 4799850 h 5143499"/>
              <a:gd name="connsiteX18" fmla="*/ 3936473 w 4819650"/>
              <a:gd name="connsiteY18" fmla="*/ 4799850 h 5143499"/>
              <a:gd name="connsiteX19" fmla="*/ 3959447 w 4819650"/>
              <a:gd name="connsiteY19" fmla="*/ 4799850 h 5143499"/>
              <a:gd name="connsiteX20" fmla="*/ 3978181 w 4819650"/>
              <a:gd name="connsiteY20" fmla="*/ 4771689 h 5143499"/>
              <a:gd name="connsiteX21" fmla="*/ 3996915 w 4819650"/>
              <a:gd name="connsiteY21" fmla="*/ 4799850 h 5143499"/>
              <a:gd name="connsiteX22" fmla="*/ 4019889 w 4819650"/>
              <a:gd name="connsiteY22" fmla="*/ 4799850 h 5143499"/>
              <a:gd name="connsiteX23" fmla="*/ 4336096 w 4819650"/>
              <a:gd name="connsiteY23" fmla="*/ 4730124 h 5143499"/>
              <a:gd name="connsiteX24" fmla="*/ 4304596 w 4819650"/>
              <a:gd name="connsiteY24" fmla="*/ 4737063 h 5143499"/>
              <a:gd name="connsiteX25" fmla="*/ 4330080 w 4819650"/>
              <a:gd name="connsiteY25" fmla="*/ 4761932 h 5143499"/>
              <a:gd name="connsiteX26" fmla="*/ 4336073 w 4819650"/>
              <a:gd name="connsiteY26" fmla="*/ 4764134 h 5143499"/>
              <a:gd name="connsiteX27" fmla="*/ 4351657 w 4819650"/>
              <a:gd name="connsiteY27" fmla="*/ 4774982 h 5143499"/>
              <a:gd name="connsiteX28" fmla="*/ 4337186 w 4819650"/>
              <a:gd name="connsiteY28" fmla="*/ 4782845 h 5143499"/>
              <a:gd name="connsiteX29" fmla="*/ 4308220 w 4819650"/>
              <a:gd name="connsiteY29" fmla="*/ 4775763 h 5143499"/>
              <a:gd name="connsiteX30" fmla="*/ 4303341 w 4819650"/>
              <a:gd name="connsiteY30" fmla="*/ 4793858 h 5143499"/>
              <a:gd name="connsiteX31" fmla="*/ 4338109 w 4819650"/>
              <a:gd name="connsiteY31" fmla="*/ 4801413 h 5143499"/>
              <a:gd name="connsiteX32" fmla="*/ 4372404 w 4819650"/>
              <a:gd name="connsiteY32" fmla="*/ 4774342 h 5143499"/>
              <a:gd name="connsiteX33" fmla="*/ 4345688 w 4819650"/>
              <a:gd name="connsiteY33" fmla="*/ 4747768 h 5143499"/>
              <a:gd name="connsiteX34" fmla="*/ 4339388 w 4819650"/>
              <a:gd name="connsiteY34" fmla="*/ 4745400 h 5143499"/>
              <a:gd name="connsiteX35" fmla="*/ 4336096 w 4819650"/>
              <a:gd name="connsiteY35" fmla="*/ 4730124 h 5143499"/>
              <a:gd name="connsiteX36" fmla="*/ 4107093 w 4819650"/>
              <a:gd name="connsiteY36" fmla="*/ 4711721 h 5143499"/>
              <a:gd name="connsiteX37" fmla="*/ 4070430 w 4819650"/>
              <a:gd name="connsiteY37" fmla="*/ 4744760 h 5143499"/>
              <a:gd name="connsiteX38" fmla="*/ 4070430 w 4819650"/>
              <a:gd name="connsiteY38" fmla="*/ 4799850 h 5143499"/>
              <a:gd name="connsiteX39" fmla="*/ 4091201 w 4819650"/>
              <a:gd name="connsiteY39" fmla="*/ 4799850 h 5143499"/>
              <a:gd name="connsiteX40" fmla="*/ 4091201 w 4819650"/>
              <a:gd name="connsiteY40" fmla="*/ 4746182 h 5143499"/>
              <a:gd name="connsiteX41" fmla="*/ 4106927 w 4819650"/>
              <a:gd name="connsiteY41" fmla="*/ 4731379 h 5143499"/>
              <a:gd name="connsiteX42" fmla="*/ 4122985 w 4819650"/>
              <a:gd name="connsiteY42" fmla="*/ 4746182 h 5143499"/>
              <a:gd name="connsiteX43" fmla="*/ 4122985 w 4819650"/>
              <a:gd name="connsiteY43" fmla="*/ 4799850 h 5143499"/>
              <a:gd name="connsiteX44" fmla="*/ 4143591 w 4819650"/>
              <a:gd name="connsiteY44" fmla="*/ 4799850 h 5143499"/>
              <a:gd name="connsiteX45" fmla="*/ 4143591 w 4819650"/>
              <a:gd name="connsiteY45" fmla="*/ 4746182 h 5143499"/>
              <a:gd name="connsiteX46" fmla="*/ 4159648 w 4819650"/>
              <a:gd name="connsiteY46" fmla="*/ 4731379 h 5143499"/>
              <a:gd name="connsiteX47" fmla="*/ 4175375 w 4819650"/>
              <a:gd name="connsiteY47" fmla="*/ 4746182 h 5143499"/>
              <a:gd name="connsiteX48" fmla="*/ 4175375 w 4819650"/>
              <a:gd name="connsiteY48" fmla="*/ 4799850 h 5143499"/>
              <a:gd name="connsiteX49" fmla="*/ 4196146 w 4819650"/>
              <a:gd name="connsiteY49" fmla="*/ 4799850 h 5143499"/>
              <a:gd name="connsiteX50" fmla="*/ 4196146 w 4819650"/>
              <a:gd name="connsiteY50" fmla="*/ 4744760 h 5143499"/>
              <a:gd name="connsiteX51" fmla="*/ 4159648 w 4819650"/>
              <a:gd name="connsiteY51" fmla="*/ 4711721 h 5143499"/>
              <a:gd name="connsiteX52" fmla="*/ 4133525 w 4819650"/>
              <a:gd name="connsiteY52" fmla="*/ 4722426 h 5143499"/>
              <a:gd name="connsiteX53" fmla="*/ 4107093 w 4819650"/>
              <a:gd name="connsiteY53" fmla="*/ 4711721 h 5143499"/>
              <a:gd name="connsiteX54" fmla="*/ 2094551 w 4819650"/>
              <a:gd name="connsiteY54" fmla="*/ 0 h 5143499"/>
              <a:gd name="connsiteX55" fmla="*/ 4819650 w 4819650"/>
              <a:gd name="connsiteY55" fmla="*/ 0 h 5143499"/>
              <a:gd name="connsiteX56" fmla="*/ 4819650 w 4819650"/>
              <a:gd name="connsiteY56" fmla="*/ 5143499 h 5143499"/>
              <a:gd name="connsiteX57" fmla="*/ 0 w 4819650"/>
              <a:gd name="connsiteY57" fmla="*/ 5143499 h 5143499"/>
              <a:gd name="connsiteX58" fmla="*/ 0 w 4819650"/>
              <a:gd name="connsiteY58" fmla="*/ 5143498 h 5143499"/>
              <a:gd name="connsiteX59" fmla="*/ 371745 w 4819650"/>
              <a:gd name="connsiteY59" fmla="*/ 5143498 h 5143499"/>
              <a:gd name="connsiteX60" fmla="*/ 1206499 w 4819650"/>
              <a:gd name="connsiteY60" fmla="*/ 1821610 h 5143499"/>
              <a:gd name="connsiteX61" fmla="*/ 2048326 w 4819650"/>
              <a:gd name="connsiteY61" fmla="*/ 58253 h 5143499"/>
              <a:gd name="connsiteX62" fmla="*/ 2094551 w 4819650"/>
              <a:gd name="connsiteY62" fmla="*/ 0 h 5143499"/>
              <a:gd name="connsiteX0" fmla="*/ 4212654 w 4819650"/>
              <a:gd name="connsiteY0" fmla="*/ 4713284 h 5143499"/>
              <a:gd name="connsiteX1" fmla="*/ 4212654 w 4819650"/>
              <a:gd name="connsiteY1" fmla="*/ 4762855 h 5143499"/>
              <a:gd name="connsiteX2" fmla="*/ 4251378 w 4819650"/>
              <a:gd name="connsiteY2" fmla="*/ 4801413 h 5143499"/>
              <a:gd name="connsiteX3" fmla="*/ 4290101 w 4819650"/>
              <a:gd name="connsiteY3" fmla="*/ 4762855 h 5143499"/>
              <a:gd name="connsiteX4" fmla="*/ 4290101 w 4819650"/>
              <a:gd name="connsiteY4" fmla="*/ 4713284 h 5143499"/>
              <a:gd name="connsiteX5" fmla="*/ 4290054 w 4819650"/>
              <a:gd name="connsiteY5" fmla="*/ 4713284 h 5143499"/>
              <a:gd name="connsiteX6" fmla="*/ 4269283 w 4819650"/>
              <a:gd name="connsiteY6" fmla="*/ 4713284 h 5143499"/>
              <a:gd name="connsiteX7" fmla="*/ 4269283 w 4819650"/>
              <a:gd name="connsiteY7" fmla="*/ 4762855 h 5143499"/>
              <a:gd name="connsiteX8" fmla="*/ 4251354 w 4819650"/>
              <a:gd name="connsiteY8" fmla="*/ 4781731 h 5143499"/>
              <a:gd name="connsiteX9" fmla="*/ 4233425 w 4819650"/>
              <a:gd name="connsiteY9" fmla="*/ 4762855 h 5143499"/>
              <a:gd name="connsiteX10" fmla="*/ 4233425 w 4819650"/>
              <a:gd name="connsiteY10" fmla="*/ 4713284 h 5143499"/>
              <a:gd name="connsiteX11" fmla="*/ 4212654 w 4819650"/>
              <a:gd name="connsiteY11" fmla="*/ 4713284 h 5143499"/>
              <a:gd name="connsiteX12" fmla="*/ 4031541 w 4819650"/>
              <a:gd name="connsiteY12" fmla="*/ 4713284 h 5143499"/>
              <a:gd name="connsiteX13" fmla="*/ 4031541 w 4819650"/>
              <a:gd name="connsiteY13" fmla="*/ 4799826 h 5143499"/>
              <a:gd name="connsiteX14" fmla="*/ 4052312 w 4819650"/>
              <a:gd name="connsiteY14" fmla="*/ 4799826 h 5143499"/>
              <a:gd name="connsiteX15" fmla="*/ 4052312 w 4819650"/>
              <a:gd name="connsiteY15" fmla="*/ 4713284 h 5143499"/>
              <a:gd name="connsiteX16" fmla="*/ 4031541 w 4819650"/>
              <a:gd name="connsiteY16" fmla="*/ 4713284 h 5143499"/>
              <a:gd name="connsiteX17" fmla="*/ 4019889 w 4819650"/>
              <a:gd name="connsiteY17" fmla="*/ 4799850 h 5143499"/>
              <a:gd name="connsiteX18" fmla="*/ 3936473 w 4819650"/>
              <a:gd name="connsiteY18" fmla="*/ 4799850 h 5143499"/>
              <a:gd name="connsiteX19" fmla="*/ 3959447 w 4819650"/>
              <a:gd name="connsiteY19" fmla="*/ 4799850 h 5143499"/>
              <a:gd name="connsiteX20" fmla="*/ 3996915 w 4819650"/>
              <a:gd name="connsiteY20" fmla="*/ 4799850 h 5143499"/>
              <a:gd name="connsiteX21" fmla="*/ 4019889 w 4819650"/>
              <a:gd name="connsiteY21" fmla="*/ 4799850 h 5143499"/>
              <a:gd name="connsiteX22" fmla="*/ 4336096 w 4819650"/>
              <a:gd name="connsiteY22" fmla="*/ 4730124 h 5143499"/>
              <a:gd name="connsiteX23" fmla="*/ 4304596 w 4819650"/>
              <a:gd name="connsiteY23" fmla="*/ 4737063 h 5143499"/>
              <a:gd name="connsiteX24" fmla="*/ 4330080 w 4819650"/>
              <a:gd name="connsiteY24" fmla="*/ 4761932 h 5143499"/>
              <a:gd name="connsiteX25" fmla="*/ 4336073 w 4819650"/>
              <a:gd name="connsiteY25" fmla="*/ 4764134 h 5143499"/>
              <a:gd name="connsiteX26" fmla="*/ 4351657 w 4819650"/>
              <a:gd name="connsiteY26" fmla="*/ 4774982 h 5143499"/>
              <a:gd name="connsiteX27" fmla="*/ 4337186 w 4819650"/>
              <a:gd name="connsiteY27" fmla="*/ 4782845 h 5143499"/>
              <a:gd name="connsiteX28" fmla="*/ 4308220 w 4819650"/>
              <a:gd name="connsiteY28" fmla="*/ 4775763 h 5143499"/>
              <a:gd name="connsiteX29" fmla="*/ 4303341 w 4819650"/>
              <a:gd name="connsiteY29" fmla="*/ 4793858 h 5143499"/>
              <a:gd name="connsiteX30" fmla="*/ 4338109 w 4819650"/>
              <a:gd name="connsiteY30" fmla="*/ 4801413 h 5143499"/>
              <a:gd name="connsiteX31" fmla="*/ 4372404 w 4819650"/>
              <a:gd name="connsiteY31" fmla="*/ 4774342 h 5143499"/>
              <a:gd name="connsiteX32" fmla="*/ 4345688 w 4819650"/>
              <a:gd name="connsiteY32" fmla="*/ 4747768 h 5143499"/>
              <a:gd name="connsiteX33" fmla="*/ 4339388 w 4819650"/>
              <a:gd name="connsiteY33" fmla="*/ 4745400 h 5143499"/>
              <a:gd name="connsiteX34" fmla="*/ 4336096 w 4819650"/>
              <a:gd name="connsiteY34" fmla="*/ 4730124 h 5143499"/>
              <a:gd name="connsiteX35" fmla="*/ 4107093 w 4819650"/>
              <a:gd name="connsiteY35" fmla="*/ 4711721 h 5143499"/>
              <a:gd name="connsiteX36" fmla="*/ 4070430 w 4819650"/>
              <a:gd name="connsiteY36" fmla="*/ 4744760 h 5143499"/>
              <a:gd name="connsiteX37" fmla="*/ 4070430 w 4819650"/>
              <a:gd name="connsiteY37" fmla="*/ 4799850 h 5143499"/>
              <a:gd name="connsiteX38" fmla="*/ 4091201 w 4819650"/>
              <a:gd name="connsiteY38" fmla="*/ 4799850 h 5143499"/>
              <a:gd name="connsiteX39" fmla="*/ 4091201 w 4819650"/>
              <a:gd name="connsiteY39" fmla="*/ 4746182 h 5143499"/>
              <a:gd name="connsiteX40" fmla="*/ 4106927 w 4819650"/>
              <a:gd name="connsiteY40" fmla="*/ 4731379 h 5143499"/>
              <a:gd name="connsiteX41" fmla="*/ 4122985 w 4819650"/>
              <a:gd name="connsiteY41" fmla="*/ 4746182 h 5143499"/>
              <a:gd name="connsiteX42" fmla="*/ 4122985 w 4819650"/>
              <a:gd name="connsiteY42" fmla="*/ 4799850 h 5143499"/>
              <a:gd name="connsiteX43" fmla="*/ 4143591 w 4819650"/>
              <a:gd name="connsiteY43" fmla="*/ 4799850 h 5143499"/>
              <a:gd name="connsiteX44" fmla="*/ 4143591 w 4819650"/>
              <a:gd name="connsiteY44" fmla="*/ 4746182 h 5143499"/>
              <a:gd name="connsiteX45" fmla="*/ 4159648 w 4819650"/>
              <a:gd name="connsiteY45" fmla="*/ 4731379 h 5143499"/>
              <a:gd name="connsiteX46" fmla="*/ 4175375 w 4819650"/>
              <a:gd name="connsiteY46" fmla="*/ 4746182 h 5143499"/>
              <a:gd name="connsiteX47" fmla="*/ 4175375 w 4819650"/>
              <a:gd name="connsiteY47" fmla="*/ 4799850 h 5143499"/>
              <a:gd name="connsiteX48" fmla="*/ 4196146 w 4819650"/>
              <a:gd name="connsiteY48" fmla="*/ 4799850 h 5143499"/>
              <a:gd name="connsiteX49" fmla="*/ 4196146 w 4819650"/>
              <a:gd name="connsiteY49" fmla="*/ 4744760 h 5143499"/>
              <a:gd name="connsiteX50" fmla="*/ 4159648 w 4819650"/>
              <a:gd name="connsiteY50" fmla="*/ 4711721 h 5143499"/>
              <a:gd name="connsiteX51" fmla="*/ 4133525 w 4819650"/>
              <a:gd name="connsiteY51" fmla="*/ 4722426 h 5143499"/>
              <a:gd name="connsiteX52" fmla="*/ 4107093 w 4819650"/>
              <a:gd name="connsiteY52" fmla="*/ 4711721 h 5143499"/>
              <a:gd name="connsiteX53" fmla="*/ 2094551 w 4819650"/>
              <a:gd name="connsiteY53" fmla="*/ 0 h 5143499"/>
              <a:gd name="connsiteX54" fmla="*/ 4819650 w 4819650"/>
              <a:gd name="connsiteY54" fmla="*/ 0 h 5143499"/>
              <a:gd name="connsiteX55" fmla="*/ 4819650 w 4819650"/>
              <a:gd name="connsiteY55" fmla="*/ 5143499 h 5143499"/>
              <a:gd name="connsiteX56" fmla="*/ 0 w 4819650"/>
              <a:gd name="connsiteY56" fmla="*/ 5143499 h 5143499"/>
              <a:gd name="connsiteX57" fmla="*/ 0 w 4819650"/>
              <a:gd name="connsiteY57" fmla="*/ 5143498 h 5143499"/>
              <a:gd name="connsiteX58" fmla="*/ 371745 w 4819650"/>
              <a:gd name="connsiteY58" fmla="*/ 5143498 h 5143499"/>
              <a:gd name="connsiteX59" fmla="*/ 1206499 w 4819650"/>
              <a:gd name="connsiteY59" fmla="*/ 1821610 h 5143499"/>
              <a:gd name="connsiteX60" fmla="*/ 2048326 w 4819650"/>
              <a:gd name="connsiteY60" fmla="*/ 58253 h 5143499"/>
              <a:gd name="connsiteX61" fmla="*/ 2094551 w 4819650"/>
              <a:gd name="connsiteY61" fmla="*/ 0 h 5143499"/>
              <a:gd name="connsiteX0" fmla="*/ 4212654 w 4819650"/>
              <a:gd name="connsiteY0" fmla="*/ 4713284 h 5143499"/>
              <a:gd name="connsiteX1" fmla="*/ 4212654 w 4819650"/>
              <a:gd name="connsiteY1" fmla="*/ 4762855 h 5143499"/>
              <a:gd name="connsiteX2" fmla="*/ 4251378 w 4819650"/>
              <a:gd name="connsiteY2" fmla="*/ 4801413 h 5143499"/>
              <a:gd name="connsiteX3" fmla="*/ 4290101 w 4819650"/>
              <a:gd name="connsiteY3" fmla="*/ 4762855 h 5143499"/>
              <a:gd name="connsiteX4" fmla="*/ 4290101 w 4819650"/>
              <a:gd name="connsiteY4" fmla="*/ 4713284 h 5143499"/>
              <a:gd name="connsiteX5" fmla="*/ 4290054 w 4819650"/>
              <a:gd name="connsiteY5" fmla="*/ 4713284 h 5143499"/>
              <a:gd name="connsiteX6" fmla="*/ 4269283 w 4819650"/>
              <a:gd name="connsiteY6" fmla="*/ 4713284 h 5143499"/>
              <a:gd name="connsiteX7" fmla="*/ 4269283 w 4819650"/>
              <a:gd name="connsiteY7" fmla="*/ 4762855 h 5143499"/>
              <a:gd name="connsiteX8" fmla="*/ 4251354 w 4819650"/>
              <a:gd name="connsiteY8" fmla="*/ 4781731 h 5143499"/>
              <a:gd name="connsiteX9" fmla="*/ 4233425 w 4819650"/>
              <a:gd name="connsiteY9" fmla="*/ 4762855 h 5143499"/>
              <a:gd name="connsiteX10" fmla="*/ 4233425 w 4819650"/>
              <a:gd name="connsiteY10" fmla="*/ 4713284 h 5143499"/>
              <a:gd name="connsiteX11" fmla="*/ 4212654 w 4819650"/>
              <a:gd name="connsiteY11" fmla="*/ 4713284 h 5143499"/>
              <a:gd name="connsiteX12" fmla="*/ 4031541 w 4819650"/>
              <a:gd name="connsiteY12" fmla="*/ 4713284 h 5143499"/>
              <a:gd name="connsiteX13" fmla="*/ 4031541 w 4819650"/>
              <a:gd name="connsiteY13" fmla="*/ 4799826 h 5143499"/>
              <a:gd name="connsiteX14" fmla="*/ 4052312 w 4819650"/>
              <a:gd name="connsiteY14" fmla="*/ 4799826 h 5143499"/>
              <a:gd name="connsiteX15" fmla="*/ 4052312 w 4819650"/>
              <a:gd name="connsiteY15" fmla="*/ 4713284 h 5143499"/>
              <a:gd name="connsiteX16" fmla="*/ 4031541 w 4819650"/>
              <a:gd name="connsiteY16" fmla="*/ 4713284 h 5143499"/>
              <a:gd name="connsiteX17" fmla="*/ 4019889 w 4819650"/>
              <a:gd name="connsiteY17" fmla="*/ 4799850 h 5143499"/>
              <a:gd name="connsiteX18" fmla="*/ 3959447 w 4819650"/>
              <a:gd name="connsiteY18" fmla="*/ 4799850 h 5143499"/>
              <a:gd name="connsiteX19" fmla="*/ 3996915 w 4819650"/>
              <a:gd name="connsiteY19" fmla="*/ 4799850 h 5143499"/>
              <a:gd name="connsiteX20" fmla="*/ 4019889 w 4819650"/>
              <a:gd name="connsiteY20" fmla="*/ 4799850 h 5143499"/>
              <a:gd name="connsiteX21" fmla="*/ 4336096 w 4819650"/>
              <a:gd name="connsiteY21" fmla="*/ 4730124 h 5143499"/>
              <a:gd name="connsiteX22" fmla="*/ 4304596 w 4819650"/>
              <a:gd name="connsiteY22" fmla="*/ 4737063 h 5143499"/>
              <a:gd name="connsiteX23" fmla="*/ 4330080 w 4819650"/>
              <a:gd name="connsiteY23" fmla="*/ 4761932 h 5143499"/>
              <a:gd name="connsiteX24" fmla="*/ 4336073 w 4819650"/>
              <a:gd name="connsiteY24" fmla="*/ 4764134 h 5143499"/>
              <a:gd name="connsiteX25" fmla="*/ 4351657 w 4819650"/>
              <a:gd name="connsiteY25" fmla="*/ 4774982 h 5143499"/>
              <a:gd name="connsiteX26" fmla="*/ 4337186 w 4819650"/>
              <a:gd name="connsiteY26" fmla="*/ 4782845 h 5143499"/>
              <a:gd name="connsiteX27" fmla="*/ 4308220 w 4819650"/>
              <a:gd name="connsiteY27" fmla="*/ 4775763 h 5143499"/>
              <a:gd name="connsiteX28" fmla="*/ 4303341 w 4819650"/>
              <a:gd name="connsiteY28" fmla="*/ 4793858 h 5143499"/>
              <a:gd name="connsiteX29" fmla="*/ 4338109 w 4819650"/>
              <a:gd name="connsiteY29" fmla="*/ 4801413 h 5143499"/>
              <a:gd name="connsiteX30" fmla="*/ 4372404 w 4819650"/>
              <a:gd name="connsiteY30" fmla="*/ 4774342 h 5143499"/>
              <a:gd name="connsiteX31" fmla="*/ 4345688 w 4819650"/>
              <a:gd name="connsiteY31" fmla="*/ 4747768 h 5143499"/>
              <a:gd name="connsiteX32" fmla="*/ 4339388 w 4819650"/>
              <a:gd name="connsiteY32" fmla="*/ 4745400 h 5143499"/>
              <a:gd name="connsiteX33" fmla="*/ 4336096 w 4819650"/>
              <a:gd name="connsiteY33" fmla="*/ 4730124 h 5143499"/>
              <a:gd name="connsiteX34" fmla="*/ 4107093 w 4819650"/>
              <a:gd name="connsiteY34" fmla="*/ 4711721 h 5143499"/>
              <a:gd name="connsiteX35" fmla="*/ 4070430 w 4819650"/>
              <a:gd name="connsiteY35" fmla="*/ 4744760 h 5143499"/>
              <a:gd name="connsiteX36" fmla="*/ 4070430 w 4819650"/>
              <a:gd name="connsiteY36" fmla="*/ 4799850 h 5143499"/>
              <a:gd name="connsiteX37" fmla="*/ 4091201 w 4819650"/>
              <a:gd name="connsiteY37" fmla="*/ 4799850 h 5143499"/>
              <a:gd name="connsiteX38" fmla="*/ 4091201 w 4819650"/>
              <a:gd name="connsiteY38" fmla="*/ 4746182 h 5143499"/>
              <a:gd name="connsiteX39" fmla="*/ 4106927 w 4819650"/>
              <a:gd name="connsiteY39" fmla="*/ 4731379 h 5143499"/>
              <a:gd name="connsiteX40" fmla="*/ 4122985 w 4819650"/>
              <a:gd name="connsiteY40" fmla="*/ 4746182 h 5143499"/>
              <a:gd name="connsiteX41" fmla="*/ 4122985 w 4819650"/>
              <a:gd name="connsiteY41" fmla="*/ 4799850 h 5143499"/>
              <a:gd name="connsiteX42" fmla="*/ 4143591 w 4819650"/>
              <a:gd name="connsiteY42" fmla="*/ 4799850 h 5143499"/>
              <a:gd name="connsiteX43" fmla="*/ 4143591 w 4819650"/>
              <a:gd name="connsiteY43" fmla="*/ 4746182 h 5143499"/>
              <a:gd name="connsiteX44" fmla="*/ 4159648 w 4819650"/>
              <a:gd name="connsiteY44" fmla="*/ 4731379 h 5143499"/>
              <a:gd name="connsiteX45" fmla="*/ 4175375 w 4819650"/>
              <a:gd name="connsiteY45" fmla="*/ 4746182 h 5143499"/>
              <a:gd name="connsiteX46" fmla="*/ 4175375 w 4819650"/>
              <a:gd name="connsiteY46" fmla="*/ 4799850 h 5143499"/>
              <a:gd name="connsiteX47" fmla="*/ 4196146 w 4819650"/>
              <a:gd name="connsiteY47" fmla="*/ 4799850 h 5143499"/>
              <a:gd name="connsiteX48" fmla="*/ 4196146 w 4819650"/>
              <a:gd name="connsiteY48" fmla="*/ 4744760 h 5143499"/>
              <a:gd name="connsiteX49" fmla="*/ 4159648 w 4819650"/>
              <a:gd name="connsiteY49" fmla="*/ 4711721 h 5143499"/>
              <a:gd name="connsiteX50" fmla="*/ 4133525 w 4819650"/>
              <a:gd name="connsiteY50" fmla="*/ 4722426 h 5143499"/>
              <a:gd name="connsiteX51" fmla="*/ 4107093 w 4819650"/>
              <a:gd name="connsiteY51" fmla="*/ 4711721 h 5143499"/>
              <a:gd name="connsiteX52" fmla="*/ 2094551 w 4819650"/>
              <a:gd name="connsiteY52" fmla="*/ 0 h 5143499"/>
              <a:gd name="connsiteX53" fmla="*/ 4819650 w 4819650"/>
              <a:gd name="connsiteY53" fmla="*/ 0 h 5143499"/>
              <a:gd name="connsiteX54" fmla="*/ 4819650 w 4819650"/>
              <a:gd name="connsiteY54" fmla="*/ 5143499 h 5143499"/>
              <a:gd name="connsiteX55" fmla="*/ 0 w 4819650"/>
              <a:gd name="connsiteY55" fmla="*/ 5143499 h 5143499"/>
              <a:gd name="connsiteX56" fmla="*/ 0 w 4819650"/>
              <a:gd name="connsiteY56" fmla="*/ 5143498 h 5143499"/>
              <a:gd name="connsiteX57" fmla="*/ 371745 w 4819650"/>
              <a:gd name="connsiteY57" fmla="*/ 5143498 h 5143499"/>
              <a:gd name="connsiteX58" fmla="*/ 1206499 w 4819650"/>
              <a:gd name="connsiteY58" fmla="*/ 1821610 h 5143499"/>
              <a:gd name="connsiteX59" fmla="*/ 2048326 w 4819650"/>
              <a:gd name="connsiteY59" fmla="*/ 58253 h 5143499"/>
              <a:gd name="connsiteX60" fmla="*/ 2094551 w 4819650"/>
              <a:gd name="connsiteY60" fmla="*/ 0 h 5143499"/>
              <a:gd name="connsiteX0" fmla="*/ 4212654 w 4819650"/>
              <a:gd name="connsiteY0" fmla="*/ 4713284 h 5143499"/>
              <a:gd name="connsiteX1" fmla="*/ 4212654 w 4819650"/>
              <a:gd name="connsiteY1" fmla="*/ 4762855 h 5143499"/>
              <a:gd name="connsiteX2" fmla="*/ 4251378 w 4819650"/>
              <a:gd name="connsiteY2" fmla="*/ 4801413 h 5143499"/>
              <a:gd name="connsiteX3" fmla="*/ 4290101 w 4819650"/>
              <a:gd name="connsiteY3" fmla="*/ 4762855 h 5143499"/>
              <a:gd name="connsiteX4" fmla="*/ 4290101 w 4819650"/>
              <a:gd name="connsiteY4" fmla="*/ 4713284 h 5143499"/>
              <a:gd name="connsiteX5" fmla="*/ 4290054 w 4819650"/>
              <a:gd name="connsiteY5" fmla="*/ 4713284 h 5143499"/>
              <a:gd name="connsiteX6" fmla="*/ 4269283 w 4819650"/>
              <a:gd name="connsiteY6" fmla="*/ 4713284 h 5143499"/>
              <a:gd name="connsiteX7" fmla="*/ 4269283 w 4819650"/>
              <a:gd name="connsiteY7" fmla="*/ 4762855 h 5143499"/>
              <a:gd name="connsiteX8" fmla="*/ 4251354 w 4819650"/>
              <a:gd name="connsiteY8" fmla="*/ 4781731 h 5143499"/>
              <a:gd name="connsiteX9" fmla="*/ 4233425 w 4819650"/>
              <a:gd name="connsiteY9" fmla="*/ 4762855 h 5143499"/>
              <a:gd name="connsiteX10" fmla="*/ 4233425 w 4819650"/>
              <a:gd name="connsiteY10" fmla="*/ 4713284 h 5143499"/>
              <a:gd name="connsiteX11" fmla="*/ 4212654 w 4819650"/>
              <a:gd name="connsiteY11" fmla="*/ 4713284 h 5143499"/>
              <a:gd name="connsiteX12" fmla="*/ 4031541 w 4819650"/>
              <a:gd name="connsiteY12" fmla="*/ 4713284 h 5143499"/>
              <a:gd name="connsiteX13" fmla="*/ 4031541 w 4819650"/>
              <a:gd name="connsiteY13" fmla="*/ 4799826 h 5143499"/>
              <a:gd name="connsiteX14" fmla="*/ 4052312 w 4819650"/>
              <a:gd name="connsiteY14" fmla="*/ 4799826 h 5143499"/>
              <a:gd name="connsiteX15" fmla="*/ 4052312 w 4819650"/>
              <a:gd name="connsiteY15" fmla="*/ 4713284 h 5143499"/>
              <a:gd name="connsiteX16" fmla="*/ 4031541 w 4819650"/>
              <a:gd name="connsiteY16" fmla="*/ 4713284 h 5143499"/>
              <a:gd name="connsiteX17" fmla="*/ 4019889 w 4819650"/>
              <a:gd name="connsiteY17" fmla="*/ 4799850 h 5143499"/>
              <a:gd name="connsiteX18" fmla="*/ 3996915 w 4819650"/>
              <a:gd name="connsiteY18" fmla="*/ 4799850 h 5143499"/>
              <a:gd name="connsiteX19" fmla="*/ 4019889 w 4819650"/>
              <a:gd name="connsiteY19" fmla="*/ 4799850 h 5143499"/>
              <a:gd name="connsiteX20" fmla="*/ 4336096 w 4819650"/>
              <a:gd name="connsiteY20" fmla="*/ 4730124 h 5143499"/>
              <a:gd name="connsiteX21" fmla="*/ 4304596 w 4819650"/>
              <a:gd name="connsiteY21" fmla="*/ 4737063 h 5143499"/>
              <a:gd name="connsiteX22" fmla="*/ 4330080 w 4819650"/>
              <a:gd name="connsiteY22" fmla="*/ 4761932 h 5143499"/>
              <a:gd name="connsiteX23" fmla="*/ 4336073 w 4819650"/>
              <a:gd name="connsiteY23" fmla="*/ 4764134 h 5143499"/>
              <a:gd name="connsiteX24" fmla="*/ 4351657 w 4819650"/>
              <a:gd name="connsiteY24" fmla="*/ 4774982 h 5143499"/>
              <a:gd name="connsiteX25" fmla="*/ 4337186 w 4819650"/>
              <a:gd name="connsiteY25" fmla="*/ 4782845 h 5143499"/>
              <a:gd name="connsiteX26" fmla="*/ 4308220 w 4819650"/>
              <a:gd name="connsiteY26" fmla="*/ 4775763 h 5143499"/>
              <a:gd name="connsiteX27" fmla="*/ 4303341 w 4819650"/>
              <a:gd name="connsiteY27" fmla="*/ 4793858 h 5143499"/>
              <a:gd name="connsiteX28" fmla="*/ 4338109 w 4819650"/>
              <a:gd name="connsiteY28" fmla="*/ 4801413 h 5143499"/>
              <a:gd name="connsiteX29" fmla="*/ 4372404 w 4819650"/>
              <a:gd name="connsiteY29" fmla="*/ 4774342 h 5143499"/>
              <a:gd name="connsiteX30" fmla="*/ 4345688 w 4819650"/>
              <a:gd name="connsiteY30" fmla="*/ 4747768 h 5143499"/>
              <a:gd name="connsiteX31" fmla="*/ 4339388 w 4819650"/>
              <a:gd name="connsiteY31" fmla="*/ 4745400 h 5143499"/>
              <a:gd name="connsiteX32" fmla="*/ 4336096 w 4819650"/>
              <a:gd name="connsiteY32" fmla="*/ 4730124 h 5143499"/>
              <a:gd name="connsiteX33" fmla="*/ 4107093 w 4819650"/>
              <a:gd name="connsiteY33" fmla="*/ 4711721 h 5143499"/>
              <a:gd name="connsiteX34" fmla="*/ 4070430 w 4819650"/>
              <a:gd name="connsiteY34" fmla="*/ 4744760 h 5143499"/>
              <a:gd name="connsiteX35" fmla="*/ 4070430 w 4819650"/>
              <a:gd name="connsiteY35" fmla="*/ 4799850 h 5143499"/>
              <a:gd name="connsiteX36" fmla="*/ 4091201 w 4819650"/>
              <a:gd name="connsiteY36" fmla="*/ 4799850 h 5143499"/>
              <a:gd name="connsiteX37" fmla="*/ 4091201 w 4819650"/>
              <a:gd name="connsiteY37" fmla="*/ 4746182 h 5143499"/>
              <a:gd name="connsiteX38" fmla="*/ 4106927 w 4819650"/>
              <a:gd name="connsiteY38" fmla="*/ 4731379 h 5143499"/>
              <a:gd name="connsiteX39" fmla="*/ 4122985 w 4819650"/>
              <a:gd name="connsiteY39" fmla="*/ 4746182 h 5143499"/>
              <a:gd name="connsiteX40" fmla="*/ 4122985 w 4819650"/>
              <a:gd name="connsiteY40" fmla="*/ 4799850 h 5143499"/>
              <a:gd name="connsiteX41" fmla="*/ 4143591 w 4819650"/>
              <a:gd name="connsiteY41" fmla="*/ 4799850 h 5143499"/>
              <a:gd name="connsiteX42" fmla="*/ 4143591 w 4819650"/>
              <a:gd name="connsiteY42" fmla="*/ 4746182 h 5143499"/>
              <a:gd name="connsiteX43" fmla="*/ 4159648 w 4819650"/>
              <a:gd name="connsiteY43" fmla="*/ 4731379 h 5143499"/>
              <a:gd name="connsiteX44" fmla="*/ 4175375 w 4819650"/>
              <a:gd name="connsiteY44" fmla="*/ 4746182 h 5143499"/>
              <a:gd name="connsiteX45" fmla="*/ 4175375 w 4819650"/>
              <a:gd name="connsiteY45" fmla="*/ 4799850 h 5143499"/>
              <a:gd name="connsiteX46" fmla="*/ 4196146 w 4819650"/>
              <a:gd name="connsiteY46" fmla="*/ 4799850 h 5143499"/>
              <a:gd name="connsiteX47" fmla="*/ 4196146 w 4819650"/>
              <a:gd name="connsiteY47" fmla="*/ 4744760 h 5143499"/>
              <a:gd name="connsiteX48" fmla="*/ 4159648 w 4819650"/>
              <a:gd name="connsiteY48" fmla="*/ 4711721 h 5143499"/>
              <a:gd name="connsiteX49" fmla="*/ 4133525 w 4819650"/>
              <a:gd name="connsiteY49" fmla="*/ 4722426 h 5143499"/>
              <a:gd name="connsiteX50" fmla="*/ 4107093 w 4819650"/>
              <a:gd name="connsiteY50" fmla="*/ 4711721 h 5143499"/>
              <a:gd name="connsiteX51" fmla="*/ 2094551 w 4819650"/>
              <a:gd name="connsiteY51" fmla="*/ 0 h 5143499"/>
              <a:gd name="connsiteX52" fmla="*/ 4819650 w 4819650"/>
              <a:gd name="connsiteY52" fmla="*/ 0 h 5143499"/>
              <a:gd name="connsiteX53" fmla="*/ 4819650 w 4819650"/>
              <a:gd name="connsiteY53" fmla="*/ 5143499 h 5143499"/>
              <a:gd name="connsiteX54" fmla="*/ 0 w 4819650"/>
              <a:gd name="connsiteY54" fmla="*/ 5143499 h 5143499"/>
              <a:gd name="connsiteX55" fmla="*/ 0 w 4819650"/>
              <a:gd name="connsiteY55" fmla="*/ 5143498 h 5143499"/>
              <a:gd name="connsiteX56" fmla="*/ 371745 w 4819650"/>
              <a:gd name="connsiteY56" fmla="*/ 5143498 h 5143499"/>
              <a:gd name="connsiteX57" fmla="*/ 1206499 w 4819650"/>
              <a:gd name="connsiteY57" fmla="*/ 1821610 h 5143499"/>
              <a:gd name="connsiteX58" fmla="*/ 2048326 w 4819650"/>
              <a:gd name="connsiteY58" fmla="*/ 58253 h 5143499"/>
              <a:gd name="connsiteX59" fmla="*/ 2094551 w 4819650"/>
              <a:gd name="connsiteY59" fmla="*/ 0 h 5143499"/>
              <a:gd name="connsiteX0" fmla="*/ 4212654 w 4819650"/>
              <a:gd name="connsiteY0" fmla="*/ 4713284 h 5143499"/>
              <a:gd name="connsiteX1" fmla="*/ 4212654 w 4819650"/>
              <a:gd name="connsiteY1" fmla="*/ 4762855 h 5143499"/>
              <a:gd name="connsiteX2" fmla="*/ 4251378 w 4819650"/>
              <a:gd name="connsiteY2" fmla="*/ 4801413 h 5143499"/>
              <a:gd name="connsiteX3" fmla="*/ 4290101 w 4819650"/>
              <a:gd name="connsiteY3" fmla="*/ 4762855 h 5143499"/>
              <a:gd name="connsiteX4" fmla="*/ 4290101 w 4819650"/>
              <a:gd name="connsiteY4" fmla="*/ 4713284 h 5143499"/>
              <a:gd name="connsiteX5" fmla="*/ 4290054 w 4819650"/>
              <a:gd name="connsiteY5" fmla="*/ 4713284 h 5143499"/>
              <a:gd name="connsiteX6" fmla="*/ 4269283 w 4819650"/>
              <a:gd name="connsiteY6" fmla="*/ 4713284 h 5143499"/>
              <a:gd name="connsiteX7" fmla="*/ 4269283 w 4819650"/>
              <a:gd name="connsiteY7" fmla="*/ 4762855 h 5143499"/>
              <a:gd name="connsiteX8" fmla="*/ 4251354 w 4819650"/>
              <a:gd name="connsiteY8" fmla="*/ 4781731 h 5143499"/>
              <a:gd name="connsiteX9" fmla="*/ 4233425 w 4819650"/>
              <a:gd name="connsiteY9" fmla="*/ 4762855 h 5143499"/>
              <a:gd name="connsiteX10" fmla="*/ 4233425 w 4819650"/>
              <a:gd name="connsiteY10" fmla="*/ 4713284 h 5143499"/>
              <a:gd name="connsiteX11" fmla="*/ 4212654 w 4819650"/>
              <a:gd name="connsiteY11" fmla="*/ 4713284 h 5143499"/>
              <a:gd name="connsiteX12" fmla="*/ 4031541 w 4819650"/>
              <a:gd name="connsiteY12" fmla="*/ 4713284 h 5143499"/>
              <a:gd name="connsiteX13" fmla="*/ 4031541 w 4819650"/>
              <a:gd name="connsiteY13" fmla="*/ 4799826 h 5143499"/>
              <a:gd name="connsiteX14" fmla="*/ 4052312 w 4819650"/>
              <a:gd name="connsiteY14" fmla="*/ 4799826 h 5143499"/>
              <a:gd name="connsiteX15" fmla="*/ 4052312 w 4819650"/>
              <a:gd name="connsiteY15" fmla="*/ 4713284 h 5143499"/>
              <a:gd name="connsiteX16" fmla="*/ 4031541 w 4819650"/>
              <a:gd name="connsiteY16" fmla="*/ 4713284 h 5143499"/>
              <a:gd name="connsiteX17" fmla="*/ 4336096 w 4819650"/>
              <a:gd name="connsiteY17" fmla="*/ 4730124 h 5143499"/>
              <a:gd name="connsiteX18" fmla="*/ 4304596 w 4819650"/>
              <a:gd name="connsiteY18" fmla="*/ 4737063 h 5143499"/>
              <a:gd name="connsiteX19" fmla="*/ 4330080 w 4819650"/>
              <a:gd name="connsiteY19" fmla="*/ 4761932 h 5143499"/>
              <a:gd name="connsiteX20" fmla="*/ 4336073 w 4819650"/>
              <a:gd name="connsiteY20" fmla="*/ 4764134 h 5143499"/>
              <a:gd name="connsiteX21" fmla="*/ 4351657 w 4819650"/>
              <a:gd name="connsiteY21" fmla="*/ 4774982 h 5143499"/>
              <a:gd name="connsiteX22" fmla="*/ 4337186 w 4819650"/>
              <a:gd name="connsiteY22" fmla="*/ 4782845 h 5143499"/>
              <a:gd name="connsiteX23" fmla="*/ 4308220 w 4819650"/>
              <a:gd name="connsiteY23" fmla="*/ 4775763 h 5143499"/>
              <a:gd name="connsiteX24" fmla="*/ 4303341 w 4819650"/>
              <a:gd name="connsiteY24" fmla="*/ 4793858 h 5143499"/>
              <a:gd name="connsiteX25" fmla="*/ 4338109 w 4819650"/>
              <a:gd name="connsiteY25" fmla="*/ 4801413 h 5143499"/>
              <a:gd name="connsiteX26" fmla="*/ 4372404 w 4819650"/>
              <a:gd name="connsiteY26" fmla="*/ 4774342 h 5143499"/>
              <a:gd name="connsiteX27" fmla="*/ 4345688 w 4819650"/>
              <a:gd name="connsiteY27" fmla="*/ 4747768 h 5143499"/>
              <a:gd name="connsiteX28" fmla="*/ 4339388 w 4819650"/>
              <a:gd name="connsiteY28" fmla="*/ 4745400 h 5143499"/>
              <a:gd name="connsiteX29" fmla="*/ 4336096 w 4819650"/>
              <a:gd name="connsiteY29" fmla="*/ 4730124 h 5143499"/>
              <a:gd name="connsiteX30" fmla="*/ 4107093 w 4819650"/>
              <a:gd name="connsiteY30" fmla="*/ 4711721 h 5143499"/>
              <a:gd name="connsiteX31" fmla="*/ 4070430 w 4819650"/>
              <a:gd name="connsiteY31" fmla="*/ 4744760 h 5143499"/>
              <a:gd name="connsiteX32" fmla="*/ 4070430 w 4819650"/>
              <a:gd name="connsiteY32" fmla="*/ 4799850 h 5143499"/>
              <a:gd name="connsiteX33" fmla="*/ 4091201 w 4819650"/>
              <a:gd name="connsiteY33" fmla="*/ 4799850 h 5143499"/>
              <a:gd name="connsiteX34" fmla="*/ 4091201 w 4819650"/>
              <a:gd name="connsiteY34" fmla="*/ 4746182 h 5143499"/>
              <a:gd name="connsiteX35" fmla="*/ 4106927 w 4819650"/>
              <a:gd name="connsiteY35" fmla="*/ 4731379 h 5143499"/>
              <a:gd name="connsiteX36" fmla="*/ 4122985 w 4819650"/>
              <a:gd name="connsiteY36" fmla="*/ 4746182 h 5143499"/>
              <a:gd name="connsiteX37" fmla="*/ 4122985 w 4819650"/>
              <a:gd name="connsiteY37" fmla="*/ 4799850 h 5143499"/>
              <a:gd name="connsiteX38" fmla="*/ 4143591 w 4819650"/>
              <a:gd name="connsiteY38" fmla="*/ 4799850 h 5143499"/>
              <a:gd name="connsiteX39" fmla="*/ 4143591 w 4819650"/>
              <a:gd name="connsiteY39" fmla="*/ 4746182 h 5143499"/>
              <a:gd name="connsiteX40" fmla="*/ 4159648 w 4819650"/>
              <a:gd name="connsiteY40" fmla="*/ 4731379 h 5143499"/>
              <a:gd name="connsiteX41" fmla="*/ 4175375 w 4819650"/>
              <a:gd name="connsiteY41" fmla="*/ 4746182 h 5143499"/>
              <a:gd name="connsiteX42" fmla="*/ 4175375 w 4819650"/>
              <a:gd name="connsiteY42" fmla="*/ 4799850 h 5143499"/>
              <a:gd name="connsiteX43" fmla="*/ 4196146 w 4819650"/>
              <a:gd name="connsiteY43" fmla="*/ 4799850 h 5143499"/>
              <a:gd name="connsiteX44" fmla="*/ 4196146 w 4819650"/>
              <a:gd name="connsiteY44" fmla="*/ 4744760 h 5143499"/>
              <a:gd name="connsiteX45" fmla="*/ 4159648 w 4819650"/>
              <a:gd name="connsiteY45" fmla="*/ 4711721 h 5143499"/>
              <a:gd name="connsiteX46" fmla="*/ 4133525 w 4819650"/>
              <a:gd name="connsiteY46" fmla="*/ 4722426 h 5143499"/>
              <a:gd name="connsiteX47" fmla="*/ 4107093 w 4819650"/>
              <a:gd name="connsiteY47" fmla="*/ 4711721 h 5143499"/>
              <a:gd name="connsiteX48" fmla="*/ 2094551 w 4819650"/>
              <a:gd name="connsiteY48" fmla="*/ 0 h 5143499"/>
              <a:gd name="connsiteX49" fmla="*/ 4819650 w 4819650"/>
              <a:gd name="connsiteY49" fmla="*/ 0 h 5143499"/>
              <a:gd name="connsiteX50" fmla="*/ 4819650 w 4819650"/>
              <a:gd name="connsiteY50" fmla="*/ 5143499 h 5143499"/>
              <a:gd name="connsiteX51" fmla="*/ 0 w 4819650"/>
              <a:gd name="connsiteY51" fmla="*/ 5143499 h 5143499"/>
              <a:gd name="connsiteX52" fmla="*/ 0 w 4819650"/>
              <a:gd name="connsiteY52" fmla="*/ 5143498 h 5143499"/>
              <a:gd name="connsiteX53" fmla="*/ 371745 w 4819650"/>
              <a:gd name="connsiteY53" fmla="*/ 5143498 h 5143499"/>
              <a:gd name="connsiteX54" fmla="*/ 1206499 w 4819650"/>
              <a:gd name="connsiteY54" fmla="*/ 1821610 h 5143499"/>
              <a:gd name="connsiteX55" fmla="*/ 2048326 w 4819650"/>
              <a:gd name="connsiteY55" fmla="*/ 58253 h 5143499"/>
              <a:gd name="connsiteX56" fmla="*/ 2094551 w 4819650"/>
              <a:gd name="connsiteY56" fmla="*/ 0 h 5143499"/>
              <a:gd name="connsiteX0" fmla="*/ 4212654 w 4819650"/>
              <a:gd name="connsiteY0" fmla="*/ 4713284 h 5143499"/>
              <a:gd name="connsiteX1" fmla="*/ 4212654 w 4819650"/>
              <a:gd name="connsiteY1" fmla="*/ 4762855 h 5143499"/>
              <a:gd name="connsiteX2" fmla="*/ 4251378 w 4819650"/>
              <a:gd name="connsiteY2" fmla="*/ 4801413 h 5143499"/>
              <a:gd name="connsiteX3" fmla="*/ 4290101 w 4819650"/>
              <a:gd name="connsiteY3" fmla="*/ 4762855 h 5143499"/>
              <a:gd name="connsiteX4" fmla="*/ 4290101 w 4819650"/>
              <a:gd name="connsiteY4" fmla="*/ 4713284 h 5143499"/>
              <a:gd name="connsiteX5" fmla="*/ 4290054 w 4819650"/>
              <a:gd name="connsiteY5" fmla="*/ 4713284 h 5143499"/>
              <a:gd name="connsiteX6" fmla="*/ 4269283 w 4819650"/>
              <a:gd name="connsiteY6" fmla="*/ 4713284 h 5143499"/>
              <a:gd name="connsiteX7" fmla="*/ 4269283 w 4819650"/>
              <a:gd name="connsiteY7" fmla="*/ 4762855 h 5143499"/>
              <a:gd name="connsiteX8" fmla="*/ 4251354 w 4819650"/>
              <a:gd name="connsiteY8" fmla="*/ 4781731 h 5143499"/>
              <a:gd name="connsiteX9" fmla="*/ 4233425 w 4819650"/>
              <a:gd name="connsiteY9" fmla="*/ 4762855 h 5143499"/>
              <a:gd name="connsiteX10" fmla="*/ 4233425 w 4819650"/>
              <a:gd name="connsiteY10" fmla="*/ 4713284 h 5143499"/>
              <a:gd name="connsiteX11" fmla="*/ 4212654 w 4819650"/>
              <a:gd name="connsiteY11" fmla="*/ 4713284 h 5143499"/>
              <a:gd name="connsiteX12" fmla="*/ 4052312 w 4819650"/>
              <a:gd name="connsiteY12" fmla="*/ 4713284 h 5143499"/>
              <a:gd name="connsiteX13" fmla="*/ 4031541 w 4819650"/>
              <a:gd name="connsiteY13" fmla="*/ 4799826 h 5143499"/>
              <a:gd name="connsiteX14" fmla="*/ 4052312 w 4819650"/>
              <a:gd name="connsiteY14" fmla="*/ 4799826 h 5143499"/>
              <a:gd name="connsiteX15" fmla="*/ 4052312 w 4819650"/>
              <a:gd name="connsiteY15" fmla="*/ 4713284 h 5143499"/>
              <a:gd name="connsiteX16" fmla="*/ 4336096 w 4819650"/>
              <a:gd name="connsiteY16" fmla="*/ 4730124 h 5143499"/>
              <a:gd name="connsiteX17" fmla="*/ 4304596 w 4819650"/>
              <a:gd name="connsiteY17" fmla="*/ 4737063 h 5143499"/>
              <a:gd name="connsiteX18" fmla="*/ 4330080 w 4819650"/>
              <a:gd name="connsiteY18" fmla="*/ 4761932 h 5143499"/>
              <a:gd name="connsiteX19" fmla="*/ 4336073 w 4819650"/>
              <a:gd name="connsiteY19" fmla="*/ 4764134 h 5143499"/>
              <a:gd name="connsiteX20" fmla="*/ 4351657 w 4819650"/>
              <a:gd name="connsiteY20" fmla="*/ 4774982 h 5143499"/>
              <a:gd name="connsiteX21" fmla="*/ 4337186 w 4819650"/>
              <a:gd name="connsiteY21" fmla="*/ 4782845 h 5143499"/>
              <a:gd name="connsiteX22" fmla="*/ 4308220 w 4819650"/>
              <a:gd name="connsiteY22" fmla="*/ 4775763 h 5143499"/>
              <a:gd name="connsiteX23" fmla="*/ 4303341 w 4819650"/>
              <a:gd name="connsiteY23" fmla="*/ 4793858 h 5143499"/>
              <a:gd name="connsiteX24" fmla="*/ 4338109 w 4819650"/>
              <a:gd name="connsiteY24" fmla="*/ 4801413 h 5143499"/>
              <a:gd name="connsiteX25" fmla="*/ 4372404 w 4819650"/>
              <a:gd name="connsiteY25" fmla="*/ 4774342 h 5143499"/>
              <a:gd name="connsiteX26" fmla="*/ 4345688 w 4819650"/>
              <a:gd name="connsiteY26" fmla="*/ 4747768 h 5143499"/>
              <a:gd name="connsiteX27" fmla="*/ 4339388 w 4819650"/>
              <a:gd name="connsiteY27" fmla="*/ 4745400 h 5143499"/>
              <a:gd name="connsiteX28" fmla="*/ 4336096 w 4819650"/>
              <a:gd name="connsiteY28" fmla="*/ 4730124 h 5143499"/>
              <a:gd name="connsiteX29" fmla="*/ 4107093 w 4819650"/>
              <a:gd name="connsiteY29" fmla="*/ 4711721 h 5143499"/>
              <a:gd name="connsiteX30" fmla="*/ 4070430 w 4819650"/>
              <a:gd name="connsiteY30" fmla="*/ 4744760 h 5143499"/>
              <a:gd name="connsiteX31" fmla="*/ 4070430 w 4819650"/>
              <a:gd name="connsiteY31" fmla="*/ 4799850 h 5143499"/>
              <a:gd name="connsiteX32" fmla="*/ 4091201 w 4819650"/>
              <a:gd name="connsiteY32" fmla="*/ 4799850 h 5143499"/>
              <a:gd name="connsiteX33" fmla="*/ 4091201 w 4819650"/>
              <a:gd name="connsiteY33" fmla="*/ 4746182 h 5143499"/>
              <a:gd name="connsiteX34" fmla="*/ 4106927 w 4819650"/>
              <a:gd name="connsiteY34" fmla="*/ 4731379 h 5143499"/>
              <a:gd name="connsiteX35" fmla="*/ 4122985 w 4819650"/>
              <a:gd name="connsiteY35" fmla="*/ 4746182 h 5143499"/>
              <a:gd name="connsiteX36" fmla="*/ 4122985 w 4819650"/>
              <a:gd name="connsiteY36" fmla="*/ 4799850 h 5143499"/>
              <a:gd name="connsiteX37" fmla="*/ 4143591 w 4819650"/>
              <a:gd name="connsiteY37" fmla="*/ 4799850 h 5143499"/>
              <a:gd name="connsiteX38" fmla="*/ 4143591 w 4819650"/>
              <a:gd name="connsiteY38" fmla="*/ 4746182 h 5143499"/>
              <a:gd name="connsiteX39" fmla="*/ 4159648 w 4819650"/>
              <a:gd name="connsiteY39" fmla="*/ 4731379 h 5143499"/>
              <a:gd name="connsiteX40" fmla="*/ 4175375 w 4819650"/>
              <a:gd name="connsiteY40" fmla="*/ 4746182 h 5143499"/>
              <a:gd name="connsiteX41" fmla="*/ 4175375 w 4819650"/>
              <a:gd name="connsiteY41" fmla="*/ 4799850 h 5143499"/>
              <a:gd name="connsiteX42" fmla="*/ 4196146 w 4819650"/>
              <a:gd name="connsiteY42" fmla="*/ 4799850 h 5143499"/>
              <a:gd name="connsiteX43" fmla="*/ 4196146 w 4819650"/>
              <a:gd name="connsiteY43" fmla="*/ 4744760 h 5143499"/>
              <a:gd name="connsiteX44" fmla="*/ 4159648 w 4819650"/>
              <a:gd name="connsiteY44" fmla="*/ 4711721 h 5143499"/>
              <a:gd name="connsiteX45" fmla="*/ 4133525 w 4819650"/>
              <a:gd name="connsiteY45" fmla="*/ 4722426 h 5143499"/>
              <a:gd name="connsiteX46" fmla="*/ 4107093 w 4819650"/>
              <a:gd name="connsiteY46" fmla="*/ 4711721 h 5143499"/>
              <a:gd name="connsiteX47" fmla="*/ 2094551 w 4819650"/>
              <a:gd name="connsiteY47" fmla="*/ 0 h 5143499"/>
              <a:gd name="connsiteX48" fmla="*/ 4819650 w 4819650"/>
              <a:gd name="connsiteY48" fmla="*/ 0 h 5143499"/>
              <a:gd name="connsiteX49" fmla="*/ 4819650 w 4819650"/>
              <a:gd name="connsiteY49" fmla="*/ 5143499 h 5143499"/>
              <a:gd name="connsiteX50" fmla="*/ 0 w 4819650"/>
              <a:gd name="connsiteY50" fmla="*/ 5143499 h 5143499"/>
              <a:gd name="connsiteX51" fmla="*/ 0 w 4819650"/>
              <a:gd name="connsiteY51" fmla="*/ 5143498 h 5143499"/>
              <a:gd name="connsiteX52" fmla="*/ 371745 w 4819650"/>
              <a:gd name="connsiteY52" fmla="*/ 5143498 h 5143499"/>
              <a:gd name="connsiteX53" fmla="*/ 1206499 w 4819650"/>
              <a:gd name="connsiteY53" fmla="*/ 1821610 h 5143499"/>
              <a:gd name="connsiteX54" fmla="*/ 2048326 w 4819650"/>
              <a:gd name="connsiteY54" fmla="*/ 58253 h 5143499"/>
              <a:gd name="connsiteX55" fmla="*/ 2094551 w 4819650"/>
              <a:gd name="connsiteY55" fmla="*/ 0 h 5143499"/>
              <a:gd name="connsiteX0" fmla="*/ 4212654 w 4819650"/>
              <a:gd name="connsiteY0" fmla="*/ 4713284 h 5143499"/>
              <a:gd name="connsiteX1" fmla="*/ 4212654 w 4819650"/>
              <a:gd name="connsiteY1" fmla="*/ 4762855 h 5143499"/>
              <a:gd name="connsiteX2" fmla="*/ 4251378 w 4819650"/>
              <a:gd name="connsiteY2" fmla="*/ 4801413 h 5143499"/>
              <a:gd name="connsiteX3" fmla="*/ 4290101 w 4819650"/>
              <a:gd name="connsiteY3" fmla="*/ 4762855 h 5143499"/>
              <a:gd name="connsiteX4" fmla="*/ 4290101 w 4819650"/>
              <a:gd name="connsiteY4" fmla="*/ 4713284 h 5143499"/>
              <a:gd name="connsiteX5" fmla="*/ 4290054 w 4819650"/>
              <a:gd name="connsiteY5" fmla="*/ 4713284 h 5143499"/>
              <a:gd name="connsiteX6" fmla="*/ 4269283 w 4819650"/>
              <a:gd name="connsiteY6" fmla="*/ 4713284 h 5143499"/>
              <a:gd name="connsiteX7" fmla="*/ 4269283 w 4819650"/>
              <a:gd name="connsiteY7" fmla="*/ 4762855 h 5143499"/>
              <a:gd name="connsiteX8" fmla="*/ 4251354 w 4819650"/>
              <a:gd name="connsiteY8" fmla="*/ 4781731 h 5143499"/>
              <a:gd name="connsiteX9" fmla="*/ 4233425 w 4819650"/>
              <a:gd name="connsiteY9" fmla="*/ 4762855 h 5143499"/>
              <a:gd name="connsiteX10" fmla="*/ 4233425 w 4819650"/>
              <a:gd name="connsiteY10" fmla="*/ 4713284 h 5143499"/>
              <a:gd name="connsiteX11" fmla="*/ 4212654 w 4819650"/>
              <a:gd name="connsiteY11" fmla="*/ 4713284 h 5143499"/>
              <a:gd name="connsiteX12" fmla="*/ 4052312 w 4819650"/>
              <a:gd name="connsiteY12" fmla="*/ 4799826 h 5143499"/>
              <a:gd name="connsiteX13" fmla="*/ 4031541 w 4819650"/>
              <a:gd name="connsiteY13" fmla="*/ 4799826 h 5143499"/>
              <a:gd name="connsiteX14" fmla="*/ 4052312 w 4819650"/>
              <a:gd name="connsiteY14" fmla="*/ 4799826 h 5143499"/>
              <a:gd name="connsiteX15" fmla="*/ 4336096 w 4819650"/>
              <a:gd name="connsiteY15" fmla="*/ 4730124 h 5143499"/>
              <a:gd name="connsiteX16" fmla="*/ 4304596 w 4819650"/>
              <a:gd name="connsiteY16" fmla="*/ 4737063 h 5143499"/>
              <a:gd name="connsiteX17" fmla="*/ 4330080 w 4819650"/>
              <a:gd name="connsiteY17" fmla="*/ 4761932 h 5143499"/>
              <a:gd name="connsiteX18" fmla="*/ 4336073 w 4819650"/>
              <a:gd name="connsiteY18" fmla="*/ 4764134 h 5143499"/>
              <a:gd name="connsiteX19" fmla="*/ 4351657 w 4819650"/>
              <a:gd name="connsiteY19" fmla="*/ 4774982 h 5143499"/>
              <a:gd name="connsiteX20" fmla="*/ 4337186 w 4819650"/>
              <a:gd name="connsiteY20" fmla="*/ 4782845 h 5143499"/>
              <a:gd name="connsiteX21" fmla="*/ 4308220 w 4819650"/>
              <a:gd name="connsiteY21" fmla="*/ 4775763 h 5143499"/>
              <a:gd name="connsiteX22" fmla="*/ 4303341 w 4819650"/>
              <a:gd name="connsiteY22" fmla="*/ 4793858 h 5143499"/>
              <a:gd name="connsiteX23" fmla="*/ 4338109 w 4819650"/>
              <a:gd name="connsiteY23" fmla="*/ 4801413 h 5143499"/>
              <a:gd name="connsiteX24" fmla="*/ 4372404 w 4819650"/>
              <a:gd name="connsiteY24" fmla="*/ 4774342 h 5143499"/>
              <a:gd name="connsiteX25" fmla="*/ 4345688 w 4819650"/>
              <a:gd name="connsiteY25" fmla="*/ 4747768 h 5143499"/>
              <a:gd name="connsiteX26" fmla="*/ 4339388 w 4819650"/>
              <a:gd name="connsiteY26" fmla="*/ 4745400 h 5143499"/>
              <a:gd name="connsiteX27" fmla="*/ 4336096 w 4819650"/>
              <a:gd name="connsiteY27" fmla="*/ 4730124 h 5143499"/>
              <a:gd name="connsiteX28" fmla="*/ 4107093 w 4819650"/>
              <a:gd name="connsiteY28" fmla="*/ 4711721 h 5143499"/>
              <a:gd name="connsiteX29" fmla="*/ 4070430 w 4819650"/>
              <a:gd name="connsiteY29" fmla="*/ 4744760 h 5143499"/>
              <a:gd name="connsiteX30" fmla="*/ 4070430 w 4819650"/>
              <a:gd name="connsiteY30" fmla="*/ 4799850 h 5143499"/>
              <a:gd name="connsiteX31" fmla="*/ 4091201 w 4819650"/>
              <a:gd name="connsiteY31" fmla="*/ 4799850 h 5143499"/>
              <a:gd name="connsiteX32" fmla="*/ 4091201 w 4819650"/>
              <a:gd name="connsiteY32" fmla="*/ 4746182 h 5143499"/>
              <a:gd name="connsiteX33" fmla="*/ 4106927 w 4819650"/>
              <a:gd name="connsiteY33" fmla="*/ 4731379 h 5143499"/>
              <a:gd name="connsiteX34" fmla="*/ 4122985 w 4819650"/>
              <a:gd name="connsiteY34" fmla="*/ 4746182 h 5143499"/>
              <a:gd name="connsiteX35" fmla="*/ 4122985 w 4819650"/>
              <a:gd name="connsiteY35" fmla="*/ 4799850 h 5143499"/>
              <a:gd name="connsiteX36" fmla="*/ 4143591 w 4819650"/>
              <a:gd name="connsiteY36" fmla="*/ 4799850 h 5143499"/>
              <a:gd name="connsiteX37" fmla="*/ 4143591 w 4819650"/>
              <a:gd name="connsiteY37" fmla="*/ 4746182 h 5143499"/>
              <a:gd name="connsiteX38" fmla="*/ 4159648 w 4819650"/>
              <a:gd name="connsiteY38" fmla="*/ 4731379 h 5143499"/>
              <a:gd name="connsiteX39" fmla="*/ 4175375 w 4819650"/>
              <a:gd name="connsiteY39" fmla="*/ 4746182 h 5143499"/>
              <a:gd name="connsiteX40" fmla="*/ 4175375 w 4819650"/>
              <a:gd name="connsiteY40" fmla="*/ 4799850 h 5143499"/>
              <a:gd name="connsiteX41" fmla="*/ 4196146 w 4819650"/>
              <a:gd name="connsiteY41" fmla="*/ 4799850 h 5143499"/>
              <a:gd name="connsiteX42" fmla="*/ 4196146 w 4819650"/>
              <a:gd name="connsiteY42" fmla="*/ 4744760 h 5143499"/>
              <a:gd name="connsiteX43" fmla="*/ 4159648 w 4819650"/>
              <a:gd name="connsiteY43" fmla="*/ 4711721 h 5143499"/>
              <a:gd name="connsiteX44" fmla="*/ 4133525 w 4819650"/>
              <a:gd name="connsiteY44" fmla="*/ 4722426 h 5143499"/>
              <a:gd name="connsiteX45" fmla="*/ 4107093 w 4819650"/>
              <a:gd name="connsiteY45" fmla="*/ 4711721 h 5143499"/>
              <a:gd name="connsiteX46" fmla="*/ 2094551 w 4819650"/>
              <a:gd name="connsiteY46" fmla="*/ 0 h 5143499"/>
              <a:gd name="connsiteX47" fmla="*/ 4819650 w 4819650"/>
              <a:gd name="connsiteY47" fmla="*/ 0 h 5143499"/>
              <a:gd name="connsiteX48" fmla="*/ 4819650 w 4819650"/>
              <a:gd name="connsiteY48" fmla="*/ 5143499 h 5143499"/>
              <a:gd name="connsiteX49" fmla="*/ 0 w 4819650"/>
              <a:gd name="connsiteY49" fmla="*/ 5143499 h 5143499"/>
              <a:gd name="connsiteX50" fmla="*/ 0 w 4819650"/>
              <a:gd name="connsiteY50" fmla="*/ 5143498 h 5143499"/>
              <a:gd name="connsiteX51" fmla="*/ 371745 w 4819650"/>
              <a:gd name="connsiteY51" fmla="*/ 5143498 h 5143499"/>
              <a:gd name="connsiteX52" fmla="*/ 1206499 w 4819650"/>
              <a:gd name="connsiteY52" fmla="*/ 1821610 h 5143499"/>
              <a:gd name="connsiteX53" fmla="*/ 2048326 w 4819650"/>
              <a:gd name="connsiteY53" fmla="*/ 58253 h 5143499"/>
              <a:gd name="connsiteX54" fmla="*/ 2094551 w 4819650"/>
              <a:gd name="connsiteY54" fmla="*/ 0 h 5143499"/>
              <a:gd name="connsiteX0" fmla="*/ 4212654 w 4819650"/>
              <a:gd name="connsiteY0" fmla="*/ 4713284 h 5143499"/>
              <a:gd name="connsiteX1" fmla="*/ 4212654 w 4819650"/>
              <a:gd name="connsiteY1" fmla="*/ 4762855 h 5143499"/>
              <a:gd name="connsiteX2" fmla="*/ 4251378 w 4819650"/>
              <a:gd name="connsiteY2" fmla="*/ 4801413 h 5143499"/>
              <a:gd name="connsiteX3" fmla="*/ 4290101 w 4819650"/>
              <a:gd name="connsiteY3" fmla="*/ 4762855 h 5143499"/>
              <a:gd name="connsiteX4" fmla="*/ 4290101 w 4819650"/>
              <a:gd name="connsiteY4" fmla="*/ 4713284 h 5143499"/>
              <a:gd name="connsiteX5" fmla="*/ 4290054 w 4819650"/>
              <a:gd name="connsiteY5" fmla="*/ 4713284 h 5143499"/>
              <a:gd name="connsiteX6" fmla="*/ 4269283 w 4819650"/>
              <a:gd name="connsiteY6" fmla="*/ 4713284 h 5143499"/>
              <a:gd name="connsiteX7" fmla="*/ 4269283 w 4819650"/>
              <a:gd name="connsiteY7" fmla="*/ 4762855 h 5143499"/>
              <a:gd name="connsiteX8" fmla="*/ 4251354 w 4819650"/>
              <a:gd name="connsiteY8" fmla="*/ 4781731 h 5143499"/>
              <a:gd name="connsiteX9" fmla="*/ 4233425 w 4819650"/>
              <a:gd name="connsiteY9" fmla="*/ 4762855 h 5143499"/>
              <a:gd name="connsiteX10" fmla="*/ 4233425 w 4819650"/>
              <a:gd name="connsiteY10" fmla="*/ 4713284 h 5143499"/>
              <a:gd name="connsiteX11" fmla="*/ 4212654 w 4819650"/>
              <a:gd name="connsiteY11" fmla="*/ 4713284 h 5143499"/>
              <a:gd name="connsiteX12" fmla="*/ 4336096 w 4819650"/>
              <a:gd name="connsiteY12" fmla="*/ 4730124 h 5143499"/>
              <a:gd name="connsiteX13" fmla="*/ 4304596 w 4819650"/>
              <a:gd name="connsiteY13" fmla="*/ 4737063 h 5143499"/>
              <a:gd name="connsiteX14" fmla="*/ 4330080 w 4819650"/>
              <a:gd name="connsiteY14" fmla="*/ 4761932 h 5143499"/>
              <a:gd name="connsiteX15" fmla="*/ 4336073 w 4819650"/>
              <a:gd name="connsiteY15" fmla="*/ 4764134 h 5143499"/>
              <a:gd name="connsiteX16" fmla="*/ 4351657 w 4819650"/>
              <a:gd name="connsiteY16" fmla="*/ 4774982 h 5143499"/>
              <a:gd name="connsiteX17" fmla="*/ 4337186 w 4819650"/>
              <a:gd name="connsiteY17" fmla="*/ 4782845 h 5143499"/>
              <a:gd name="connsiteX18" fmla="*/ 4308220 w 4819650"/>
              <a:gd name="connsiteY18" fmla="*/ 4775763 h 5143499"/>
              <a:gd name="connsiteX19" fmla="*/ 4303341 w 4819650"/>
              <a:gd name="connsiteY19" fmla="*/ 4793858 h 5143499"/>
              <a:gd name="connsiteX20" fmla="*/ 4338109 w 4819650"/>
              <a:gd name="connsiteY20" fmla="*/ 4801413 h 5143499"/>
              <a:gd name="connsiteX21" fmla="*/ 4372404 w 4819650"/>
              <a:gd name="connsiteY21" fmla="*/ 4774342 h 5143499"/>
              <a:gd name="connsiteX22" fmla="*/ 4345688 w 4819650"/>
              <a:gd name="connsiteY22" fmla="*/ 4747768 h 5143499"/>
              <a:gd name="connsiteX23" fmla="*/ 4339388 w 4819650"/>
              <a:gd name="connsiteY23" fmla="*/ 4745400 h 5143499"/>
              <a:gd name="connsiteX24" fmla="*/ 4336096 w 4819650"/>
              <a:gd name="connsiteY24" fmla="*/ 4730124 h 5143499"/>
              <a:gd name="connsiteX25" fmla="*/ 4107093 w 4819650"/>
              <a:gd name="connsiteY25" fmla="*/ 4711721 h 5143499"/>
              <a:gd name="connsiteX26" fmla="*/ 4070430 w 4819650"/>
              <a:gd name="connsiteY26" fmla="*/ 4744760 h 5143499"/>
              <a:gd name="connsiteX27" fmla="*/ 4070430 w 4819650"/>
              <a:gd name="connsiteY27" fmla="*/ 4799850 h 5143499"/>
              <a:gd name="connsiteX28" fmla="*/ 4091201 w 4819650"/>
              <a:gd name="connsiteY28" fmla="*/ 4799850 h 5143499"/>
              <a:gd name="connsiteX29" fmla="*/ 4091201 w 4819650"/>
              <a:gd name="connsiteY29" fmla="*/ 4746182 h 5143499"/>
              <a:gd name="connsiteX30" fmla="*/ 4106927 w 4819650"/>
              <a:gd name="connsiteY30" fmla="*/ 4731379 h 5143499"/>
              <a:gd name="connsiteX31" fmla="*/ 4122985 w 4819650"/>
              <a:gd name="connsiteY31" fmla="*/ 4746182 h 5143499"/>
              <a:gd name="connsiteX32" fmla="*/ 4122985 w 4819650"/>
              <a:gd name="connsiteY32" fmla="*/ 4799850 h 5143499"/>
              <a:gd name="connsiteX33" fmla="*/ 4143591 w 4819650"/>
              <a:gd name="connsiteY33" fmla="*/ 4799850 h 5143499"/>
              <a:gd name="connsiteX34" fmla="*/ 4143591 w 4819650"/>
              <a:gd name="connsiteY34" fmla="*/ 4746182 h 5143499"/>
              <a:gd name="connsiteX35" fmla="*/ 4159648 w 4819650"/>
              <a:gd name="connsiteY35" fmla="*/ 4731379 h 5143499"/>
              <a:gd name="connsiteX36" fmla="*/ 4175375 w 4819650"/>
              <a:gd name="connsiteY36" fmla="*/ 4746182 h 5143499"/>
              <a:gd name="connsiteX37" fmla="*/ 4175375 w 4819650"/>
              <a:gd name="connsiteY37" fmla="*/ 4799850 h 5143499"/>
              <a:gd name="connsiteX38" fmla="*/ 4196146 w 4819650"/>
              <a:gd name="connsiteY38" fmla="*/ 4799850 h 5143499"/>
              <a:gd name="connsiteX39" fmla="*/ 4196146 w 4819650"/>
              <a:gd name="connsiteY39" fmla="*/ 4744760 h 5143499"/>
              <a:gd name="connsiteX40" fmla="*/ 4159648 w 4819650"/>
              <a:gd name="connsiteY40" fmla="*/ 4711721 h 5143499"/>
              <a:gd name="connsiteX41" fmla="*/ 4133525 w 4819650"/>
              <a:gd name="connsiteY41" fmla="*/ 4722426 h 5143499"/>
              <a:gd name="connsiteX42" fmla="*/ 4107093 w 4819650"/>
              <a:gd name="connsiteY42" fmla="*/ 4711721 h 5143499"/>
              <a:gd name="connsiteX43" fmla="*/ 2094551 w 4819650"/>
              <a:gd name="connsiteY43" fmla="*/ 0 h 5143499"/>
              <a:gd name="connsiteX44" fmla="*/ 4819650 w 4819650"/>
              <a:gd name="connsiteY44" fmla="*/ 0 h 5143499"/>
              <a:gd name="connsiteX45" fmla="*/ 4819650 w 4819650"/>
              <a:gd name="connsiteY45" fmla="*/ 5143499 h 5143499"/>
              <a:gd name="connsiteX46" fmla="*/ 0 w 4819650"/>
              <a:gd name="connsiteY46" fmla="*/ 5143499 h 5143499"/>
              <a:gd name="connsiteX47" fmla="*/ 0 w 4819650"/>
              <a:gd name="connsiteY47" fmla="*/ 5143498 h 5143499"/>
              <a:gd name="connsiteX48" fmla="*/ 371745 w 4819650"/>
              <a:gd name="connsiteY48" fmla="*/ 5143498 h 5143499"/>
              <a:gd name="connsiteX49" fmla="*/ 1206499 w 4819650"/>
              <a:gd name="connsiteY49" fmla="*/ 1821610 h 5143499"/>
              <a:gd name="connsiteX50" fmla="*/ 2048326 w 4819650"/>
              <a:gd name="connsiteY50" fmla="*/ 58253 h 5143499"/>
              <a:gd name="connsiteX51" fmla="*/ 2094551 w 4819650"/>
              <a:gd name="connsiteY51" fmla="*/ 0 h 5143499"/>
              <a:gd name="connsiteX0" fmla="*/ 4212654 w 4819650"/>
              <a:gd name="connsiteY0" fmla="*/ 4713284 h 5143499"/>
              <a:gd name="connsiteX1" fmla="*/ 4212654 w 4819650"/>
              <a:gd name="connsiteY1" fmla="*/ 4762855 h 5143499"/>
              <a:gd name="connsiteX2" fmla="*/ 4251378 w 4819650"/>
              <a:gd name="connsiteY2" fmla="*/ 4801413 h 5143499"/>
              <a:gd name="connsiteX3" fmla="*/ 4290101 w 4819650"/>
              <a:gd name="connsiteY3" fmla="*/ 4762855 h 5143499"/>
              <a:gd name="connsiteX4" fmla="*/ 4290101 w 4819650"/>
              <a:gd name="connsiteY4" fmla="*/ 4713284 h 5143499"/>
              <a:gd name="connsiteX5" fmla="*/ 4290054 w 4819650"/>
              <a:gd name="connsiteY5" fmla="*/ 4713284 h 5143499"/>
              <a:gd name="connsiteX6" fmla="*/ 4269283 w 4819650"/>
              <a:gd name="connsiteY6" fmla="*/ 4713284 h 5143499"/>
              <a:gd name="connsiteX7" fmla="*/ 4269283 w 4819650"/>
              <a:gd name="connsiteY7" fmla="*/ 4762855 h 5143499"/>
              <a:gd name="connsiteX8" fmla="*/ 4251354 w 4819650"/>
              <a:gd name="connsiteY8" fmla="*/ 4781731 h 5143499"/>
              <a:gd name="connsiteX9" fmla="*/ 4233425 w 4819650"/>
              <a:gd name="connsiteY9" fmla="*/ 4762855 h 5143499"/>
              <a:gd name="connsiteX10" fmla="*/ 4233425 w 4819650"/>
              <a:gd name="connsiteY10" fmla="*/ 4713284 h 5143499"/>
              <a:gd name="connsiteX11" fmla="*/ 4212654 w 4819650"/>
              <a:gd name="connsiteY11" fmla="*/ 4713284 h 5143499"/>
              <a:gd name="connsiteX12" fmla="*/ 4336096 w 4819650"/>
              <a:gd name="connsiteY12" fmla="*/ 4730124 h 5143499"/>
              <a:gd name="connsiteX13" fmla="*/ 4304596 w 4819650"/>
              <a:gd name="connsiteY13" fmla="*/ 4737063 h 5143499"/>
              <a:gd name="connsiteX14" fmla="*/ 4330080 w 4819650"/>
              <a:gd name="connsiteY14" fmla="*/ 4761932 h 5143499"/>
              <a:gd name="connsiteX15" fmla="*/ 4336073 w 4819650"/>
              <a:gd name="connsiteY15" fmla="*/ 4764134 h 5143499"/>
              <a:gd name="connsiteX16" fmla="*/ 4351657 w 4819650"/>
              <a:gd name="connsiteY16" fmla="*/ 4774982 h 5143499"/>
              <a:gd name="connsiteX17" fmla="*/ 4337186 w 4819650"/>
              <a:gd name="connsiteY17" fmla="*/ 4782845 h 5143499"/>
              <a:gd name="connsiteX18" fmla="*/ 4308220 w 4819650"/>
              <a:gd name="connsiteY18" fmla="*/ 4775763 h 5143499"/>
              <a:gd name="connsiteX19" fmla="*/ 4303341 w 4819650"/>
              <a:gd name="connsiteY19" fmla="*/ 4793858 h 5143499"/>
              <a:gd name="connsiteX20" fmla="*/ 4338109 w 4819650"/>
              <a:gd name="connsiteY20" fmla="*/ 4801413 h 5143499"/>
              <a:gd name="connsiteX21" fmla="*/ 4372404 w 4819650"/>
              <a:gd name="connsiteY21" fmla="*/ 4774342 h 5143499"/>
              <a:gd name="connsiteX22" fmla="*/ 4345688 w 4819650"/>
              <a:gd name="connsiteY22" fmla="*/ 4747768 h 5143499"/>
              <a:gd name="connsiteX23" fmla="*/ 4339388 w 4819650"/>
              <a:gd name="connsiteY23" fmla="*/ 4745400 h 5143499"/>
              <a:gd name="connsiteX24" fmla="*/ 4336096 w 4819650"/>
              <a:gd name="connsiteY24" fmla="*/ 4730124 h 5143499"/>
              <a:gd name="connsiteX25" fmla="*/ 4133525 w 4819650"/>
              <a:gd name="connsiteY25" fmla="*/ 4722426 h 5143499"/>
              <a:gd name="connsiteX26" fmla="*/ 4070430 w 4819650"/>
              <a:gd name="connsiteY26" fmla="*/ 4744760 h 5143499"/>
              <a:gd name="connsiteX27" fmla="*/ 4070430 w 4819650"/>
              <a:gd name="connsiteY27" fmla="*/ 4799850 h 5143499"/>
              <a:gd name="connsiteX28" fmla="*/ 4091201 w 4819650"/>
              <a:gd name="connsiteY28" fmla="*/ 4799850 h 5143499"/>
              <a:gd name="connsiteX29" fmla="*/ 4091201 w 4819650"/>
              <a:gd name="connsiteY29" fmla="*/ 4746182 h 5143499"/>
              <a:gd name="connsiteX30" fmla="*/ 4106927 w 4819650"/>
              <a:gd name="connsiteY30" fmla="*/ 4731379 h 5143499"/>
              <a:gd name="connsiteX31" fmla="*/ 4122985 w 4819650"/>
              <a:gd name="connsiteY31" fmla="*/ 4746182 h 5143499"/>
              <a:gd name="connsiteX32" fmla="*/ 4122985 w 4819650"/>
              <a:gd name="connsiteY32" fmla="*/ 4799850 h 5143499"/>
              <a:gd name="connsiteX33" fmla="*/ 4143591 w 4819650"/>
              <a:gd name="connsiteY33" fmla="*/ 4799850 h 5143499"/>
              <a:gd name="connsiteX34" fmla="*/ 4143591 w 4819650"/>
              <a:gd name="connsiteY34" fmla="*/ 4746182 h 5143499"/>
              <a:gd name="connsiteX35" fmla="*/ 4159648 w 4819650"/>
              <a:gd name="connsiteY35" fmla="*/ 4731379 h 5143499"/>
              <a:gd name="connsiteX36" fmla="*/ 4175375 w 4819650"/>
              <a:gd name="connsiteY36" fmla="*/ 4746182 h 5143499"/>
              <a:gd name="connsiteX37" fmla="*/ 4175375 w 4819650"/>
              <a:gd name="connsiteY37" fmla="*/ 4799850 h 5143499"/>
              <a:gd name="connsiteX38" fmla="*/ 4196146 w 4819650"/>
              <a:gd name="connsiteY38" fmla="*/ 4799850 h 5143499"/>
              <a:gd name="connsiteX39" fmla="*/ 4196146 w 4819650"/>
              <a:gd name="connsiteY39" fmla="*/ 4744760 h 5143499"/>
              <a:gd name="connsiteX40" fmla="*/ 4159648 w 4819650"/>
              <a:gd name="connsiteY40" fmla="*/ 4711721 h 5143499"/>
              <a:gd name="connsiteX41" fmla="*/ 4133525 w 4819650"/>
              <a:gd name="connsiteY41" fmla="*/ 4722426 h 5143499"/>
              <a:gd name="connsiteX42" fmla="*/ 2094551 w 4819650"/>
              <a:gd name="connsiteY42" fmla="*/ 0 h 5143499"/>
              <a:gd name="connsiteX43" fmla="*/ 4819650 w 4819650"/>
              <a:gd name="connsiteY43" fmla="*/ 0 h 5143499"/>
              <a:gd name="connsiteX44" fmla="*/ 4819650 w 4819650"/>
              <a:gd name="connsiteY44" fmla="*/ 5143499 h 5143499"/>
              <a:gd name="connsiteX45" fmla="*/ 0 w 4819650"/>
              <a:gd name="connsiteY45" fmla="*/ 5143499 h 5143499"/>
              <a:gd name="connsiteX46" fmla="*/ 0 w 4819650"/>
              <a:gd name="connsiteY46" fmla="*/ 5143498 h 5143499"/>
              <a:gd name="connsiteX47" fmla="*/ 371745 w 4819650"/>
              <a:gd name="connsiteY47" fmla="*/ 5143498 h 5143499"/>
              <a:gd name="connsiteX48" fmla="*/ 1206499 w 4819650"/>
              <a:gd name="connsiteY48" fmla="*/ 1821610 h 5143499"/>
              <a:gd name="connsiteX49" fmla="*/ 2048326 w 4819650"/>
              <a:gd name="connsiteY49" fmla="*/ 58253 h 5143499"/>
              <a:gd name="connsiteX50" fmla="*/ 2094551 w 4819650"/>
              <a:gd name="connsiteY50" fmla="*/ 0 h 5143499"/>
              <a:gd name="connsiteX0" fmla="*/ 4212654 w 4819650"/>
              <a:gd name="connsiteY0" fmla="*/ 4713284 h 5143499"/>
              <a:gd name="connsiteX1" fmla="*/ 4212654 w 4819650"/>
              <a:gd name="connsiteY1" fmla="*/ 4762855 h 5143499"/>
              <a:gd name="connsiteX2" fmla="*/ 4251378 w 4819650"/>
              <a:gd name="connsiteY2" fmla="*/ 4801413 h 5143499"/>
              <a:gd name="connsiteX3" fmla="*/ 4290101 w 4819650"/>
              <a:gd name="connsiteY3" fmla="*/ 4762855 h 5143499"/>
              <a:gd name="connsiteX4" fmla="*/ 4290101 w 4819650"/>
              <a:gd name="connsiteY4" fmla="*/ 4713284 h 5143499"/>
              <a:gd name="connsiteX5" fmla="*/ 4290054 w 4819650"/>
              <a:gd name="connsiteY5" fmla="*/ 4713284 h 5143499"/>
              <a:gd name="connsiteX6" fmla="*/ 4269283 w 4819650"/>
              <a:gd name="connsiteY6" fmla="*/ 4713284 h 5143499"/>
              <a:gd name="connsiteX7" fmla="*/ 4269283 w 4819650"/>
              <a:gd name="connsiteY7" fmla="*/ 4762855 h 5143499"/>
              <a:gd name="connsiteX8" fmla="*/ 4251354 w 4819650"/>
              <a:gd name="connsiteY8" fmla="*/ 4781731 h 5143499"/>
              <a:gd name="connsiteX9" fmla="*/ 4233425 w 4819650"/>
              <a:gd name="connsiteY9" fmla="*/ 4762855 h 5143499"/>
              <a:gd name="connsiteX10" fmla="*/ 4233425 w 4819650"/>
              <a:gd name="connsiteY10" fmla="*/ 4713284 h 5143499"/>
              <a:gd name="connsiteX11" fmla="*/ 4212654 w 4819650"/>
              <a:gd name="connsiteY11" fmla="*/ 4713284 h 5143499"/>
              <a:gd name="connsiteX12" fmla="*/ 4336096 w 4819650"/>
              <a:gd name="connsiteY12" fmla="*/ 4730124 h 5143499"/>
              <a:gd name="connsiteX13" fmla="*/ 4304596 w 4819650"/>
              <a:gd name="connsiteY13" fmla="*/ 4737063 h 5143499"/>
              <a:gd name="connsiteX14" fmla="*/ 4330080 w 4819650"/>
              <a:gd name="connsiteY14" fmla="*/ 4761932 h 5143499"/>
              <a:gd name="connsiteX15" fmla="*/ 4336073 w 4819650"/>
              <a:gd name="connsiteY15" fmla="*/ 4764134 h 5143499"/>
              <a:gd name="connsiteX16" fmla="*/ 4351657 w 4819650"/>
              <a:gd name="connsiteY16" fmla="*/ 4774982 h 5143499"/>
              <a:gd name="connsiteX17" fmla="*/ 4337186 w 4819650"/>
              <a:gd name="connsiteY17" fmla="*/ 4782845 h 5143499"/>
              <a:gd name="connsiteX18" fmla="*/ 4308220 w 4819650"/>
              <a:gd name="connsiteY18" fmla="*/ 4775763 h 5143499"/>
              <a:gd name="connsiteX19" fmla="*/ 4303341 w 4819650"/>
              <a:gd name="connsiteY19" fmla="*/ 4793858 h 5143499"/>
              <a:gd name="connsiteX20" fmla="*/ 4338109 w 4819650"/>
              <a:gd name="connsiteY20" fmla="*/ 4801413 h 5143499"/>
              <a:gd name="connsiteX21" fmla="*/ 4372404 w 4819650"/>
              <a:gd name="connsiteY21" fmla="*/ 4774342 h 5143499"/>
              <a:gd name="connsiteX22" fmla="*/ 4345688 w 4819650"/>
              <a:gd name="connsiteY22" fmla="*/ 4747768 h 5143499"/>
              <a:gd name="connsiteX23" fmla="*/ 4339388 w 4819650"/>
              <a:gd name="connsiteY23" fmla="*/ 4745400 h 5143499"/>
              <a:gd name="connsiteX24" fmla="*/ 4336096 w 4819650"/>
              <a:gd name="connsiteY24" fmla="*/ 4730124 h 5143499"/>
              <a:gd name="connsiteX25" fmla="*/ 4133525 w 4819650"/>
              <a:gd name="connsiteY25" fmla="*/ 4722426 h 5143499"/>
              <a:gd name="connsiteX26" fmla="*/ 4070430 w 4819650"/>
              <a:gd name="connsiteY26" fmla="*/ 4799850 h 5143499"/>
              <a:gd name="connsiteX27" fmla="*/ 4091201 w 4819650"/>
              <a:gd name="connsiteY27" fmla="*/ 4799850 h 5143499"/>
              <a:gd name="connsiteX28" fmla="*/ 4091201 w 4819650"/>
              <a:gd name="connsiteY28" fmla="*/ 4746182 h 5143499"/>
              <a:gd name="connsiteX29" fmla="*/ 4106927 w 4819650"/>
              <a:gd name="connsiteY29" fmla="*/ 4731379 h 5143499"/>
              <a:gd name="connsiteX30" fmla="*/ 4122985 w 4819650"/>
              <a:gd name="connsiteY30" fmla="*/ 4746182 h 5143499"/>
              <a:gd name="connsiteX31" fmla="*/ 4122985 w 4819650"/>
              <a:gd name="connsiteY31" fmla="*/ 4799850 h 5143499"/>
              <a:gd name="connsiteX32" fmla="*/ 4143591 w 4819650"/>
              <a:gd name="connsiteY32" fmla="*/ 4799850 h 5143499"/>
              <a:gd name="connsiteX33" fmla="*/ 4143591 w 4819650"/>
              <a:gd name="connsiteY33" fmla="*/ 4746182 h 5143499"/>
              <a:gd name="connsiteX34" fmla="*/ 4159648 w 4819650"/>
              <a:gd name="connsiteY34" fmla="*/ 4731379 h 5143499"/>
              <a:gd name="connsiteX35" fmla="*/ 4175375 w 4819650"/>
              <a:gd name="connsiteY35" fmla="*/ 4746182 h 5143499"/>
              <a:gd name="connsiteX36" fmla="*/ 4175375 w 4819650"/>
              <a:gd name="connsiteY36" fmla="*/ 4799850 h 5143499"/>
              <a:gd name="connsiteX37" fmla="*/ 4196146 w 4819650"/>
              <a:gd name="connsiteY37" fmla="*/ 4799850 h 5143499"/>
              <a:gd name="connsiteX38" fmla="*/ 4196146 w 4819650"/>
              <a:gd name="connsiteY38" fmla="*/ 4744760 h 5143499"/>
              <a:gd name="connsiteX39" fmla="*/ 4159648 w 4819650"/>
              <a:gd name="connsiteY39" fmla="*/ 4711721 h 5143499"/>
              <a:gd name="connsiteX40" fmla="*/ 4133525 w 4819650"/>
              <a:gd name="connsiteY40" fmla="*/ 4722426 h 5143499"/>
              <a:gd name="connsiteX41" fmla="*/ 2094551 w 4819650"/>
              <a:gd name="connsiteY41" fmla="*/ 0 h 5143499"/>
              <a:gd name="connsiteX42" fmla="*/ 4819650 w 4819650"/>
              <a:gd name="connsiteY42" fmla="*/ 0 h 5143499"/>
              <a:gd name="connsiteX43" fmla="*/ 4819650 w 4819650"/>
              <a:gd name="connsiteY43" fmla="*/ 5143499 h 5143499"/>
              <a:gd name="connsiteX44" fmla="*/ 0 w 4819650"/>
              <a:gd name="connsiteY44" fmla="*/ 5143499 h 5143499"/>
              <a:gd name="connsiteX45" fmla="*/ 0 w 4819650"/>
              <a:gd name="connsiteY45" fmla="*/ 5143498 h 5143499"/>
              <a:gd name="connsiteX46" fmla="*/ 371745 w 4819650"/>
              <a:gd name="connsiteY46" fmla="*/ 5143498 h 5143499"/>
              <a:gd name="connsiteX47" fmla="*/ 1206499 w 4819650"/>
              <a:gd name="connsiteY47" fmla="*/ 1821610 h 5143499"/>
              <a:gd name="connsiteX48" fmla="*/ 2048326 w 4819650"/>
              <a:gd name="connsiteY48" fmla="*/ 58253 h 5143499"/>
              <a:gd name="connsiteX49" fmla="*/ 2094551 w 4819650"/>
              <a:gd name="connsiteY49" fmla="*/ 0 h 5143499"/>
              <a:gd name="connsiteX0" fmla="*/ 4212654 w 4819650"/>
              <a:gd name="connsiteY0" fmla="*/ 4713284 h 5143499"/>
              <a:gd name="connsiteX1" fmla="*/ 4212654 w 4819650"/>
              <a:gd name="connsiteY1" fmla="*/ 4762855 h 5143499"/>
              <a:gd name="connsiteX2" fmla="*/ 4251378 w 4819650"/>
              <a:gd name="connsiteY2" fmla="*/ 4801413 h 5143499"/>
              <a:gd name="connsiteX3" fmla="*/ 4290101 w 4819650"/>
              <a:gd name="connsiteY3" fmla="*/ 4762855 h 5143499"/>
              <a:gd name="connsiteX4" fmla="*/ 4290101 w 4819650"/>
              <a:gd name="connsiteY4" fmla="*/ 4713284 h 5143499"/>
              <a:gd name="connsiteX5" fmla="*/ 4290054 w 4819650"/>
              <a:gd name="connsiteY5" fmla="*/ 4713284 h 5143499"/>
              <a:gd name="connsiteX6" fmla="*/ 4269283 w 4819650"/>
              <a:gd name="connsiteY6" fmla="*/ 4713284 h 5143499"/>
              <a:gd name="connsiteX7" fmla="*/ 4269283 w 4819650"/>
              <a:gd name="connsiteY7" fmla="*/ 4762855 h 5143499"/>
              <a:gd name="connsiteX8" fmla="*/ 4251354 w 4819650"/>
              <a:gd name="connsiteY8" fmla="*/ 4781731 h 5143499"/>
              <a:gd name="connsiteX9" fmla="*/ 4233425 w 4819650"/>
              <a:gd name="connsiteY9" fmla="*/ 4762855 h 5143499"/>
              <a:gd name="connsiteX10" fmla="*/ 4233425 w 4819650"/>
              <a:gd name="connsiteY10" fmla="*/ 4713284 h 5143499"/>
              <a:gd name="connsiteX11" fmla="*/ 4212654 w 4819650"/>
              <a:gd name="connsiteY11" fmla="*/ 4713284 h 5143499"/>
              <a:gd name="connsiteX12" fmla="*/ 4336096 w 4819650"/>
              <a:gd name="connsiteY12" fmla="*/ 4730124 h 5143499"/>
              <a:gd name="connsiteX13" fmla="*/ 4304596 w 4819650"/>
              <a:gd name="connsiteY13" fmla="*/ 4737063 h 5143499"/>
              <a:gd name="connsiteX14" fmla="*/ 4330080 w 4819650"/>
              <a:gd name="connsiteY14" fmla="*/ 4761932 h 5143499"/>
              <a:gd name="connsiteX15" fmla="*/ 4336073 w 4819650"/>
              <a:gd name="connsiteY15" fmla="*/ 4764134 h 5143499"/>
              <a:gd name="connsiteX16" fmla="*/ 4351657 w 4819650"/>
              <a:gd name="connsiteY16" fmla="*/ 4774982 h 5143499"/>
              <a:gd name="connsiteX17" fmla="*/ 4337186 w 4819650"/>
              <a:gd name="connsiteY17" fmla="*/ 4782845 h 5143499"/>
              <a:gd name="connsiteX18" fmla="*/ 4308220 w 4819650"/>
              <a:gd name="connsiteY18" fmla="*/ 4775763 h 5143499"/>
              <a:gd name="connsiteX19" fmla="*/ 4303341 w 4819650"/>
              <a:gd name="connsiteY19" fmla="*/ 4793858 h 5143499"/>
              <a:gd name="connsiteX20" fmla="*/ 4338109 w 4819650"/>
              <a:gd name="connsiteY20" fmla="*/ 4801413 h 5143499"/>
              <a:gd name="connsiteX21" fmla="*/ 4372404 w 4819650"/>
              <a:gd name="connsiteY21" fmla="*/ 4774342 h 5143499"/>
              <a:gd name="connsiteX22" fmla="*/ 4345688 w 4819650"/>
              <a:gd name="connsiteY22" fmla="*/ 4747768 h 5143499"/>
              <a:gd name="connsiteX23" fmla="*/ 4339388 w 4819650"/>
              <a:gd name="connsiteY23" fmla="*/ 4745400 h 5143499"/>
              <a:gd name="connsiteX24" fmla="*/ 4336096 w 4819650"/>
              <a:gd name="connsiteY24" fmla="*/ 4730124 h 5143499"/>
              <a:gd name="connsiteX25" fmla="*/ 4133525 w 4819650"/>
              <a:gd name="connsiteY25" fmla="*/ 4722426 h 5143499"/>
              <a:gd name="connsiteX26" fmla="*/ 4091201 w 4819650"/>
              <a:gd name="connsiteY26" fmla="*/ 4799850 h 5143499"/>
              <a:gd name="connsiteX27" fmla="*/ 4091201 w 4819650"/>
              <a:gd name="connsiteY27" fmla="*/ 4746182 h 5143499"/>
              <a:gd name="connsiteX28" fmla="*/ 4106927 w 4819650"/>
              <a:gd name="connsiteY28" fmla="*/ 4731379 h 5143499"/>
              <a:gd name="connsiteX29" fmla="*/ 4122985 w 4819650"/>
              <a:gd name="connsiteY29" fmla="*/ 4746182 h 5143499"/>
              <a:gd name="connsiteX30" fmla="*/ 4122985 w 4819650"/>
              <a:gd name="connsiteY30" fmla="*/ 4799850 h 5143499"/>
              <a:gd name="connsiteX31" fmla="*/ 4143591 w 4819650"/>
              <a:gd name="connsiteY31" fmla="*/ 4799850 h 5143499"/>
              <a:gd name="connsiteX32" fmla="*/ 4143591 w 4819650"/>
              <a:gd name="connsiteY32" fmla="*/ 4746182 h 5143499"/>
              <a:gd name="connsiteX33" fmla="*/ 4159648 w 4819650"/>
              <a:gd name="connsiteY33" fmla="*/ 4731379 h 5143499"/>
              <a:gd name="connsiteX34" fmla="*/ 4175375 w 4819650"/>
              <a:gd name="connsiteY34" fmla="*/ 4746182 h 5143499"/>
              <a:gd name="connsiteX35" fmla="*/ 4175375 w 4819650"/>
              <a:gd name="connsiteY35" fmla="*/ 4799850 h 5143499"/>
              <a:gd name="connsiteX36" fmla="*/ 4196146 w 4819650"/>
              <a:gd name="connsiteY36" fmla="*/ 4799850 h 5143499"/>
              <a:gd name="connsiteX37" fmla="*/ 4196146 w 4819650"/>
              <a:gd name="connsiteY37" fmla="*/ 4744760 h 5143499"/>
              <a:gd name="connsiteX38" fmla="*/ 4159648 w 4819650"/>
              <a:gd name="connsiteY38" fmla="*/ 4711721 h 5143499"/>
              <a:gd name="connsiteX39" fmla="*/ 4133525 w 4819650"/>
              <a:gd name="connsiteY39" fmla="*/ 4722426 h 5143499"/>
              <a:gd name="connsiteX40" fmla="*/ 2094551 w 4819650"/>
              <a:gd name="connsiteY40" fmla="*/ 0 h 5143499"/>
              <a:gd name="connsiteX41" fmla="*/ 4819650 w 4819650"/>
              <a:gd name="connsiteY41" fmla="*/ 0 h 5143499"/>
              <a:gd name="connsiteX42" fmla="*/ 4819650 w 4819650"/>
              <a:gd name="connsiteY42" fmla="*/ 5143499 h 5143499"/>
              <a:gd name="connsiteX43" fmla="*/ 0 w 4819650"/>
              <a:gd name="connsiteY43" fmla="*/ 5143499 h 5143499"/>
              <a:gd name="connsiteX44" fmla="*/ 0 w 4819650"/>
              <a:gd name="connsiteY44" fmla="*/ 5143498 h 5143499"/>
              <a:gd name="connsiteX45" fmla="*/ 371745 w 4819650"/>
              <a:gd name="connsiteY45" fmla="*/ 5143498 h 5143499"/>
              <a:gd name="connsiteX46" fmla="*/ 1206499 w 4819650"/>
              <a:gd name="connsiteY46" fmla="*/ 1821610 h 5143499"/>
              <a:gd name="connsiteX47" fmla="*/ 2048326 w 4819650"/>
              <a:gd name="connsiteY47" fmla="*/ 58253 h 5143499"/>
              <a:gd name="connsiteX48" fmla="*/ 2094551 w 4819650"/>
              <a:gd name="connsiteY48" fmla="*/ 0 h 5143499"/>
              <a:gd name="connsiteX0" fmla="*/ 4212654 w 4819650"/>
              <a:gd name="connsiteY0" fmla="*/ 4713284 h 5143499"/>
              <a:gd name="connsiteX1" fmla="*/ 4212654 w 4819650"/>
              <a:gd name="connsiteY1" fmla="*/ 4762855 h 5143499"/>
              <a:gd name="connsiteX2" fmla="*/ 4251378 w 4819650"/>
              <a:gd name="connsiteY2" fmla="*/ 4801413 h 5143499"/>
              <a:gd name="connsiteX3" fmla="*/ 4290101 w 4819650"/>
              <a:gd name="connsiteY3" fmla="*/ 4762855 h 5143499"/>
              <a:gd name="connsiteX4" fmla="*/ 4290101 w 4819650"/>
              <a:gd name="connsiteY4" fmla="*/ 4713284 h 5143499"/>
              <a:gd name="connsiteX5" fmla="*/ 4290054 w 4819650"/>
              <a:gd name="connsiteY5" fmla="*/ 4713284 h 5143499"/>
              <a:gd name="connsiteX6" fmla="*/ 4269283 w 4819650"/>
              <a:gd name="connsiteY6" fmla="*/ 4713284 h 5143499"/>
              <a:gd name="connsiteX7" fmla="*/ 4269283 w 4819650"/>
              <a:gd name="connsiteY7" fmla="*/ 4762855 h 5143499"/>
              <a:gd name="connsiteX8" fmla="*/ 4251354 w 4819650"/>
              <a:gd name="connsiteY8" fmla="*/ 4781731 h 5143499"/>
              <a:gd name="connsiteX9" fmla="*/ 4233425 w 4819650"/>
              <a:gd name="connsiteY9" fmla="*/ 4762855 h 5143499"/>
              <a:gd name="connsiteX10" fmla="*/ 4233425 w 4819650"/>
              <a:gd name="connsiteY10" fmla="*/ 4713284 h 5143499"/>
              <a:gd name="connsiteX11" fmla="*/ 4212654 w 4819650"/>
              <a:gd name="connsiteY11" fmla="*/ 4713284 h 5143499"/>
              <a:gd name="connsiteX12" fmla="*/ 4336096 w 4819650"/>
              <a:gd name="connsiteY12" fmla="*/ 4730124 h 5143499"/>
              <a:gd name="connsiteX13" fmla="*/ 4304596 w 4819650"/>
              <a:gd name="connsiteY13" fmla="*/ 4737063 h 5143499"/>
              <a:gd name="connsiteX14" fmla="*/ 4330080 w 4819650"/>
              <a:gd name="connsiteY14" fmla="*/ 4761932 h 5143499"/>
              <a:gd name="connsiteX15" fmla="*/ 4336073 w 4819650"/>
              <a:gd name="connsiteY15" fmla="*/ 4764134 h 5143499"/>
              <a:gd name="connsiteX16" fmla="*/ 4351657 w 4819650"/>
              <a:gd name="connsiteY16" fmla="*/ 4774982 h 5143499"/>
              <a:gd name="connsiteX17" fmla="*/ 4337186 w 4819650"/>
              <a:gd name="connsiteY17" fmla="*/ 4782845 h 5143499"/>
              <a:gd name="connsiteX18" fmla="*/ 4308220 w 4819650"/>
              <a:gd name="connsiteY18" fmla="*/ 4775763 h 5143499"/>
              <a:gd name="connsiteX19" fmla="*/ 4303341 w 4819650"/>
              <a:gd name="connsiteY19" fmla="*/ 4793858 h 5143499"/>
              <a:gd name="connsiteX20" fmla="*/ 4338109 w 4819650"/>
              <a:gd name="connsiteY20" fmla="*/ 4801413 h 5143499"/>
              <a:gd name="connsiteX21" fmla="*/ 4372404 w 4819650"/>
              <a:gd name="connsiteY21" fmla="*/ 4774342 h 5143499"/>
              <a:gd name="connsiteX22" fmla="*/ 4345688 w 4819650"/>
              <a:gd name="connsiteY22" fmla="*/ 4747768 h 5143499"/>
              <a:gd name="connsiteX23" fmla="*/ 4339388 w 4819650"/>
              <a:gd name="connsiteY23" fmla="*/ 4745400 h 5143499"/>
              <a:gd name="connsiteX24" fmla="*/ 4336096 w 4819650"/>
              <a:gd name="connsiteY24" fmla="*/ 4730124 h 5143499"/>
              <a:gd name="connsiteX25" fmla="*/ 4133525 w 4819650"/>
              <a:gd name="connsiteY25" fmla="*/ 4722426 h 5143499"/>
              <a:gd name="connsiteX26" fmla="*/ 4091201 w 4819650"/>
              <a:gd name="connsiteY26" fmla="*/ 4799850 h 5143499"/>
              <a:gd name="connsiteX27" fmla="*/ 4106927 w 4819650"/>
              <a:gd name="connsiteY27" fmla="*/ 4731379 h 5143499"/>
              <a:gd name="connsiteX28" fmla="*/ 4122985 w 4819650"/>
              <a:gd name="connsiteY28" fmla="*/ 4746182 h 5143499"/>
              <a:gd name="connsiteX29" fmla="*/ 4122985 w 4819650"/>
              <a:gd name="connsiteY29" fmla="*/ 4799850 h 5143499"/>
              <a:gd name="connsiteX30" fmla="*/ 4143591 w 4819650"/>
              <a:gd name="connsiteY30" fmla="*/ 4799850 h 5143499"/>
              <a:gd name="connsiteX31" fmla="*/ 4143591 w 4819650"/>
              <a:gd name="connsiteY31" fmla="*/ 4746182 h 5143499"/>
              <a:gd name="connsiteX32" fmla="*/ 4159648 w 4819650"/>
              <a:gd name="connsiteY32" fmla="*/ 4731379 h 5143499"/>
              <a:gd name="connsiteX33" fmla="*/ 4175375 w 4819650"/>
              <a:gd name="connsiteY33" fmla="*/ 4746182 h 5143499"/>
              <a:gd name="connsiteX34" fmla="*/ 4175375 w 4819650"/>
              <a:gd name="connsiteY34" fmla="*/ 4799850 h 5143499"/>
              <a:gd name="connsiteX35" fmla="*/ 4196146 w 4819650"/>
              <a:gd name="connsiteY35" fmla="*/ 4799850 h 5143499"/>
              <a:gd name="connsiteX36" fmla="*/ 4196146 w 4819650"/>
              <a:gd name="connsiteY36" fmla="*/ 4744760 h 5143499"/>
              <a:gd name="connsiteX37" fmla="*/ 4159648 w 4819650"/>
              <a:gd name="connsiteY37" fmla="*/ 4711721 h 5143499"/>
              <a:gd name="connsiteX38" fmla="*/ 4133525 w 4819650"/>
              <a:gd name="connsiteY38" fmla="*/ 4722426 h 5143499"/>
              <a:gd name="connsiteX39" fmla="*/ 2094551 w 4819650"/>
              <a:gd name="connsiteY39" fmla="*/ 0 h 5143499"/>
              <a:gd name="connsiteX40" fmla="*/ 4819650 w 4819650"/>
              <a:gd name="connsiteY40" fmla="*/ 0 h 5143499"/>
              <a:gd name="connsiteX41" fmla="*/ 4819650 w 4819650"/>
              <a:gd name="connsiteY41" fmla="*/ 5143499 h 5143499"/>
              <a:gd name="connsiteX42" fmla="*/ 0 w 4819650"/>
              <a:gd name="connsiteY42" fmla="*/ 5143499 h 5143499"/>
              <a:gd name="connsiteX43" fmla="*/ 0 w 4819650"/>
              <a:gd name="connsiteY43" fmla="*/ 5143498 h 5143499"/>
              <a:gd name="connsiteX44" fmla="*/ 371745 w 4819650"/>
              <a:gd name="connsiteY44" fmla="*/ 5143498 h 5143499"/>
              <a:gd name="connsiteX45" fmla="*/ 1206499 w 4819650"/>
              <a:gd name="connsiteY45" fmla="*/ 1821610 h 5143499"/>
              <a:gd name="connsiteX46" fmla="*/ 2048326 w 4819650"/>
              <a:gd name="connsiteY46" fmla="*/ 58253 h 5143499"/>
              <a:gd name="connsiteX47" fmla="*/ 2094551 w 4819650"/>
              <a:gd name="connsiteY47" fmla="*/ 0 h 5143499"/>
              <a:gd name="connsiteX0" fmla="*/ 4212654 w 4819650"/>
              <a:gd name="connsiteY0" fmla="*/ 4713284 h 5143499"/>
              <a:gd name="connsiteX1" fmla="*/ 4212654 w 4819650"/>
              <a:gd name="connsiteY1" fmla="*/ 4762855 h 5143499"/>
              <a:gd name="connsiteX2" fmla="*/ 4251378 w 4819650"/>
              <a:gd name="connsiteY2" fmla="*/ 4801413 h 5143499"/>
              <a:gd name="connsiteX3" fmla="*/ 4290101 w 4819650"/>
              <a:gd name="connsiteY3" fmla="*/ 4762855 h 5143499"/>
              <a:gd name="connsiteX4" fmla="*/ 4290101 w 4819650"/>
              <a:gd name="connsiteY4" fmla="*/ 4713284 h 5143499"/>
              <a:gd name="connsiteX5" fmla="*/ 4290054 w 4819650"/>
              <a:gd name="connsiteY5" fmla="*/ 4713284 h 5143499"/>
              <a:gd name="connsiteX6" fmla="*/ 4269283 w 4819650"/>
              <a:gd name="connsiteY6" fmla="*/ 4713284 h 5143499"/>
              <a:gd name="connsiteX7" fmla="*/ 4269283 w 4819650"/>
              <a:gd name="connsiteY7" fmla="*/ 4762855 h 5143499"/>
              <a:gd name="connsiteX8" fmla="*/ 4251354 w 4819650"/>
              <a:gd name="connsiteY8" fmla="*/ 4781731 h 5143499"/>
              <a:gd name="connsiteX9" fmla="*/ 4233425 w 4819650"/>
              <a:gd name="connsiteY9" fmla="*/ 4762855 h 5143499"/>
              <a:gd name="connsiteX10" fmla="*/ 4233425 w 4819650"/>
              <a:gd name="connsiteY10" fmla="*/ 4713284 h 5143499"/>
              <a:gd name="connsiteX11" fmla="*/ 4212654 w 4819650"/>
              <a:gd name="connsiteY11" fmla="*/ 4713284 h 5143499"/>
              <a:gd name="connsiteX12" fmla="*/ 4336096 w 4819650"/>
              <a:gd name="connsiteY12" fmla="*/ 4730124 h 5143499"/>
              <a:gd name="connsiteX13" fmla="*/ 4304596 w 4819650"/>
              <a:gd name="connsiteY13" fmla="*/ 4737063 h 5143499"/>
              <a:gd name="connsiteX14" fmla="*/ 4330080 w 4819650"/>
              <a:gd name="connsiteY14" fmla="*/ 4761932 h 5143499"/>
              <a:gd name="connsiteX15" fmla="*/ 4336073 w 4819650"/>
              <a:gd name="connsiteY15" fmla="*/ 4764134 h 5143499"/>
              <a:gd name="connsiteX16" fmla="*/ 4351657 w 4819650"/>
              <a:gd name="connsiteY16" fmla="*/ 4774982 h 5143499"/>
              <a:gd name="connsiteX17" fmla="*/ 4337186 w 4819650"/>
              <a:gd name="connsiteY17" fmla="*/ 4782845 h 5143499"/>
              <a:gd name="connsiteX18" fmla="*/ 4308220 w 4819650"/>
              <a:gd name="connsiteY18" fmla="*/ 4775763 h 5143499"/>
              <a:gd name="connsiteX19" fmla="*/ 4303341 w 4819650"/>
              <a:gd name="connsiteY19" fmla="*/ 4793858 h 5143499"/>
              <a:gd name="connsiteX20" fmla="*/ 4338109 w 4819650"/>
              <a:gd name="connsiteY20" fmla="*/ 4801413 h 5143499"/>
              <a:gd name="connsiteX21" fmla="*/ 4372404 w 4819650"/>
              <a:gd name="connsiteY21" fmla="*/ 4774342 h 5143499"/>
              <a:gd name="connsiteX22" fmla="*/ 4345688 w 4819650"/>
              <a:gd name="connsiteY22" fmla="*/ 4747768 h 5143499"/>
              <a:gd name="connsiteX23" fmla="*/ 4339388 w 4819650"/>
              <a:gd name="connsiteY23" fmla="*/ 4745400 h 5143499"/>
              <a:gd name="connsiteX24" fmla="*/ 4336096 w 4819650"/>
              <a:gd name="connsiteY24" fmla="*/ 4730124 h 5143499"/>
              <a:gd name="connsiteX25" fmla="*/ 4133525 w 4819650"/>
              <a:gd name="connsiteY25" fmla="*/ 4722426 h 5143499"/>
              <a:gd name="connsiteX26" fmla="*/ 4091201 w 4819650"/>
              <a:gd name="connsiteY26" fmla="*/ 4799850 h 5143499"/>
              <a:gd name="connsiteX27" fmla="*/ 4122985 w 4819650"/>
              <a:gd name="connsiteY27" fmla="*/ 4746182 h 5143499"/>
              <a:gd name="connsiteX28" fmla="*/ 4122985 w 4819650"/>
              <a:gd name="connsiteY28" fmla="*/ 4799850 h 5143499"/>
              <a:gd name="connsiteX29" fmla="*/ 4143591 w 4819650"/>
              <a:gd name="connsiteY29" fmla="*/ 4799850 h 5143499"/>
              <a:gd name="connsiteX30" fmla="*/ 4143591 w 4819650"/>
              <a:gd name="connsiteY30" fmla="*/ 4746182 h 5143499"/>
              <a:gd name="connsiteX31" fmla="*/ 4159648 w 4819650"/>
              <a:gd name="connsiteY31" fmla="*/ 4731379 h 5143499"/>
              <a:gd name="connsiteX32" fmla="*/ 4175375 w 4819650"/>
              <a:gd name="connsiteY32" fmla="*/ 4746182 h 5143499"/>
              <a:gd name="connsiteX33" fmla="*/ 4175375 w 4819650"/>
              <a:gd name="connsiteY33" fmla="*/ 4799850 h 5143499"/>
              <a:gd name="connsiteX34" fmla="*/ 4196146 w 4819650"/>
              <a:gd name="connsiteY34" fmla="*/ 4799850 h 5143499"/>
              <a:gd name="connsiteX35" fmla="*/ 4196146 w 4819650"/>
              <a:gd name="connsiteY35" fmla="*/ 4744760 h 5143499"/>
              <a:gd name="connsiteX36" fmla="*/ 4159648 w 4819650"/>
              <a:gd name="connsiteY36" fmla="*/ 4711721 h 5143499"/>
              <a:gd name="connsiteX37" fmla="*/ 4133525 w 4819650"/>
              <a:gd name="connsiteY37" fmla="*/ 4722426 h 5143499"/>
              <a:gd name="connsiteX38" fmla="*/ 2094551 w 4819650"/>
              <a:gd name="connsiteY38" fmla="*/ 0 h 5143499"/>
              <a:gd name="connsiteX39" fmla="*/ 4819650 w 4819650"/>
              <a:gd name="connsiteY39" fmla="*/ 0 h 5143499"/>
              <a:gd name="connsiteX40" fmla="*/ 4819650 w 4819650"/>
              <a:gd name="connsiteY40" fmla="*/ 5143499 h 5143499"/>
              <a:gd name="connsiteX41" fmla="*/ 0 w 4819650"/>
              <a:gd name="connsiteY41" fmla="*/ 5143499 h 5143499"/>
              <a:gd name="connsiteX42" fmla="*/ 0 w 4819650"/>
              <a:gd name="connsiteY42" fmla="*/ 5143498 h 5143499"/>
              <a:gd name="connsiteX43" fmla="*/ 371745 w 4819650"/>
              <a:gd name="connsiteY43" fmla="*/ 5143498 h 5143499"/>
              <a:gd name="connsiteX44" fmla="*/ 1206499 w 4819650"/>
              <a:gd name="connsiteY44" fmla="*/ 1821610 h 5143499"/>
              <a:gd name="connsiteX45" fmla="*/ 2048326 w 4819650"/>
              <a:gd name="connsiteY45" fmla="*/ 58253 h 5143499"/>
              <a:gd name="connsiteX46" fmla="*/ 2094551 w 4819650"/>
              <a:gd name="connsiteY46" fmla="*/ 0 h 5143499"/>
              <a:gd name="connsiteX0" fmla="*/ 4212654 w 4819650"/>
              <a:gd name="connsiteY0" fmla="*/ 4713284 h 5143499"/>
              <a:gd name="connsiteX1" fmla="*/ 4212654 w 4819650"/>
              <a:gd name="connsiteY1" fmla="*/ 4762855 h 5143499"/>
              <a:gd name="connsiteX2" fmla="*/ 4251378 w 4819650"/>
              <a:gd name="connsiteY2" fmla="*/ 4801413 h 5143499"/>
              <a:gd name="connsiteX3" fmla="*/ 4290101 w 4819650"/>
              <a:gd name="connsiteY3" fmla="*/ 4762855 h 5143499"/>
              <a:gd name="connsiteX4" fmla="*/ 4290101 w 4819650"/>
              <a:gd name="connsiteY4" fmla="*/ 4713284 h 5143499"/>
              <a:gd name="connsiteX5" fmla="*/ 4290054 w 4819650"/>
              <a:gd name="connsiteY5" fmla="*/ 4713284 h 5143499"/>
              <a:gd name="connsiteX6" fmla="*/ 4269283 w 4819650"/>
              <a:gd name="connsiteY6" fmla="*/ 4713284 h 5143499"/>
              <a:gd name="connsiteX7" fmla="*/ 4269283 w 4819650"/>
              <a:gd name="connsiteY7" fmla="*/ 4762855 h 5143499"/>
              <a:gd name="connsiteX8" fmla="*/ 4251354 w 4819650"/>
              <a:gd name="connsiteY8" fmla="*/ 4781731 h 5143499"/>
              <a:gd name="connsiteX9" fmla="*/ 4233425 w 4819650"/>
              <a:gd name="connsiteY9" fmla="*/ 4762855 h 5143499"/>
              <a:gd name="connsiteX10" fmla="*/ 4233425 w 4819650"/>
              <a:gd name="connsiteY10" fmla="*/ 4713284 h 5143499"/>
              <a:gd name="connsiteX11" fmla="*/ 4212654 w 4819650"/>
              <a:gd name="connsiteY11" fmla="*/ 4713284 h 5143499"/>
              <a:gd name="connsiteX12" fmla="*/ 4336096 w 4819650"/>
              <a:gd name="connsiteY12" fmla="*/ 4730124 h 5143499"/>
              <a:gd name="connsiteX13" fmla="*/ 4304596 w 4819650"/>
              <a:gd name="connsiteY13" fmla="*/ 4737063 h 5143499"/>
              <a:gd name="connsiteX14" fmla="*/ 4330080 w 4819650"/>
              <a:gd name="connsiteY14" fmla="*/ 4761932 h 5143499"/>
              <a:gd name="connsiteX15" fmla="*/ 4336073 w 4819650"/>
              <a:gd name="connsiteY15" fmla="*/ 4764134 h 5143499"/>
              <a:gd name="connsiteX16" fmla="*/ 4351657 w 4819650"/>
              <a:gd name="connsiteY16" fmla="*/ 4774982 h 5143499"/>
              <a:gd name="connsiteX17" fmla="*/ 4337186 w 4819650"/>
              <a:gd name="connsiteY17" fmla="*/ 4782845 h 5143499"/>
              <a:gd name="connsiteX18" fmla="*/ 4308220 w 4819650"/>
              <a:gd name="connsiteY18" fmla="*/ 4775763 h 5143499"/>
              <a:gd name="connsiteX19" fmla="*/ 4303341 w 4819650"/>
              <a:gd name="connsiteY19" fmla="*/ 4793858 h 5143499"/>
              <a:gd name="connsiteX20" fmla="*/ 4338109 w 4819650"/>
              <a:gd name="connsiteY20" fmla="*/ 4801413 h 5143499"/>
              <a:gd name="connsiteX21" fmla="*/ 4372404 w 4819650"/>
              <a:gd name="connsiteY21" fmla="*/ 4774342 h 5143499"/>
              <a:gd name="connsiteX22" fmla="*/ 4345688 w 4819650"/>
              <a:gd name="connsiteY22" fmla="*/ 4747768 h 5143499"/>
              <a:gd name="connsiteX23" fmla="*/ 4339388 w 4819650"/>
              <a:gd name="connsiteY23" fmla="*/ 4745400 h 5143499"/>
              <a:gd name="connsiteX24" fmla="*/ 4336096 w 4819650"/>
              <a:gd name="connsiteY24" fmla="*/ 4730124 h 5143499"/>
              <a:gd name="connsiteX25" fmla="*/ 4133525 w 4819650"/>
              <a:gd name="connsiteY25" fmla="*/ 4722426 h 5143499"/>
              <a:gd name="connsiteX26" fmla="*/ 4122985 w 4819650"/>
              <a:gd name="connsiteY26" fmla="*/ 4746182 h 5143499"/>
              <a:gd name="connsiteX27" fmla="*/ 4122985 w 4819650"/>
              <a:gd name="connsiteY27" fmla="*/ 4799850 h 5143499"/>
              <a:gd name="connsiteX28" fmla="*/ 4143591 w 4819650"/>
              <a:gd name="connsiteY28" fmla="*/ 4799850 h 5143499"/>
              <a:gd name="connsiteX29" fmla="*/ 4143591 w 4819650"/>
              <a:gd name="connsiteY29" fmla="*/ 4746182 h 5143499"/>
              <a:gd name="connsiteX30" fmla="*/ 4159648 w 4819650"/>
              <a:gd name="connsiteY30" fmla="*/ 4731379 h 5143499"/>
              <a:gd name="connsiteX31" fmla="*/ 4175375 w 4819650"/>
              <a:gd name="connsiteY31" fmla="*/ 4746182 h 5143499"/>
              <a:gd name="connsiteX32" fmla="*/ 4175375 w 4819650"/>
              <a:gd name="connsiteY32" fmla="*/ 4799850 h 5143499"/>
              <a:gd name="connsiteX33" fmla="*/ 4196146 w 4819650"/>
              <a:gd name="connsiteY33" fmla="*/ 4799850 h 5143499"/>
              <a:gd name="connsiteX34" fmla="*/ 4196146 w 4819650"/>
              <a:gd name="connsiteY34" fmla="*/ 4744760 h 5143499"/>
              <a:gd name="connsiteX35" fmla="*/ 4159648 w 4819650"/>
              <a:gd name="connsiteY35" fmla="*/ 4711721 h 5143499"/>
              <a:gd name="connsiteX36" fmla="*/ 4133525 w 4819650"/>
              <a:gd name="connsiteY36" fmla="*/ 4722426 h 5143499"/>
              <a:gd name="connsiteX37" fmla="*/ 2094551 w 4819650"/>
              <a:gd name="connsiteY37" fmla="*/ 0 h 5143499"/>
              <a:gd name="connsiteX38" fmla="*/ 4819650 w 4819650"/>
              <a:gd name="connsiteY38" fmla="*/ 0 h 5143499"/>
              <a:gd name="connsiteX39" fmla="*/ 4819650 w 4819650"/>
              <a:gd name="connsiteY39" fmla="*/ 5143499 h 5143499"/>
              <a:gd name="connsiteX40" fmla="*/ 0 w 4819650"/>
              <a:gd name="connsiteY40" fmla="*/ 5143499 h 5143499"/>
              <a:gd name="connsiteX41" fmla="*/ 0 w 4819650"/>
              <a:gd name="connsiteY41" fmla="*/ 5143498 h 5143499"/>
              <a:gd name="connsiteX42" fmla="*/ 371745 w 4819650"/>
              <a:gd name="connsiteY42" fmla="*/ 5143498 h 5143499"/>
              <a:gd name="connsiteX43" fmla="*/ 1206499 w 4819650"/>
              <a:gd name="connsiteY43" fmla="*/ 1821610 h 5143499"/>
              <a:gd name="connsiteX44" fmla="*/ 2048326 w 4819650"/>
              <a:gd name="connsiteY44" fmla="*/ 58253 h 5143499"/>
              <a:gd name="connsiteX45" fmla="*/ 2094551 w 4819650"/>
              <a:gd name="connsiteY45" fmla="*/ 0 h 5143499"/>
              <a:gd name="connsiteX0" fmla="*/ 4212654 w 4819650"/>
              <a:gd name="connsiteY0" fmla="*/ 4713284 h 5143499"/>
              <a:gd name="connsiteX1" fmla="*/ 4212654 w 4819650"/>
              <a:gd name="connsiteY1" fmla="*/ 4762855 h 5143499"/>
              <a:gd name="connsiteX2" fmla="*/ 4251378 w 4819650"/>
              <a:gd name="connsiteY2" fmla="*/ 4801413 h 5143499"/>
              <a:gd name="connsiteX3" fmla="*/ 4290101 w 4819650"/>
              <a:gd name="connsiteY3" fmla="*/ 4762855 h 5143499"/>
              <a:gd name="connsiteX4" fmla="*/ 4290101 w 4819650"/>
              <a:gd name="connsiteY4" fmla="*/ 4713284 h 5143499"/>
              <a:gd name="connsiteX5" fmla="*/ 4290054 w 4819650"/>
              <a:gd name="connsiteY5" fmla="*/ 4713284 h 5143499"/>
              <a:gd name="connsiteX6" fmla="*/ 4269283 w 4819650"/>
              <a:gd name="connsiteY6" fmla="*/ 4713284 h 5143499"/>
              <a:gd name="connsiteX7" fmla="*/ 4269283 w 4819650"/>
              <a:gd name="connsiteY7" fmla="*/ 4762855 h 5143499"/>
              <a:gd name="connsiteX8" fmla="*/ 4251354 w 4819650"/>
              <a:gd name="connsiteY8" fmla="*/ 4781731 h 5143499"/>
              <a:gd name="connsiteX9" fmla="*/ 4233425 w 4819650"/>
              <a:gd name="connsiteY9" fmla="*/ 4762855 h 5143499"/>
              <a:gd name="connsiteX10" fmla="*/ 4233425 w 4819650"/>
              <a:gd name="connsiteY10" fmla="*/ 4713284 h 5143499"/>
              <a:gd name="connsiteX11" fmla="*/ 4212654 w 4819650"/>
              <a:gd name="connsiteY11" fmla="*/ 4713284 h 5143499"/>
              <a:gd name="connsiteX12" fmla="*/ 4336096 w 4819650"/>
              <a:gd name="connsiteY12" fmla="*/ 4730124 h 5143499"/>
              <a:gd name="connsiteX13" fmla="*/ 4304596 w 4819650"/>
              <a:gd name="connsiteY13" fmla="*/ 4737063 h 5143499"/>
              <a:gd name="connsiteX14" fmla="*/ 4330080 w 4819650"/>
              <a:gd name="connsiteY14" fmla="*/ 4761932 h 5143499"/>
              <a:gd name="connsiteX15" fmla="*/ 4336073 w 4819650"/>
              <a:gd name="connsiteY15" fmla="*/ 4764134 h 5143499"/>
              <a:gd name="connsiteX16" fmla="*/ 4351657 w 4819650"/>
              <a:gd name="connsiteY16" fmla="*/ 4774982 h 5143499"/>
              <a:gd name="connsiteX17" fmla="*/ 4337186 w 4819650"/>
              <a:gd name="connsiteY17" fmla="*/ 4782845 h 5143499"/>
              <a:gd name="connsiteX18" fmla="*/ 4308220 w 4819650"/>
              <a:gd name="connsiteY18" fmla="*/ 4775763 h 5143499"/>
              <a:gd name="connsiteX19" fmla="*/ 4303341 w 4819650"/>
              <a:gd name="connsiteY19" fmla="*/ 4793858 h 5143499"/>
              <a:gd name="connsiteX20" fmla="*/ 4338109 w 4819650"/>
              <a:gd name="connsiteY20" fmla="*/ 4801413 h 5143499"/>
              <a:gd name="connsiteX21" fmla="*/ 4372404 w 4819650"/>
              <a:gd name="connsiteY21" fmla="*/ 4774342 h 5143499"/>
              <a:gd name="connsiteX22" fmla="*/ 4345688 w 4819650"/>
              <a:gd name="connsiteY22" fmla="*/ 4747768 h 5143499"/>
              <a:gd name="connsiteX23" fmla="*/ 4339388 w 4819650"/>
              <a:gd name="connsiteY23" fmla="*/ 4745400 h 5143499"/>
              <a:gd name="connsiteX24" fmla="*/ 4336096 w 4819650"/>
              <a:gd name="connsiteY24" fmla="*/ 4730124 h 5143499"/>
              <a:gd name="connsiteX25" fmla="*/ 4133525 w 4819650"/>
              <a:gd name="connsiteY25" fmla="*/ 4722426 h 5143499"/>
              <a:gd name="connsiteX26" fmla="*/ 4122985 w 4819650"/>
              <a:gd name="connsiteY26" fmla="*/ 4746182 h 5143499"/>
              <a:gd name="connsiteX27" fmla="*/ 4122985 w 4819650"/>
              <a:gd name="connsiteY27" fmla="*/ 4799850 h 5143499"/>
              <a:gd name="connsiteX28" fmla="*/ 4143591 w 4819650"/>
              <a:gd name="connsiteY28" fmla="*/ 4799850 h 5143499"/>
              <a:gd name="connsiteX29" fmla="*/ 4143591 w 4819650"/>
              <a:gd name="connsiteY29" fmla="*/ 4746182 h 5143499"/>
              <a:gd name="connsiteX30" fmla="*/ 4159648 w 4819650"/>
              <a:gd name="connsiteY30" fmla="*/ 4731379 h 5143499"/>
              <a:gd name="connsiteX31" fmla="*/ 4175375 w 4819650"/>
              <a:gd name="connsiteY31" fmla="*/ 4746182 h 5143499"/>
              <a:gd name="connsiteX32" fmla="*/ 4175375 w 4819650"/>
              <a:gd name="connsiteY32" fmla="*/ 4799850 h 5143499"/>
              <a:gd name="connsiteX33" fmla="*/ 4196146 w 4819650"/>
              <a:gd name="connsiteY33" fmla="*/ 4799850 h 5143499"/>
              <a:gd name="connsiteX34" fmla="*/ 4196146 w 4819650"/>
              <a:gd name="connsiteY34" fmla="*/ 4744760 h 5143499"/>
              <a:gd name="connsiteX35" fmla="*/ 4133525 w 4819650"/>
              <a:gd name="connsiteY35" fmla="*/ 4722426 h 5143499"/>
              <a:gd name="connsiteX36" fmla="*/ 2094551 w 4819650"/>
              <a:gd name="connsiteY36" fmla="*/ 0 h 5143499"/>
              <a:gd name="connsiteX37" fmla="*/ 4819650 w 4819650"/>
              <a:gd name="connsiteY37" fmla="*/ 0 h 5143499"/>
              <a:gd name="connsiteX38" fmla="*/ 4819650 w 4819650"/>
              <a:gd name="connsiteY38" fmla="*/ 5143499 h 5143499"/>
              <a:gd name="connsiteX39" fmla="*/ 0 w 4819650"/>
              <a:gd name="connsiteY39" fmla="*/ 5143499 h 5143499"/>
              <a:gd name="connsiteX40" fmla="*/ 0 w 4819650"/>
              <a:gd name="connsiteY40" fmla="*/ 5143498 h 5143499"/>
              <a:gd name="connsiteX41" fmla="*/ 371745 w 4819650"/>
              <a:gd name="connsiteY41" fmla="*/ 5143498 h 5143499"/>
              <a:gd name="connsiteX42" fmla="*/ 1206499 w 4819650"/>
              <a:gd name="connsiteY42" fmla="*/ 1821610 h 5143499"/>
              <a:gd name="connsiteX43" fmla="*/ 2048326 w 4819650"/>
              <a:gd name="connsiteY43" fmla="*/ 58253 h 5143499"/>
              <a:gd name="connsiteX44" fmla="*/ 2094551 w 4819650"/>
              <a:gd name="connsiteY44" fmla="*/ 0 h 5143499"/>
              <a:gd name="connsiteX0" fmla="*/ 4212654 w 4819650"/>
              <a:gd name="connsiteY0" fmla="*/ 4713284 h 5143499"/>
              <a:gd name="connsiteX1" fmla="*/ 4212654 w 4819650"/>
              <a:gd name="connsiteY1" fmla="*/ 4762855 h 5143499"/>
              <a:gd name="connsiteX2" fmla="*/ 4251378 w 4819650"/>
              <a:gd name="connsiteY2" fmla="*/ 4801413 h 5143499"/>
              <a:gd name="connsiteX3" fmla="*/ 4290101 w 4819650"/>
              <a:gd name="connsiteY3" fmla="*/ 4762855 h 5143499"/>
              <a:gd name="connsiteX4" fmla="*/ 4290101 w 4819650"/>
              <a:gd name="connsiteY4" fmla="*/ 4713284 h 5143499"/>
              <a:gd name="connsiteX5" fmla="*/ 4290054 w 4819650"/>
              <a:gd name="connsiteY5" fmla="*/ 4713284 h 5143499"/>
              <a:gd name="connsiteX6" fmla="*/ 4269283 w 4819650"/>
              <a:gd name="connsiteY6" fmla="*/ 4713284 h 5143499"/>
              <a:gd name="connsiteX7" fmla="*/ 4269283 w 4819650"/>
              <a:gd name="connsiteY7" fmla="*/ 4762855 h 5143499"/>
              <a:gd name="connsiteX8" fmla="*/ 4251354 w 4819650"/>
              <a:gd name="connsiteY8" fmla="*/ 4781731 h 5143499"/>
              <a:gd name="connsiteX9" fmla="*/ 4233425 w 4819650"/>
              <a:gd name="connsiteY9" fmla="*/ 4762855 h 5143499"/>
              <a:gd name="connsiteX10" fmla="*/ 4233425 w 4819650"/>
              <a:gd name="connsiteY10" fmla="*/ 4713284 h 5143499"/>
              <a:gd name="connsiteX11" fmla="*/ 4212654 w 4819650"/>
              <a:gd name="connsiteY11" fmla="*/ 4713284 h 5143499"/>
              <a:gd name="connsiteX12" fmla="*/ 4336096 w 4819650"/>
              <a:gd name="connsiteY12" fmla="*/ 4730124 h 5143499"/>
              <a:gd name="connsiteX13" fmla="*/ 4304596 w 4819650"/>
              <a:gd name="connsiteY13" fmla="*/ 4737063 h 5143499"/>
              <a:gd name="connsiteX14" fmla="*/ 4330080 w 4819650"/>
              <a:gd name="connsiteY14" fmla="*/ 4761932 h 5143499"/>
              <a:gd name="connsiteX15" fmla="*/ 4336073 w 4819650"/>
              <a:gd name="connsiteY15" fmla="*/ 4764134 h 5143499"/>
              <a:gd name="connsiteX16" fmla="*/ 4351657 w 4819650"/>
              <a:gd name="connsiteY16" fmla="*/ 4774982 h 5143499"/>
              <a:gd name="connsiteX17" fmla="*/ 4337186 w 4819650"/>
              <a:gd name="connsiteY17" fmla="*/ 4782845 h 5143499"/>
              <a:gd name="connsiteX18" fmla="*/ 4308220 w 4819650"/>
              <a:gd name="connsiteY18" fmla="*/ 4775763 h 5143499"/>
              <a:gd name="connsiteX19" fmla="*/ 4303341 w 4819650"/>
              <a:gd name="connsiteY19" fmla="*/ 4793858 h 5143499"/>
              <a:gd name="connsiteX20" fmla="*/ 4338109 w 4819650"/>
              <a:gd name="connsiteY20" fmla="*/ 4801413 h 5143499"/>
              <a:gd name="connsiteX21" fmla="*/ 4372404 w 4819650"/>
              <a:gd name="connsiteY21" fmla="*/ 4774342 h 5143499"/>
              <a:gd name="connsiteX22" fmla="*/ 4345688 w 4819650"/>
              <a:gd name="connsiteY22" fmla="*/ 4747768 h 5143499"/>
              <a:gd name="connsiteX23" fmla="*/ 4339388 w 4819650"/>
              <a:gd name="connsiteY23" fmla="*/ 4745400 h 5143499"/>
              <a:gd name="connsiteX24" fmla="*/ 4336096 w 4819650"/>
              <a:gd name="connsiteY24" fmla="*/ 4730124 h 5143499"/>
              <a:gd name="connsiteX25" fmla="*/ 4196146 w 4819650"/>
              <a:gd name="connsiteY25" fmla="*/ 4744760 h 5143499"/>
              <a:gd name="connsiteX26" fmla="*/ 4122985 w 4819650"/>
              <a:gd name="connsiteY26" fmla="*/ 4746182 h 5143499"/>
              <a:gd name="connsiteX27" fmla="*/ 4122985 w 4819650"/>
              <a:gd name="connsiteY27" fmla="*/ 4799850 h 5143499"/>
              <a:gd name="connsiteX28" fmla="*/ 4143591 w 4819650"/>
              <a:gd name="connsiteY28" fmla="*/ 4799850 h 5143499"/>
              <a:gd name="connsiteX29" fmla="*/ 4143591 w 4819650"/>
              <a:gd name="connsiteY29" fmla="*/ 4746182 h 5143499"/>
              <a:gd name="connsiteX30" fmla="*/ 4159648 w 4819650"/>
              <a:gd name="connsiteY30" fmla="*/ 4731379 h 5143499"/>
              <a:gd name="connsiteX31" fmla="*/ 4175375 w 4819650"/>
              <a:gd name="connsiteY31" fmla="*/ 4746182 h 5143499"/>
              <a:gd name="connsiteX32" fmla="*/ 4175375 w 4819650"/>
              <a:gd name="connsiteY32" fmla="*/ 4799850 h 5143499"/>
              <a:gd name="connsiteX33" fmla="*/ 4196146 w 4819650"/>
              <a:gd name="connsiteY33" fmla="*/ 4799850 h 5143499"/>
              <a:gd name="connsiteX34" fmla="*/ 4196146 w 4819650"/>
              <a:gd name="connsiteY34" fmla="*/ 4744760 h 5143499"/>
              <a:gd name="connsiteX35" fmla="*/ 2094551 w 4819650"/>
              <a:gd name="connsiteY35" fmla="*/ 0 h 5143499"/>
              <a:gd name="connsiteX36" fmla="*/ 4819650 w 4819650"/>
              <a:gd name="connsiteY36" fmla="*/ 0 h 5143499"/>
              <a:gd name="connsiteX37" fmla="*/ 4819650 w 4819650"/>
              <a:gd name="connsiteY37" fmla="*/ 5143499 h 5143499"/>
              <a:gd name="connsiteX38" fmla="*/ 0 w 4819650"/>
              <a:gd name="connsiteY38" fmla="*/ 5143499 h 5143499"/>
              <a:gd name="connsiteX39" fmla="*/ 0 w 4819650"/>
              <a:gd name="connsiteY39" fmla="*/ 5143498 h 5143499"/>
              <a:gd name="connsiteX40" fmla="*/ 371745 w 4819650"/>
              <a:gd name="connsiteY40" fmla="*/ 5143498 h 5143499"/>
              <a:gd name="connsiteX41" fmla="*/ 1206499 w 4819650"/>
              <a:gd name="connsiteY41" fmla="*/ 1821610 h 5143499"/>
              <a:gd name="connsiteX42" fmla="*/ 2048326 w 4819650"/>
              <a:gd name="connsiteY42" fmla="*/ 58253 h 5143499"/>
              <a:gd name="connsiteX43" fmla="*/ 2094551 w 4819650"/>
              <a:gd name="connsiteY43" fmla="*/ 0 h 5143499"/>
              <a:gd name="connsiteX0" fmla="*/ 4212654 w 4819650"/>
              <a:gd name="connsiteY0" fmla="*/ 4713284 h 5143499"/>
              <a:gd name="connsiteX1" fmla="*/ 4212654 w 4819650"/>
              <a:gd name="connsiteY1" fmla="*/ 4762855 h 5143499"/>
              <a:gd name="connsiteX2" fmla="*/ 4251378 w 4819650"/>
              <a:gd name="connsiteY2" fmla="*/ 4801413 h 5143499"/>
              <a:gd name="connsiteX3" fmla="*/ 4290101 w 4819650"/>
              <a:gd name="connsiteY3" fmla="*/ 4762855 h 5143499"/>
              <a:gd name="connsiteX4" fmla="*/ 4290101 w 4819650"/>
              <a:gd name="connsiteY4" fmla="*/ 4713284 h 5143499"/>
              <a:gd name="connsiteX5" fmla="*/ 4290054 w 4819650"/>
              <a:gd name="connsiteY5" fmla="*/ 4713284 h 5143499"/>
              <a:gd name="connsiteX6" fmla="*/ 4269283 w 4819650"/>
              <a:gd name="connsiteY6" fmla="*/ 4713284 h 5143499"/>
              <a:gd name="connsiteX7" fmla="*/ 4269283 w 4819650"/>
              <a:gd name="connsiteY7" fmla="*/ 4762855 h 5143499"/>
              <a:gd name="connsiteX8" fmla="*/ 4251354 w 4819650"/>
              <a:gd name="connsiteY8" fmla="*/ 4781731 h 5143499"/>
              <a:gd name="connsiteX9" fmla="*/ 4233425 w 4819650"/>
              <a:gd name="connsiteY9" fmla="*/ 4762855 h 5143499"/>
              <a:gd name="connsiteX10" fmla="*/ 4233425 w 4819650"/>
              <a:gd name="connsiteY10" fmla="*/ 4713284 h 5143499"/>
              <a:gd name="connsiteX11" fmla="*/ 4212654 w 4819650"/>
              <a:gd name="connsiteY11" fmla="*/ 4713284 h 5143499"/>
              <a:gd name="connsiteX12" fmla="*/ 4336096 w 4819650"/>
              <a:gd name="connsiteY12" fmla="*/ 4730124 h 5143499"/>
              <a:gd name="connsiteX13" fmla="*/ 4304596 w 4819650"/>
              <a:gd name="connsiteY13" fmla="*/ 4737063 h 5143499"/>
              <a:gd name="connsiteX14" fmla="*/ 4330080 w 4819650"/>
              <a:gd name="connsiteY14" fmla="*/ 4761932 h 5143499"/>
              <a:gd name="connsiteX15" fmla="*/ 4336073 w 4819650"/>
              <a:gd name="connsiteY15" fmla="*/ 4764134 h 5143499"/>
              <a:gd name="connsiteX16" fmla="*/ 4351657 w 4819650"/>
              <a:gd name="connsiteY16" fmla="*/ 4774982 h 5143499"/>
              <a:gd name="connsiteX17" fmla="*/ 4337186 w 4819650"/>
              <a:gd name="connsiteY17" fmla="*/ 4782845 h 5143499"/>
              <a:gd name="connsiteX18" fmla="*/ 4308220 w 4819650"/>
              <a:gd name="connsiteY18" fmla="*/ 4775763 h 5143499"/>
              <a:gd name="connsiteX19" fmla="*/ 4303341 w 4819650"/>
              <a:gd name="connsiteY19" fmla="*/ 4793858 h 5143499"/>
              <a:gd name="connsiteX20" fmla="*/ 4338109 w 4819650"/>
              <a:gd name="connsiteY20" fmla="*/ 4801413 h 5143499"/>
              <a:gd name="connsiteX21" fmla="*/ 4372404 w 4819650"/>
              <a:gd name="connsiteY21" fmla="*/ 4774342 h 5143499"/>
              <a:gd name="connsiteX22" fmla="*/ 4345688 w 4819650"/>
              <a:gd name="connsiteY22" fmla="*/ 4747768 h 5143499"/>
              <a:gd name="connsiteX23" fmla="*/ 4339388 w 4819650"/>
              <a:gd name="connsiteY23" fmla="*/ 4745400 h 5143499"/>
              <a:gd name="connsiteX24" fmla="*/ 4336096 w 4819650"/>
              <a:gd name="connsiteY24" fmla="*/ 4730124 h 5143499"/>
              <a:gd name="connsiteX25" fmla="*/ 4196146 w 4819650"/>
              <a:gd name="connsiteY25" fmla="*/ 4744760 h 5143499"/>
              <a:gd name="connsiteX26" fmla="*/ 4122985 w 4819650"/>
              <a:gd name="connsiteY26" fmla="*/ 4746182 h 5143499"/>
              <a:gd name="connsiteX27" fmla="*/ 4122985 w 4819650"/>
              <a:gd name="connsiteY27" fmla="*/ 4799850 h 5143499"/>
              <a:gd name="connsiteX28" fmla="*/ 4143591 w 4819650"/>
              <a:gd name="connsiteY28" fmla="*/ 4799850 h 5143499"/>
              <a:gd name="connsiteX29" fmla="*/ 4143591 w 4819650"/>
              <a:gd name="connsiteY29" fmla="*/ 4746182 h 5143499"/>
              <a:gd name="connsiteX30" fmla="*/ 4175375 w 4819650"/>
              <a:gd name="connsiteY30" fmla="*/ 4746182 h 5143499"/>
              <a:gd name="connsiteX31" fmla="*/ 4175375 w 4819650"/>
              <a:gd name="connsiteY31" fmla="*/ 4799850 h 5143499"/>
              <a:gd name="connsiteX32" fmla="*/ 4196146 w 4819650"/>
              <a:gd name="connsiteY32" fmla="*/ 4799850 h 5143499"/>
              <a:gd name="connsiteX33" fmla="*/ 4196146 w 4819650"/>
              <a:gd name="connsiteY33" fmla="*/ 4744760 h 5143499"/>
              <a:gd name="connsiteX34" fmla="*/ 2094551 w 4819650"/>
              <a:gd name="connsiteY34" fmla="*/ 0 h 5143499"/>
              <a:gd name="connsiteX35" fmla="*/ 4819650 w 4819650"/>
              <a:gd name="connsiteY35" fmla="*/ 0 h 5143499"/>
              <a:gd name="connsiteX36" fmla="*/ 4819650 w 4819650"/>
              <a:gd name="connsiteY36" fmla="*/ 5143499 h 5143499"/>
              <a:gd name="connsiteX37" fmla="*/ 0 w 4819650"/>
              <a:gd name="connsiteY37" fmla="*/ 5143499 h 5143499"/>
              <a:gd name="connsiteX38" fmla="*/ 0 w 4819650"/>
              <a:gd name="connsiteY38" fmla="*/ 5143498 h 5143499"/>
              <a:gd name="connsiteX39" fmla="*/ 371745 w 4819650"/>
              <a:gd name="connsiteY39" fmla="*/ 5143498 h 5143499"/>
              <a:gd name="connsiteX40" fmla="*/ 1206499 w 4819650"/>
              <a:gd name="connsiteY40" fmla="*/ 1821610 h 5143499"/>
              <a:gd name="connsiteX41" fmla="*/ 2048326 w 4819650"/>
              <a:gd name="connsiteY41" fmla="*/ 58253 h 5143499"/>
              <a:gd name="connsiteX42" fmla="*/ 2094551 w 4819650"/>
              <a:gd name="connsiteY42" fmla="*/ 0 h 5143499"/>
              <a:gd name="connsiteX0" fmla="*/ 4212654 w 4819650"/>
              <a:gd name="connsiteY0" fmla="*/ 4713284 h 5143499"/>
              <a:gd name="connsiteX1" fmla="*/ 4212654 w 4819650"/>
              <a:gd name="connsiteY1" fmla="*/ 4762855 h 5143499"/>
              <a:gd name="connsiteX2" fmla="*/ 4251378 w 4819650"/>
              <a:gd name="connsiteY2" fmla="*/ 4801413 h 5143499"/>
              <a:gd name="connsiteX3" fmla="*/ 4290101 w 4819650"/>
              <a:gd name="connsiteY3" fmla="*/ 4762855 h 5143499"/>
              <a:gd name="connsiteX4" fmla="*/ 4290101 w 4819650"/>
              <a:gd name="connsiteY4" fmla="*/ 4713284 h 5143499"/>
              <a:gd name="connsiteX5" fmla="*/ 4290054 w 4819650"/>
              <a:gd name="connsiteY5" fmla="*/ 4713284 h 5143499"/>
              <a:gd name="connsiteX6" fmla="*/ 4269283 w 4819650"/>
              <a:gd name="connsiteY6" fmla="*/ 4713284 h 5143499"/>
              <a:gd name="connsiteX7" fmla="*/ 4269283 w 4819650"/>
              <a:gd name="connsiteY7" fmla="*/ 4762855 h 5143499"/>
              <a:gd name="connsiteX8" fmla="*/ 4251354 w 4819650"/>
              <a:gd name="connsiteY8" fmla="*/ 4781731 h 5143499"/>
              <a:gd name="connsiteX9" fmla="*/ 4233425 w 4819650"/>
              <a:gd name="connsiteY9" fmla="*/ 4762855 h 5143499"/>
              <a:gd name="connsiteX10" fmla="*/ 4233425 w 4819650"/>
              <a:gd name="connsiteY10" fmla="*/ 4713284 h 5143499"/>
              <a:gd name="connsiteX11" fmla="*/ 4212654 w 4819650"/>
              <a:gd name="connsiteY11" fmla="*/ 4713284 h 5143499"/>
              <a:gd name="connsiteX12" fmla="*/ 4336096 w 4819650"/>
              <a:gd name="connsiteY12" fmla="*/ 4730124 h 5143499"/>
              <a:gd name="connsiteX13" fmla="*/ 4304596 w 4819650"/>
              <a:gd name="connsiteY13" fmla="*/ 4737063 h 5143499"/>
              <a:gd name="connsiteX14" fmla="*/ 4330080 w 4819650"/>
              <a:gd name="connsiteY14" fmla="*/ 4761932 h 5143499"/>
              <a:gd name="connsiteX15" fmla="*/ 4336073 w 4819650"/>
              <a:gd name="connsiteY15" fmla="*/ 4764134 h 5143499"/>
              <a:gd name="connsiteX16" fmla="*/ 4351657 w 4819650"/>
              <a:gd name="connsiteY16" fmla="*/ 4774982 h 5143499"/>
              <a:gd name="connsiteX17" fmla="*/ 4337186 w 4819650"/>
              <a:gd name="connsiteY17" fmla="*/ 4782845 h 5143499"/>
              <a:gd name="connsiteX18" fmla="*/ 4308220 w 4819650"/>
              <a:gd name="connsiteY18" fmla="*/ 4775763 h 5143499"/>
              <a:gd name="connsiteX19" fmla="*/ 4303341 w 4819650"/>
              <a:gd name="connsiteY19" fmla="*/ 4793858 h 5143499"/>
              <a:gd name="connsiteX20" fmla="*/ 4338109 w 4819650"/>
              <a:gd name="connsiteY20" fmla="*/ 4801413 h 5143499"/>
              <a:gd name="connsiteX21" fmla="*/ 4372404 w 4819650"/>
              <a:gd name="connsiteY21" fmla="*/ 4774342 h 5143499"/>
              <a:gd name="connsiteX22" fmla="*/ 4345688 w 4819650"/>
              <a:gd name="connsiteY22" fmla="*/ 4747768 h 5143499"/>
              <a:gd name="connsiteX23" fmla="*/ 4339388 w 4819650"/>
              <a:gd name="connsiteY23" fmla="*/ 4745400 h 5143499"/>
              <a:gd name="connsiteX24" fmla="*/ 4336096 w 4819650"/>
              <a:gd name="connsiteY24" fmla="*/ 4730124 h 5143499"/>
              <a:gd name="connsiteX25" fmla="*/ 4196146 w 4819650"/>
              <a:gd name="connsiteY25" fmla="*/ 4744760 h 5143499"/>
              <a:gd name="connsiteX26" fmla="*/ 4122985 w 4819650"/>
              <a:gd name="connsiteY26" fmla="*/ 4799850 h 5143499"/>
              <a:gd name="connsiteX27" fmla="*/ 4143591 w 4819650"/>
              <a:gd name="connsiteY27" fmla="*/ 4799850 h 5143499"/>
              <a:gd name="connsiteX28" fmla="*/ 4143591 w 4819650"/>
              <a:gd name="connsiteY28" fmla="*/ 4746182 h 5143499"/>
              <a:gd name="connsiteX29" fmla="*/ 4175375 w 4819650"/>
              <a:gd name="connsiteY29" fmla="*/ 4746182 h 5143499"/>
              <a:gd name="connsiteX30" fmla="*/ 4175375 w 4819650"/>
              <a:gd name="connsiteY30" fmla="*/ 4799850 h 5143499"/>
              <a:gd name="connsiteX31" fmla="*/ 4196146 w 4819650"/>
              <a:gd name="connsiteY31" fmla="*/ 4799850 h 5143499"/>
              <a:gd name="connsiteX32" fmla="*/ 4196146 w 4819650"/>
              <a:gd name="connsiteY32" fmla="*/ 4744760 h 5143499"/>
              <a:gd name="connsiteX33" fmla="*/ 2094551 w 4819650"/>
              <a:gd name="connsiteY33" fmla="*/ 0 h 5143499"/>
              <a:gd name="connsiteX34" fmla="*/ 4819650 w 4819650"/>
              <a:gd name="connsiteY34" fmla="*/ 0 h 5143499"/>
              <a:gd name="connsiteX35" fmla="*/ 4819650 w 4819650"/>
              <a:gd name="connsiteY35" fmla="*/ 5143499 h 5143499"/>
              <a:gd name="connsiteX36" fmla="*/ 0 w 4819650"/>
              <a:gd name="connsiteY36" fmla="*/ 5143499 h 5143499"/>
              <a:gd name="connsiteX37" fmla="*/ 0 w 4819650"/>
              <a:gd name="connsiteY37" fmla="*/ 5143498 h 5143499"/>
              <a:gd name="connsiteX38" fmla="*/ 371745 w 4819650"/>
              <a:gd name="connsiteY38" fmla="*/ 5143498 h 5143499"/>
              <a:gd name="connsiteX39" fmla="*/ 1206499 w 4819650"/>
              <a:gd name="connsiteY39" fmla="*/ 1821610 h 5143499"/>
              <a:gd name="connsiteX40" fmla="*/ 2048326 w 4819650"/>
              <a:gd name="connsiteY40" fmla="*/ 58253 h 5143499"/>
              <a:gd name="connsiteX41" fmla="*/ 2094551 w 4819650"/>
              <a:gd name="connsiteY41" fmla="*/ 0 h 5143499"/>
              <a:gd name="connsiteX0" fmla="*/ 4212654 w 4819650"/>
              <a:gd name="connsiteY0" fmla="*/ 4713284 h 5143499"/>
              <a:gd name="connsiteX1" fmla="*/ 4212654 w 4819650"/>
              <a:gd name="connsiteY1" fmla="*/ 4762855 h 5143499"/>
              <a:gd name="connsiteX2" fmla="*/ 4251378 w 4819650"/>
              <a:gd name="connsiteY2" fmla="*/ 4801413 h 5143499"/>
              <a:gd name="connsiteX3" fmla="*/ 4290101 w 4819650"/>
              <a:gd name="connsiteY3" fmla="*/ 4762855 h 5143499"/>
              <a:gd name="connsiteX4" fmla="*/ 4290101 w 4819650"/>
              <a:gd name="connsiteY4" fmla="*/ 4713284 h 5143499"/>
              <a:gd name="connsiteX5" fmla="*/ 4290054 w 4819650"/>
              <a:gd name="connsiteY5" fmla="*/ 4713284 h 5143499"/>
              <a:gd name="connsiteX6" fmla="*/ 4269283 w 4819650"/>
              <a:gd name="connsiteY6" fmla="*/ 4713284 h 5143499"/>
              <a:gd name="connsiteX7" fmla="*/ 4269283 w 4819650"/>
              <a:gd name="connsiteY7" fmla="*/ 4762855 h 5143499"/>
              <a:gd name="connsiteX8" fmla="*/ 4251354 w 4819650"/>
              <a:gd name="connsiteY8" fmla="*/ 4781731 h 5143499"/>
              <a:gd name="connsiteX9" fmla="*/ 4233425 w 4819650"/>
              <a:gd name="connsiteY9" fmla="*/ 4762855 h 5143499"/>
              <a:gd name="connsiteX10" fmla="*/ 4233425 w 4819650"/>
              <a:gd name="connsiteY10" fmla="*/ 4713284 h 5143499"/>
              <a:gd name="connsiteX11" fmla="*/ 4212654 w 4819650"/>
              <a:gd name="connsiteY11" fmla="*/ 4713284 h 5143499"/>
              <a:gd name="connsiteX12" fmla="*/ 4336096 w 4819650"/>
              <a:gd name="connsiteY12" fmla="*/ 4730124 h 5143499"/>
              <a:gd name="connsiteX13" fmla="*/ 4304596 w 4819650"/>
              <a:gd name="connsiteY13" fmla="*/ 4737063 h 5143499"/>
              <a:gd name="connsiteX14" fmla="*/ 4330080 w 4819650"/>
              <a:gd name="connsiteY14" fmla="*/ 4761932 h 5143499"/>
              <a:gd name="connsiteX15" fmla="*/ 4336073 w 4819650"/>
              <a:gd name="connsiteY15" fmla="*/ 4764134 h 5143499"/>
              <a:gd name="connsiteX16" fmla="*/ 4351657 w 4819650"/>
              <a:gd name="connsiteY16" fmla="*/ 4774982 h 5143499"/>
              <a:gd name="connsiteX17" fmla="*/ 4337186 w 4819650"/>
              <a:gd name="connsiteY17" fmla="*/ 4782845 h 5143499"/>
              <a:gd name="connsiteX18" fmla="*/ 4308220 w 4819650"/>
              <a:gd name="connsiteY18" fmla="*/ 4775763 h 5143499"/>
              <a:gd name="connsiteX19" fmla="*/ 4303341 w 4819650"/>
              <a:gd name="connsiteY19" fmla="*/ 4793858 h 5143499"/>
              <a:gd name="connsiteX20" fmla="*/ 4338109 w 4819650"/>
              <a:gd name="connsiteY20" fmla="*/ 4801413 h 5143499"/>
              <a:gd name="connsiteX21" fmla="*/ 4372404 w 4819650"/>
              <a:gd name="connsiteY21" fmla="*/ 4774342 h 5143499"/>
              <a:gd name="connsiteX22" fmla="*/ 4345688 w 4819650"/>
              <a:gd name="connsiteY22" fmla="*/ 4747768 h 5143499"/>
              <a:gd name="connsiteX23" fmla="*/ 4339388 w 4819650"/>
              <a:gd name="connsiteY23" fmla="*/ 4745400 h 5143499"/>
              <a:gd name="connsiteX24" fmla="*/ 4336096 w 4819650"/>
              <a:gd name="connsiteY24" fmla="*/ 4730124 h 5143499"/>
              <a:gd name="connsiteX25" fmla="*/ 4196146 w 4819650"/>
              <a:gd name="connsiteY25" fmla="*/ 4744760 h 5143499"/>
              <a:gd name="connsiteX26" fmla="*/ 4122985 w 4819650"/>
              <a:gd name="connsiteY26" fmla="*/ 4799850 h 5143499"/>
              <a:gd name="connsiteX27" fmla="*/ 4143591 w 4819650"/>
              <a:gd name="connsiteY27" fmla="*/ 4799850 h 5143499"/>
              <a:gd name="connsiteX28" fmla="*/ 4175375 w 4819650"/>
              <a:gd name="connsiteY28" fmla="*/ 4746182 h 5143499"/>
              <a:gd name="connsiteX29" fmla="*/ 4175375 w 4819650"/>
              <a:gd name="connsiteY29" fmla="*/ 4799850 h 5143499"/>
              <a:gd name="connsiteX30" fmla="*/ 4196146 w 4819650"/>
              <a:gd name="connsiteY30" fmla="*/ 4799850 h 5143499"/>
              <a:gd name="connsiteX31" fmla="*/ 4196146 w 4819650"/>
              <a:gd name="connsiteY31" fmla="*/ 4744760 h 5143499"/>
              <a:gd name="connsiteX32" fmla="*/ 2094551 w 4819650"/>
              <a:gd name="connsiteY32" fmla="*/ 0 h 5143499"/>
              <a:gd name="connsiteX33" fmla="*/ 4819650 w 4819650"/>
              <a:gd name="connsiteY33" fmla="*/ 0 h 5143499"/>
              <a:gd name="connsiteX34" fmla="*/ 4819650 w 4819650"/>
              <a:gd name="connsiteY34" fmla="*/ 5143499 h 5143499"/>
              <a:gd name="connsiteX35" fmla="*/ 0 w 4819650"/>
              <a:gd name="connsiteY35" fmla="*/ 5143499 h 5143499"/>
              <a:gd name="connsiteX36" fmla="*/ 0 w 4819650"/>
              <a:gd name="connsiteY36" fmla="*/ 5143498 h 5143499"/>
              <a:gd name="connsiteX37" fmla="*/ 371745 w 4819650"/>
              <a:gd name="connsiteY37" fmla="*/ 5143498 h 5143499"/>
              <a:gd name="connsiteX38" fmla="*/ 1206499 w 4819650"/>
              <a:gd name="connsiteY38" fmla="*/ 1821610 h 5143499"/>
              <a:gd name="connsiteX39" fmla="*/ 2048326 w 4819650"/>
              <a:gd name="connsiteY39" fmla="*/ 58253 h 5143499"/>
              <a:gd name="connsiteX40" fmla="*/ 2094551 w 4819650"/>
              <a:gd name="connsiteY40" fmla="*/ 0 h 5143499"/>
              <a:gd name="connsiteX0" fmla="*/ 4212654 w 4819650"/>
              <a:gd name="connsiteY0" fmla="*/ 4713284 h 5143499"/>
              <a:gd name="connsiteX1" fmla="*/ 4212654 w 4819650"/>
              <a:gd name="connsiteY1" fmla="*/ 4762855 h 5143499"/>
              <a:gd name="connsiteX2" fmla="*/ 4251378 w 4819650"/>
              <a:gd name="connsiteY2" fmla="*/ 4801413 h 5143499"/>
              <a:gd name="connsiteX3" fmla="*/ 4290101 w 4819650"/>
              <a:gd name="connsiteY3" fmla="*/ 4762855 h 5143499"/>
              <a:gd name="connsiteX4" fmla="*/ 4290101 w 4819650"/>
              <a:gd name="connsiteY4" fmla="*/ 4713284 h 5143499"/>
              <a:gd name="connsiteX5" fmla="*/ 4290054 w 4819650"/>
              <a:gd name="connsiteY5" fmla="*/ 4713284 h 5143499"/>
              <a:gd name="connsiteX6" fmla="*/ 4269283 w 4819650"/>
              <a:gd name="connsiteY6" fmla="*/ 4713284 h 5143499"/>
              <a:gd name="connsiteX7" fmla="*/ 4269283 w 4819650"/>
              <a:gd name="connsiteY7" fmla="*/ 4762855 h 5143499"/>
              <a:gd name="connsiteX8" fmla="*/ 4251354 w 4819650"/>
              <a:gd name="connsiteY8" fmla="*/ 4781731 h 5143499"/>
              <a:gd name="connsiteX9" fmla="*/ 4233425 w 4819650"/>
              <a:gd name="connsiteY9" fmla="*/ 4762855 h 5143499"/>
              <a:gd name="connsiteX10" fmla="*/ 4233425 w 4819650"/>
              <a:gd name="connsiteY10" fmla="*/ 4713284 h 5143499"/>
              <a:gd name="connsiteX11" fmla="*/ 4212654 w 4819650"/>
              <a:gd name="connsiteY11" fmla="*/ 4713284 h 5143499"/>
              <a:gd name="connsiteX12" fmla="*/ 4336096 w 4819650"/>
              <a:gd name="connsiteY12" fmla="*/ 4730124 h 5143499"/>
              <a:gd name="connsiteX13" fmla="*/ 4304596 w 4819650"/>
              <a:gd name="connsiteY13" fmla="*/ 4737063 h 5143499"/>
              <a:gd name="connsiteX14" fmla="*/ 4330080 w 4819650"/>
              <a:gd name="connsiteY14" fmla="*/ 4761932 h 5143499"/>
              <a:gd name="connsiteX15" fmla="*/ 4336073 w 4819650"/>
              <a:gd name="connsiteY15" fmla="*/ 4764134 h 5143499"/>
              <a:gd name="connsiteX16" fmla="*/ 4351657 w 4819650"/>
              <a:gd name="connsiteY16" fmla="*/ 4774982 h 5143499"/>
              <a:gd name="connsiteX17" fmla="*/ 4337186 w 4819650"/>
              <a:gd name="connsiteY17" fmla="*/ 4782845 h 5143499"/>
              <a:gd name="connsiteX18" fmla="*/ 4308220 w 4819650"/>
              <a:gd name="connsiteY18" fmla="*/ 4775763 h 5143499"/>
              <a:gd name="connsiteX19" fmla="*/ 4303341 w 4819650"/>
              <a:gd name="connsiteY19" fmla="*/ 4793858 h 5143499"/>
              <a:gd name="connsiteX20" fmla="*/ 4338109 w 4819650"/>
              <a:gd name="connsiteY20" fmla="*/ 4801413 h 5143499"/>
              <a:gd name="connsiteX21" fmla="*/ 4372404 w 4819650"/>
              <a:gd name="connsiteY21" fmla="*/ 4774342 h 5143499"/>
              <a:gd name="connsiteX22" fmla="*/ 4345688 w 4819650"/>
              <a:gd name="connsiteY22" fmla="*/ 4747768 h 5143499"/>
              <a:gd name="connsiteX23" fmla="*/ 4339388 w 4819650"/>
              <a:gd name="connsiteY23" fmla="*/ 4745400 h 5143499"/>
              <a:gd name="connsiteX24" fmla="*/ 4336096 w 4819650"/>
              <a:gd name="connsiteY24" fmla="*/ 4730124 h 5143499"/>
              <a:gd name="connsiteX25" fmla="*/ 4196146 w 4819650"/>
              <a:gd name="connsiteY25" fmla="*/ 4744760 h 5143499"/>
              <a:gd name="connsiteX26" fmla="*/ 4143591 w 4819650"/>
              <a:gd name="connsiteY26" fmla="*/ 4799850 h 5143499"/>
              <a:gd name="connsiteX27" fmla="*/ 4175375 w 4819650"/>
              <a:gd name="connsiteY27" fmla="*/ 4746182 h 5143499"/>
              <a:gd name="connsiteX28" fmla="*/ 4175375 w 4819650"/>
              <a:gd name="connsiteY28" fmla="*/ 4799850 h 5143499"/>
              <a:gd name="connsiteX29" fmla="*/ 4196146 w 4819650"/>
              <a:gd name="connsiteY29" fmla="*/ 4799850 h 5143499"/>
              <a:gd name="connsiteX30" fmla="*/ 4196146 w 4819650"/>
              <a:gd name="connsiteY30" fmla="*/ 4744760 h 5143499"/>
              <a:gd name="connsiteX31" fmla="*/ 2094551 w 4819650"/>
              <a:gd name="connsiteY31" fmla="*/ 0 h 5143499"/>
              <a:gd name="connsiteX32" fmla="*/ 4819650 w 4819650"/>
              <a:gd name="connsiteY32" fmla="*/ 0 h 5143499"/>
              <a:gd name="connsiteX33" fmla="*/ 4819650 w 4819650"/>
              <a:gd name="connsiteY33" fmla="*/ 5143499 h 5143499"/>
              <a:gd name="connsiteX34" fmla="*/ 0 w 4819650"/>
              <a:gd name="connsiteY34" fmla="*/ 5143499 h 5143499"/>
              <a:gd name="connsiteX35" fmla="*/ 0 w 4819650"/>
              <a:gd name="connsiteY35" fmla="*/ 5143498 h 5143499"/>
              <a:gd name="connsiteX36" fmla="*/ 371745 w 4819650"/>
              <a:gd name="connsiteY36" fmla="*/ 5143498 h 5143499"/>
              <a:gd name="connsiteX37" fmla="*/ 1206499 w 4819650"/>
              <a:gd name="connsiteY37" fmla="*/ 1821610 h 5143499"/>
              <a:gd name="connsiteX38" fmla="*/ 2048326 w 4819650"/>
              <a:gd name="connsiteY38" fmla="*/ 58253 h 5143499"/>
              <a:gd name="connsiteX39" fmla="*/ 2094551 w 4819650"/>
              <a:gd name="connsiteY39" fmla="*/ 0 h 5143499"/>
              <a:gd name="connsiteX0" fmla="*/ 4212654 w 4819650"/>
              <a:gd name="connsiteY0" fmla="*/ 4713284 h 5143499"/>
              <a:gd name="connsiteX1" fmla="*/ 4212654 w 4819650"/>
              <a:gd name="connsiteY1" fmla="*/ 4762855 h 5143499"/>
              <a:gd name="connsiteX2" fmla="*/ 4251378 w 4819650"/>
              <a:gd name="connsiteY2" fmla="*/ 4801413 h 5143499"/>
              <a:gd name="connsiteX3" fmla="*/ 4290101 w 4819650"/>
              <a:gd name="connsiteY3" fmla="*/ 4762855 h 5143499"/>
              <a:gd name="connsiteX4" fmla="*/ 4290101 w 4819650"/>
              <a:gd name="connsiteY4" fmla="*/ 4713284 h 5143499"/>
              <a:gd name="connsiteX5" fmla="*/ 4290054 w 4819650"/>
              <a:gd name="connsiteY5" fmla="*/ 4713284 h 5143499"/>
              <a:gd name="connsiteX6" fmla="*/ 4269283 w 4819650"/>
              <a:gd name="connsiteY6" fmla="*/ 4713284 h 5143499"/>
              <a:gd name="connsiteX7" fmla="*/ 4269283 w 4819650"/>
              <a:gd name="connsiteY7" fmla="*/ 4762855 h 5143499"/>
              <a:gd name="connsiteX8" fmla="*/ 4251354 w 4819650"/>
              <a:gd name="connsiteY8" fmla="*/ 4781731 h 5143499"/>
              <a:gd name="connsiteX9" fmla="*/ 4233425 w 4819650"/>
              <a:gd name="connsiteY9" fmla="*/ 4762855 h 5143499"/>
              <a:gd name="connsiteX10" fmla="*/ 4233425 w 4819650"/>
              <a:gd name="connsiteY10" fmla="*/ 4713284 h 5143499"/>
              <a:gd name="connsiteX11" fmla="*/ 4212654 w 4819650"/>
              <a:gd name="connsiteY11" fmla="*/ 4713284 h 5143499"/>
              <a:gd name="connsiteX12" fmla="*/ 4336096 w 4819650"/>
              <a:gd name="connsiteY12" fmla="*/ 4730124 h 5143499"/>
              <a:gd name="connsiteX13" fmla="*/ 4304596 w 4819650"/>
              <a:gd name="connsiteY13" fmla="*/ 4737063 h 5143499"/>
              <a:gd name="connsiteX14" fmla="*/ 4330080 w 4819650"/>
              <a:gd name="connsiteY14" fmla="*/ 4761932 h 5143499"/>
              <a:gd name="connsiteX15" fmla="*/ 4336073 w 4819650"/>
              <a:gd name="connsiteY15" fmla="*/ 4764134 h 5143499"/>
              <a:gd name="connsiteX16" fmla="*/ 4351657 w 4819650"/>
              <a:gd name="connsiteY16" fmla="*/ 4774982 h 5143499"/>
              <a:gd name="connsiteX17" fmla="*/ 4337186 w 4819650"/>
              <a:gd name="connsiteY17" fmla="*/ 4782845 h 5143499"/>
              <a:gd name="connsiteX18" fmla="*/ 4308220 w 4819650"/>
              <a:gd name="connsiteY18" fmla="*/ 4775763 h 5143499"/>
              <a:gd name="connsiteX19" fmla="*/ 4303341 w 4819650"/>
              <a:gd name="connsiteY19" fmla="*/ 4793858 h 5143499"/>
              <a:gd name="connsiteX20" fmla="*/ 4338109 w 4819650"/>
              <a:gd name="connsiteY20" fmla="*/ 4801413 h 5143499"/>
              <a:gd name="connsiteX21" fmla="*/ 4372404 w 4819650"/>
              <a:gd name="connsiteY21" fmla="*/ 4774342 h 5143499"/>
              <a:gd name="connsiteX22" fmla="*/ 4345688 w 4819650"/>
              <a:gd name="connsiteY22" fmla="*/ 4747768 h 5143499"/>
              <a:gd name="connsiteX23" fmla="*/ 4339388 w 4819650"/>
              <a:gd name="connsiteY23" fmla="*/ 4745400 h 5143499"/>
              <a:gd name="connsiteX24" fmla="*/ 4336096 w 4819650"/>
              <a:gd name="connsiteY24" fmla="*/ 4730124 h 5143499"/>
              <a:gd name="connsiteX25" fmla="*/ 4196146 w 4819650"/>
              <a:gd name="connsiteY25" fmla="*/ 4744760 h 5143499"/>
              <a:gd name="connsiteX26" fmla="*/ 4143591 w 4819650"/>
              <a:gd name="connsiteY26" fmla="*/ 4799850 h 5143499"/>
              <a:gd name="connsiteX27" fmla="*/ 4175375 w 4819650"/>
              <a:gd name="connsiteY27" fmla="*/ 4799850 h 5143499"/>
              <a:gd name="connsiteX28" fmla="*/ 4196146 w 4819650"/>
              <a:gd name="connsiteY28" fmla="*/ 4799850 h 5143499"/>
              <a:gd name="connsiteX29" fmla="*/ 4196146 w 4819650"/>
              <a:gd name="connsiteY29" fmla="*/ 4744760 h 5143499"/>
              <a:gd name="connsiteX30" fmla="*/ 2094551 w 4819650"/>
              <a:gd name="connsiteY30" fmla="*/ 0 h 5143499"/>
              <a:gd name="connsiteX31" fmla="*/ 4819650 w 4819650"/>
              <a:gd name="connsiteY31" fmla="*/ 0 h 5143499"/>
              <a:gd name="connsiteX32" fmla="*/ 4819650 w 4819650"/>
              <a:gd name="connsiteY32" fmla="*/ 5143499 h 5143499"/>
              <a:gd name="connsiteX33" fmla="*/ 0 w 4819650"/>
              <a:gd name="connsiteY33" fmla="*/ 5143499 h 5143499"/>
              <a:gd name="connsiteX34" fmla="*/ 0 w 4819650"/>
              <a:gd name="connsiteY34" fmla="*/ 5143498 h 5143499"/>
              <a:gd name="connsiteX35" fmla="*/ 371745 w 4819650"/>
              <a:gd name="connsiteY35" fmla="*/ 5143498 h 5143499"/>
              <a:gd name="connsiteX36" fmla="*/ 1206499 w 4819650"/>
              <a:gd name="connsiteY36" fmla="*/ 1821610 h 5143499"/>
              <a:gd name="connsiteX37" fmla="*/ 2048326 w 4819650"/>
              <a:gd name="connsiteY37" fmla="*/ 58253 h 5143499"/>
              <a:gd name="connsiteX38" fmla="*/ 2094551 w 4819650"/>
              <a:gd name="connsiteY38" fmla="*/ 0 h 5143499"/>
              <a:gd name="connsiteX0" fmla="*/ 4212654 w 4819650"/>
              <a:gd name="connsiteY0" fmla="*/ 4713284 h 5143499"/>
              <a:gd name="connsiteX1" fmla="*/ 4212654 w 4819650"/>
              <a:gd name="connsiteY1" fmla="*/ 4762855 h 5143499"/>
              <a:gd name="connsiteX2" fmla="*/ 4251378 w 4819650"/>
              <a:gd name="connsiteY2" fmla="*/ 4801413 h 5143499"/>
              <a:gd name="connsiteX3" fmla="*/ 4290101 w 4819650"/>
              <a:gd name="connsiteY3" fmla="*/ 4762855 h 5143499"/>
              <a:gd name="connsiteX4" fmla="*/ 4290101 w 4819650"/>
              <a:gd name="connsiteY4" fmla="*/ 4713284 h 5143499"/>
              <a:gd name="connsiteX5" fmla="*/ 4290054 w 4819650"/>
              <a:gd name="connsiteY5" fmla="*/ 4713284 h 5143499"/>
              <a:gd name="connsiteX6" fmla="*/ 4269283 w 4819650"/>
              <a:gd name="connsiteY6" fmla="*/ 4713284 h 5143499"/>
              <a:gd name="connsiteX7" fmla="*/ 4269283 w 4819650"/>
              <a:gd name="connsiteY7" fmla="*/ 4762855 h 5143499"/>
              <a:gd name="connsiteX8" fmla="*/ 4251354 w 4819650"/>
              <a:gd name="connsiteY8" fmla="*/ 4781731 h 5143499"/>
              <a:gd name="connsiteX9" fmla="*/ 4233425 w 4819650"/>
              <a:gd name="connsiteY9" fmla="*/ 4762855 h 5143499"/>
              <a:gd name="connsiteX10" fmla="*/ 4233425 w 4819650"/>
              <a:gd name="connsiteY10" fmla="*/ 4713284 h 5143499"/>
              <a:gd name="connsiteX11" fmla="*/ 4212654 w 4819650"/>
              <a:gd name="connsiteY11" fmla="*/ 4713284 h 5143499"/>
              <a:gd name="connsiteX12" fmla="*/ 4336096 w 4819650"/>
              <a:gd name="connsiteY12" fmla="*/ 4730124 h 5143499"/>
              <a:gd name="connsiteX13" fmla="*/ 4304596 w 4819650"/>
              <a:gd name="connsiteY13" fmla="*/ 4737063 h 5143499"/>
              <a:gd name="connsiteX14" fmla="*/ 4330080 w 4819650"/>
              <a:gd name="connsiteY14" fmla="*/ 4761932 h 5143499"/>
              <a:gd name="connsiteX15" fmla="*/ 4336073 w 4819650"/>
              <a:gd name="connsiteY15" fmla="*/ 4764134 h 5143499"/>
              <a:gd name="connsiteX16" fmla="*/ 4351657 w 4819650"/>
              <a:gd name="connsiteY16" fmla="*/ 4774982 h 5143499"/>
              <a:gd name="connsiteX17" fmla="*/ 4337186 w 4819650"/>
              <a:gd name="connsiteY17" fmla="*/ 4782845 h 5143499"/>
              <a:gd name="connsiteX18" fmla="*/ 4308220 w 4819650"/>
              <a:gd name="connsiteY18" fmla="*/ 4775763 h 5143499"/>
              <a:gd name="connsiteX19" fmla="*/ 4303341 w 4819650"/>
              <a:gd name="connsiteY19" fmla="*/ 4793858 h 5143499"/>
              <a:gd name="connsiteX20" fmla="*/ 4338109 w 4819650"/>
              <a:gd name="connsiteY20" fmla="*/ 4801413 h 5143499"/>
              <a:gd name="connsiteX21" fmla="*/ 4372404 w 4819650"/>
              <a:gd name="connsiteY21" fmla="*/ 4774342 h 5143499"/>
              <a:gd name="connsiteX22" fmla="*/ 4345688 w 4819650"/>
              <a:gd name="connsiteY22" fmla="*/ 4747768 h 5143499"/>
              <a:gd name="connsiteX23" fmla="*/ 4339388 w 4819650"/>
              <a:gd name="connsiteY23" fmla="*/ 4745400 h 5143499"/>
              <a:gd name="connsiteX24" fmla="*/ 4336096 w 4819650"/>
              <a:gd name="connsiteY24" fmla="*/ 4730124 h 5143499"/>
              <a:gd name="connsiteX25" fmla="*/ 4196146 w 4819650"/>
              <a:gd name="connsiteY25" fmla="*/ 4799850 h 5143499"/>
              <a:gd name="connsiteX26" fmla="*/ 4143591 w 4819650"/>
              <a:gd name="connsiteY26" fmla="*/ 4799850 h 5143499"/>
              <a:gd name="connsiteX27" fmla="*/ 4175375 w 4819650"/>
              <a:gd name="connsiteY27" fmla="*/ 4799850 h 5143499"/>
              <a:gd name="connsiteX28" fmla="*/ 4196146 w 4819650"/>
              <a:gd name="connsiteY28" fmla="*/ 4799850 h 5143499"/>
              <a:gd name="connsiteX29" fmla="*/ 2094551 w 4819650"/>
              <a:gd name="connsiteY29" fmla="*/ 0 h 5143499"/>
              <a:gd name="connsiteX30" fmla="*/ 4819650 w 4819650"/>
              <a:gd name="connsiteY30" fmla="*/ 0 h 5143499"/>
              <a:gd name="connsiteX31" fmla="*/ 4819650 w 4819650"/>
              <a:gd name="connsiteY31" fmla="*/ 5143499 h 5143499"/>
              <a:gd name="connsiteX32" fmla="*/ 0 w 4819650"/>
              <a:gd name="connsiteY32" fmla="*/ 5143499 h 5143499"/>
              <a:gd name="connsiteX33" fmla="*/ 0 w 4819650"/>
              <a:gd name="connsiteY33" fmla="*/ 5143498 h 5143499"/>
              <a:gd name="connsiteX34" fmla="*/ 371745 w 4819650"/>
              <a:gd name="connsiteY34" fmla="*/ 5143498 h 5143499"/>
              <a:gd name="connsiteX35" fmla="*/ 1206499 w 4819650"/>
              <a:gd name="connsiteY35" fmla="*/ 1821610 h 5143499"/>
              <a:gd name="connsiteX36" fmla="*/ 2048326 w 4819650"/>
              <a:gd name="connsiteY36" fmla="*/ 58253 h 5143499"/>
              <a:gd name="connsiteX37" fmla="*/ 2094551 w 4819650"/>
              <a:gd name="connsiteY37" fmla="*/ 0 h 5143499"/>
              <a:gd name="connsiteX0" fmla="*/ 4212654 w 4819650"/>
              <a:gd name="connsiteY0" fmla="*/ 4713284 h 5143499"/>
              <a:gd name="connsiteX1" fmla="*/ 4212654 w 4819650"/>
              <a:gd name="connsiteY1" fmla="*/ 4762855 h 5143499"/>
              <a:gd name="connsiteX2" fmla="*/ 4251378 w 4819650"/>
              <a:gd name="connsiteY2" fmla="*/ 4801413 h 5143499"/>
              <a:gd name="connsiteX3" fmla="*/ 4290101 w 4819650"/>
              <a:gd name="connsiteY3" fmla="*/ 4762855 h 5143499"/>
              <a:gd name="connsiteX4" fmla="*/ 4290101 w 4819650"/>
              <a:gd name="connsiteY4" fmla="*/ 4713284 h 5143499"/>
              <a:gd name="connsiteX5" fmla="*/ 4290054 w 4819650"/>
              <a:gd name="connsiteY5" fmla="*/ 4713284 h 5143499"/>
              <a:gd name="connsiteX6" fmla="*/ 4269283 w 4819650"/>
              <a:gd name="connsiteY6" fmla="*/ 4713284 h 5143499"/>
              <a:gd name="connsiteX7" fmla="*/ 4269283 w 4819650"/>
              <a:gd name="connsiteY7" fmla="*/ 4762855 h 5143499"/>
              <a:gd name="connsiteX8" fmla="*/ 4251354 w 4819650"/>
              <a:gd name="connsiteY8" fmla="*/ 4781731 h 5143499"/>
              <a:gd name="connsiteX9" fmla="*/ 4233425 w 4819650"/>
              <a:gd name="connsiteY9" fmla="*/ 4762855 h 5143499"/>
              <a:gd name="connsiteX10" fmla="*/ 4233425 w 4819650"/>
              <a:gd name="connsiteY10" fmla="*/ 4713284 h 5143499"/>
              <a:gd name="connsiteX11" fmla="*/ 4212654 w 4819650"/>
              <a:gd name="connsiteY11" fmla="*/ 4713284 h 5143499"/>
              <a:gd name="connsiteX12" fmla="*/ 4336096 w 4819650"/>
              <a:gd name="connsiteY12" fmla="*/ 4730124 h 5143499"/>
              <a:gd name="connsiteX13" fmla="*/ 4304596 w 4819650"/>
              <a:gd name="connsiteY13" fmla="*/ 4737063 h 5143499"/>
              <a:gd name="connsiteX14" fmla="*/ 4330080 w 4819650"/>
              <a:gd name="connsiteY14" fmla="*/ 4761932 h 5143499"/>
              <a:gd name="connsiteX15" fmla="*/ 4336073 w 4819650"/>
              <a:gd name="connsiteY15" fmla="*/ 4764134 h 5143499"/>
              <a:gd name="connsiteX16" fmla="*/ 4351657 w 4819650"/>
              <a:gd name="connsiteY16" fmla="*/ 4774982 h 5143499"/>
              <a:gd name="connsiteX17" fmla="*/ 4337186 w 4819650"/>
              <a:gd name="connsiteY17" fmla="*/ 4782845 h 5143499"/>
              <a:gd name="connsiteX18" fmla="*/ 4308220 w 4819650"/>
              <a:gd name="connsiteY18" fmla="*/ 4775763 h 5143499"/>
              <a:gd name="connsiteX19" fmla="*/ 4303341 w 4819650"/>
              <a:gd name="connsiteY19" fmla="*/ 4793858 h 5143499"/>
              <a:gd name="connsiteX20" fmla="*/ 4338109 w 4819650"/>
              <a:gd name="connsiteY20" fmla="*/ 4801413 h 5143499"/>
              <a:gd name="connsiteX21" fmla="*/ 4372404 w 4819650"/>
              <a:gd name="connsiteY21" fmla="*/ 4774342 h 5143499"/>
              <a:gd name="connsiteX22" fmla="*/ 4345688 w 4819650"/>
              <a:gd name="connsiteY22" fmla="*/ 4747768 h 5143499"/>
              <a:gd name="connsiteX23" fmla="*/ 4339388 w 4819650"/>
              <a:gd name="connsiteY23" fmla="*/ 4745400 h 5143499"/>
              <a:gd name="connsiteX24" fmla="*/ 4336096 w 4819650"/>
              <a:gd name="connsiteY24" fmla="*/ 4730124 h 5143499"/>
              <a:gd name="connsiteX25" fmla="*/ 4196146 w 4819650"/>
              <a:gd name="connsiteY25" fmla="*/ 4799850 h 5143499"/>
              <a:gd name="connsiteX26" fmla="*/ 4175375 w 4819650"/>
              <a:gd name="connsiteY26" fmla="*/ 4799850 h 5143499"/>
              <a:gd name="connsiteX27" fmla="*/ 4196146 w 4819650"/>
              <a:gd name="connsiteY27" fmla="*/ 4799850 h 5143499"/>
              <a:gd name="connsiteX28" fmla="*/ 2094551 w 4819650"/>
              <a:gd name="connsiteY28" fmla="*/ 0 h 5143499"/>
              <a:gd name="connsiteX29" fmla="*/ 4819650 w 4819650"/>
              <a:gd name="connsiteY29" fmla="*/ 0 h 5143499"/>
              <a:gd name="connsiteX30" fmla="*/ 4819650 w 4819650"/>
              <a:gd name="connsiteY30" fmla="*/ 5143499 h 5143499"/>
              <a:gd name="connsiteX31" fmla="*/ 0 w 4819650"/>
              <a:gd name="connsiteY31" fmla="*/ 5143499 h 5143499"/>
              <a:gd name="connsiteX32" fmla="*/ 0 w 4819650"/>
              <a:gd name="connsiteY32" fmla="*/ 5143498 h 5143499"/>
              <a:gd name="connsiteX33" fmla="*/ 371745 w 4819650"/>
              <a:gd name="connsiteY33" fmla="*/ 5143498 h 5143499"/>
              <a:gd name="connsiteX34" fmla="*/ 1206499 w 4819650"/>
              <a:gd name="connsiteY34" fmla="*/ 1821610 h 5143499"/>
              <a:gd name="connsiteX35" fmla="*/ 2048326 w 4819650"/>
              <a:gd name="connsiteY35" fmla="*/ 58253 h 5143499"/>
              <a:gd name="connsiteX36" fmla="*/ 2094551 w 4819650"/>
              <a:gd name="connsiteY36" fmla="*/ 0 h 5143499"/>
              <a:gd name="connsiteX0" fmla="*/ 4212654 w 4819650"/>
              <a:gd name="connsiteY0" fmla="*/ 4713284 h 5143499"/>
              <a:gd name="connsiteX1" fmla="*/ 4212654 w 4819650"/>
              <a:gd name="connsiteY1" fmla="*/ 4762855 h 5143499"/>
              <a:gd name="connsiteX2" fmla="*/ 4251378 w 4819650"/>
              <a:gd name="connsiteY2" fmla="*/ 4801413 h 5143499"/>
              <a:gd name="connsiteX3" fmla="*/ 4290101 w 4819650"/>
              <a:gd name="connsiteY3" fmla="*/ 4762855 h 5143499"/>
              <a:gd name="connsiteX4" fmla="*/ 4290101 w 4819650"/>
              <a:gd name="connsiteY4" fmla="*/ 4713284 h 5143499"/>
              <a:gd name="connsiteX5" fmla="*/ 4290054 w 4819650"/>
              <a:gd name="connsiteY5" fmla="*/ 4713284 h 5143499"/>
              <a:gd name="connsiteX6" fmla="*/ 4269283 w 4819650"/>
              <a:gd name="connsiteY6" fmla="*/ 4713284 h 5143499"/>
              <a:gd name="connsiteX7" fmla="*/ 4269283 w 4819650"/>
              <a:gd name="connsiteY7" fmla="*/ 4762855 h 5143499"/>
              <a:gd name="connsiteX8" fmla="*/ 4251354 w 4819650"/>
              <a:gd name="connsiteY8" fmla="*/ 4781731 h 5143499"/>
              <a:gd name="connsiteX9" fmla="*/ 4233425 w 4819650"/>
              <a:gd name="connsiteY9" fmla="*/ 4762855 h 5143499"/>
              <a:gd name="connsiteX10" fmla="*/ 4233425 w 4819650"/>
              <a:gd name="connsiteY10" fmla="*/ 4713284 h 5143499"/>
              <a:gd name="connsiteX11" fmla="*/ 4212654 w 4819650"/>
              <a:gd name="connsiteY11" fmla="*/ 4713284 h 5143499"/>
              <a:gd name="connsiteX12" fmla="*/ 4336096 w 4819650"/>
              <a:gd name="connsiteY12" fmla="*/ 4730124 h 5143499"/>
              <a:gd name="connsiteX13" fmla="*/ 4304596 w 4819650"/>
              <a:gd name="connsiteY13" fmla="*/ 4737063 h 5143499"/>
              <a:gd name="connsiteX14" fmla="*/ 4330080 w 4819650"/>
              <a:gd name="connsiteY14" fmla="*/ 4761932 h 5143499"/>
              <a:gd name="connsiteX15" fmla="*/ 4336073 w 4819650"/>
              <a:gd name="connsiteY15" fmla="*/ 4764134 h 5143499"/>
              <a:gd name="connsiteX16" fmla="*/ 4351657 w 4819650"/>
              <a:gd name="connsiteY16" fmla="*/ 4774982 h 5143499"/>
              <a:gd name="connsiteX17" fmla="*/ 4337186 w 4819650"/>
              <a:gd name="connsiteY17" fmla="*/ 4782845 h 5143499"/>
              <a:gd name="connsiteX18" fmla="*/ 4308220 w 4819650"/>
              <a:gd name="connsiteY18" fmla="*/ 4775763 h 5143499"/>
              <a:gd name="connsiteX19" fmla="*/ 4303341 w 4819650"/>
              <a:gd name="connsiteY19" fmla="*/ 4793858 h 5143499"/>
              <a:gd name="connsiteX20" fmla="*/ 4338109 w 4819650"/>
              <a:gd name="connsiteY20" fmla="*/ 4801413 h 5143499"/>
              <a:gd name="connsiteX21" fmla="*/ 4372404 w 4819650"/>
              <a:gd name="connsiteY21" fmla="*/ 4774342 h 5143499"/>
              <a:gd name="connsiteX22" fmla="*/ 4345688 w 4819650"/>
              <a:gd name="connsiteY22" fmla="*/ 4747768 h 5143499"/>
              <a:gd name="connsiteX23" fmla="*/ 4339388 w 4819650"/>
              <a:gd name="connsiteY23" fmla="*/ 4745400 h 5143499"/>
              <a:gd name="connsiteX24" fmla="*/ 4336096 w 4819650"/>
              <a:gd name="connsiteY24" fmla="*/ 4730124 h 5143499"/>
              <a:gd name="connsiteX25" fmla="*/ 2094551 w 4819650"/>
              <a:gd name="connsiteY25" fmla="*/ 0 h 5143499"/>
              <a:gd name="connsiteX26" fmla="*/ 4819650 w 4819650"/>
              <a:gd name="connsiteY26" fmla="*/ 0 h 5143499"/>
              <a:gd name="connsiteX27" fmla="*/ 4819650 w 4819650"/>
              <a:gd name="connsiteY27" fmla="*/ 5143499 h 5143499"/>
              <a:gd name="connsiteX28" fmla="*/ 0 w 4819650"/>
              <a:gd name="connsiteY28" fmla="*/ 5143499 h 5143499"/>
              <a:gd name="connsiteX29" fmla="*/ 0 w 4819650"/>
              <a:gd name="connsiteY29" fmla="*/ 5143498 h 5143499"/>
              <a:gd name="connsiteX30" fmla="*/ 371745 w 4819650"/>
              <a:gd name="connsiteY30" fmla="*/ 5143498 h 5143499"/>
              <a:gd name="connsiteX31" fmla="*/ 1206499 w 4819650"/>
              <a:gd name="connsiteY31" fmla="*/ 1821610 h 5143499"/>
              <a:gd name="connsiteX32" fmla="*/ 2048326 w 4819650"/>
              <a:gd name="connsiteY32" fmla="*/ 58253 h 5143499"/>
              <a:gd name="connsiteX33" fmla="*/ 2094551 w 4819650"/>
              <a:gd name="connsiteY33" fmla="*/ 0 h 5143499"/>
              <a:gd name="connsiteX0" fmla="*/ 4233425 w 4819650"/>
              <a:gd name="connsiteY0" fmla="*/ 4713284 h 5143499"/>
              <a:gd name="connsiteX1" fmla="*/ 4212654 w 4819650"/>
              <a:gd name="connsiteY1" fmla="*/ 4762855 h 5143499"/>
              <a:gd name="connsiteX2" fmla="*/ 4251378 w 4819650"/>
              <a:gd name="connsiteY2" fmla="*/ 4801413 h 5143499"/>
              <a:gd name="connsiteX3" fmla="*/ 4290101 w 4819650"/>
              <a:gd name="connsiteY3" fmla="*/ 4762855 h 5143499"/>
              <a:gd name="connsiteX4" fmla="*/ 4290101 w 4819650"/>
              <a:gd name="connsiteY4" fmla="*/ 4713284 h 5143499"/>
              <a:gd name="connsiteX5" fmla="*/ 4290054 w 4819650"/>
              <a:gd name="connsiteY5" fmla="*/ 4713284 h 5143499"/>
              <a:gd name="connsiteX6" fmla="*/ 4269283 w 4819650"/>
              <a:gd name="connsiteY6" fmla="*/ 4713284 h 5143499"/>
              <a:gd name="connsiteX7" fmla="*/ 4269283 w 4819650"/>
              <a:gd name="connsiteY7" fmla="*/ 4762855 h 5143499"/>
              <a:gd name="connsiteX8" fmla="*/ 4251354 w 4819650"/>
              <a:gd name="connsiteY8" fmla="*/ 4781731 h 5143499"/>
              <a:gd name="connsiteX9" fmla="*/ 4233425 w 4819650"/>
              <a:gd name="connsiteY9" fmla="*/ 4762855 h 5143499"/>
              <a:gd name="connsiteX10" fmla="*/ 4233425 w 4819650"/>
              <a:gd name="connsiteY10" fmla="*/ 4713284 h 5143499"/>
              <a:gd name="connsiteX11" fmla="*/ 4336096 w 4819650"/>
              <a:gd name="connsiteY11" fmla="*/ 4730124 h 5143499"/>
              <a:gd name="connsiteX12" fmla="*/ 4304596 w 4819650"/>
              <a:gd name="connsiteY12" fmla="*/ 4737063 h 5143499"/>
              <a:gd name="connsiteX13" fmla="*/ 4330080 w 4819650"/>
              <a:gd name="connsiteY13" fmla="*/ 4761932 h 5143499"/>
              <a:gd name="connsiteX14" fmla="*/ 4336073 w 4819650"/>
              <a:gd name="connsiteY14" fmla="*/ 4764134 h 5143499"/>
              <a:gd name="connsiteX15" fmla="*/ 4351657 w 4819650"/>
              <a:gd name="connsiteY15" fmla="*/ 4774982 h 5143499"/>
              <a:gd name="connsiteX16" fmla="*/ 4337186 w 4819650"/>
              <a:gd name="connsiteY16" fmla="*/ 4782845 h 5143499"/>
              <a:gd name="connsiteX17" fmla="*/ 4308220 w 4819650"/>
              <a:gd name="connsiteY17" fmla="*/ 4775763 h 5143499"/>
              <a:gd name="connsiteX18" fmla="*/ 4303341 w 4819650"/>
              <a:gd name="connsiteY18" fmla="*/ 4793858 h 5143499"/>
              <a:gd name="connsiteX19" fmla="*/ 4338109 w 4819650"/>
              <a:gd name="connsiteY19" fmla="*/ 4801413 h 5143499"/>
              <a:gd name="connsiteX20" fmla="*/ 4372404 w 4819650"/>
              <a:gd name="connsiteY20" fmla="*/ 4774342 h 5143499"/>
              <a:gd name="connsiteX21" fmla="*/ 4345688 w 4819650"/>
              <a:gd name="connsiteY21" fmla="*/ 4747768 h 5143499"/>
              <a:gd name="connsiteX22" fmla="*/ 4339388 w 4819650"/>
              <a:gd name="connsiteY22" fmla="*/ 4745400 h 5143499"/>
              <a:gd name="connsiteX23" fmla="*/ 4336096 w 4819650"/>
              <a:gd name="connsiteY23" fmla="*/ 4730124 h 5143499"/>
              <a:gd name="connsiteX24" fmla="*/ 2094551 w 4819650"/>
              <a:gd name="connsiteY24" fmla="*/ 0 h 5143499"/>
              <a:gd name="connsiteX25" fmla="*/ 4819650 w 4819650"/>
              <a:gd name="connsiteY25" fmla="*/ 0 h 5143499"/>
              <a:gd name="connsiteX26" fmla="*/ 4819650 w 4819650"/>
              <a:gd name="connsiteY26" fmla="*/ 5143499 h 5143499"/>
              <a:gd name="connsiteX27" fmla="*/ 0 w 4819650"/>
              <a:gd name="connsiteY27" fmla="*/ 5143499 h 5143499"/>
              <a:gd name="connsiteX28" fmla="*/ 0 w 4819650"/>
              <a:gd name="connsiteY28" fmla="*/ 5143498 h 5143499"/>
              <a:gd name="connsiteX29" fmla="*/ 371745 w 4819650"/>
              <a:gd name="connsiteY29" fmla="*/ 5143498 h 5143499"/>
              <a:gd name="connsiteX30" fmla="*/ 1206499 w 4819650"/>
              <a:gd name="connsiteY30" fmla="*/ 1821610 h 5143499"/>
              <a:gd name="connsiteX31" fmla="*/ 2048326 w 4819650"/>
              <a:gd name="connsiteY31" fmla="*/ 58253 h 5143499"/>
              <a:gd name="connsiteX32" fmla="*/ 2094551 w 4819650"/>
              <a:gd name="connsiteY32" fmla="*/ 0 h 5143499"/>
              <a:gd name="connsiteX0" fmla="*/ 4233425 w 4819650"/>
              <a:gd name="connsiteY0" fmla="*/ 4762855 h 5143499"/>
              <a:gd name="connsiteX1" fmla="*/ 4212654 w 4819650"/>
              <a:gd name="connsiteY1" fmla="*/ 4762855 h 5143499"/>
              <a:gd name="connsiteX2" fmla="*/ 4251378 w 4819650"/>
              <a:gd name="connsiteY2" fmla="*/ 4801413 h 5143499"/>
              <a:gd name="connsiteX3" fmla="*/ 4290101 w 4819650"/>
              <a:gd name="connsiteY3" fmla="*/ 4762855 h 5143499"/>
              <a:gd name="connsiteX4" fmla="*/ 4290101 w 4819650"/>
              <a:gd name="connsiteY4" fmla="*/ 4713284 h 5143499"/>
              <a:gd name="connsiteX5" fmla="*/ 4290054 w 4819650"/>
              <a:gd name="connsiteY5" fmla="*/ 4713284 h 5143499"/>
              <a:gd name="connsiteX6" fmla="*/ 4269283 w 4819650"/>
              <a:gd name="connsiteY6" fmla="*/ 4713284 h 5143499"/>
              <a:gd name="connsiteX7" fmla="*/ 4269283 w 4819650"/>
              <a:gd name="connsiteY7" fmla="*/ 4762855 h 5143499"/>
              <a:gd name="connsiteX8" fmla="*/ 4251354 w 4819650"/>
              <a:gd name="connsiteY8" fmla="*/ 4781731 h 5143499"/>
              <a:gd name="connsiteX9" fmla="*/ 4233425 w 4819650"/>
              <a:gd name="connsiteY9" fmla="*/ 4762855 h 5143499"/>
              <a:gd name="connsiteX10" fmla="*/ 4336096 w 4819650"/>
              <a:gd name="connsiteY10" fmla="*/ 4730124 h 5143499"/>
              <a:gd name="connsiteX11" fmla="*/ 4304596 w 4819650"/>
              <a:gd name="connsiteY11" fmla="*/ 4737063 h 5143499"/>
              <a:gd name="connsiteX12" fmla="*/ 4330080 w 4819650"/>
              <a:gd name="connsiteY12" fmla="*/ 4761932 h 5143499"/>
              <a:gd name="connsiteX13" fmla="*/ 4336073 w 4819650"/>
              <a:gd name="connsiteY13" fmla="*/ 4764134 h 5143499"/>
              <a:gd name="connsiteX14" fmla="*/ 4351657 w 4819650"/>
              <a:gd name="connsiteY14" fmla="*/ 4774982 h 5143499"/>
              <a:gd name="connsiteX15" fmla="*/ 4337186 w 4819650"/>
              <a:gd name="connsiteY15" fmla="*/ 4782845 h 5143499"/>
              <a:gd name="connsiteX16" fmla="*/ 4308220 w 4819650"/>
              <a:gd name="connsiteY16" fmla="*/ 4775763 h 5143499"/>
              <a:gd name="connsiteX17" fmla="*/ 4303341 w 4819650"/>
              <a:gd name="connsiteY17" fmla="*/ 4793858 h 5143499"/>
              <a:gd name="connsiteX18" fmla="*/ 4338109 w 4819650"/>
              <a:gd name="connsiteY18" fmla="*/ 4801413 h 5143499"/>
              <a:gd name="connsiteX19" fmla="*/ 4372404 w 4819650"/>
              <a:gd name="connsiteY19" fmla="*/ 4774342 h 5143499"/>
              <a:gd name="connsiteX20" fmla="*/ 4345688 w 4819650"/>
              <a:gd name="connsiteY20" fmla="*/ 4747768 h 5143499"/>
              <a:gd name="connsiteX21" fmla="*/ 4339388 w 4819650"/>
              <a:gd name="connsiteY21" fmla="*/ 4745400 h 5143499"/>
              <a:gd name="connsiteX22" fmla="*/ 4336096 w 4819650"/>
              <a:gd name="connsiteY22" fmla="*/ 4730124 h 5143499"/>
              <a:gd name="connsiteX23" fmla="*/ 2094551 w 4819650"/>
              <a:gd name="connsiteY23" fmla="*/ 0 h 5143499"/>
              <a:gd name="connsiteX24" fmla="*/ 4819650 w 4819650"/>
              <a:gd name="connsiteY24" fmla="*/ 0 h 5143499"/>
              <a:gd name="connsiteX25" fmla="*/ 4819650 w 4819650"/>
              <a:gd name="connsiteY25" fmla="*/ 5143499 h 5143499"/>
              <a:gd name="connsiteX26" fmla="*/ 0 w 4819650"/>
              <a:gd name="connsiteY26" fmla="*/ 5143499 h 5143499"/>
              <a:gd name="connsiteX27" fmla="*/ 0 w 4819650"/>
              <a:gd name="connsiteY27" fmla="*/ 5143498 h 5143499"/>
              <a:gd name="connsiteX28" fmla="*/ 371745 w 4819650"/>
              <a:gd name="connsiteY28" fmla="*/ 5143498 h 5143499"/>
              <a:gd name="connsiteX29" fmla="*/ 1206499 w 4819650"/>
              <a:gd name="connsiteY29" fmla="*/ 1821610 h 5143499"/>
              <a:gd name="connsiteX30" fmla="*/ 2048326 w 4819650"/>
              <a:gd name="connsiteY30" fmla="*/ 58253 h 5143499"/>
              <a:gd name="connsiteX31" fmla="*/ 2094551 w 4819650"/>
              <a:gd name="connsiteY31" fmla="*/ 0 h 5143499"/>
              <a:gd name="connsiteX0" fmla="*/ 4233425 w 4819650"/>
              <a:gd name="connsiteY0" fmla="*/ 4762855 h 5143499"/>
              <a:gd name="connsiteX1" fmla="*/ 4251378 w 4819650"/>
              <a:gd name="connsiteY1" fmla="*/ 4801413 h 5143499"/>
              <a:gd name="connsiteX2" fmla="*/ 4290101 w 4819650"/>
              <a:gd name="connsiteY2" fmla="*/ 4762855 h 5143499"/>
              <a:gd name="connsiteX3" fmla="*/ 4290101 w 4819650"/>
              <a:gd name="connsiteY3" fmla="*/ 4713284 h 5143499"/>
              <a:gd name="connsiteX4" fmla="*/ 4290054 w 4819650"/>
              <a:gd name="connsiteY4" fmla="*/ 4713284 h 5143499"/>
              <a:gd name="connsiteX5" fmla="*/ 4269283 w 4819650"/>
              <a:gd name="connsiteY5" fmla="*/ 4713284 h 5143499"/>
              <a:gd name="connsiteX6" fmla="*/ 4269283 w 4819650"/>
              <a:gd name="connsiteY6" fmla="*/ 4762855 h 5143499"/>
              <a:gd name="connsiteX7" fmla="*/ 4251354 w 4819650"/>
              <a:gd name="connsiteY7" fmla="*/ 4781731 h 5143499"/>
              <a:gd name="connsiteX8" fmla="*/ 4233425 w 4819650"/>
              <a:gd name="connsiteY8" fmla="*/ 4762855 h 5143499"/>
              <a:gd name="connsiteX9" fmla="*/ 4336096 w 4819650"/>
              <a:gd name="connsiteY9" fmla="*/ 4730124 h 5143499"/>
              <a:gd name="connsiteX10" fmla="*/ 4304596 w 4819650"/>
              <a:gd name="connsiteY10" fmla="*/ 4737063 h 5143499"/>
              <a:gd name="connsiteX11" fmla="*/ 4330080 w 4819650"/>
              <a:gd name="connsiteY11" fmla="*/ 4761932 h 5143499"/>
              <a:gd name="connsiteX12" fmla="*/ 4336073 w 4819650"/>
              <a:gd name="connsiteY12" fmla="*/ 4764134 h 5143499"/>
              <a:gd name="connsiteX13" fmla="*/ 4351657 w 4819650"/>
              <a:gd name="connsiteY13" fmla="*/ 4774982 h 5143499"/>
              <a:gd name="connsiteX14" fmla="*/ 4337186 w 4819650"/>
              <a:gd name="connsiteY14" fmla="*/ 4782845 h 5143499"/>
              <a:gd name="connsiteX15" fmla="*/ 4308220 w 4819650"/>
              <a:gd name="connsiteY15" fmla="*/ 4775763 h 5143499"/>
              <a:gd name="connsiteX16" fmla="*/ 4303341 w 4819650"/>
              <a:gd name="connsiteY16" fmla="*/ 4793858 h 5143499"/>
              <a:gd name="connsiteX17" fmla="*/ 4338109 w 4819650"/>
              <a:gd name="connsiteY17" fmla="*/ 4801413 h 5143499"/>
              <a:gd name="connsiteX18" fmla="*/ 4372404 w 4819650"/>
              <a:gd name="connsiteY18" fmla="*/ 4774342 h 5143499"/>
              <a:gd name="connsiteX19" fmla="*/ 4345688 w 4819650"/>
              <a:gd name="connsiteY19" fmla="*/ 4747768 h 5143499"/>
              <a:gd name="connsiteX20" fmla="*/ 4339388 w 4819650"/>
              <a:gd name="connsiteY20" fmla="*/ 4745400 h 5143499"/>
              <a:gd name="connsiteX21" fmla="*/ 4336096 w 4819650"/>
              <a:gd name="connsiteY21" fmla="*/ 4730124 h 5143499"/>
              <a:gd name="connsiteX22" fmla="*/ 2094551 w 4819650"/>
              <a:gd name="connsiteY22" fmla="*/ 0 h 5143499"/>
              <a:gd name="connsiteX23" fmla="*/ 4819650 w 4819650"/>
              <a:gd name="connsiteY23" fmla="*/ 0 h 5143499"/>
              <a:gd name="connsiteX24" fmla="*/ 4819650 w 4819650"/>
              <a:gd name="connsiteY24" fmla="*/ 5143499 h 5143499"/>
              <a:gd name="connsiteX25" fmla="*/ 0 w 4819650"/>
              <a:gd name="connsiteY25" fmla="*/ 5143499 h 5143499"/>
              <a:gd name="connsiteX26" fmla="*/ 0 w 4819650"/>
              <a:gd name="connsiteY26" fmla="*/ 5143498 h 5143499"/>
              <a:gd name="connsiteX27" fmla="*/ 371745 w 4819650"/>
              <a:gd name="connsiteY27" fmla="*/ 5143498 h 5143499"/>
              <a:gd name="connsiteX28" fmla="*/ 1206499 w 4819650"/>
              <a:gd name="connsiteY28" fmla="*/ 1821610 h 5143499"/>
              <a:gd name="connsiteX29" fmla="*/ 2048326 w 4819650"/>
              <a:gd name="connsiteY29" fmla="*/ 58253 h 5143499"/>
              <a:gd name="connsiteX30" fmla="*/ 2094551 w 4819650"/>
              <a:gd name="connsiteY30" fmla="*/ 0 h 5143499"/>
              <a:gd name="connsiteX0" fmla="*/ 4251354 w 4819650"/>
              <a:gd name="connsiteY0" fmla="*/ 4781731 h 5143499"/>
              <a:gd name="connsiteX1" fmla="*/ 4251378 w 4819650"/>
              <a:gd name="connsiteY1" fmla="*/ 4801413 h 5143499"/>
              <a:gd name="connsiteX2" fmla="*/ 4290101 w 4819650"/>
              <a:gd name="connsiteY2" fmla="*/ 4762855 h 5143499"/>
              <a:gd name="connsiteX3" fmla="*/ 4290101 w 4819650"/>
              <a:gd name="connsiteY3" fmla="*/ 4713284 h 5143499"/>
              <a:gd name="connsiteX4" fmla="*/ 4290054 w 4819650"/>
              <a:gd name="connsiteY4" fmla="*/ 4713284 h 5143499"/>
              <a:gd name="connsiteX5" fmla="*/ 4269283 w 4819650"/>
              <a:gd name="connsiteY5" fmla="*/ 4713284 h 5143499"/>
              <a:gd name="connsiteX6" fmla="*/ 4269283 w 4819650"/>
              <a:gd name="connsiteY6" fmla="*/ 4762855 h 5143499"/>
              <a:gd name="connsiteX7" fmla="*/ 4251354 w 4819650"/>
              <a:gd name="connsiteY7" fmla="*/ 4781731 h 5143499"/>
              <a:gd name="connsiteX8" fmla="*/ 4336096 w 4819650"/>
              <a:gd name="connsiteY8" fmla="*/ 4730124 h 5143499"/>
              <a:gd name="connsiteX9" fmla="*/ 4304596 w 4819650"/>
              <a:gd name="connsiteY9" fmla="*/ 4737063 h 5143499"/>
              <a:gd name="connsiteX10" fmla="*/ 4330080 w 4819650"/>
              <a:gd name="connsiteY10" fmla="*/ 4761932 h 5143499"/>
              <a:gd name="connsiteX11" fmla="*/ 4336073 w 4819650"/>
              <a:gd name="connsiteY11" fmla="*/ 4764134 h 5143499"/>
              <a:gd name="connsiteX12" fmla="*/ 4351657 w 4819650"/>
              <a:gd name="connsiteY12" fmla="*/ 4774982 h 5143499"/>
              <a:gd name="connsiteX13" fmla="*/ 4337186 w 4819650"/>
              <a:gd name="connsiteY13" fmla="*/ 4782845 h 5143499"/>
              <a:gd name="connsiteX14" fmla="*/ 4308220 w 4819650"/>
              <a:gd name="connsiteY14" fmla="*/ 4775763 h 5143499"/>
              <a:gd name="connsiteX15" fmla="*/ 4303341 w 4819650"/>
              <a:gd name="connsiteY15" fmla="*/ 4793858 h 5143499"/>
              <a:gd name="connsiteX16" fmla="*/ 4338109 w 4819650"/>
              <a:gd name="connsiteY16" fmla="*/ 4801413 h 5143499"/>
              <a:gd name="connsiteX17" fmla="*/ 4372404 w 4819650"/>
              <a:gd name="connsiteY17" fmla="*/ 4774342 h 5143499"/>
              <a:gd name="connsiteX18" fmla="*/ 4345688 w 4819650"/>
              <a:gd name="connsiteY18" fmla="*/ 4747768 h 5143499"/>
              <a:gd name="connsiteX19" fmla="*/ 4339388 w 4819650"/>
              <a:gd name="connsiteY19" fmla="*/ 4745400 h 5143499"/>
              <a:gd name="connsiteX20" fmla="*/ 4336096 w 4819650"/>
              <a:gd name="connsiteY20" fmla="*/ 4730124 h 5143499"/>
              <a:gd name="connsiteX21" fmla="*/ 2094551 w 4819650"/>
              <a:gd name="connsiteY21" fmla="*/ 0 h 5143499"/>
              <a:gd name="connsiteX22" fmla="*/ 4819650 w 4819650"/>
              <a:gd name="connsiteY22" fmla="*/ 0 h 5143499"/>
              <a:gd name="connsiteX23" fmla="*/ 4819650 w 4819650"/>
              <a:gd name="connsiteY23" fmla="*/ 5143499 h 5143499"/>
              <a:gd name="connsiteX24" fmla="*/ 0 w 4819650"/>
              <a:gd name="connsiteY24" fmla="*/ 5143499 h 5143499"/>
              <a:gd name="connsiteX25" fmla="*/ 0 w 4819650"/>
              <a:gd name="connsiteY25" fmla="*/ 5143498 h 5143499"/>
              <a:gd name="connsiteX26" fmla="*/ 371745 w 4819650"/>
              <a:gd name="connsiteY26" fmla="*/ 5143498 h 5143499"/>
              <a:gd name="connsiteX27" fmla="*/ 1206499 w 4819650"/>
              <a:gd name="connsiteY27" fmla="*/ 1821610 h 5143499"/>
              <a:gd name="connsiteX28" fmla="*/ 2048326 w 4819650"/>
              <a:gd name="connsiteY28" fmla="*/ 58253 h 5143499"/>
              <a:gd name="connsiteX29" fmla="*/ 2094551 w 4819650"/>
              <a:gd name="connsiteY29" fmla="*/ 0 h 5143499"/>
              <a:gd name="connsiteX0" fmla="*/ 4251354 w 4819650"/>
              <a:gd name="connsiteY0" fmla="*/ 4781731 h 5143499"/>
              <a:gd name="connsiteX1" fmla="*/ 4251378 w 4819650"/>
              <a:gd name="connsiteY1" fmla="*/ 4801413 h 5143499"/>
              <a:gd name="connsiteX2" fmla="*/ 4290101 w 4819650"/>
              <a:gd name="connsiteY2" fmla="*/ 4762855 h 5143499"/>
              <a:gd name="connsiteX3" fmla="*/ 4290101 w 4819650"/>
              <a:gd name="connsiteY3" fmla="*/ 4713284 h 5143499"/>
              <a:gd name="connsiteX4" fmla="*/ 4290054 w 4819650"/>
              <a:gd name="connsiteY4" fmla="*/ 4713284 h 5143499"/>
              <a:gd name="connsiteX5" fmla="*/ 4269283 w 4819650"/>
              <a:gd name="connsiteY5" fmla="*/ 4762855 h 5143499"/>
              <a:gd name="connsiteX6" fmla="*/ 4251354 w 4819650"/>
              <a:gd name="connsiteY6" fmla="*/ 4781731 h 5143499"/>
              <a:gd name="connsiteX7" fmla="*/ 4336096 w 4819650"/>
              <a:gd name="connsiteY7" fmla="*/ 4730124 h 5143499"/>
              <a:gd name="connsiteX8" fmla="*/ 4304596 w 4819650"/>
              <a:gd name="connsiteY8" fmla="*/ 4737063 h 5143499"/>
              <a:gd name="connsiteX9" fmla="*/ 4330080 w 4819650"/>
              <a:gd name="connsiteY9" fmla="*/ 4761932 h 5143499"/>
              <a:gd name="connsiteX10" fmla="*/ 4336073 w 4819650"/>
              <a:gd name="connsiteY10" fmla="*/ 4764134 h 5143499"/>
              <a:gd name="connsiteX11" fmla="*/ 4351657 w 4819650"/>
              <a:gd name="connsiteY11" fmla="*/ 4774982 h 5143499"/>
              <a:gd name="connsiteX12" fmla="*/ 4337186 w 4819650"/>
              <a:gd name="connsiteY12" fmla="*/ 4782845 h 5143499"/>
              <a:gd name="connsiteX13" fmla="*/ 4308220 w 4819650"/>
              <a:gd name="connsiteY13" fmla="*/ 4775763 h 5143499"/>
              <a:gd name="connsiteX14" fmla="*/ 4303341 w 4819650"/>
              <a:gd name="connsiteY14" fmla="*/ 4793858 h 5143499"/>
              <a:gd name="connsiteX15" fmla="*/ 4338109 w 4819650"/>
              <a:gd name="connsiteY15" fmla="*/ 4801413 h 5143499"/>
              <a:gd name="connsiteX16" fmla="*/ 4372404 w 4819650"/>
              <a:gd name="connsiteY16" fmla="*/ 4774342 h 5143499"/>
              <a:gd name="connsiteX17" fmla="*/ 4345688 w 4819650"/>
              <a:gd name="connsiteY17" fmla="*/ 4747768 h 5143499"/>
              <a:gd name="connsiteX18" fmla="*/ 4339388 w 4819650"/>
              <a:gd name="connsiteY18" fmla="*/ 4745400 h 5143499"/>
              <a:gd name="connsiteX19" fmla="*/ 4336096 w 4819650"/>
              <a:gd name="connsiteY19" fmla="*/ 4730124 h 5143499"/>
              <a:gd name="connsiteX20" fmla="*/ 2094551 w 4819650"/>
              <a:gd name="connsiteY20" fmla="*/ 0 h 5143499"/>
              <a:gd name="connsiteX21" fmla="*/ 4819650 w 4819650"/>
              <a:gd name="connsiteY21" fmla="*/ 0 h 5143499"/>
              <a:gd name="connsiteX22" fmla="*/ 4819650 w 4819650"/>
              <a:gd name="connsiteY22" fmla="*/ 5143499 h 5143499"/>
              <a:gd name="connsiteX23" fmla="*/ 0 w 4819650"/>
              <a:gd name="connsiteY23" fmla="*/ 5143499 h 5143499"/>
              <a:gd name="connsiteX24" fmla="*/ 0 w 4819650"/>
              <a:gd name="connsiteY24" fmla="*/ 5143498 h 5143499"/>
              <a:gd name="connsiteX25" fmla="*/ 371745 w 4819650"/>
              <a:gd name="connsiteY25" fmla="*/ 5143498 h 5143499"/>
              <a:gd name="connsiteX26" fmla="*/ 1206499 w 4819650"/>
              <a:gd name="connsiteY26" fmla="*/ 1821610 h 5143499"/>
              <a:gd name="connsiteX27" fmla="*/ 2048326 w 4819650"/>
              <a:gd name="connsiteY27" fmla="*/ 58253 h 5143499"/>
              <a:gd name="connsiteX28" fmla="*/ 2094551 w 4819650"/>
              <a:gd name="connsiteY28" fmla="*/ 0 h 5143499"/>
              <a:gd name="connsiteX0" fmla="*/ 4251354 w 4819650"/>
              <a:gd name="connsiteY0" fmla="*/ 4781731 h 5143499"/>
              <a:gd name="connsiteX1" fmla="*/ 4251378 w 4819650"/>
              <a:gd name="connsiteY1" fmla="*/ 4801413 h 5143499"/>
              <a:gd name="connsiteX2" fmla="*/ 4290101 w 4819650"/>
              <a:gd name="connsiteY2" fmla="*/ 4762855 h 5143499"/>
              <a:gd name="connsiteX3" fmla="*/ 4290101 w 4819650"/>
              <a:gd name="connsiteY3" fmla="*/ 4713284 h 5143499"/>
              <a:gd name="connsiteX4" fmla="*/ 4269283 w 4819650"/>
              <a:gd name="connsiteY4" fmla="*/ 4762855 h 5143499"/>
              <a:gd name="connsiteX5" fmla="*/ 4251354 w 4819650"/>
              <a:gd name="connsiteY5" fmla="*/ 4781731 h 5143499"/>
              <a:gd name="connsiteX6" fmla="*/ 4336096 w 4819650"/>
              <a:gd name="connsiteY6" fmla="*/ 4730124 h 5143499"/>
              <a:gd name="connsiteX7" fmla="*/ 4304596 w 4819650"/>
              <a:gd name="connsiteY7" fmla="*/ 4737063 h 5143499"/>
              <a:gd name="connsiteX8" fmla="*/ 4330080 w 4819650"/>
              <a:gd name="connsiteY8" fmla="*/ 4761932 h 5143499"/>
              <a:gd name="connsiteX9" fmla="*/ 4336073 w 4819650"/>
              <a:gd name="connsiteY9" fmla="*/ 4764134 h 5143499"/>
              <a:gd name="connsiteX10" fmla="*/ 4351657 w 4819650"/>
              <a:gd name="connsiteY10" fmla="*/ 4774982 h 5143499"/>
              <a:gd name="connsiteX11" fmla="*/ 4337186 w 4819650"/>
              <a:gd name="connsiteY11" fmla="*/ 4782845 h 5143499"/>
              <a:gd name="connsiteX12" fmla="*/ 4308220 w 4819650"/>
              <a:gd name="connsiteY12" fmla="*/ 4775763 h 5143499"/>
              <a:gd name="connsiteX13" fmla="*/ 4303341 w 4819650"/>
              <a:gd name="connsiteY13" fmla="*/ 4793858 h 5143499"/>
              <a:gd name="connsiteX14" fmla="*/ 4338109 w 4819650"/>
              <a:gd name="connsiteY14" fmla="*/ 4801413 h 5143499"/>
              <a:gd name="connsiteX15" fmla="*/ 4372404 w 4819650"/>
              <a:gd name="connsiteY15" fmla="*/ 4774342 h 5143499"/>
              <a:gd name="connsiteX16" fmla="*/ 4345688 w 4819650"/>
              <a:gd name="connsiteY16" fmla="*/ 4747768 h 5143499"/>
              <a:gd name="connsiteX17" fmla="*/ 4339388 w 4819650"/>
              <a:gd name="connsiteY17" fmla="*/ 4745400 h 5143499"/>
              <a:gd name="connsiteX18" fmla="*/ 4336096 w 4819650"/>
              <a:gd name="connsiteY18" fmla="*/ 4730124 h 5143499"/>
              <a:gd name="connsiteX19" fmla="*/ 2094551 w 4819650"/>
              <a:gd name="connsiteY19" fmla="*/ 0 h 5143499"/>
              <a:gd name="connsiteX20" fmla="*/ 4819650 w 4819650"/>
              <a:gd name="connsiteY20" fmla="*/ 0 h 5143499"/>
              <a:gd name="connsiteX21" fmla="*/ 4819650 w 4819650"/>
              <a:gd name="connsiteY21" fmla="*/ 5143499 h 5143499"/>
              <a:gd name="connsiteX22" fmla="*/ 0 w 4819650"/>
              <a:gd name="connsiteY22" fmla="*/ 5143499 h 5143499"/>
              <a:gd name="connsiteX23" fmla="*/ 0 w 4819650"/>
              <a:gd name="connsiteY23" fmla="*/ 5143498 h 5143499"/>
              <a:gd name="connsiteX24" fmla="*/ 371745 w 4819650"/>
              <a:gd name="connsiteY24" fmla="*/ 5143498 h 5143499"/>
              <a:gd name="connsiteX25" fmla="*/ 1206499 w 4819650"/>
              <a:gd name="connsiteY25" fmla="*/ 1821610 h 5143499"/>
              <a:gd name="connsiteX26" fmla="*/ 2048326 w 4819650"/>
              <a:gd name="connsiteY26" fmla="*/ 58253 h 5143499"/>
              <a:gd name="connsiteX27" fmla="*/ 2094551 w 4819650"/>
              <a:gd name="connsiteY27" fmla="*/ 0 h 5143499"/>
              <a:gd name="connsiteX0" fmla="*/ 4251354 w 4819650"/>
              <a:gd name="connsiteY0" fmla="*/ 4781731 h 5143499"/>
              <a:gd name="connsiteX1" fmla="*/ 4251378 w 4819650"/>
              <a:gd name="connsiteY1" fmla="*/ 4801413 h 5143499"/>
              <a:gd name="connsiteX2" fmla="*/ 4290101 w 4819650"/>
              <a:gd name="connsiteY2" fmla="*/ 4762855 h 5143499"/>
              <a:gd name="connsiteX3" fmla="*/ 4269283 w 4819650"/>
              <a:gd name="connsiteY3" fmla="*/ 4762855 h 5143499"/>
              <a:gd name="connsiteX4" fmla="*/ 4251354 w 4819650"/>
              <a:gd name="connsiteY4" fmla="*/ 4781731 h 5143499"/>
              <a:gd name="connsiteX5" fmla="*/ 4336096 w 4819650"/>
              <a:gd name="connsiteY5" fmla="*/ 4730124 h 5143499"/>
              <a:gd name="connsiteX6" fmla="*/ 4304596 w 4819650"/>
              <a:gd name="connsiteY6" fmla="*/ 4737063 h 5143499"/>
              <a:gd name="connsiteX7" fmla="*/ 4330080 w 4819650"/>
              <a:gd name="connsiteY7" fmla="*/ 4761932 h 5143499"/>
              <a:gd name="connsiteX8" fmla="*/ 4336073 w 4819650"/>
              <a:gd name="connsiteY8" fmla="*/ 4764134 h 5143499"/>
              <a:gd name="connsiteX9" fmla="*/ 4351657 w 4819650"/>
              <a:gd name="connsiteY9" fmla="*/ 4774982 h 5143499"/>
              <a:gd name="connsiteX10" fmla="*/ 4337186 w 4819650"/>
              <a:gd name="connsiteY10" fmla="*/ 4782845 h 5143499"/>
              <a:gd name="connsiteX11" fmla="*/ 4308220 w 4819650"/>
              <a:gd name="connsiteY11" fmla="*/ 4775763 h 5143499"/>
              <a:gd name="connsiteX12" fmla="*/ 4303341 w 4819650"/>
              <a:gd name="connsiteY12" fmla="*/ 4793858 h 5143499"/>
              <a:gd name="connsiteX13" fmla="*/ 4338109 w 4819650"/>
              <a:gd name="connsiteY13" fmla="*/ 4801413 h 5143499"/>
              <a:gd name="connsiteX14" fmla="*/ 4372404 w 4819650"/>
              <a:gd name="connsiteY14" fmla="*/ 4774342 h 5143499"/>
              <a:gd name="connsiteX15" fmla="*/ 4345688 w 4819650"/>
              <a:gd name="connsiteY15" fmla="*/ 4747768 h 5143499"/>
              <a:gd name="connsiteX16" fmla="*/ 4339388 w 4819650"/>
              <a:gd name="connsiteY16" fmla="*/ 4745400 h 5143499"/>
              <a:gd name="connsiteX17" fmla="*/ 4336096 w 4819650"/>
              <a:gd name="connsiteY17" fmla="*/ 4730124 h 5143499"/>
              <a:gd name="connsiteX18" fmla="*/ 2094551 w 4819650"/>
              <a:gd name="connsiteY18" fmla="*/ 0 h 5143499"/>
              <a:gd name="connsiteX19" fmla="*/ 4819650 w 4819650"/>
              <a:gd name="connsiteY19" fmla="*/ 0 h 5143499"/>
              <a:gd name="connsiteX20" fmla="*/ 4819650 w 4819650"/>
              <a:gd name="connsiteY20" fmla="*/ 5143499 h 5143499"/>
              <a:gd name="connsiteX21" fmla="*/ 0 w 4819650"/>
              <a:gd name="connsiteY21" fmla="*/ 5143499 h 5143499"/>
              <a:gd name="connsiteX22" fmla="*/ 0 w 4819650"/>
              <a:gd name="connsiteY22" fmla="*/ 5143498 h 5143499"/>
              <a:gd name="connsiteX23" fmla="*/ 371745 w 4819650"/>
              <a:gd name="connsiteY23" fmla="*/ 5143498 h 5143499"/>
              <a:gd name="connsiteX24" fmla="*/ 1206499 w 4819650"/>
              <a:gd name="connsiteY24" fmla="*/ 1821610 h 5143499"/>
              <a:gd name="connsiteX25" fmla="*/ 2048326 w 4819650"/>
              <a:gd name="connsiteY25" fmla="*/ 58253 h 5143499"/>
              <a:gd name="connsiteX26" fmla="*/ 2094551 w 4819650"/>
              <a:gd name="connsiteY26" fmla="*/ 0 h 5143499"/>
              <a:gd name="connsiteX0" fmla="*/ 4251354 w 4819650"/>
              <a:gd name="connsiteY0" fmla="*/ 4781731 h 5143499"/>
              <a:gd name="connsiteX1" fmla="*/ 4251378 w 4819650"/>
              <a:gd name="connsiteY1" fmla="*/ 4801413 h 5143499"/>
              <a:gd name="connsiteX2" fmla="*/ 4290101 w 4819650"/>
              <a:gd name="connsiteY2" fmla="*/ 4762855 h 5143499"/>
              <a:gd name="connsiteX3" fmla="*/ 4251354 w 4819650"/>
              <a:gd name="connsiteY3" fmla="*/ 4781731 h 5143499"/>
              <a:gd name="connsiteX4" fmla="*/ 4336096 w 4819650"/>
              <a:gd name="connsiteY4" fmla="*/ 4730124 h 5143499"/>
              <a:gd name="connsiteX5" fmla="*/ 4304596 w 4819650"/>
              <a:gd name="connsiteY5" fmla="*/ 4737063 h 5143499"/>
              <a:gd name="connsiteX6" fmla="*/ 4330080 w 4819650"/>
              <a:gd name="connsiteY6" fmla="*/ 4761932 h 5143499"/>
              <a:gd name="connsiteX7" fmla="*/ 4336073 w 4819650"/>
              <a:gd name="connsiteY7" fmla="*/ 4764134 h 5143499"/>
              <a:gd name="connsiteX8" fmla="*/ 4351657 w 4819650"/>
              <a:gd name="connsiteY8" fmla="*/ 4774982 h 5143499"/>
              <a:gd name="connsiteX9" fmla="*/ 4337186 w 4819650"/>
              <a:gd name="connsiteY9" fmla="*/ 4782845 h 5143499"/>
              <a:gd name="connsiteX10" fmla="*/ 4308220 w 4819650"/>
              <a:gd name="connsiteY10" fmla="*/ 4775763 h 5143499"/>
              <a:gd name="connsiteX11" fmla="*/ 4303341 w 4819650"/>
              <a:gd name="connsiteY11" fmla="*/ 4793858 h 5143499"/>
              <a:gd name="connsiteX12" fmla="*/ 4338109 w 4819650"/>
              <a:gd name="connsiteY12" fmla="*/ 4801413 h 5143499"/>
              <a:gd name="connsiteX13" fmla="*/ 4372404 w 4819650"/>
              <a:gd name="connsiteY13" fmla="*/ 4774342 h 5143499"/>
              <a:gd name="connsiteX14" fmla="*/ 4345688 w 4819650"/>
              <a:gd name="connsiteY14" fmla="*/ 4747768 h 5143499"/>
              <a:gd name="connsiteX15" fmla="*/ 4339388 w 4819650"/>
              <a:gd name="connsiteY15" fmla="*/ 4745400 h 5143499"/>
              <a:gd name="connsiteX16" fmla="*/ 4336096 w 4819650"/>
              <a:gd name="connsiteY16" fmla="*/ 4730124 h 5143499"/>
              <a:gd name="connsiteX17" fmla="*/ 2094551 w 4819650"/>
              <a:gd name="connsiteY17" fmla="*/ 0 h 5143499"/>
              <a:gd name="connsiteX18" fmla="*/ 4819650 w 4819650"/>
              <a:gd name="connsiteY18" fmla="*/ 0 h 5143499"/>
              <a:gd name="connsiteX19" fmla="*/ 4819650 w 4819650"/>
              <a:gd name="connsiteY19" fmla="*/ 5143499 h 5143499"/>
              <a:gd name="connsiteX20" fmla="*/ 0 w 4819650"/>
              <a:gd name="connsiteY20" fmla="*/ 5143499 h 5143499"/>
              <a:gd name="connsiteX21" fmla="*/ 0 w 4819650"/>
              <a:gd name="connsiteY21" fmla="*/ 5143498 h 5143499"/>
              <a:gd name="connsiteX22" fmla="*/ 371745 w 4819650"/>
              <a:gd name="connsiteY22" fmla="*/ 5143498 h 5143499"/>
              <a:gd name="connsiteX23" fmla="*/ 1206499 w 4819650"/>
              <a:gd name="connsiteY23" fmla="*/ 1821610 h 5143499"/>
              <a:gd name="connsiteX24" fmla="*/ 2048326 w 4819650"/>
              <a:gd name="connsiteY24" fmla="*/ 58253 h 5143499"/>
              <a:gd name="connsiteX25" fmla="*/ 2094551 w 4819650"/>
              <a:gd name="connsiteY25" fmla="*/ 0 h 5143499"/>
              <a:gd name="connsiteX0" fmla="*/ 4290101 w 4819650"/>
              <a:gd name="connsiteY0" fmla="*/ 4762855 h 5143499"/>
              <a:gd name="connsiteX1" fmla="*/ 4251378 w 4819650"/>
              <a:gd name="connsiteY1" fmla="*/ 4801413 h 5143499"/>
              <a:gd name="connsiteX2" fmla="*/ 4290101 w 4819650"/>
              <a:gd name="connsiteY2" fmla="*/ 4762855 h 5143499"/>
              <a:gd name="connsiteX3" fmla="*/ 4336096 w 4819650"/>
              <a:gd name="connsiteY3" fmla="*/ 4730124 h 5143499"/>
              <a:gd name="connsiteX4" fmla="*/ 4304596 w 4819650"/>
              <a:gd name="connsiteY4" fmla="*/ 4737063 h 5143499"/>
              <a:gd name="connsiteX5" fmla="*/ 4330080 w 4819650"/>
              <a:gd name="connsiteY5" fmla="*/ 4761932 h 5143499"/>
              <a:gd name="connsiteX6" fmla="*/ 4336073 w 4819650"/>
              <a:gd name="connsiteY6" fmla="*/ 4764134 h 5143499"/>
              <a:gd name="connsiteX7" fmla="*/ 4351657 w 4819650"/>
              <a:gd name="connsiteY7" fmla="*/ 4774982 h 5143499"/>
              <a:gd name="connsiteX8" fmla="*/ 4337186 w 4819650"/>
              <a:gd name="connsiteY8" fmla="*/ 4782845 h 5143499"/>
              <a:gd name="connsiteX9" fmla="*/ 4308220 w 4819650"/>
              <a:gd name="connsiteY9" fmla="*/ 4775763 h 5143499"/>
              <a:gd name="connsiteX10" fmla="*/ 4303341 w 4819650"/>
              <a:gd name="connsiteY10" fmla="*/ 4793858 h 5143499"/>
              <a:gd name="connsiteX11" fmla="*/ 4338109 w 4819650"/>
              <a:gd name="connsiteY11" fmla="*/ 4801413 h 5143499"/>
              <a:gd name="connsiteX12" fmla="*/ 4372404 w 4819650"/>
              <a:gd name="connsiteY12" fmla="*/ 4774342 h 5143499"/>
              <a:gd name="connsiteX13" fmla="*/ 4345688 w 4819650"/>
              <a:gd name="connsiteY13" fmla="*/ 4747768 h 5143499"/>
              <a:gd name="connsiteX14" fmla="*/ 4339388 w 4819650"/>
              <a:gd name="connsiteY14" fmla="*/ 4745400 h 5143499"/>
              <a:gd name="connsiteX15" fmla="*/ 4336096 w 4819650"/>
              <a:gd name="connsiteY15" fmla="*/ 4730124 h 5143499"/>
              <a:gd name="connsiteX16" fmla="*/ 2094551 w 4819650"/>
              <a:gd name="connsiteY16" fmla="*/ 0 h 5143499"/>
              <a:gd name="connsiteX17" fmla="*/ 4819650 w 4819650"/>
              <a:gd name="connsiteY17" fmla="*/ 0 h 5143499"/>
              <a:gd name="connsiteX18" fmla="*/ 4819650 w 4819650"/>
              <a:gd name="connsiteY18" fmla="*/ 5143499 h 5143499"/>
              <a:gd name="connsiteX19" fmla="*/ 0 w 4819650"/>
              <a:gd name="connsiteY19" fmla="*/ 5143499 h 5143499"/>
              <a:gd name="connsiteX20" fmla="*/ 0 w 4819650"/>
              <a:gd name="connsiteY20" fmla="*/ 5143498 h 5143499"/>
              <a:gd name="connsiteX21" fmla="*/ 371745 w 4819650"/>
              <a:gd name="connsiteY21" fmla="*/ 5143498 h 5143499"/>
              <a:gd name="connsiteX22" fmla="*/ 1206499 w 4819650"/>
              <a:gd name="connsiteY22" fmla="*/ 1821610 h 5143499"/>
              <a:gd name="connsiteX23" fmla="*/ 2048326 w 4819650"/>
              <a:gd name="connsiteY23" fmla="*/ 58253 h 5143499"/>
              <a:gd name="connsiteX24" fmla="*/ 2094551 w 4819650"/>
              <a:gd name="connsiteY24" fmla="*/ 0 h 5143499"/>
              <a:gd name="connsiteX0" fmla="*/ 4290101 w 4819650"/>
              <a:gd name="connsiteY0" fmla="*/ 4762855 h 5143499"/>
              <a:gd name="connsiteX1" fmla="*/ 4251378 w 4819650"/>
              <a:gd name="connsiteY1" fmla="*/ 4801413 h 5143499"/>
              <a:gd name="connsiteX2" fmla="*/ 4290101 w 4819650"/>
              <a:gd name="connsiteY2" fmla="*/ 4762855 h 5143499"/>
              <a:gd name="connsiteX3" fmla="*/ 4336096 w 4819650"/>
              <a:gd name="connsiteY3" fmla="*/ 4730124 h 5143499"/>
              <a:gd name="connsiteX4" fmla="*/ 4330080 w 4819650"/>
              <a:gd name="connsiteY4" fmla="*/ 4761932 h 5143499"/>
              <a:gd name="connsiteX5" fmla="*/ 4336073 w 4819650"/>
              <a:gd name="connsiteY5" fmla="*/ 4764134 h 5143499"/>
              <a:gd name="connsiteX6" fmla="*/ 4351657 w 4819650"/>
              <a:gd name="connsiteY6" fmla="*/ 4774982 h 5143499"/>
              <a:gd name="connsiteX7" fmla="*/ 4337186 w 4819650"/>
              <a:gd name="connsiteY7" fmla="*/ 4782845 h 5143499"/>
              <a:gd name="connsiteX8" fmla="*/ 4308220 w 4819650"/>
              <a:gd name="connsiteY8" fmla="*/ 4775763 h 5143499"/>
              <a:gd name="connsiteX9" fmla="*/ 4303341 w 4819650"/>
              <a:gd name="connsiteY9" fmla="*/ 4793858 h 5143499"/>
              <a:gd name="connsiteX10" fmla="*/ 4338109 w 4819650"/>
              <a:gd name="connsiteY10" fmla="*/ 4801413 h 5143499"/>
              <a:gd name="connsiteX11" fmla="*/ 4372404 w 4819650"/>
              <a:gd name="connsiteY11" fmla="*/ 4774342 h 5143499"/>
              <a:gd name="connsiteX12" fmla="*/ 4345688 w 4819650"/>
              <a:gd name="connsiteY12" fmla="*/ 4747768 h 5143499"/>
              <a:gd name="connsiteX13" fmla="*/ 4339388 w 4819650"/>
              <a:gd name="connsiteY13" fmla="*/ 4745400 h 5143499"/>
              <a:gd name="connsiteX14" fmla="*/ 4336096 w 4819650"/>
              <a:gd name="connsiteY14" fmla="*/ 4730124 h 5143499"/>
              <a:gd name="connsiteX15" fmla="*/ 2094551 w 4819650"/>
              <a:gd name="connsiteY15" fmla="*/ 0 h 5143499"/>
              <a:gd name="connsiteX16" fmla="*/ 4819650 w 4819650"/>
              <a:gd name="connsiteY16" fmla="*/ 0 h 5143499"/>
              <a:gd name="connsiteX17" fmla="*/ 4819650 w 4819650"/>
              <a:gd name="connsiteY17" fmla="*/ 5143499 h 5143499"/>
              <a:gd name="connsiteX18" fmla="*/ 0 w 4819650"/>
              <a:gd name="connsiteY18" fmla="*/ 5143499 h 5143499"/>
              <a:gd name="connsiteX19" fmla="*/ 0 w 4819650"/>
              <a:gd name="connsiteY19" fmla="*/ 5143498 h 5143499"/>
              <a:gd name="connsiteX20" fmla="*/ 371745 w 4819650"/>
              <a:gd name="connsiteY20" fmla="*/ 5143498 h 5143499"/>
              <a:gd name="connsiteX21" fmla="*/ 1206499 w 4819650"/>
              <a:gd name="connsiteY21" fmla="*/ 1821610 h 5143499"/>
              <a:gd name="connsiteX22" fmla="*/ 2048326 w 4819650"/>
              <a:gd name="connsiteY22" fmla="*/ 58253 h 5143499"/>
              <a:gd name="connsiteX23" fmla="*/ 2094551 w 4819650"/>
              <a:gd name="connsiteY23" fmla="*/ 0 h 5143499"/>
              <a:gd name="connsiteX0" fmla="*/ 4336096 w 4819650"/>
              <a:gd name="connsiteY0" fmla="*/ 4730124 h 5143499"/>
              <a:gd name="connsiteX1" fmla="*/ 4330080 w 4819650"/>
              <a:gd name="connsiteY1" fmla="*/ 4761932 h 5143499"/>
              <a:gd name="connsiteX2" fmla="*/ 4336073 w 4819650"/>
              <a:gd name="connsiteY2" fmla="*/ 4764134 h 5143499"/>
              <a:gd name="connsiteX3" fmla="*/ 4351657 w 4819650"/>
              <a:gd name="connsiteY3" fmla="*/ 4774982 h 5143499"/>
              <a:gd name="connsiteX4" fmla="*/ 4337186 w 4819650"/>
              <a:gd name="connsiteY4" fmla="*/ 4782845 h 5143499"/>
              <a:gd name="connsiteX5" fmla="*/ 4308220 w 4819650"/>
              <a:gd name="connsiteY5" fmla="*/ 4775763 h 5143499"/>
              <a:gd name="connsiteX6" fmla="*/ 4303341 w 4819650"/>
              <a:gd name="connsiteY6" fmla="*/ 4793858 h 5143499"/>
              <a:gd name="connsiteX7" fmla="*/ 4338109 w 4819650"/>
              <a:gd name="connsiteY7" fmla="*/ 4801413 h 5143499"/>
              <a:gd name="connsiteX8" fmla="*/ 4372404 w 4819650"/>
              <a:gd name="connsiteY8" fmla="*/ 4774342 h 5143499"/>
              <a:gd name="connsiteX9" fmla="*/ 4345688 w 4819650"/>
              <a:gd name="connsiteY9" fmla="*/ 4747768 h 5143499"/>
              <a:gd name="connsiteX10" fmla="*/ 4339388 w 4819650"/>
              <a:gd name="connsiteY10" fmla="*/ 4745400 h 5143499"/>
              <a:gd name="connsiteX11" fmla="*/ 4336096 w 4819650"/>
              <a:gd name="connsiteY11" fmla="*/ 4730124 h 5143499"/>
              <a:gd name="connsiteX12" fmla="*/ 2094551 w 4819650"/>
              <a:gd name="connsiteY12" fmla="*/ 0 h 5143499"/>
              <a:gd name="connsiteX13" fmla="*/ 4819650 w 4819650"/>
              <a:gd name="connsiteY13" fmla="*/ 0 h 5143499"/>
              <a:gd name="connsiteX14" fmla="*/ 4819650 w 4819650"/>
              <a:gd name="connsiteY14" fmla="*/ 5143499 h 5143499"/>
              <a:gd name="connsiteX15" fmla="*/ 0 w 4819650"/>
              <a:gd name="connsiteY15" fmla="*/ 5143499 h 5143499"/>
              <a:gd name="connsiteX16" fmla="*/ 0 w 4819650"/>
              <a:gd name="connsiteY16" fmla="*/ 5143498 h 5143499"/>
              <a:gd name="connsiteX17" fmla="*/ 371745 w 4819650"/>
              <a:gd name="connsiteY17" fmla="*/ 5143498 h 5143499"/>
              <a:gd name="connsiteX18" fmla="*/ 1206499 w 4819650"/>
              <a:gd name="connsiteY18" fmla="*/ 1821610 h 5143499"/>
              <a:gd name="connsiteX19" fmla="*/ 2048326 w 4819650"/>
              <a:gd name="connsiteY19" fmla="*/ 58253 h 5143499"/>
              <a:gd name="connsiteX20" fmla="*/ 2094551 w 4819650"/>
              <a:gd name="connsiteY20" fmla="*/ 0 h 5143499"/>
              <a:gd name="connsiteX0" fmla="*/ 4339388 w 4819650"/>
              <a:gd name="connsiteY0" fmla="*/ 4745400 h 5143499"/>
              <a:gd name="connsiteX1" fmla="*/ 4330080 w 4819650"/>
              <a:gd name="connsiteY1" fmla="*/ 4761932 h 5143499"/>
              <a:gd name="connsiteX2" fmla="*/ 4336073 w 4819650"/>
              <a:gd name="connsiteY2" fmla="*/ 4764134 h 5143499"/>
              <a:gd name="connsiteX3" fmla="*/ 4351657 w 4819650"/>
              <a:gd name="connsiteY3" fmla="*/ 4774982 h 5143499"/>
              <a:gd name="connsiteX4" fmla="*/ 4337186 w 4819650"/>
              <a:gd name="connsiteY4" fmla="*/ 4782845 h 5143499"/>
              <a:gd name="connsiteX5" fmla="*/ 4308220 w 4819650"/>
              <a:gd name="connsiteY5" fmla="*/ 4775763 h 5143499"/>
              <a:gd name="connsiteX6" fmla="*/ 4303341 w 4819650"/>
              <a:gd name="connsiteY6" fmla="*/ 4793858 h 5143499"/>
              <a:gd name="connsiteX7" fmla="*/ 4338109 w 4819650"/>
              <a:gd name="connsiteY7" fmla="*/ 4801413 h 5143499"/>
              <a:gd name="connsiteX8" fmla="*/ 4372404 w 4819650"/>
              <a:gd name="connsiteY8" fmla="*/ 4774342 h 5143499"/>
              <a:gd name="connsiteX9" fmla="*/ 4345688 w 4819650"/>
              <a:gd name="connsiteY9" fmla="*/ 4747768 h 5143499"/>
              <a:gd name="connsiteX10" fmla="*/ 4339388 w 4819650"/>
              <a:gd name="connsiteY10" fmla="*/ 4745400 h 5143499"/>
              <a:gd name="connsiteX11" fmla="*/ 2094551 w 4819650"/>
              <a:gd name="connsiteY11" fmla="*/ 0 h 5143499"/>
              <a:gd name="connsiteX12" fmla="*/ 4819650 w 4819650"/>
              <a:gd name="connsiteY12" fmla="*/ 0 h 5143499"/>
              <a:gd name="connsiteX13" fmla="*/ 4819650 w 4819650"/>
              <a:gd name="connsiteY13" fmla="*/ 5143499 h 5143499"/>
              <a:gd name="connsiteX14" fmla="*/ 0 w 4819650"/>
              <a:gd name="connsiteY14" fmla="*/ 5143499 h 5143499"/>
              <a:gd name="connsiteX15" fmla="*/ 0 w 4819650"/>
              <a:gd name="connsiteY15" fmla="*/ 5143498 h 5143499"/>
              <a:gd name="connsiteX16" fmla="*/ 371745 w 4819650"/>
              <a:gd name="connsiteY16" fmla="*/ 5143498 h 5143499"/>
              <a:gd name="connsiteX17" fmla="*/ 1206499 w 4819650"/>
              <a:gd name="connsiteY17" fmla="*/ 1821610 h 5143499"/>
              <a:gd name="connsiteX18" fmla="*/ 2048326 w 4819650"/>
              <a:gd name="connsiteY18" fmla="*/ 58253 h 5143499"/>
              <a:gd name="connsiteX19" fmla="*/ 2094551 w 4819650"/>
              <a:gd name="connsiteY19" fmla="*/ 0 h 5143499"/>
              <a:gd name="connsiteX0" fmla="*/ 4345688 w 4819650"/>
              <a:gd name="connsiteY0" fmla="*/ 4747768 h 5143499"/>
              <a:gd name="connsiteX1" fmla="*/ 4330080 w 4819650"/>
              <a:gd name="connsiteY1" fmla="*/ 4761932 h 5143499"/>
              <a:gd name="connsiteX2" fmla="*/ 4336073 w 4819650"/>
              <a:gd name="connsiteY2" fmla="*/ 4764134 h 5143499"/>
              <a:gd name="connsiteX3" fmla="*/ 4351657 w 4819650"/>
              <a:gd name="connsiteY3" fmla="*/ 4774982 h 5143499"/>
              <a:gd name="connsiteX4" fmla="*/ 4337186 w 4819650"/>
              <a:gd name="connsiteY4" fmla="*/ 4782845 h 5143499"/>
              <a:gd name="connsiteX5" fmla="*/ 4308220 w 4819650"/>
              <a:gd name="connsiteY5" fmla="*/ 4775763 h 5143499"/>
              <a:gd name="connsiteX6" fmla="*/ 4303341 w 4819650"/>
              <a:gd name="connsiteY6" fmla="*/ 4793858 h 5143499"/>
              <a:gd name="connsiteX7" fmla="*/ 4338109 w 4819650"/>
              <a:gd name="connsiteY7" fmla="*/ 4801413 h 5143499"/>
              <a:gd name="connsiteX8" fmla="*/ 4372404 w 4819650"/>
              <a:gd name="connsiteY8" fmla="*/ 4774342 h 5143499"/>
              <a:gd name="connsiteX9" fmla="*/ 4345688 w 4819650"/>
              <a:gd name="connsiteY9" fmla="*/ 4747768 h 5143499"/>
              <a:gd name="connsiteX10" fmla="*/ 2094551 w 4819650"/>
              <a:gd name="connsiteY10" fmla="*/ 0 h 5143499"/>
              <a:gd name="connsiteX11" fmla="*/ 4819650 w 4819650"/>
              <a:gd name="connsiteY11" fmla="*/ 0 h 5143499"/>
              <a:gd name="connsiteX12" fmla="*/ 4819650 w 4819650"/>
              <a:gd name="connsiteY12" fmla="*/ 5143499 h 5143499"/>
              <a:gd name="connsiteX13" fmla="*/ 0 w 4819650"/>
              <a:gd name="connsiteY13" fmla="*/ 5143499 h 5143499"/>
              <a:gd name="connsiteX14" fmla="*/ 0 w 4819650"/>
              <a:gd name="connsiteY14" fmla="*/ 5143498 h 5143499"/>
              <a:gd name="connsiteX15" fmla="*/ 371745 w 4819650"/>
              <a:gd name="connsiteY15" fmla="*/ 5143498 h 5143499"/>
              <a:gd name="connsiteX16" fmla="*/ 1206499 w 4819650"/>
              <a:gd name="connsiteY16" fmla="*/ 1821610 h 5143499"/>
              <a:gd name="connsiteX17" fmla="*/ 2048326 w 4819650"/>
              <a:gd name="connsiteY17" fmla="*/ 58253 h 5143499"/>
              <a:gd name="connsiteX18" fmla="*/ 2094551 w 4819650"/>
              <a:gd name="connsiteY18" fmla="*/ 0 h 5143499"/>
              <a:gd name="connsiteX0" fmla="*/ 4372404 w 4819650"/>
              <a:gd name="connsiteY0" fmla="*/ 4774342 h 5143499"/>
              <a:gd name="connsiteX1" fmla="*/ 4330080 w 4819650"/>
              <a:gd name="connsiteY1" fmla="*/ 4761932 h 5143499"/>
              <a:gd name="connsiteX2" fmla="*/ 4336073 w 4819650"/>
              <a:gd name="connsiteY2" fmla="*/ 4764134 h 5143499"/>
              <a:gd name="connsiteX3" fmla="*/ 4351657 w 4819650"/>
              <a:gd name="connsiteY3" fmla="*/ 4774982 h 5143499"/>
              <a:gd name="connsiteX4" fmla="*/ 4337186 w 4819650"/>
              <a:gd name="connsiteY4" fmla="*/ 4782845 h 5143499"/>
              <a:gd name="connsiteX5" fmla="*/ 4308220 w 4819650"/>
              <a:gd name="connsiteY5" fmla="*/ 4775763 h 5143499"/>
              <a:gd name="connsiteX6" fmla="*/ 4303341 w 4819650"/>
              <a:gd name="connsiteY6" fmla="*/ 4793858 h 5143499"/>
              <a:gd name="connsiteX7" fmla="*/ 4338109 w 4819650"/>
              <a:gd name="connsiteY7" fmla="*/ 4801413 h 5143499"/>
              <a:gd name="connsiteX8" fmla="*/ 4372404 w 4819650"/>
              <a:gd name="connsiteY8" fmla="*/ 4774342 h 5143499"/>
              <a:gd name="connsiteX9" fmla="*/ 2094551 w 4819650"/>
              <a:gd name="connsiteY9" fmla="*/ 0 h 5143499"/>
              <a:gd name="connsiteX10" fmla="*/ 4819650 w 4819650"/>
              <a:gd name="connsiteY10" fmla="*/ 0 h 5143499"/>
              <a:gd name="connsiteX11" fmla="*/ 4819650 w 4819650"/>
              <a:gd name="connsiteY11" fmla="*/ 5143499 h 5143499"/>
              <a:gd name="connsiteX12" fmla="*/ 0 w 4819650"/>
              <a:gd name="connsiteY12" fmla="*/ 5143499 h 5143499"/>
              <a:gd name="connsiteX13" fmla="*/ 0 w 4819650"/>
              <a:gd name="connsiteY13" fmla="*/ 5143498 h 5143499"/>
              <a:gd name="connsiteX14" fmla="*/ 371745 w 4819650"/>
              <a:gd name="connsiteY14" fmla="*/ 5143498 h 5143499"/>
              <a:gd name="connsiteX15" fmla="*/ 1206499 w 4819650"/>
              <a:gd name="connsiteY15" fmla="*/ 1821610 h 5143499"/>
              <a:gd name="connsiteX16" fmla="*/ 2048326 w 4819650"/>
              <a:gd name="connsiteY16" fmla="*/ 58253 h 5143499"/>
              <a:gd name="connsiteX17" fmla="*/ 2094551 w 4819650"/>
              <a:gd name="connsiteY17" fmla="*/ 0 h 5143499"/>
              <a:gd name="connsiteX0" fmla="*/ 4372404 w 4819650"/>
              <a:gd name="connsiteY0" fmla="*/ 4774342 h 5143499"/>
              <a:gd name="connsiteX1" fmla="*/ 4330080 w 4819650"/>
              <a:gd name="connsiteY1" fmla="*/ 4761932 h 5143499"/>
              <a:gd name="connsiteX2" fmla="*/ 4336073 w 4819650"/>
              <a:gd name="connsiteY2" fmla="*/ 4764134 h 5143499"/>
              <a:gd name="connsiteX3" fmla="*/ 4351657 w 4819650"/>
              <a:gd name="connsiteY3" fmla="*/ 4774982 h 5143499"/>
              <a:gd name="connsiteX4" fmla="*/ 4337186 w 4819650"/>
              <a:gd name="connsiteY4" fmla="*/ 4782845 h 5143499"/>
              <a:gd name="connsiteX5" fmla="*/ 4308220 w 4819650"/>
              <a:gd name="connsiteY5" fmla="*/ 4775763 h 5143499"/>
              <a:gd name="connsiteX6" fmla="*/ 4303341 w 4819650"/>
              <a:gd name="connsiteY6" fmla="*/ 4793858 h 5143499"/>
              <a:gd name="connsiteX7" fmla="*/ 4338109 w 4819650"/>
              <a:gd name="connsiteY7" fmla="*/ 4801413 h 5143499"/>
              <a:gd name="connsiteX8" fmla="*/ 4372404 w 4819650"/>
              <a:gd name="connsiteY8" fmla="*/ 4774342 h 5143499"/>
              <a:gd name="connsiteX9" fmla="*/ 2094551 w 4819650"/>
              <a:gd name="connsiteY9" fmla="*/ 0 h 5143499"/>
              <a:gd name="connsiteX10" fmla="*/ 4819650 w 4819650"/>
              <a:gd name="connsiteY10" fmla="*/ 0 h 5143499"/>
              <a:gd name="connsiteX11" fmla="*/ 4819650 w 4819650"/>
              <a:gd name="connsiteY11" fmla="*/ 5143499 h 5143499"/>
              <a:gd name="connsiteX12" fmla="*/ 0 w 4819650"/>
              <a:gd name="connsiteY12" fmla="*/ 5143499 h 5143499"/>
              <a:gd name="connsiteX13" fmla="*/ 0 w 4819650"/>
              <a:gd name="connsiteY13" fmla="*/ 5143498 h 5143499"/>
              <a:gd name="connsiteX14" fmla="*/ 371745 w 4819650"/>
              <a:gd name="connsiteY14" fmla="*/ 5143498 h 5143499"/>
              <a:gd name="connsiteX15" fmla="*/ 1206499 w 4819650"/>
              <a:gd name="connsiteY15" fmla="*/ 1821610 h 5143499"/>
              <a:gd name="connsiteX16" fmla="*/ 2048326 w 4819650"/>
              <a:gd name="connsiteY16" fmla="*/ 58253 h 5143499"/>
              <a:gd name="connsiteX17" fmla="*/ 2094551 w 4819650"/>
              <a:gd name="connsiteY17" fmla="*/ 0 h 5143499"/>
              <a:gd name="connsiteX0" fmla="*/ 4338109 w 4819650"/>
              <a:gd name="connsiteY0" fmla="*/ 4801413 h 5143499"/>
              <a:gd name="connsiteX1" fmla="*/ 4330080 w 4819650"/>
              <a:gd name="connsiteY1" fmla="*/ 4761932 h 5143499"/>
              <a:gd name="connsiteX2" fmla="*/ 4336073 w 4819650"/>
              <a:gd name="connsiteY2" fmla="*/ 4764134 h 5143499"/>
              <a:gd name="connsiteX3" fmla="*/ 4351657 w 4819650"/>
              <a:gd name="connsiteY3" fmla="*/ 4774982 h 5143499"/>
              <a:gd name="connsiteX4" fmla="*/ 4337186 w 4819650"/>
              <a:gd name="connsiteY4" fmla="*/ 4782845 h 5143499"/>
              <a:gd name="connsiteX5" fmla="*/ 4308220 w 4819650"/>
              <a:gd name="connsiteY5" fmla="*/ 4775763 h 5143499"/>
              <a:gd name="connsiteX6" fmla="*/ 4303341 w 4819650"/>
              <a:gd name="connsiteY6" fmla="*/ 4793858 h 5143499"/>
              <a:gd name="connsiteX7" fmla="*/ 4338109 w 4819650"/>
              <a:gd name="connsiteY7" fmla="*/ 4801413 h 5143499"/>
              <a:gd name="connsiteX8" fmla="*/ 2094551 w 4819650"/>
              <a:gd name="connsiteY8" fmla="*/ 0 h 5143499"/>
              <a:gd name="connsiteX9" fmla="*/ 4819650 w 4819650"/>
              <a:gd name="connsiteY9" fmla="*/ 0 h 5143499"/>
              <a:gd name="connsiteX10" fmla="*/ 4819650 w 4819650"/>
              <a:gd name="connsiteY10" fmla="*/ 5143499 h 5143499"/>
              <a:gd name="connsiteX11" fmla="*/ 0 w 4819650"/>
              <a:gd name="connsiteY11" fmla="*/ 5143499 h 5143499"/>
              <a:gd name="connsiteX12" fmla="*/ 0 w 4819650"/>
              <a:gd name="connsiteY12" fmla="*/ 5143498 h 5143499"/>
              <a:gd name="connsiteX13" fmla="*/ 371745 w 4819650"/>
              <a:gd name="connsiteY13" fmla="*/ 5143498 h 5143499"/>
              <a:gd name="connsiteX14" fmla="*/ 1206499 w 4819650"/>
              <a:gd name="connsiteY14" fmla="*/ 1821610 h 5143499"/>
              <a:gd name="connsiteX15" fmla="*/ 2048326 w 4819650"/>
              <a:gd name="connsiteY15" fmla="*/ 58253 h 5143499"/>
              <a:gd name="connsiteX16" fmla="*/ 2094551 w 4819650"/>
              <a:gd name="connsiteY16" fmla="*/ 0 h 5143499"/>
              <a:gd name="connsiteX0" fmla="*/ 4338109 w 4819650"/>
              <a:gd name="connsiteY0" fmla="*/ 4801413 h 5143499"/>
              <a:gd name="connsiteX1" fmla="*/ 4330080 w 4819650"/>
              <a:gd name="connsiteY1" fmla="*/ 4761932 h 5143499"/>
              <a:gd name="connsiteX2" fmla="*/ 4351657 w 4819650"/>
              <a:gd name="connsiteY2" fmla="*/ 4774982 h 5143499"/>
              <a:gd name="connsiteX3" fmla="*/ 4337186 w 4819650"/>
              <a:gd name="connsiteY3" fmla="*/ 4782845 h 5143499"/>
              <a:gd name="connsiteX4" fmla="*/ 4308220 w 4819650"/>
              <a:gd name="connsiteY4" fmla="*/ 4775763 h 5143499"/>
              <a:gd name="connsiteX5" fmla="*/ 4303341 w 4819650"/>
              <a:gd name="connsiteY5" fmla="*/ 4793858 h 5143499"/>
              <a:gd name="connsiteX6" fmla="*/ 4338109 w 4819650"/>
              <a:gd name="connsiteY6" fmla="*/ 4801413 h 5143499"/>
              <a:gd name="connsiteX7" fmla="*/ 2094551 w 4819650"/>
              <a:gd name="connsiteY7" fmla="*/ 0 h 5143499"/>
              <a:gd name="connsiteX8" fmla="*/ 4819650 w 4819650"/>
              <a:gd name="connsiteY8" fmla="*/ 0 h 5143499"/>
              <a:gd name="connsiteX9" fmla="*/ 4819650 w 4819650"/>
              <a:gd name="connsiteY9" fmla="*/ 5143499 h 5143499"/>
              <a:gd name="connsiteX10" fmla="*/ 0 w 4819650"/>
              <a:gd name="connsiteY10" fmla="*/ 5143499 h 5143499"/>
              <a:gd name="connsiteX11" fmla="*/ 0 w 4819650"/>
              <a:gd name="connsiteY11" fmla="*/ 5143498 h 5143499"/>
              <a:gd name="connsiteX12" fmla="*/ 371745 w 4819650"/>
              <a:gd name="connsiteY12" fmla="*/ 5143498 h 5143499"/>
              <a:gd name="connsiteX13" fmla="*/ 1206499 w 4819650"/>
              <a:gd name="connsiteY13" fmla="*/ 1821610 h 5143499"/>
              <a:gd name="connsiteX14" fmla="*/ 2048326 w 4819650"/>
              <a:gd name="connsiteY14" fmla="*/ 58253 h 5143499"/>
              <a:gd name="connsiteX15" fmla="*/ 2094551 w 4819650"/>
              <a:gd name="connsiteY15" fmla="*/ 0 h 5143499"/>
              <a:gd name="connsiteX0" fmla="*/ 4338109 w 4819650"/>
              <a:gd name="connsiteY0" fmla="*/ 4801413 h 5143499"/>
              <a:gd name="connsiteX1" fmla="*/ 4351657 w 4819650"/>
              <a:gd name="connsiteY1" fmla="*/ 4774982 h 5143499"/>
              <a:gd name="connsiteX2" fmla="*/ 4337186 w 4819650"/>
              <a:gd name="connsiteY2" fmla="*/ 4782845 h 5143499"/>
              <a:gd name="connsiteX3" fmla="*/ 4308220 w 4819650"/>
              <a:gd name="connsiteY3" fmla="*/ 4775763 h 5143499"/>
              <a:gd name="connsiteX4" fmla="*/ 4303341 w 4819650"/>
              <a:gd name="connsiteY4" fmla="*/ 4793858 h 5143499"/>
              <a:gd name="connsiteX5" fmla="*/ 4338109 w 4819650"/>
              <a:gd name="connsiteY5" fmla="*/ 4801413 h 5143499"/>
              <a:gd name="connsiteX6" fmla="*/ 2094551 w 4819650"/>
              <a:gd name="connsiteY6" fmla="*/ 0 h 5143499"/>
              <a:gd name="connsiteX7" fmla="*/ 4819650 w 4819650"/>
              <a:gd name="connsiteY7" fmla="*/ 0 h 5143499"/>
              <a:gd name="connsiteX8" fmla="*/ 4819650 w 4819650"/>
              <a:gd name="connsiteY8" fmla="*/ 5143499 h 5143499"/>
              <a:gd name="connsiteX9" fmla="*/ 0 w 4819650"/>
              <a:gd name="connsiteY9" fmla="*/ 5143499 h 5143499"/>
              <a:gd name="connsiteX10" fmla="*/ 0 w 4819650"/>
              <a:gd name="connsiteY10" fmla="*/ 5143498 h 5143499"/>
              <a:gd name="connsiteX11" fmla="*/ 371745 w 4819650"/>
              <a:gd name="connsiteY11" fmla="*/ 5143498 h 5143499"/>
              <a:gd name="connsiteX12" fmla="*/ 1206499 w 4819650"/>
              <a:gd name="connsiteY12" fmla="*/ 1821610 h 5143499"/>
              <a:gd name="connsiteX13" fmla="*/ 2048326 w 4819650"/>
              <a:gd name="connsiteY13" fmla="*/ 58253 h 5143499"/>
              <a:gd name="connsiteX14" fmla="*/ 2094551 w 4819650"/>
              <a:gd name="connsiteY14" fmla="*/ 0 h 5143499"/>
              <a:gd name="connsiteX0" fmla="*/ 4338109 w 4819650"/>
              <a:gd name="connsiteY0" fmla="*/ 4801413 h 5143499"/>
              <a:gd name="connsiteX1" fmla="*/ 4351657 w 4819650"/>
              <a:gd name="connsiteY1" fmla="*/ 4774982 h 5143499"/>
              <a:gd name="connsiteX2" fmla="*/ 4308220 w 4819650"/>
              <a:gd name="connsiteY2" fmla="*/ 4775763 h 5143499"/>
              <a:gd name="connsiteX3" fmla="*/ 4303341 w 4819650"/>
              <a:gd name="connsiteY3" fmla="*/ 4793858 h 5143499"/>
              <a:gd name="connsiteX4" fmla="*/ 4338109 w 4819650"/>
              <a:gd name="connsiteY4" fmla="*/ 4801413 h 5143499"/>
              <a:gd name="connsiteX5" fmla="*/ 2094551 w 4819650"/>
              <a:gd name="connsiteY5" fmla="*/ 0 h 5143499"/>
              <a:gd name="connsiteX6" fmla="*/ 4819650 w 4819650"/>
              <a:gd name="connsiteY6" fmla="*/ 0 h 5143499"/>
              <a:gd name="connsiteX7" fmla="*/ 4819650 w 4819650"/>
              <a:gd name="connsiteY7" fmla="*/ 5143499 h 5143499"/>
              <a:gd name="connsiteX8" fmla="*/ 0 w 4819650"/>
              <a:gd name="connsiteY8" fmla="*/ 5143499 h 5143499"/>
              <a:gd name="connsiteX9" fmla="*/ 0 w 4819650"/>
              <a:gd name="connsiteY9" fmla="*/ 5143498 h 5143499"/>
              <a:gd name="connsiteX10" fmla="*/ 371745 w 4819650"/>
              <a:gd name="connsiteY10" fmla="*/ 5143498 h 5143499"/>
              <a:gd name="connsiteX11" fmla="*/ 1206499 w 4819650"/>
              <a:gd name="connsiteY11" fmla="*/ 1821610 h 5143499"/>
              <a:gd name="connsiteX12" fmla="*/ 2048326 w 4819650"/>
              <a:gd name="connsiteY12" fmla="*/ 58253 h 5143499"/>
              <a:gd name="connsiteX13" fmla="*/ 2094551 w 4819650"/>
              <a:gd name="connsiteY13" fmla="*/ 0 h 5143499"/>
              <a:gd name="connsiteX0" fmla="*/ 4338109 w 4819650"/>
              <a:gd name="connsiteY0" fmla="*/ 4801413 h 5143499"/>
              <a:gd name="connsiteX1" fmla="*/ 4308220 w 4819650"/>
              <a:gd name="connsiteY1" fmla="*/ 4775763 h 5143499"/>
              <a:gd name="connsiteX2" fmla="*/ 4303341 w 4819650"/>
              <a:gd name="connsiteY2" fmla="*/ 4793858 h 5143499"/>
              <a:gd name="connsiteX3" fmla="*/ 4338109 w 4819650"/>
              <a:gd name="connsiteY3" fmla="*/ 4801413 h 5143499"/>
              <a:gd name="connsiteX4" fmla="*/ 2094551 w 4819650"/>
              <a:gd name="connsiteY4" fmla="*/ 0 h 5143499"/>
              <a:gd name="connsiteX5" fmla="*/ 4819650 w 4819650"/>
              <a:gd name="connsiteY5" fmla="*/ 0 h 5143499"/>
              <a:gd name="connsiteX6" fmla="*/ 4819650 w 4819650"/>
              <a:gd name="connsiteY6" fmla="*/ 5143499 h 5143499"/>
              <a:gd name="connsiteX7" fmla="*/ 0 w 4819650"/>
              <a:gd name="connsiteY7" fmla="*/ 5143499 h 5143499"/>
              <a:gd name="connsiteX8" fmla="*/ 0 w 4819650"/>
              <a:gd name="connsiteY8" fmla="*/ 5143498 h 5143499"/>
              <a:gd name="connsiteX9" fmla="*/ 371745 w 4819650"/>
              <a:gd name="connsiteY9" fmla="*/ 5143498 h 5143499"/>
              <a:gd name="connsiteX10" fmla="*/ 1206499 w 4819650"/>
              <a:gd name="connsiteY10" fmla="*/ 1821610 h 5143499"/>
              <a:gd name="connsiteX11" fmla="*/ 2048326 w 4819650"/>
              <a:gd name="connsiteY11" fmla="*/ 58253 h 5143499"/>
              <a:gd name="connsiteX12" fmla="*/ 2094551 w 4819650"/>
              <a:gd name="connsiteY12" fmla="*/ 0 h 5143499"/>
              <a:gd name="connsiteX0" fmla="*/ 4338109 w 4819650"/>
              <a:gd name="connsiteY0" fmla="*/ 4801413 h 5143499"/>
              <a:gd name="connsiteX1" fmla="*/ 4303341 w 4819650"/>
              <a:gd name="connsiteY1" fmla="*/ 4793858 h 5143499"/>
              <a:gd name="connsiteX2" fmla="*/ 4338109 w 4819650"/>
              <a:gd name="connsiteY2" fmla="*/ 4801413 h 5143499"/>
              <a:gd name="connsiteX3" fmla="*/ 2094551 w 4819650"/>
              <a:gd name="connsiteY3" fmla="*/ 0 h 5143499"/>
              <a:gd name="connsiteX4" fmla="*/ 4819650 w 4819650"/>
              <a:gd name="connsiteY4" fmla="*/ 0 h 5143499"/>
              <a:gd name="connsiteX5" fmla="*/ 4819650 w 4819650"/>
              <a:gd name="connsiteY5" fmla="*/ 5143499 h 5143499"/>
              <a:gd name="connsiteX6" fmla="*/ 0 w 4819650"/>
              <a:gd name="connsiteY6" fmla="*/ 5143499 h 5143499"/>
              <a:gd name="connsiteX7" fmla="*/ 0 w 4819650"/>
              <a:gd name="connsiteY7" fmla="*/ 5143498 h 5143499"/>
              <a:gd name="connsiteX8" fmla="*/ 371745 w 4819650"/>
              <a:gd name="connsiteY8" fmla="*/ 5143498 h 5143499"/>
              <a:gd name="connsiteX9" fmla="*/ 1206499 w 4819650"/>
              <a:gd name="connsiteY9" fmla="*/ 1821610 h 5143499"/>
              <a:gd name="connsiteX10" fmla="*/ 2048326 w 4819650"/>
              <a:gd name="connsiteY10" fmla="*/ 58253 h 5143499"/>
              <a:gd name="connsiteX11" fmla="*/ 2094551 w 4819650"/>
              <a:gd name="connsiteY11" fmla="*/ 0 h 5143499"/>
              <a:gd name="connsiteX0" fmla="*/ 2094551 w 4819650"/>
              <a:gd name="connsiteY0" fmla="*/ 0 h 5143499"/>
              <a:gd name="connsiteX1" fmla="*/ 4819650 w 4819650"/>
              <a:gd name="connsiteY1" fmla="*/ 0 h 5143499"/>
              <a:gd name="connsiteX2" fmla="*/ 4819650 w 4819650"/>
              <a:gd name="connsiteY2" fmla="*/ 5143499 h 5143499"/>
              <a:gd name="connsiteX3" fmla="*/ 0 w 4819650"/>
              <a:gd name="connsiteY3" fmla="*/ 5143499 h 5143499"/>
              <a:gd name="connsiteX4" fmla="*/ 0 w 4819650"/>
              <a:gd name="connsiteY4" fmla="*/ 5143498 h 5143499"/>
              <a:gd name="connsiteX5" fmla="*/ 371745 w 4819650"/>
              <a:gd name="connsiteY5" fmla="*/ 5143498 h 5143499"/>
              <a:gd name="connsiteX6" fmla="*/ 1206499 w 4819650"/>
              <a:gd name="connsiteY6" fmla="*/ 1821610 h 5143499"/>
              <a:gd name="connsiteX7" fmla="*/ 2048326 w 4819650"/>
              <a:gd name="connsiteY7" fmla="*/ 58253 h 5143499"/>
              <a:gd name="connsiteX8" fmla="*/ 2094551 w 4819650"/>
              <a:gd name="connsiteY8" fmla="*/ 0 h 5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19650" h="5143499">
                <a:moveTo>
                  <a:pt x="2094551" y="0"/>
                </a:moveTo>
                <a:lnTo>
                  <a:pt x="4819650" y="0"/>
                </a:lnTo>
                <a:lnTo>
                  <a:pt x="4819650" y="5143499"/>
                </a:lnTo>
                <a:lnTo>
                  <a:pt x="0" y="5143499"/>
                </a:lnTo>
                <a:lnTo>
                  <a:pt x="0" y="5143498"/>
                </a:lnTo>
                <a:lnTo>
                  <a:pt x="371745" y="5143498"/>
                </a:lnTo>
                <a:lnTo>
                  <a:pt x="1206499" y="1821610"/>
                </a:lnTo>
                <a:cubicBezTo>
                  <a:pt x="1372079" y="1162691"/>
                  <a:pt x="1663360" y="568520"/>
                  <a:pt x="2048326" y="58253"/>
                </a:cubicBezTo>
                <a:lnTo>
                  <a:pt x="2094551" y="0"/>
                </a:lnTo>
                <a:close/>
              </a:path>
            </a:pathLst>
          </a:custGeom>
          <a:solidFill>
            <a:schemeClr val="tx1">
              <a:lumMod val="95000"/>
            </a:schemeClr>
          </a:solidFill>
        </p:spPr>
        <p:txBody>
          <a:bodyPr wrap="square">
            <a:noAutofit/>
          </a:bodyPr>
          <a:lstStyle/>
          <a:p>
            <a:r>
              <a:rPr lang="en-US"/>
              <a:t>Click icon to add picture</a:t>
            </a:r>
          </a:p>
        </p:txBody>
      </p:sp>
      <p:sp>
        <p:nvSpPr>
          <p:cNvPr id="7" name="Title 1"/>
          <p:cNvSpPr>
            <a:spLocks noGrp="1"/>
          </p:cNvSpPr>
          <p:nvPr>
            <p:ph type="title" hasCustomPrompt="1"/>
          </p:nvPr>
        </p:nvSpPr>
        <p:spPr>
          <a:xfrm>
            <a:off x="613833" y="505887"/>
            <a:ext cx="5928077" cy="2923116"/>
          </a:xfrm>
        </p:spPr>
        <p:txBody>
          <a:bodyPr anchor="b">
            <a:noAutofit/>
          </a:bodyPr>
          <a:lstStyle>
            <a:lvl1pPr>
              <a:defRPr sz="5600" b="0">
                <a:solidFill>
                  <a:srgbClr val="FFFFFF"/>
                </a:solidFill>
                <a:latin typeface="Proximus ExtraBold" panose="00000900000000000000" pitchFamily="2" charset="0"/>
              </a:defRPr>
            </a:lvl1pPr>
          </a:lstStyle>
          <a:p>
            <a:r>
              <a:rPr lang="en-US"/>
              <a:t>Click to edit </a:t>
            </a:r>
            <a:br>
              <a:rPr lang="en-US"/>
            </a:br>
            <a:r>
              <a:rPr lang="en-US"/>
              <a:t>presentation title</a:t>
            </a:r>
            <a:endParaRPr lang="nl-BE"/>
          </a:p>
        </p:txBody>
      </p:sp>
      <p:sp>
        <p:nvSpPr>
          <p:cNvPr id="6" name="Subtitle 2">
            <a:extLst>
              <a:ext uri="{FF2B5EF4-FFF2-40B4-BE49-F238E27FC236}">
                <a16:creationId xmlns:a16="http://schemas.microsoft.com/office/drawing/2014/main" id="{56176E85-8408-4B89-A7FD-D33D192C3CE4}"/>
              </a:ext>
            </a:extLst>
          </p:cNvPr>
          <p:cNvSpPr>
            <a:spLocks noGrp="1"/>
          </p:cNvSpPr>
          <p:nvPr>
            <p:ph type="subTitle" idx="1" hasCustomPrompt="1"/>
          </p:nvPr>
        </p:nvSpPr>
        <p:spPr>
          <a:xfrm>
            <a:off x="613838" y="3801468"/>
            <a:ext cx="5482167" cy="1335741"/>
          </a:xfrm>
        </p:spPr>
        <p:txBody>
          <a:bodyPr/>
          <a:lstStyle>
            <a:lvl1pPr marL="0" indent="0" algn="l">
              <a:lnSpc>
                <a:spcPct val="100000"/>
              </a:lnSpc>
              <a:buNone/>
              <a:defRPr sz="3467">
                <a:solidFill>
                  <a:schemeClr val="tx1"/>
                </a:solidFill>
                <a:latin typeface="Proximus Light" panose="00000500000000000000" pitchFamily="2" charset="0"/>
              </a:defRPr>
            </a:lvl1pPr>
            <a:lvl2pPr marL="609539" indent="0" algn="ctr">
              <a:buNone/>
              <a:defRPr>
                <a:solidFill>
                  <a:schemeClr val="tx1">
                    <a:tint val="75000"/>
                  </a:schemeClr>
                </a:solidFill>
              </a:defRPr>
            </a:lvl2pPr>
            <a:lvl3pPr marL="1219080" indent="0" algn="ctr">
              <a:buNone/>
              <a:defRPr>
                <a:solidFill>
                  <a:schemeClr val="tx1">
                    <a:tint val="75000"/>
                  </a:schemeClr>
                </a:solidFill>
              </a:defRPr>
            </a:lvl3pPr>
            <a:lvl4pPr marL="1828618" indent="0" algn="ctr">
              <a:buNone/>
              <a:defRPr>
                <a:solidFill>
                  <a:schemeClr val="tx1">
                    <a:tint val="75000"/>
                  </a:schemeClr>
                </a:solidFill>
              </a:defRPr>
            </a:lvl4pPr>
            <a:lvl5pPr marL="2438158" indent="0" algn="ctr">
              <a:buNone/>
              <a:defRPr>
                <a:solidFill>
                  <a:schemeClr val="tx1">
                    <a:tint val="75000"/>
                  </a:schemeClr>
                </a:solidFill>
              </a:defRPr>
            </a:lvl5pPr>
            <a:lvl6pPr marL="3047696" indent="0" algn="ctr">
              <a:buNone/>
              <a:defRPr>
                <a:solidFill>
                  <a:schemeClr val="tx1">
                    <a:tint val="75000"/>
                  </a:schemeClr>
                </a:solidFill>
              </a:defRPr>
            </a:lvl6pPr>
            <a:lvl7pPr marL="3657235" indent="0" algn="ctr">
              <a:buNone/>
              <a:defRPr>
                <a:solidFill>
                  <a:schemeClr val="tx1">
                    <a:tint val="75000"/>
                  </a:schemeClr>
                </a:solidFill>
              </a:defRPr>
            </a:lvl7pPr>
            <a:lvl8pPr marL="4266773" indent="0" algn="ctr">
              <a:buNone/>
              <a:defRPr>
                <a:solidFill>
                  <a:schemeClr val="tx1">
                    <a:tint val="75000"/>
                  </a:schemeClr>
                </a:solidFill>
              </a:defRPr>
            </a:lvl8pPr>
            <a:lvl9pPr marL="4876313" indent="0" algn="ctr">
              <a:buNone/>
              <a:defRPr>
                <a:solidFill>
                  <a:schemeClr val="tx1">
                    <a:tint val="75000"/>
                  </a:schemeClr>
                </a:solidFill>
              </a:defRPr>
            </a:lvl9pPr>
          </a:lstStyle>
          <a:p>
            <a:r>
              <a:rPr lang="en-US"/>
              <a:t>Subtitle</a:t>
            </a:r>
            <a:endParaRPr lang="nl-BE"/>
          </a:p>
        </p:txBody>
      </p:sp>
      <p:sp>
        <p:nvSpPr>
          <p:cNvPr id="3" name="Date Placeholder 8">
            <a:extLst>
              <a:ext uri="{FF2B5EF4-FFF2-40B4-BE49-F238E27FC236}">
                <a16:creationId xmlns:a16="http://schemas.microsoft.com/office/drawing/2014/main" id="{C6D253A4-9E71-17BB-14ED-6271A75930B9}"/>
              </a:ext>
            </a:extLst>
          </p:cNvPr>
          <p:cNvSpPr>
            <a:spLocks noGrp="1"/>
          </p:cNvSpPr>
          <p:nvPr>
            <p:ph type="dt" sz="half" idx="2"/>
          </p:nvPr>
        </p:nvSpPr>
        <p:spPr>
          <a:xfrm>
            <a:off x="613835" y="5821863"/>
            <a:ext cx="204560" cy="377528"/>
          </a:xfrm>
          <a:prstGeom prst="roundRect">
            <a:avLst>
              <a:gd name="adj" fmla="val 50000"/>
            </a:avLst>
          </a:prstGeom>
          <a:solidFill>
            <a:schemeClr val="tx1"/>
          </a:solidFill>
        </p:spPr>
        <p:txBody>
          <a:bodyPr vert="horz" wrap="none" lIns="72000" tIns="36000" rIns="72000" bIns="36000" rtlCol="0" anchor="ctr">
            <a:spAutoFit/>
          </a:bodyPr>
          <a:lstStyle>
            <a:lvl1pPr algn="l">
              <a:defRPr sz="1600">
                <a:solidFill>
                  <a:schemeClr val="bg1"/>
                </a:solidFill>
              </a:defRPr>
            </a:lvl1pPr>
          </a:lstStyle>
          <a:p>
            <a:endParaRPr lang="en-US"/>
          </a:p>
        </p:txBody>
      </p:sp>
    </p:spTree>
    <p:extLst>
      <p:ext uri="{BB962C8B-B14F-4D97-AF65-F5344CB8AC3E}">
        <p14:creationId xmlns:p14="http://schemas.microsoft.com/office/powerpoint/2010/main" val="15965935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XS ADA - Chapter - Title &amp; subtitle - bg2">
    <p:bg>
      <p:bgPr>
        <a:solidFill>
          <a:srgbClr val="03001D"/>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2E7359F-1BE6-6035-67C3-38CDA83CF620}"/>
              </a:ext>
            </a:extLst>
          </p:cNvPr>
          <p:cNvGrpSpPr/>
          <p:nvPr userDrawn="1"/>
        </p:nvGrpSpPr>
        <p:grpSpPr>
          <a:xfrm>
            <a:off x="-1600" y="1"/>
            <a:ext cx="12193600" cy="6858225"/>
            <a:chOff x="-1200" y="0"/>
            <a:chExt cx="9145200" cy="5143669"/>
          </a:xfrm>
        </p:grpSpPr>
        <p:sp>
          <p:nvSpPr>
            <p:cNvPr id="8" name="Rectangle 7">
              <a:extLst>
                <a:ext uri="{FF2B5EF4-FFF2-40B4-BE49-F238E27FC236}">
                  <a16:creationId xmlns:a16="http://schemas.microsoft.com/office/drawing/2014/main" id="{601B3375-161B-A90D-E94E-D91DE6E0177B}"/>
                </a:ext>
              </a:extLst>
            </p:cNvPr>
            <p:cNvSpPr/>
            <p:nvPr userDrawn="1"/>
          </p:nvSpPr>
          <p:spPr>
            <a:xfrm>
              <a:off x="0" y="0"/>
              <a:ext cx="9144000" cy="504363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624517"/>
              <a:endParaRPr lang="en-US" sz="1867" err="1">
                <a:solidFill>
                  <a:schemeClr val="tx1"/>
                </a:solidFill>
                <a:latin typeface="Proximus" panose="00000500000000000000" pitchFamily="2" charset="0"/>
                <a:cs typeface="Proximus"/>
              </a:endParaRPr>
            </a:p>
          </p:txBody>
        </p:sp>
        <p:grpSp>
          <p:nvGrpSpPr>
            <p:cNvPr id="9" name="Group 8">
              <a:extLst>
                <a:ext uri="{FF2B5EF4-FFF2-40B4-BE49-F238E27FC236}">
                  <a16:creationId xmlns:a16="http://schemas.microsoft.com/office/drawing/2014/main" id="{B4FEB1C2-8153-2647-A677-FB81758EEFCF}"/>
                </a:ext>
              </a:extLst>
            </p:cNvPr>
            <p:cNvGrpSpPr/>
            <p:nvPr userDrawn="1"/>
          </p:nvGrpSpPr>
          <p:grpSpPr>
            <a:xfrm>
              <a:off x="2388230" y="0"/>
              <a:ext cx="6755770" cy="5143500"/>
              <a:chOff x="2394583" y="0"/>
              <a:chExt cx="6755770" cy="5143500"/>
            </a:xfrm>
            <a:solidFill>
              <a:schemeClr val="bg1">
                <a:alpha val="20000"/>
              </a:schemeClr>
            </a:solidFill>
          </p:grpSpPr>
          <p:pic>
            <p:nvPicPr>
              <p:cNvPr id="11" name="Graphic 10">
                <a:extLst>
                  <a:ext uri="{FF2B5EF4-FFF2-40B4-BE49-F238E27FC236}">
                    <a16:creationId xmlns:a16="http://schemas.microsoft.com/office/drawing/2014/main" id="{45FBF473-DB8D-DCCA-E855-32CA8788E75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40699" r="46306"/>
              <a:stretch/>
            </p:blipFill>
            <p:spPr>
              <a:xfrm>
                <a:off x="6868313" y="0"/>
                <a:ext cx="2275687" cy="3490722"/>
              </a:xfrm>
              <a:prstGeom prst="rect">
                <a:avLst/>
              </a:prstGeom>
            </p:spPr>
          </p:pic>
          <p:pic>
            <p:nvPicPr>
              <p:cNvPr id="12" name="Graphic 11">
                <a:extLst>
                  <a:ext uri="{FF2B5EF4-FFF2-40B4-BE49-F238E27FC236}">
                    <a16:creationId xmlns:a16="http://schemas.microsoft.com/office/drawing/2014/main" id="{616F4057-84C3-E0DD-CBB6-F076A4EBF73C}"/>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t="12793"/>
              <a:stretch/>
            </p:blipFill>
            <p:spPr>
              <a:xfrm>
                <a:off x="2394583" y="0"/>
                <a:ext cx="4473730" cy="3490722"/>
              </a:xfrm>
              <a:prstGeom prst="rect">
                <a:avLst/>
              </a:prstGeom>
            </p:spPr>
          </p:pic>
          <p:pic>
            <p:nvPicPr>
              <p:cNvPr id="13" name="Graphic 12">
                <a:extLst>
                  <a:ext uri="{FF2B5EF4-FFF2-40B4-BE49-F238E27FC236}">
                    <a16:creationId xmlns:a16="http://schemas.microsoft.com/office/drawing/2014/main" id="{9DFAB0C2-E888-B326-C806-4F7360CD97C5}"/>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r="39532" b="65156"/>
              <a:stretch/>
            </p:blipFill>
            <p:spPr>
              <a:xfrm>
                <a:off x="6445175" y="3748762"/>
                <a:ext cx="2705178" cy="1394738"/>
              </a:xfrm>
              <a:prstGeom prst="rect">
                <a:avLst/>
              </a:prstGeom>
            </p:spPr>
          </p:pic>
        </p:grpSp>
        <p:sp>
          <p:nvSpPr>
            <p:cNvPr id="10" name="Rectangle 9">
              <a:extLst>
                <a:ext uri="{FF2B5EF4-FFF2-40B4-BE49-F238E27FC236}">
                  <a16:creationId xmlns:a16="http://schemas.microsoft.com/office/drawing/2014/main" id="{1259D035-FF66-D777-C9C9-3B187632E85A}"/>
                </a:ext>
              </a:extLst>
            </p:cNvPr>
            <p:cNvSpPr/>
            <p:nvPr userDrawn="1"/>
          </p:nvSpPr>
          <p:spPr>
            <a:xfrm>
              <a:off x="-1200" y="0"/>
              <a:ext cx="9145200" cy="5143669"/>
            </a:xfrm>
            <a:prstGeom prst="rect">
              <a:avLst/>
            </a:prstGeom>
            <a:gradFill>
              <a:gsLst>
                <a:gs pos="0">
                  <a:srgbClr val="5C2D91"/>
                </a:gs>
                <a:gs pos="60000">
                  <a:srgbClr val="5C2D91">
                    <a:alpha val="0"/>
                  </a:srgb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2400"/>
            </a:p>
          </p:txBody>
        </p:sp>
      </p:grpSp>
      <p:pic>
        <p:nvPicPr>
          <p:cNvPr id="4" name="Graphic 3">
            <a:extLst>
              <a:ext uri="{FF2B5EF4-FFF2-40B4-BE49-F238E27FC236}">
                <a16:creationId xmlns:a16="http://schemas.microsoft.com/office/drawing/2014/main" id="{17BEAF36-9376-3B90-3EC8-10359E22C1C1}"/>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24418" y="602644"/>
            <a:ext cx="1663503" cy="455445"/>
          </a:xfrm>
          <a:prstGeom prst="rect">
            <a:avLst/>
          </a:prstGeom>
        </p:spPr>
      </p:pic>
      <p:sp>
        <p:nvSpPr>
          <p:cNvPr id="5" name="Title 1">
            <a:extLst>
              <a:ext uri="{FF2B5EF4-FFF2-40B4-BE49-F238E27FC236}">
                <a16:creationId xmlns:a16="http://schemas.microsoft.com/office/drawing/2014/main" id="{ED6DB463-ECA8-ECA6-048A-74B4A9AA17A3}"/>
              </a:ext>
            </a:extLst>
          </p:cNvPr>
          <p:cNvSpPr>
            <a:spLocks noGrp="1"/>
          </p:cNvSpPr>
          <p:nvPr userDrawn="1">
            <p:ph type="title" hasCustomPrompt="1"/>
          </p:nvPr>
        </p:nvSpPr>
        <p:spPr>
          <a:xfrm>
            <a:off x="613835" y="2520356"/>
            <a:ext cx="8072965" cy="1658907"/>
          </a:xfrm>
        </p:spPr>
        <p:txBody>
          <a:bodyPr anchor="b">
            <a:normAutofit/>
          </a:bodyPr>
          <a:lstStyle>
            <a:lvl1pPr>
              <a:lnSpc>
                <a:spcPct val="90000"/>
              </a:lnSpc>
              <a:defRPr sz="5333" b="0" i="0">
                <a:solidFill>
                  <a:srgbClr val="FFFFFF"/>
                </a:solidFill>
                <a:latin typeface="Proximus Light" pitchFamily="2" charset="77"/>
              </a:defRPr>
            </a:lvl1pPr>
          </a:lstStyle>
          <a:p>
            <a:r>
              <a:rPr lang="en-US"/>
              <a:t>Click to edit </a:t>
            </a:r>
            <a:r>
              <a:rPr lang="en-BE"/>
              <a:t>chapter</a:t>
            </a:r>
            <a:r>
              <a:rPr lang="en-US"/>
              <a:t> title</a:t>
            </a:r>
            <a:endParaRPr lang="nl-BE"/>
          </a:p>
        </p:txBody>
      </p:sp>
      <p:sp>
        <p:nvSpPr>
          <p:cNvPr id="6" name="Text Placeholder 4">
            <a:extLst>
              <a:ext uri="{FF2B5EF4-FFF2-40B4-BE49-F238E27FC236}">
                <a16:creationId xmlns:a16="http://schemas.microsoft.com/office/drawing/2014/main" id="{ADD02648-C2BE-4807-31D2-CA72AFB02CA4}"/>
              </a:ext>
            </a:extLst>
          </p:cNvPr>
          <p:cNvSpPr>
            <a:spLocks noGrp="1"/>
          </p:cNvSpPr>
          <p:nvPr userDrawn="1">
            <p:ph type="body" sz="quarter" idx="11" hasCustomPrompt="1"/>
          </p:nvPr>
        </p:nvSpPr>
        <p:spPr>
          <a:xfrm>
            <a:off x="613833" y="4431700"/>
            <a:ext cx="7712208" cy="1230825"/>
          </a:xfrm>
        </p:spPr>
        <p:txBody>
          <a:bodyPr anchor="t"/>
          <a:lstStyle>
            <a:lvl1pPr>
              <a:lnSpc>
                <a:spcPct val="120000"/>
              </a:lnSpc>
              <a:spcAft>
                <a:spcPts val="0"/>
              </a:spcAft>
              <a:defRPr sz="2667" b="1">
                <a:solidFill>
                  <a:schemeClr val="accent4"/>
                </a:solidFill>
                <a:latin typeface="Proximus Bold" panose="00000800000000000000" pitchFamily="2" charset="0"/>
                <a:ea typeface="NSimSun" panose="02010609030101010101" pitchFamily="49" charset="-122"/>
              </a:defRPr>
            </a:lvl1pPr>
          </a:lstStyle>
          <a:p>
            <a:r>
              <a:rPr lang="en-US" b="0" i="0">
                <a:latin typeface="Proximus Light" pitchFamily="2" charset="77"/>
              </a:rPr>
              <a:t>Click to edit subtitle</a:t>
            </a:r>
            <a:r>
              <a:rPr lang="en-BE" b="0" i="0">
                <a:latin typeface="Proximus Light" pitchFamily="2" charset="77"/>
              </a:rPr>
              <a:t> if any</a:t>
            </a:r>
            <a:endParaRPr lang="nl-BE" b="0" i="0">
              <a:latin typeface="Proximus Light" pitchFamily="2" charset="77"/>
            </a:endParaRPr>
          </a:p>
        </p:txBody>
      </p:sp>
    </p:spTree>
    <p:extLst>
      <p:ext uri="{BB962C8B-B14F-4D97-AF65-F5344CB8AC3E}">
        <p14:creationId xmlns:p14="http://schemas.microsoft.com/office/powerpoint/2010/main" val="52744277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11_Bold - content slide with image">
    <p:bg>
      <p:bgPr>
        <a:gradFill>
          <a:gsLst>
            <a:gs pos="100000">
              <a:srgbClr val="EAEAEE"/>
            </a:gs>
            <a:gs pos="60000">
              <a:srgbClr val="F3F4F7">
                <a:lumMod val="50000"/>
                <a:lumOff val="50000"/>
              </a:srgbClr>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14AF58C-3B61-FFCA-1397-36200B519315}"/>
              </a:ext>
            </a:extLst>
          </p:cNvPr>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214AF58C-3B61-FFCA-1397-36200B519315}"/>
                          </a:ext>
                        </a:extLst>
                      </p:cNvPr>
                      <p:cNvPicPr/>
                      <p:nvPr/>
                    </p:nvPicPr>
                    <p:blipFill>
                      <a:blip r:embed="rId4"/>
                      <a:stretch>
                        <a:fillRect/>
                      </a:stretch>
                    </p:blipFill>
                    <p:spPr>
                      <a:xfrm>
                        <a:off x="1590" y="1590"/>
                        <a:ext cx="1588"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B33E86FD-E33C-BC87-92CD-5F93A65C7631}"/>
              </a:ext>
            </a:extLst>
          </p:cNvPr>
          <p:cNvSpPr>
            <a:spLocks noGrp="1"/>
          </p:cNvSpPr>
          <p:nvPr>
            <p:ph type="title" hasCustomPrompt="1"/>
          </p:nvPr>
        </p:nvSpPr>
        <p:spPr>
          <a:xfrm>
            <a:off x="601200" y="456204"/>
            <a:ext cx="10981200" cy="408877"/>
          </a:xfrm>
          <a:prstGeom prst="rect">
            <a:avLst/>
          </a:prstGeom>
        </p:spPr>
        <p:txBody>
          <a:bodyPr vert="horz" lIns="0" tIns="0" rIns="0" bIns="0">
            <a:noAutofit/>
          </a:bodyPr>
          <a:lstStyle>
            <a:lvl1pPr>
              <a:lnSpc>
                <a:spcPct val="100000"/>
              </a:lnSpc>
              <a:spcAft>
                <a:spcPts val="2400"/>
              </a:spcAft>
              <a:defRPr sz="2800" b="1">
                <a:latin typeface="Proximus ExtraBold" panose="00000900000000000000" pitchFamily="2" charset="0"/>
              </a:defRPr>
            </a:lvl1pPr>
          </a:lstStyle>
          <a:p>
            <a:r>
              <a:rPr lang="en-US"/>
              <a:t>Click to edit</a:t>
            </a:r>
            <a:r>
              <a:rPr lang="en-BE"/>
              <a:t> this</a:t>
            </a:r>
            <a:r>
              <a:rPr lang="en-US"/>
              <a:t> </a:t>
            </a:r>
            <a:r>
              <a:rPr lang="en-BE"/>
              <a:t>barebone </a:t>
            </a:r>
            <a:r>
              <a:rPr lang="en-US"/>
              <a:t>slide</a:t>
            </a:r>
            <a:r>
              <a:rPr lang="en-BE"/>
              <a:t>’s</a:t>
            </a:r>
            <a:r>
              <a:rPr lang="en-US"/>
              <a:t> title</a:t>
            </a:r>
            <a:br>
              <a:rPr lang="en-BE"/>
            </a:br>
            <a:endParaRPr lang="nl-BE"/>
          </a:p>
        </p:txBody>
      </p:sp>
      <p:sp>
        <p:nvSpPr>
          <p:cNvPr id="12" name="Text Placeholder 2">
            <a:extLst>
              <a:ext uri="{FF2B5EF4-FFF2-40B4-BE49-F238E27FC236}">
                <a16:creationId xmlns:a16="http://schemas.microsoft.com/office/drawing/2014/main" id="{D93BCAB6-F82E-3432-F731-74418DBDCFC7}"/>
              </a:ext>
            </a:extLst>
          </p:cNvPr>
          <p:cNvSpPr>
            <a:spLocks noGrp="1"/>
          </p:cNvSpPr>
          <p:nvPr>
            <p:ph type="body" sz="quarter" idx="10" hasCustomPrompt="1"/>
          </p:nvPr>
        </p:nvSpPr>
        <p:spPr>
          <a:xfrm>
            <a:off x="601200" y="1984122"/>
            <a:ext cx="10981200" cy="1006686"/>
          </a:xfrm>
          <a:prstGeom prst="rect">
            <a:avLst/>
          </a:prstGeom>
        </p:spPr>
        <p:txBody>
          <a:bodyPr wrap="square" lIns="0" tIns="0" rIns="0" bIns="0">
            <a:spAutoFit/>
          </a:bodyPr>
          <a:lstStyle>
            <a:lvl1pPr marL="0" indent="0">
              <a:lnSpc>
                <a:spcPct val="125000"/>
              </a:lnSpc>
              <a:spcAft>
                <a:spcPts val="600"/>
              </a:spcAft>
              <a:buNone/>
              <a:defRPr sz="2000" baseline="0">
                <a:solidFill>
                  <a:srgbClr val="000000"/>
                </a:solidFill>
                <a:latin typeface="Proximus" panose="00000500000000000000" pitchFamily="2" charset="0"/>
              </a:defRPr>
            </a:lvl1pPr>
          </a:lstStyle>
          <a:p>
            <a:pPr lvl="0"/>
            <a:r>
              <a:rPr lang="en-US"/>
              <a:t>C</a:t>
            </a:r>
            <a:r>
              <a:rPr lang="en-BE"/>
              <a:t>lick to edit standard </a:t>
            </a:r>
            <a:r>
              <a:rPr lang="en-BE" err="1"/>
              <a:t>bodytext</a:t>
            </a:r>
            <a:r>
              <a:rPr lang="en-BE"/>
              <a:t>. </a:t>
            </a:r>
          </a:p>
          <a:p>
            <a:pPr lvl="0"/>
            <a:r>
              <a:rPr lang="en-BE"/>
              <a:t>Add bold and/or coloured bold text to put emphasis on certain words or phrases.</a:t>
            </a:r>
          </a:p>
        </p:txBody>
      </p:sp>
      <p:sp>
        <p:nvSpPr>
          <p:cNvPr id="8" name="TextBox 7" hidden="1">
            <a:extLst>
              <a:ext uri="{FF2B5EF4-FFF2-40B4-BE49-F238E27FC236}">
                <a16:creationId xmlns:a16="http://schemas.microsoft.com/office/drawing/2014/main" id="{BB5730C9-BED3-1220-733C-A947958AE959}"/>
              </a:ext>
            </a:extLst>
          </p:cNvPr>
          <p:cNvSpPr txBox="1"/>
          <p:nvPr userDrawn="1"/>
        </p:nvSpPr>
        <p:spPr>
          <a:xfrm>
            <a:off x="602195" y="6157201"/>
            <a:ext cx="4214191" cy="215444"/>
          </a:xfrm>
          <a:prstGeom prst="rect">
            <a:avLst/>
          </a:prstGeom>
          <a:noFill/>
        </p:spPr>
        <p:txBody>
          <a:bodyPr wrap="square" lIns="0" tIns="0" rIns="0" bIns="0" rtlCol="0">
            <a:spAutoFit/>
          </a:bodyPr>
          <a:lstStyle/>
          <a:p>
            <a:r>
              <a:rPr lang="en-BE" sz="1400" baseline="0">
                <a:solidFill>
                  <a:srgbClr val="000000"/>
                </a:solidFill>
                <a:latin typeface="Proximus Light" panose="00000500000000000000" pitchFamily="2" charset="0"/>
              </a:rPr>
              <a:t>Bold2025 | Strategy Cascade</a:t>
            </a:r>
            <a:endParaRPr lang="en-GB" sz="1400" baseline="0" err="1">
              <a:solidFill>
                <a:srgbClr val="000000"/>
              </a:solidFill>
              <a:latin typeface="Proximus Light" panose="00000500000000000000" pitchFamily="2" charset="0"/>
            </a:endParaRPr>
          </a:p>
        </p:txBody>
      </p:sp>
      <p:sp>
        <p:nvSpPr>
          <p:cNvPr id="2" name="Tijdelijke aanduiding voor dianummer 1">
            <a:extLst>
              <a:ext uri="{FF2B5EF4-FFF2-40B4-BE49-F238E27FC236}">
                <a16:creationId xmlns:a16="http://schemas.microsoft.com/office/drawing/2014/main" id="{222836A2-2C46-C4EA-836F-9436659D9E27}"/>
              </a:ext>
            </a:extLst>
          </p:cNvPr>
          <p:cNvSpPr>
            <a:spLocks noGrp="1"/>
          </p:cNvSpPr>
          <p:nvPr>
            <p:ph type="sldNum" sz="quarter" idx="11"/>
          </p:nvPr>
        </p:nvSpPr>
        <p:spPr>
          <a:xfrm>
            <a:off x="10943172" y="6406032"/>
            <a:ext cx="624417" cy="95251"/>
          </a:xfrm>
        </p:spPr>
        <p:txBody>
          <a:bodyPr/>
          <a:lstStyle/>
          <a:p>
            <a:pPr>
              <a:defRPr/>
            </a:pPr>
            <a:fld id="{7021A09D-5D51-4720-8C85-581ABB204F15}" type="slidenum">
              <a:rPr lang="nl-BE" smtClean="0"/>
              <a:pPr>
                <a:defRPr/>
              </a:pPr>
              <a:t>‹#›</a:t>
            </a:fld>
            <a:endParaRPr lang="nl-BE"/>
          </a:p>
        </p:txBody>
      </p:sp>
    </p:spTree>
    <p:extLst>
      <p:ext uri="{BB962C8B-B14F-4D97-AF65-F5344CB8AC3E}">
        <p14:creationId xmlns:p14="http://schemas.microsoft.com/office/powerpoint/2010/main" val="31874255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eldi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8E3CE9-8E2A-56EF-F19F-3B3787BCAF83}"/>
              </a:ext>
            </a:extLst>
          </p:cNvPr>
          <p:cNvSpPr>
            <a:spLocks noGrp="1"/>
          </p:cNvSpPr>
          <p:nvPr>
            <p:ph type="ctrTitle"/>
          </p:nvPr>
        </p:nvSpPr>
        <p:spPr>
          <a:xfrm>
            <a:off x="688911" y="2667703"/>
            <a:ext cx="7024396" cy="2387600"/>
          </a:xfrm>
          <a:prstGeom prst="rect">
            <a:avLst/>
          </a:prstGeom>
        </p:spPr>
        <p:txBody>
          <a:bodyPr anchor="b"/>
          <a:lstStyle>
            <a:lvl1pPr algn="l">
              <a:defRPr sz="6000"/>
            </a:lvl1pPr>
          </a:lstStyle>
          <a:p>
            <a:r>
              <a:rPr lang="nl-NL"/>
              <a:t>Klik om stijl te bewerken</a:t>
            </a:r>
            <a:endParaRPr lang="nl-BE"/>
          </a:p>
        </p:txBody>
      </p:sp>
      <p:sp>
        <p:nvSpPr>
          <p:cNvPr id="3" name="Ondertitel 2">
            <a:extLst>
              <a:ext uri="{FF2B5EF4-FFF2-40B4-BE49-F238E27FC236}">
                <a16:creationId xmlns:a16="http://schemas.microsoft.com/office/drawing/2014/main" id="{BFDD54D8-3AF8-F5AF-1C22-0807DF8A36B0}"/>
              </a:ext>
            </a:extLst>
          </p:cNvPr>
          <p:cNvSpPr>
            <a:spLocks noGrp="1"/>
          </p:cNvSpPr>
          <p:nvPr>
            <p:ph type="subTitle" idx="1"/>
          </p:nvPr>
        </p:nvSpPr>
        <p:spPr>
          <a:xfrm>
            <a:off x="688911" y="5202237"/>
            <a:ext cx="7024396" cy="1655763"/>
          </a:xfrm>
        </p:spPr>
        <p:txBody>
          <a:bodyPr/>
          <a:lstStyle>
            <a:lvl1pPr marL="0" indent="0" algn="l">
              <a:buNone/>
              <a:defRPr sz="240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nl-NL"/>
              <a:t>Klikken om de ondertitelstijl van het model te bewerken</a:t>
            </a:r>
            <a:endParaRPr lang="nl-BE"/>
          </a:p>
        </p:txBody>
      </p:sp>
    </p:spTree>
    <p:extLst>
      <p:ext uri="{BB962C8B-B14F-4D97-AF65-F5344CB8AC3E}">
        <p14:creationId xmlns:p14="http://schemas.microsoft.com/office/powerpoint/2010/main" val="427910759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Normal dark gradient">
    <p:bg>
      <p:bgPr>
        <a:solidFill>
          <a:schemeClr val="tx2">
            <a:lumMod val="50000"/>
          </a:schemeClr>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5544577-3C77-8BF0-6E1A-BB233784C9E5}"/>
              </a:ext>
            </a:extLst>
          </p:cNvPr>
          <p:cNvSpPr/>
          <p:nvPr userDrawn="1"/>
        </p:nvSpPr>
        <p:spPr>
          <a:xfrm>
            <a:off x="0" y="0"/>
            <a:ext cx="12192000" cy="6858000"/>
          </a:xfrm>
          <a:prstGeom prst="rect">
            <a:avLst/>
          </a:prstGeom>
          <a:gradFill flip="none" rotWithShape="1">
            <a:gsLst>
              <a:gs pos="80000">
                <a:schemeClr val="accent5">
                  <a:lumMod val="50000"/>
                  <a:alpha val="40000"/>
                </a:schemeClr>
              </a:gs>
              <a:gs pos="55000">
                <a:schemeClr val="tx1">
                  <a:alpha val="0"/>
                </a:schemeClr>
              </a:gs>
              <a:gs pos="95000">
                <a:schemeClr val="accent1">
                  <a:lumMod val="50000"/>
                  <a:alpha val="30035"/>
                </a:schemeClr>
              </a:gs>
            </a:gsLst>
            <a:path path="circle">
              <a:fillToRect r="100000" b="100000"/>
            </a:path>
            <a:tileRect l="-100000" t="-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FFFFFF"/>
              </a:solidFill>
              <a:effectLst/>
              <a:uLnTx/>
              <a:uFillTx/>
              <a:latin typeface="Codit Radikal" pitchFamily="2" charset="77"/>
              <a:ea typeface="+mn-ea"/>
              <a:cs typeface="+mn-cs"/>
            </a:endParaRPr>
          </a:p>
        </p:txBody>
      </p:sp>
      <p:sp>
        <p:nvSpPr>
          <p:cNvPr id="6" name="Title 5">
            <a:extLst>
              <a:ext uri="{FF2B5EF4-FFF2-40B4-BE49-F238E27FC236}">
                <a16:creationId xmlns:a16="http://schemas.microsoft.com/office/drawing/2014/main" id="{9D88DB3B-8CF2-A908-6DF8-743261EC7115}"/>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BE"/>
          </a:p>
        </p:txBody>
      </p:sp>
      <p:sp>
        <p:nvSpPr>
          <p:cNvPr id="8" name="Content Placeholder 7">
            <a:extLst>
              <a:ext uri="{FF2B5EF4-FFF2-40B4-BE49-F238E27FC236}">
                <a16:creationId xmlns:a16="http://schemas.microsoft.com/office/drawing/2014/main" id="{E6B63CB2-FCF1-3587-50CF-15BBA8BAD85C}"/>
              </a:ext>
            </a:extLst>
          </p:cNvPr>
          <p:cNvSpPr>
            <a:spLocks noGrp="1"/>
          </p:cNvSpPr>
          <p:nvPr>
            <p:ph sz="quarter" idx="13"/>
          </p:nvPr>
        </p:nvSpPr>
        <p:spPr>
          <a:xfrm>
            <a:off x="695327" y="1851027"/>
            <a:ext cx="10801351" cy="4457700"/>
          </a:xfrm>
        </p:spPr>
        <p:txBody>
          <a:bodyPr anchor="ct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sp>
        <p:nvSpPr>
          <p:cNvPr id="10" name="!!codit_logo">
            <a:extLst>
              <a:ext uri="{FF2B5EF4-FFF2-40B4-BE49-F238E27FC236}">
                <a16:creationId xmlns:a16="http://schemas.microsoft.com/office/drawing/2014/main" id="{1A49348D-4700-32B5-7DB4-909ADC1FDEB5}"/>
              </a:ext>
            </a:extLst>
          </p:cNvPr>
          <p:cNvSpPr/>
          <p:nvPr userDrawn="1"/>
        </p:nvSpPr>
        <p:spPr>
          <a:xfrm>
            <a:off x="10614475" y="553847"/>
            <a:ext cx="882200" cy="436572"/>
          </a:xfrm>
          <a:custGeom>
            <a:avLst/>
            <a:gdLst>
              <a:gd name="connsiteX0" fmla="*/ 231865 w 990075"/>
              <a:gd name="connsiteY0" fmla="*/ 417890 h 489956"/>
              <a:gd name="connsiteX1" fmla="*/ 217557 w 990075"/>
              <a:gd name="connsiteY1" fmla="*/ 435395 h 489956"/>
              <a:gd name="connsiteX2" fmla="*/ 231865 w 990075"/>
              <a:gd name="connsiteY2" fmla="*/ 453106 h 489956"/>
              <a:gd name="connsiteX3" fmla="*/ 246310 w 990075"/>
              <a:gd name="connsiteY3" fmla="*/ 435395 h 489956"/>
              <a:gd name="connsiteX4" fmla="*/ 231865 w 990075"/>
              <a:gd name="connsiteY4" fmla="*/ 417890 h 489956"/>
              <a:gd name="connsiteX5" fmla="*/ 336930 w 990075"/>
              <a:gd name="connsiteY5" fmla="*/ 417822 h 489956"/>
              <a:gd name="connsiteX6" fmla="*/ 322076 w 990075"/>
              <a:gd name="connsiteY6" fmla="*/ 435464 h 489956"/>
              <a:gd name="connsiteX7" fmla="*/ 336930 w 990075"/>
              <a:gd name="connsiteY7" fmla="*/ 453106 h 489956"/>
              <a:gd name="connsiteX8" fmla="*/ 351784 w 990075"/>
              <a:gd name="connsiteY8" fmla="*/ 435464 h 489956"/>
              <a:gd name="connsiteX9" fmla="*/ 336930 w 990075"/>
              <a:gd name="connsiteY9" fmla="*/ 417822 h 489956"/>
              <a:gd name="connsiteX10" fmla="*/ 859188 w 990075"/>
              <a:gd name="connsiteY10" fmla="*/ 405220 h 489956"/>
              <a:gd name="connsiteX11" fmla="*/ 859256 w 990075"/>
              <a:gd name="connsiteY11" fmla="*/ 405220 h 489956"/>
              <a:gd name="connsiteX12" fmla="*/ 919215 w 990075"/>
              <a:gd name="connsiteY12" fmla="*/ 405220 h 489956"/>
              <a:gd name="connsiteX13" fmla="*/ 919215 w 990075"/>
              <a:gd name="connsiteY13" fmla="*/ 423407 h 489956"/>
              <a:gd name="connsiteX14" fmla="*/ 898297 w 990075"/>
              <a:gd name="connsiteY14" fmla="*/ 423407 h 489956"/>
              <a:gd name="connsiteX15" fmla="*/ 898297 w 990075"/>
              <a:gd name="connsiteY15" fmla="*/ 465775 h 489956"/>
              <a:gd name="connsiteX16" fmla="*/ 880105 w 990075"/>
              <a:gd name="connsiteY16" fmla="*/ 465775 h 489956"/>
              <a:gd name="connsiteX17" fmla="*/ 880105 w 990075"/>
              <a:gd name="connsiteY17" fmla="*/ 423407 h 489956"/>
              <a:gd name="connsiteX18" fmla="*/ 859188 w 990075"/>
              <a:gd name="connsiteY18" fmla="*/ 423407 h 489956"/>
              <a:gd name="connsiteX19" fmla="*/ 779537 w 990075"/>
              <a:gd name="connsiteY19" fmla="*/ 405220 h 489956"/>
              <a:gd name="connsiteX20" fmla="*/ 802363 w 990075"/>
              <a:gd name="connsiteY20" fmla="*/ 405220 h 489956"/>
              <a:gd name="connsiteX21" fmla="*/ 814763 w 990075"/>
              <a:gd name="connsiteY21" fmla="*/ 421636 h 489956"/>
              <a:gd name="connsiteX22" fmla="*/ 818034 w 990075"/>
              <a:gd name="connsiteY22" fmla="*/ 427698 h 489956"/>
              <a:gd name="connsiteX23" fmla="*/ 821304 w 990075"/>
              <a:gd name="connsiteY23" fmla="*/ 421568 h 489956"/>
              <a:gd name="connsiteX24" fmla="*/ 833705 w 990075"/>
              <a:gd name="connsiteY24" fmla="*/ 405220 h 489956"/>
              <a:gd name="connsiteX25" fmla="*/ 856530 w 990075"/>
              <a:gd name="connsiteY25" fmla="*/ 405220 h 489956"/>
              <a:gd name="connsiteX26" fmla="*/ 835817 w 990075"/>
              <a:gd name="connsiteY26" fmla="*/ 432603 h 489956"/>
              <a:gd name="connsiteX27" fmla="*/ 835817 w 990075"/>
              <a:gd name="connsiteY27" fmla="*/ 438393 h 489956"/>
              <a:gd name="connsiteX28" fmla="*/ 835681 w 990075"/>
              <a:gd name="connsiteY28" fmla="*/ 438324 h 489956"/>
              <a:gd name="connsiteX29" fmla="*/ 856462 w 990075"/>
              <a:gd name="connsiteY29" fmla="*/ 465707 h 489956"/>
              <a:gd name="connsiteX30" fmla="*/ 833637 w 990075"/>
              <a:gd name="connsiteY30" fmla="*/ 465707 h 489956"/>
              <a:gd name="connsiteX31" fmla="*/ 821236 w 990075"/>
              <a:gd name="connsiteY31" fmla="*/ 449291 h 489956"/>
              <a:gd name="connsiteX32" fmla="*/ 817966 w 990075"/>
              <a:gd name="connsiteY32" fmla="*/ 443229 h 489956"/>
              <a:gd name="connsiteX33" fmla="*/ 814695 w 990075"/>
              <a:gd name="connsiteY33" fmla="*/ 449359 h 489956"/>
              <a:gd name="connsiteX34" fmla="*/ 802295 w 990075"/>
              <a:gd name="connsiteY34" fmla="*/ 465775 h 489956"/>
              <a:gd name="connsiteX35" fmla="*/ 779469 w 990075"/>
              <a:gd name="connsiteY35" fmla="*/ 465775 h 489956"/>
              <a:gd name="connsiteX36" fmla="*/ 800251 w 990075"/>
              <a:gd name="connsiteY36" fmla="*/ 438393 h 489956"/>
              <a:gd name="connsiteX37" fmla="*/ 800251 w 990075"/>
              <a:gd name="connsiteY37" fmla="*/ 432603 h 489956"/>
              <a:gd name="connsiteX38" fmla="*/ 559324 w 990075"/>
              <a:gd name="connsiteY38" fmla="*/ 405220 h 489956"/>
              <a:gd name="connsiteX39" fmla="*/ 573837 w 990075"/>
              <a:gd name="connsiteY39" fmla="*/ 405220 h 489956"/>
              <a:gd name="connsiteX40" fmla="*/ 573837 w 990075"/>
              <a:gd name="connsiteY40" fmla="*/ 439891 h 489956"/>
              <a:gd name="connsiteX41" fmla="*/ 586374 w 990075"/>
              <a:gd name="connsiteY41" fmla="*/ 453106 h 489956"/>
              <a:gd name="connsiteX42" fmla="*/ 598910 w 990075"/>
              <a:gd name="connsiteY42" fmla="*/ 439891 h 489956"/>
              <a:gd name="connsiteX43" fmla="*/ 598910 w 990075"/>
              <a:gd name="connsiteY43" fmla="*/ 405220 h 489956"/>
              <a:gd name="connsiteX44" fmla="*/ 599047 w 990075"/>
              <a:gd name="connsiteY44" fmla="*/ 405220 h 489956"/>
              <a:gd name="connsiteX45" fmla="*/ 613560 w 990075"/>
              <a:gd name="connsiteY45" fmla="*/ 405220 h 489956"/>
              <a:gd name="connsiteX46" fmla="*/ 613560 w 990075"/>
              <a:gd name="connsiteY46" fmla="*/ 439891 h 489956"/>
              <a:gd name="connsiteX47" fmla="*/ 586442 w 990075"/>
              <a:gd name="connsiteY47" fmla="*/ 466865 h 489956"/>
              <a:gd name="connsiteX48" fmla="*/ 559324 w 990075"/>
              <a:gd name="connsiteY48" fmla="*/ 439891 h 489956"/>
              <a:gd name="connsiteX49" fmla="*/ 433546 w 990075"/>
              <a:gd name="connsiteY49" fmla="*/ 405220 h 489956"/>
              <a:gd name="connsiteX50" fmla="*/ 448059 w 990075"/>
              <a:gd name="connsiteY50" fmla="*/ 405220 h 489956"/>
              <a:gd name="connsiteX51" fmla="*/ 448059 w 990075"/>
              <a:gd name="connsiteY51" fmla="*/ 465775 h 489956"/>
              <a:gd name="connsiteX52" fmla="*/ 433546 w 990075"/>
              <a:gd name="connsiteY52" fmla="*/ 465775 h 489956"/>
              <a:gd name="connsiteX53" fmla="*/ 367523 w 990075"/>
              <a:gd name="connsiteY53" fmla="*/ 405220 h 489956"/>
              <a:gd name="connsiteX54" fmla="*/ 383739 w 990075"/>
              <a:gd name="connsiteY54" fmla="*/ 405220 h 489956"/>
              <a:gd name="connsiteX55" fmla="*/ 396753 w 990075"/>
              <a:gd name="connsiteY55" fmla="*/ 424701 h 489956"/>
              <a:gd name="connsiteX56" fmla="*/ 409767 w 990075"/>
              <a:gd name="connsiteY56" fmla="*/ 405220 h 489956"/>
              <a:gd name="connsiteX57" fmla="*/ 425847 w 990075"/>
              <a:gd name="connsiteY57" fmla="*/ 405220 h 489956"/>
              <a:gd name="connsiteX58" fmla="*/ 404725 w 990075"/>
              <a:gd name="connsiteY58" fmla="*/ 435259 h 489956"/>
              <a:gd name="connsiteX59" fmla="*/ 425847 w 990075"/>
              <a:gd name="connsiteY59" fmla="*/ 465775 h 489956"/>
              <a:gd name="connsiteX60" fmla="*/ 409767 w 990075"/>
              <a:gd name="connsiteY60" fmla="*/ 465775 h 489956"/>
              <a:gd name="connsiteX61" fmla="*/ 396685 w 990075"/>
              <a:gd name="connsiteY61" fmla="*/ 446090 h 489956"/>
              <a:gd name="connsiteX62" fmla="*/ 383603 w 990075"/>
              <a:gd name="connsiteY62" fmla="*/ 465775 h 489956"/>
              <a:gd name="connsiteX63" fmla="*/ 367523 w 990075"/>
              <a:gd name="connsiteY63" fmla="*/ 465775 h 489956"/>
              <a:gd name="connsiteX64" fmla="*/ 388781 w 990075"/>
              <a:gd name="connsiteY64" fmla="*/ 435259 h 489956"/>
              <a:gd name="connsiteX65" fmla="*/ 485942 w 990075"/>
              <a:gd name="connsiteY65" fmla="*/ 404198 h 489956"/>
              <a:gd name="connsiteX66" fmla="*/ 504407 w 990075"/>
              <a:gd name="connsiteY66" fmla="*/ 411691 h 489956"/>
              <a:gd name="connsiteX67" fmla="*/ 522667 w 990075"/>
              <a:gd name="connsiteY67" fmla="*/ 404198 h 489956"/>
              <a:gd name="connsiteX68" fmla="*/ 548218 w 990075"/>
              <a:gd name="connsiteY68" fmla="*/ 427290 h 489956"/>
              <a:gd name="connsiteX69" fmla="*/ 548286 w 990075"/>
              <a:gd name="connsiteY69" fmla="*/ 427290 h 489956"/>
              <a:gd name="connsiteX70" fmla="*/ 548286 w 990075"/>
              <a:gd name="connsiteY70" fmla="*/ 465843 h 489956"/>
              <a:gd name="connsiteX71" fmla="*/ 533773 w 990075"/>
              <a:gd name="connsiteY71" fmla="*/ 465843 h 489956"/>
              <a:gd name="connsiteX72" fmla="*/ 533773 w 990075"/>
              <a:gd name="connsiteY72" fmla="*/ 428311 h 489956"/>
              <a:gd name="connsiteX73" fmla="*/ 522735 w 990075"/>
              <a:gd name="connsiteY73" fmla="*/ 417958 h 489956"/>
              <a:gd name="connsiteX74" fmla="*/ 511493 w 990075"/>
              <a:gd name="connsiteY74" fmla="*/ 428311 h 489956"/>
              <a:gd name="connsiteX75" fmla="*/ 511493 w 990075"/>
              <a:gd name="connsiteY75" fmla="*/ 465843 h 489956"/>
              <a:gd name="connsiteX76" fmla="*/ 497048 w 990075"/>
              <a:gd name="connsiteY76" fmla="*/ 465843 h 489956"/>
              <a:gd name="connsiteX77" fmla="*/ 497048 w 990075"/>
              <a:gd name="connsiteY77" fmla="*/ 428311 h 489956"/>
              <a:gd name="connsiteX78" fmla="*/ 485806 w 990075"/>
              <a:gd name="connsiteY78" fmla="*/ 417958 h 489956"/>
              <a:gd name="connsiteX79" fmla="*/ 474768 w 990075"/>
              <a:gd name="connsiteY79" fmla="*/ 428311 h 489956"/>
              <a:gd name="connsiteX80" fmla="*/ 474768 w 990075"/>
              <a:gd name="connsiteY80" fmla="*/ 465843 h 489956"/>
              <a:gd name="connsiteX81" fmla="*/ 460255 w 990075"/>
              <a:gd name="connsiteY81" fmla="*/ 465843 h 489956"/>
              <a:gd name="connsiteX82" fmla="*/ 460255 w 990075"/>
              <a:gd name="connsiteY82" fmla="*/ 427290 h 489956"/>
              <a:gd name="connsiteX83" fmla="*/ 485942 w 990075"/>
              <a:gd name="connsiteY83" fmla="*/ 404198 h 489956"/>
              <a:gd name="connsiteX84" fmla="*/ 645379 w 990075"/>
              <a:gd name="connsiteY84" fmla="*/ 404130 h 489956"/>
              <a:gd name="connsiteX85" fmla="*/ 667387 w 990075"/>
              <a:gd name="connsiteY85" fmla="*/ 407400 h 489956"/>
              <a:gd name="connsiteX86" fmla="*/ 664661 w 990075"/>
              <a:gd name="connsiteY86" fmla="*/ 419865 h 489956"/>
              <a:gd name="connsiteX87" fmla="*/ 645311 w 990075"/>
              <a:gd name="connsiteY87" fmla="*/ 417004 h 489956"/>
              <a:gd name="connsiteX88" fmla="*/ 637816 w 990075"/>
              <a:gd name="connsiteY88" fmla="*/ 421159 h 489956"/>
              <a:gd name="connsiteX89" fmla="*/ 647627 w 990075"/>
              <a:gd name="connsiteY89" fmla="*/ 427630 h 489956"/>
              <a:gd name="connsiteX90" fmla="*/ 652056 w 990075"/>
              <a:gd name="connsiteY90" fmla="*/ 429265 h 489956"/>
              <a:gd name="connsiteX91" fmla="*/ 670793 w 990075"/>
              <a:gd name="connsiteY91" fmla="*/ 447861 h 489956"/>
              <a:gd name="connsiteX92" fmla="*/ 670657 w 990075"/>
              <a:gd name="connsiteY92" fmla="*/ 447929 h 489956"/>
              <a:gd name="connsiteX93" fmla="*/ 646673 w 990075"/>
              <a:gd name="connsiteY93" fmla="*/ 466865 h 489956"/>
              <a:gd name="connsiteX94" fmla="*/ 622349 w 990075"/>
              <a:gd name="connsiteY94" fmla="*/ 461552 h 489956"/>
              <a:gd name="connsiteX95" fmla="*/ 625756 w 990075"/>
              <a:gd name="connsiteY95" fmla="*/ 448882 h 489956"/>
              <a:gd name="connsiteX96" fmla="*/ 645992 w 990075"/>
              <a:gd name="connsiteY96" fmla="*/ 453855 h 489956"/>
              <a:gd name="connsiteX97" fmla="*/ 656144 w 990075"/>
              <a:gd name="connsiteY97" fmla="*/ 448337 h 489956"/>
              <a:gd name="connsiteX98" fmla="*/ 645243 w 990075"/>
              <a:gd name="connsiteY98" fmla="*/ 440777 h 489956"/>
              <a:gd name="connsiteX99" fmla="*/ 641086 w 990075"/>
              <a:gd name="connsiteY99" fmla="*/ 439210 h 489956"/>
              <a:gd name="connsiteX100" fmla="*/ 623235 w 990075"/>
              <a:gd name="connsiteY100" fmla="*/ 421840 h 489956"/>
              <a:gd name="connsiteX101" fmla="*/ 645379 w 990075"/>
              <a:gd name="connsiteY101" fmla="*/ 404130 h 489956"/>
              <a:gd name="connsiteX102" fmla="*/ 336930 w 990075"/>
              <a:gd name="connsiteY102" fmla="*/ 404130 h 489956"/>
              <a:gd name="connsiteX103" fmla="*/ 366433 w 990075"/>
              <a:gd name="connsiteY103" fmla="*/ 435395 h 489956"/>
              <a:gd name="connsiteX104" fmla="*/ 336930 w 990075"/>
              <a:gd name="connsiteY104" fmla="*/ 466865 h 489956"/>
              <a:gd name="connsiteX105" fmla="*/ 307427 w 990075"/>
              <a:gd name="connsiteY105" fmla="*/ 435395 h 489956"/>
              <a:gd name="connsiteX106" fmla="*/ 336930 w 990075"/>
              <a:gd name="connsiteY106" fmla="*/ 404130 h 489956"/>
              <a:gd name="connsiteX107" fmla="*/ 298161 w 990075"/>
              <a:gd name="connsiteY107" fmla="*/ 404130 h 489956"/>
              <a:gd name="connsiteX108" fmla="*/ 304089 w 990075"/>
              <a:gd name="connsiteY108" fmla="*/ 404675 h 489956"/>
              <a:gd name="connsiteX109" fmla="*/ 301636 w 990075"/>
              <a:gd name="connsiteY109" fmla="*/ 418571 h 489956"/>
              <a:gd name="connsiteX110" fmla="*/ 298093 w 990075"/>
              <a:gd name="connsiteY110" fmla="*/ 418367 h 489956"/>
              <a:gd name="connsiteX111" fmla="*/ 285897 w 990075"/>
              <a:gd name="connsiteY111" fmla="*/ 431377 h 489956"/>
              <a:gd name="connsiteX112" fmla="*/ 285897 w 990075"/>
              <a:gd name="connsiteY112" fmla="*/ 465843 h 489956"/>
              <a:gd name="connsiteX113" fmla="*/ 271384 w 990075"/>
              <a:gd name="connsiteY113" fmla="*/ 465843 h 489956"/>
              <a:gd name="connsiteX114" fmla="*/ 271384 w 990075"/>
              <a:gd name="connsiteY114" fmla="*/ 430287 h 489956"/>
              <a:gd name="connsiteX115" fmla="*/ 298161 w 990075"/>
              <a:gd name="connsiteY115" fmla="*/ 404198 h 489956"/>
              <a:gd name="connsiteX116" fmla="*/ 231865 w 990075"/>
              <a:gd name="connsiteY116" fmla="*/ 404130 h 489956"/>
              <a:gd name="connsiteX117" fmla="*/ 260959 w 990075"/>
              <a:gd name="connsiteY117" fmla="*/ 435395 h 489956"/>
              <a:gd name="connsiteX118" fmla="*/ 231865 w 990075"/>
              <a:gd name="connsiteY118" fmla="*/ 466865 h 489956"/>
              <a:gd name="connsiteX119" fmla="*/ 217557 w 990075"/>
              <a:gd name="connsiteY119" fmla="*/ 462778 h 489956"/>
              <a:gd name="connsiteX120" fmla="*/ 217557 w 990075"/>
              <a:gd name="connsiteY120" fmla="*/ 489956 h 489956"/>
              <a:gd name="connsiteX121" fmla="*/ 203044 w 990075"/>
              <a:gd name="connsiteY121" fmla="*/ 489956 h 489956"/>
              <a:gd name="connsiteX122" fmla="*/ 203044 w 990075"/>
              <a:gd name="connsiteY122" fmla="*/ 435055 h 489956"/>
              <a:gd name="connsiteX123" fmla="*/ 231865 w 990075"/>
              <a:gd name="connsiteY123" fmla="*/ 404130 h 489956"/>
              <a:gd name="connsiteX124" fmla="*/ 720191 w 990075"/>
              <a:gd name="connsiteY124" fmla="*/ 403313 h 489956"/>
              <a:gd name="connsiteX125" fmla="*/ 738588 w 990075"/>
              <a:gd name="connsiteY125" fmla="*/ 415029 h 489956"/>
              <a:gd name="connsiteX126" fmla="*/ 754123 w 990075"/>
              <a:gd name="connsiteY126" fmla="*/ 448269 h 489956"/>
              <a:gd name="connsiteX127" fmla="*/ 756031 w 990075"/>
              <a:gd name="connsiteY127" fmla="*/ 449495 h 489956"/>
              <a:gd name="connsiteX128" fmla="*/ 758143 w 990075"/>
              <a:gd name="connsiteY128" fmla="*/ 447384 h 489956"/>
              <a:gd name="connsiteX129" fmla="*/ 758143 w 990075"/>
              <a:gd name="connsiteY129" fmla="*/ 405220 h 489956"/>
              <a:gd name="connsiteX130" fmla="*/ 776335 w 990075"/>
              <a:gd name="connsiteY130" fmla="*/ 405220 h 489956"/>
              <a:gd name="connsiteX131" fmla="*/ 776335 w 990075"/>
              <a:gd name="connsiteY131" fmla="*/ 447384 h 489956"/>
              <a:gd name="connsiteX132" fmla="*/ 756031 w 990075"/>
              <a:gd name="connsiteY132" fmla="*/ 467682 h 489956"/>
              <a:gd name="connsiteX133" fmla="*/ 737634 w 990075"/>
              <a:gd name="connsiteY133" fmla="*/ 455966 h 489956"/>
              <a:gd name="connsiteX134" fmla="*/ 722099 w 990075"/>
              <a:gd name="connsiteY134" fmla="*/ 422726 h 489956"/>
              <a:gd name="connsiteX135" fmla="*/ 720191 w 990075"/>
              <a:gd name="connsiteY135" fmla="*/ 421500 h 489956"/>
              <a:gd name="connsiteX136" fmla="*/ 718079 w 990075"/>
              <a:gd name="connsiteY136" fmla="*/ 423611 h 489956"/>
              <a:gd name="connsiteX137" fmla="*/ 718079 w 990075"/>
              <a:gd name="connsiteY137" fmla="*/ 465775 h 489956"/>
              <a:gd name="connsiteX138" fmla="*/ 699887 w 990075"/>
              <a:gd name="connsiteY138" fmla="*/ 465775 h 489956"/>
              <a:gd name="connsiteX139" fmla="*/ 699887 w 990075"/>
              <a:gd name="connsiteY139" fmla="*/ 423611 h 489956"/>
              <a:gd name="connsiteX140" fmla="*/ 720191 w 990075"/>
              <a:gd name="connsiteY140" fmla="*/ 403313 h 489956"/>
              <a:gd name="connsiteX141" fmla="*/ 544947 w 990075"/>
              <a:gd name="connsiteY141" fmla="*/ 146517 h 489956"/>
              <a:gd name="connsiteX142" fmla="*/ 502430 w 990075"/>
              <a:gd name="connsiteY142" fmla="*/ 218515 h 489956"/>
              <a:gd name="connsiteX143" fmla="*/ 544947 w 990075"/>
              <a:gd name="connsiteY143" fmla="*/ 290990 h 489956"/>
              <a:gd name="connsiteX144" fmla="*/ 588008 w 990075"/>
              <a:gd name="connsiteY144" fmla="*/ 218515 h 489956"/>
              <a:gd name="connsiteX145" fmla="*/ 544947 w 990075"/>
              <a:gd name="connsiteY145" fmla="*/ 146517 h 489956"/>
              <a:gd name="connsiteX146" fmla="*/ 307495 w 990075"/>
              <a:gd name="connsiteY146" fmla="*/ 146517 h 489956"/>
              <a:gd name="connsiteX147" fmla="*/ 278469 w 990075"/>
              <a:gd name="connsiteY147" fmla="*/ 157620 h 489956"/>
              <a:gd name="connsiteX148" fmla="*/ 263956 w 990075"/>
              <a:gd name="connsiteY148" fmla="*/ 218515 h 489956"/>
              <a:gd name="connsiteX149" fmla="*/ 278469 w 990075"/>
              <a:gd name="connsiteY149" fmla="*/ 279887 h 489956"/>
              <a:gd name="connsiteX150" fmla="*/ 307495 w 990075"/>
              <a:gd name="connsiteY150" fmla="*/ 290990 h 489956"/>
              <a:gd name="connsiteX151" fmla="*/ 336998 w 990075"/>
              <a:gd name="connsiteY151" fmla="*/ 279887 h 489956"/>
              <a:gd name="connsiteX152" fmla="*/ 351510 w 990075"/>
              <a:gd name="connsiteY152" fmla="*/ 218515 h 489956"/>
              <a:gd name="connsiteX153" fmla="*/ 336998 w 990075"/>
              <a:gd name="connsiteY153" fmla="*/ 157620 h 489956"/>
              <a:gd name="connsiteX154" fmla="*/ 307495 w 990075"/>
              <a:gd name="connsiteY154" fmla="*/ 146517 h 489956"/>
              <a:gd name="connsiteX155" fmla="*/ 697229 w 990075"/>
              <a:gd name="connsiteY155" fmla="*/ 92910 h 489956"/>
              <a:gd name="connsiteX156" fmla="*/ 760118 w 990075"/>
              <a:gd name="connsiteY156" fmla="*/ 92910 h 489956"/>
              <a:gd name="connsiteX157" fmla="*/ 760118 w 990075"/>
              <a:gd name="connsiteY157" fmla="*/ 344733 h 489956"/>
              <a:gd name="connsiteX158" fmla="*/ 697229 w 990075"/>
              <a:gd name="connsiteY158" fmla="*/ 344733 h 489956"/>
              <a:gd name="connsiteX159" fmla="*/ 307495 w 990075"/>
              <a:gd name="connsiteY159" fmla="*/ 89913 h 489956"/>
              <a:gd name="connsiteX160" fmla="*/ 385851 w 990075"/>
              <a:gd name="connsiteY160" fmla="*/ 120837 h 489956"/>
              <a:gd name="connsiteX161" fmla="*/ 414399 w 990075"/>
              <a:gd name="connsiteY161" fmla="*/ 218515 h 489956"/>
              <a:gd name="connsiteX162" fmla="*/ 385851 w 990075"/>
              <a:gd name="connsiteY162" fmla="*/ 316670 h 489956"/>
              <a:gd name="connsiteX163" fmla="*/ 307495 w 990075"/>
              <a:gd name="connsiteY163" fmla="*/ 347594 h 489956"/>
              <a:gd name="connsiteX164" fmla="*/ 229616 w 990075"/>
              <a:gd name="connsiteY164" fmla="*/ 316670 h 489956"/>
              <a:gd name="connsiteX165" fmla="*/ 201067 w 990075"/>
              <a:gd name="connsiteY165" fmla="*/ 218515 h 489956"/>
              <a:gd name="connsiteX166" fmla="*/ 229616 w 990075"/>
              <a:gd name="connsiteY166" fmla="*/ 120837 h 489956"/>
              <a:gd name="connsiteX167" fmla="*/ 307495 w 990075"/>
              <a:gd name="connsiteY167" fmla="*/ 89913 h 489956"/>
              <a:gd name="connsiteX168" fmla="*/ 112696 w 990075"/>
              <a:gd name="connsiteY168" fmla="*/ 89913 h 489956"/>
              <a:gd name="connsiteX169" fmla="*/ 195889 w 990075"/>
              <a:gd name="connsiteY169" fmla="*/ 123766 h 489956"/>
              <a:gd name="connsiteX170" fmla="*/ 153373 w 990075"/>
              <a:gd name="connsiteY170" fmla="*/ 166270 h 489956"/>
              <a:gd name="connsiteX171" fmla="*/ 112764 w 990075"/>
              <a:gd name="connsiteY171" fmla="*/ 146449 h 489956"/>
              <a:gd name="connsiteX172" fmla="*/ 76993 w 990075"/>
              <a:gd name="connsiteY172" fmla="*/ 162865 h 489956"/>
              <a:gd name="connsiteX173" fmla="*/ 62957 w 990075"/>
              <a:gd name="connsiteY173" fmla="*/ 218447 h 489956"/>
              <a:gd name="connsiteX174" fmla="*/ 76993 w 990075"/>
              <a:gd name="connsiteY174" fmla="*/ 274506 h 489956"/>
              <a:gd name="connsiteX175" fmla="*/ 112764 w 990075"/>
              <a:gd name="connsiteY175" fmla="*/ 290922 h 489956"/>
              <a:gd name="connsiteX176" fmla="*/ 153373 w 990075"/>
              <a:gd name="connsiteY176" fmla="*/ 271100 h 489956"/>
              <a:gd name="connsiteX177" fmla="*/ 195889 w 990075"/>
              <a:gd name="connsiteY177" fmla="*/ 313128 h 489956"/>
              <a:gd name="connsiteX178" fmla="*/ 112696 w 990075"/>
              <a:gd name="connsiteY178" fmla="*/ 347458 h 489956"/>
              <a:gd name="connsiteX179" fmla="*/ 112696 w 990075"/>
              <a:gd name="connsiteY179" fmla="*/ 347594 h 489956"/>
              <a:gd name="connsiteX180" fmla="*/ 0 w 990075"/>
              <a:gd name="connsiteY180" fmla="*/ 218515 h 489956"/>
              <a:gd name="connsiteX181" fmla="*/ 112696 w 990075"/>
              <a:gd name="connsiteY181" fmla="*/ 89913 h 489956"/>
              <a:gd name="connsiteX182" fmla="*/ 811765 w 990075"/>
              <a:gd name="connsiteY182" fmla="*/ 25680 h 489956"/>
              <a:gd name="connsiteX183" fmla="*/ 874654 w 990075"/>
              <a:gd name="connsiteY183" fmla="*/ 25680 h 489956"/>
              <a:gd name="connsiteX184" fmla="*/ 874654 w 990075"/>
              <a:gd name="connsiteY184" fmla="*/ 100130 h 489956"/>
              <a:gd name="connsiteX185" fmla="*/ 919146 w 990075"/>
              <a:gd name="connsiteY185" fmla="*/ 100130 h 489956"/>
              <a:gd name="connsiteX186" fmla="*/ 919146 w 990075"/>
              <a:gd name="connsiteY186" fmla="*/ 148015 h 489956"/>
              <a:gd name="connsiteX187" fmla="*/ 874654 w 990075"/>
              <a:gd name="connsiteY187" fmla="*/ 148015 h 489956"/>
              <a:gd name="connsiteX188" fmla="*/ 874654 w 990075"/>
              <a:gd name="connsiteY188" fmla="*/ 268852 h 489956"/>
              <a:gd name="connsiteX189" fmla="*/ 896389 w 990075"/>
              <a:gd name="connsiteY189" fmla="*/ 291603 h 489956"/>
              <a:gd name="connsiteX190" fmla="*/ 919146 w 990075"/>
              <a:gd name="connsiteY190" fmla="*/ 291603 h 489956"/>
              <a:gd name="connsiteX191" fmla="*/ 919146 w 990075"/>
              <a:gd name="connsiteY191" fmla="*/ 344801 h 489956"/>
              <a:gd name="connsiteX192" fmla="*/ 884806 w 990075"/>
              <a:gd name="connsiteY192" fmla="*/ 344801 h 489956"/>
              <a:gd name="connsiteX193" fmla="*/ 884806 w 990075"/>
              <a:gd name="connsiteY193" fmla="*/ 344733 h 489956"/>
              <a:gd name="connsiteX194" fmla="*/ 811765 w 990075"/>
              <a:gd name="connsiteY194" fmla="*/ 272735 h 489956"/>
              <a:gd name="connsiteX195" fmla="*/ 811765 w 990075"/>
              <a:gd name="connsiteY195" fmla="*/ 148015 h 489956"/>
              <a:gd name="connsiteX196" fmla="*/ 785192 w 990075"/>
              <a:gd name="connsiteY196" fmla="*/ 148015 h 489956"/>
              <a:gd name="connsiteX197" fmla="*/ 785192 w 990075"/>
              <a:gd name="connsiteY197" fmla="*/ 100130 h 489956"/>
              <a:gd name="connsiteX198" fmla="*/ 811765 w 990075"/>
              <a:gd name="connsiteY198" fmla="*/ 100130 h 489956"/>
              <a:gd name="connsiteX199" fmla="*/ 976380 w 990075"/>
              <a:gd name="connsiteY199" fmla="*/ 68 h 489956"/>
              <a:gd name="connsiteX200" fmla="*/ 990075 w 990075"/>
              <a:gd name="connsiteY200" fmla="*/ 68 h 489956"/>
              <a:gd name="connsiteX201" fmla="*/ 990075 w 990075"/>
              <a:gd name="connsiteY201" fmla="*/ 344733 h 489956"/>
              <a:gd name="connsiteX202" fmla="*/ 976380 w 990075"/>
              <a:gd name="connsiteY202" fmla="*/ 344733 h 489956"/>
              <a:gd name="connsiteX203" fmla="*/ 696275 w 990075"/>
              <a:gd name="connsiteY203" fmla="*/ 68 h 489956"/>
              <a:gd name="connsiteX204" fmla="*/ 760595 w 990075"/>
              <a:gd name="connsiteY204" fmla="*/ 68 h 489956"/>
              <a:gd name="connsiteX205" fmla="*/ 760595 w 990075"/>
              <a:gd name="connsiteY205" fmla="*/ 49861 h 489956"/>
              <a:gd name="connsiteX206" fmla="*/ 696275 w 990075"/>
              <a:gd name="connsiteY206" fmla="*/ 49861 h 489956"/>
              <a:gd name="connsiteX207" fmla="*/ 588008 w 990075"/>
              <a:gd name="connsiteY207" fmla="*/ 0 h 489956"/>
              <a:gd name="connsiteX208" fmla="*/ 650897 w 990075"/>
              <a:gd name="connsiteY208" fmla="*/ 0 h 489956"/>
              <a:gd name="connsiteX209" fmla="*/ 650897 w 990075"/>
              <a:gd name="connsiteY209" fmla="*/ 344665 h 489956"/>
              <a:gd name="connsiteX210" fmla="*/ 589507 w 990075"/>
              <a:gd name="connsiteY210" fmla="*/ 344665 h 489956"/>
              <a:gd name="connsiteX211" fmla="*/ 589439 w 990075"/>
              <a:gd name="connsiteY211" fmla="*/ 344733 h 489956"/>
              <a:gd name="connsiteX212" fmla="*/ 589439 w 990075"/>
              <a:gd name="connsiteY212" fmla="*/ 321029 h 489956"/>
              <a:gd name="connsiteX213" fmla="*/ 527095 w 990075"/>
              <a:gd name="connsiteY213" fmla="*/ 347594 h 489956"/>
              <a:gd name="connsiteX214" fmla="*/ 465228 w 990075"/>
              <a:gd name="connsiteY214" fmla="*/ 324843 h 489956"/>
              <a:gd name="connsiteX215" fmla="*/ 439609 w 990075"/>
              <a:gd name="connsiteY215" fmla="*/ 218515 h 489956"/>
              <a:gd name="connsiteX216" fmla="*/ 465228 w 990075"/>
              <a:gd name="connsiteY216" fmla="*/ 112663 h 489956"/>
              <a:gd name="connsiteX217" fmla="*/ 526618 w 990075"/>
              <a:gd name="connsiteY217" fmla="*/ 89913 h 489956"/>
              <a:gd name="connsiteX218" fmla="*/ 588008 w 990075"/>
              <a:gd name="connsiteY218" fmla="*/ 115047 h 489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Lst>
            <a:rect l="l" t="t" r="r" b="b"/>
            <a:pathLst>
              <a:path w="990075" h="489956">
                <a:moveTo>
                  <a:pt x="231865" y="417890"/>
                </a:moveTo>
                <a:cubicBezTo>
                  <a:pt x="223144" y="417890"/>
                  <a:pt x="217557" y="422862"/>
                  <a:pt x="217557" y="435395"/>
                </a:cubicBezTo>
                <a:cubicBezTo>
                  <a:pt x="217557" y="447929"/>
                  <a:pt x="223144" y="453106"/>
                  <a:pt x="231865" y="453106"/>
                </a:cubicBezTo>
                <a:cubicBezTo>
                  <a:pt x="240723" y="453106"/>
                  <a:pt x="246310" y="447724"/>
                  <a:pt x="246310" y="435395"/>
                </a:cubicBezTo>
                <a:cubicBezTo>
                  <a:pt x="246310" y="423067"/>
                  <a:pt x="240587" y="417890"/>
                  <a:pt x="231865" y="417890"/>
                </a:cubicBezTo>
                <a:close/>
                <a:moveTo>
                  <a:pt x="336930" y="417822"/>
                </a:moveTo>
                <a:cubicBezTo>
                  <a:pt x="328209" y="417822"/>
                  <a:pt x="322076" y="422998"/>
                  <a:pt x="322076" y="435464"/>
                </a:cubicBezTo>
                <a:cubicBezTo>
                  <a:pt x="322076" y="447929"/>
                  <a:pt x="328209" y="453106"/>
                  <a:pt x="336930" y="453106"/>
                </a:cubicBezTo>
                <a:cubicBezTo>
                  <a:pt x="345515" y="453106"/>
                  <a:pt x="351784" y="447929"/>
                  <a:pt x="351784" y="435464"/>
                </a:cubicBezTo>
                <a:cubicBezTo>
                  <a:pt x="351784" y="422998"/>
                  <a:pt x="345651" y="417822"/>
                  <a:pt x="336930" y="417822"/>
                </a:cubicBezTo>
                <a:close/>
                <a:moveTo>
                  <a:pt x="859188" y="405220"/>
                </a:moveTo>
                <a:lnTo>
                  <a:pt x="859256" y="405220"/>
                </a:lnTo>
                <a:lnTo>
                  <a:pt x="919215" y="405220"/>
                </a:lnTo>
                <a:lnTo>
                  <a:pt x="919215" y="423407"/>
                </a:lnTo>
                <a:lnTo>
                  <a:pt x="898297" y="423407"/>
                </a:lnTo>
                <a:lnTo>
                  <a:pt x="898297" y="465775"/>
                </a:lnTo>
                <a:lnTo>
                  <a:pt x="880105" y="465775"/>
                </a:lnTo>
                <a:lnTo>
                  <a:pt x="880105" y="423407"/>
                </a:lnTo>
                <a:lnTo>
                  <a:pt x="859188" y="423407"/>
                </a:lnTo>
                <a:close/>
                <a:moveTo>
                  <a:pt x="779537" y="405220"/>
                </a:moveTo>
                <a:lnTo>
                  <a:pt x="802363" y="405220"/>
                </a:lnTo>
                <a:lnTo>
                  <a:pt x="814763" y="421636"/>
                </a:lnTo>
                <a:cubicBezTo>
                  <a:pt x="816194" y="423475"/>
                  <a:pt x="817284" y="425519"/>
                  <a:pt x="818034" y="427698"/>
                </a:cubicBezTo>
                <a:cubicBezTo>
                  <a:pt x="818783" y="425519"/>
                  <a:pt x="819873" y="423475"/>
                  <a:pt x="821304" y="421568"/>
                </a:cubicBezTo>
                <a:lnTo>
                  <a:pt x="833705" y="405220"/>
                </a:lnTo>
                <a:lnTo>
                  <a:pt x="856530" y="405220"/>
                </a:lnTo>
                <a:lnTo>
                  <a:pt x="835817" y="432603"/>
                </a:lnTo>
                <a:cubicBezTo>
                  <a:pt x="834523" y="434306"/>
                  <a:pt x="834523" y="436690"/>
                  <a:pt x="835817" y="438393"/>
                </a:cubicBezTo>
                <a:lnTo>
                  <a:pt x="835681" y="438324"/>
                </a:lnTo>
                <a:lnTo>
                  <a:pt x="856462" y="465707"/>
                </a:lnTo>
                <a:lnTo>
                  <a:pt x="833637" y="465707"/>
                </a:lnTo>
                <a:lnTo>
                  <a:pt x="821236" y="449291"/>
                </a:lnTo>
                <a:cubicBezTo>
                  <a:pt x="819805" y="447452"/>
                  <a:pt x="818715" y="445408"/>
                  <a:pt x="817966" y="443229"/>
                </a:cubicBezTo>
                <a:cubicBezTo>
                  <a:pt x="817216" y="445408"/>
                  <a:pt x="816126" y="447452"/>
                  <a:pt x="814695" y="449359"/>
                </a:cubicBezTo>
                <a:lnTo>
                  <a:pt x="802295" y="465775"/>
                </a:lnTo>
                <a:lnTo>
                  <a:pt x="779469" y="465775"/>
                </a:lnTo>
                <a:lnTo>
                  <a:pt x="800251" y="438393"/>
                </a:lnTo>
                <a:cubicBezTo>
                  <a:pt x="801545" y="436690"/>
                  <a:pt x="801545" y="434306"/>
                  <a:pt x="800251" y="432603"/>
                </a:cubicBezTo>
                <a:close/>
                <a:moveTo>
                  <a:pt x="559324" y="405220"/>
                </a:moveTo>
                <a:lnTo>
                  <a:pt x="573837" y="405220"/>
                </a:lnTo>
                <a:lnTo>
                  <a:pt x="573837" y="439891"/>
                </a:lnTo>
                <a:cubicBezTo>
                  <a:pt x="573837" y="449904"/>
                  <a:pt x="579424" y="453106"/>
                  <a:pt x="586374" y="453106"/>
                </a:cubicBezTo>
                <a:cubicBezTo>
                  <a:pt x="593323" y="453106"/>
                  <a:pt x="598910" y="449904"/>
                  <a:pt x="598910" y="439891"/>
                </a:cubicBezTo>
                <a:lnTo>
                  <a:pt x="598910" y="405220"/>
                </a:lnTo>
                <a:lnTo>
                  <a:pt x="599047" y="405220"/>
                </a:lnTo>
                <a:lnTo>
                  <a:pt x="613560" y="405220"/>
                </a:lnTo>
                <a:lnTo>
                  <a:pt x="613560" y="439891"/>
                </a:lnTo>
                <a:cubicBezTo>
                  <a:pt x="613560" y="457942"/>
                  <a:pt x="604293" y="466865"/>
                  <a:pt x="586442" y="466865"/>
                </a:cubicBezTo>
                <a:cubicBezTo>
                  <a:pt x="568590" y="466865"/>
                  <a:pt x="559324" y="457942"/>
                  <a:pt x="559324" y="439891"/>
                </a:cubicBezTo>
                <a:close/>
                <a:moveTo>
                  <a:pt x="433546" y="405220"/>
                </a:moveTo>
                <a:lnTo>
                  <a:pt x="448059" y="405220"/>
                </a:lnTo>
                <a:lnTo>
                  <a:pt x="448059" y="465775"/>
                </a:lnTo>
                <a:lnTo>
                  <a:pt x="433546" y="465775"/>
                </a:lnTo>
                <a:close/>
                <a:moveTo>
                  <a:pt x="367523" y="405220"/>
                </a:moveTo>
                <a:lnTo>
                  <a:pt x="383739" y="405220"/>
                </a:lnTo>
                <a:lnTo>
                  <a:pt x="396753" y="424701"/>
                </a:lnTo>
                <a:lnTo>
                  <a:pt x="409767" y="405220"/>
                </a:lnTo>
                <a:lnTo>
                  <a:pt x="425847" y="405220"/>
                </a:lnTo>
                <a:lnTo>
                  <a:pt x="404725" y="435259"/>
                </a:lnTo>
                <a:lnTo>
                  <a:pt x="425847" y="465775"/>
                </a:lnTo>
                <a:lnTo>
                  <a:pt x="409767" y="465775"/>
                </a:lnTo>
                <a:lnTo>
                  <a:pt x="396685" y="446090"/>
                </a:lnTo>
                <a:lnTo>
                  <a:pt x="383603" y="465775"/>
                </a:lnTo>
                <a:lnTo>
                  <a:pt x="367523" y="465775"/>
                </a:lnTo>
                <a:lnTo>
                  <a:pt x="388781" y="435259"/>
                </a:lnTo>
                <a:close/>
                <a:moveTo>
                  <a:pt x="485942" y="404198"/>
                </a:moveTo>
                <a:cubicBezTo>
                  <a:pt x="500182" y="404198"/>
                  <a:pt x="499842" y="406923"/>
                  <a:pt x="504407" y="411691"/>
                </a:cubicBezTo>
                <a:cubicBezTo>
                  <a:pt x="508699" y="406923"/>
                  <a:pt x="516194" y="404198"/>
                  <a:pt x="522667" y="404198"/>
                </a:cubicBezTo>
                <a:cubicBezTo>
                  <a:pt x="536090" y="404198"/>
                  <a:pt x="548218" y="410806"/>
                  <a:pt x="548218" y="427290"/>
                </a:cubicBezTo>
                <a:lnTo>
                  <a:pt x="548286" y="427290"/>
                </a:lnTo>
                <a:lnTo>
                  <a:pt x="548286" y="465843"/>
                </a:lnTo>
                <a:lnTo>
                  <a:pt x="533773" y="465843"/>
                </a:lnTo>
                <a:lnTo>
                  <a:pt x="533773" y="428311"/>
                </a:lnTo>
                <a:cubicBezTo>
                  <a:pt x="533773" y="421364"/>
                  <a:pt x="530366" y="417958"/>
                  <a:pt x="522735" y="417958"/>
                </a:cubicBezTo>
                <a:cubicBezTo>
                  <a:pt x="515104" y="417958"/>
                  <a:pt x="511493" y="422113"/>
                  <a:pt x="511493" y="428311"/>
                </a:cubicBezTo>
                <a:lnTo>
                  <a:pt x="511493" y="465843"/>
                </a:lnTo>
                <a:lnTo>
                  <a:pt x="497048" y="465843"/>
                </a:lnTo>
                <a:lnTo>
                  <a:pt x="497048" y="428311"/>
                </a:lnTo>
                <a:cubicBezTo>
                  <a:pt x="497048" y="421364"/>
                  <a:pt x="493641" y="417958"/>
                  <a:pt x="485806" y="417958"/>
                </a:cubicBezTo>
                <a:cubicBezTo>
                  <a:pt x="477970" y="417958"/>
                  <a:pt x="474768" y="422113"/>
                  <a:pt x="474768" y="428311"/>
                </a:cubicBezTo>
                <a:lnTo>
                  <a:pt x="474768" y="465843"/>
                </a:lnTo>
                <a:lnTo>
                  <a:pt x="460255" y="465843"/>
                </a:lnTo>
                <a:lnTo>
                  <a:pt x="460255" y="427290"/>
                </a:lnTo>
                <a:cubicBezTo>
                  <a:pt x="460255" y="411896"/>
                  <a:pt x="471702" y="404198"/>
                  <a:pt x="485942" y="404198"/>
                </a:cubicBezTo>
                <a:close/>
                <a:moveTo>
                  <a:pt x="645379" y="404130"/>
                </a:moveTo>
                <a:cubicBezTo>
                  <a:pt x="663367" y="404130"/>
                  <a:pt x="663094" y="405970"/>
                  <a:pt x="667387" y="407400"/>
                </a:cubicBezTo>
                <a:lnTo>
                  <a:pt x="664661" y="419865"/>
                </a:lnTo>
                <a:cubicBezTo>
                  <a:pt x="660028" y="418639"/>
                  <a:pt x="651034" y="417004"/>
                  <a:pt x="645311" y="417004"/>
                </a:cubicBezTo>
                <a:cubicBezTo>
                  <a:pt x="639587" y="417004"/>
                  <a:pt x="637816" y="418094"/>
                  <a:pt x="637816" y="421159"/>
                </a:cubicBezTo>
                <a:cubicBezTo>
                  <a:pt x="637816" y="424225"/>
                  <a:pt x="639792" y="424769"/>
                  <a:pt x="647627" y="427630"/>
                </a:cubicBezTo>
                <a:lnTo>
                  <a:pt x="652056" y="429265"/>
                </a:lnTo>
                <a:cubicBezTo>
                  <a:pt x="665411" y="434101"/>
                  <a:pt x="670793" y="438188"/>
                  <a:pt x="670793" y="447861"/>
                </a:cubicBezTo>
                <a:lnTo>
                  <a:pt x="670657" y="447929"/>
                </a:lnTo>
                <a:cubicBezTo>
                  <a:pt x="670657" y="458350"/>
                  <a:pt x="664729" y="466865"/>
                  <a:pt x="646673" y="466865"/>
                </a:cubicBezTo>
                <a:cubicBezTo>
                  <a:pt x="628617" y="466865"/>
                  <a:pt x="628958" y="464753"/>
                  <a:pt x="622349" y="461552"/>
                </a:cubicBezTo>
                <a:lnTo>
                  <a:pt x="625756" y="448882"/>
                </a:lnTo>
                <a:cubicBezTo>
                  <a:pt x="632706" y="451743"/>
                  <a:pt x="639178" y="453855"/>
                  <a:pt x="645992" y="453855"/>
                </a:cubicBezTo>
                <a:cubicBezTo>
                  <a:pt x="652806" y="453855"/>
                  <a:pt x="656144" y="451539"/>
                  <a:pt x="656144" y="448337"/>
                </a:cubicBezTo>
                <a:cubicBezTo>
                  <a:pt x="656144" y="445136"/>
                  <a:pt x="652533" y="443365"/>
                  <a:pt x="645243" y="440777"/>
                </a:cubicBezTo>
                <a:lnTo>
                  <a:pt x="641086" y="439210"/>
                </a:lnTo>
                <a:cubicBezTo>
                  <a:pt x="628413" y="434714"/>
                  <a:pt x="623235" y="431649"/>
                  <a:pt x="623235" y="421840"/>
                </a:cubicBezTo>
                <a:cubicBezTo>
                  <a:pt x="623235" y="412032"/>
                  <a:pt x="627391" y="404130"/>
                  <a:pt x="645379" y="404130"/>
                </a:cubicBezTo>
                <a:close/>
                <a:moveTo>
                  <a:pt x="336930" y="404130"/>
                </a:moveTo>
                <a:cubicBezTo>
                  <a:pt x="353555" y="404130"/>
                  <a:pt x="366433" y="415029"/>
                  <a:pt x="366433" y="435395"/>
                </a:cubicBezTo>
                <a:cubicBezTo>
                  <a:pt x="366433" y="455762"/>
                  <a:pt x="353555" y="466865"/>
                  <a:pt x="336930" y="466865"/>
                </a:cubicBezTo>
                <a:cubicBezTo>
                  <a:pt x="320305" y="466865"/>
                  <a:pt x="307427" y="455558"/>
                  <a:pt x="307427" y="435395"/>
                </a:cubicBezTo>
                <a:cubicBezTo>
                  <a:pt x="307427" y="415233"/>
                  <a:pt x="320305" y="404130"/>
                  <a:pt x="336930" y="404130"/>
                </a:cubicBezTo>
                <a:close/>
                <a:moveTo>
                  <a:pt x="298161" y="404130"/>
                </a:moveTo>
                <a:cubicBezTo>
                  <a:pt x="301023" y="404130"/>
                  <a:pt x="303203" y="404471"/>
                  <a:pt x="304089" y="404675"/>
                </a:cubicBezTo>
                <a:lnTo>
                  <a:pt x="301636" y="418571"/>
                </a:lnTo>
                <a:cubicBezTo>
                  <a:pt x="300750" y="418435"/>
                  <a:pt x="299115" y="418367"/>
                  <a:pt x="298093" y="418367"/>
                </a:cubicBezTo>
                <a:cubicBezTo>
                  <a:pt x="289712" y="418367"/>
                  <a:pt x="285897" y="423407"/>
                  <a:pt x="285897" y="431377"/>
                </a:cubicBezTo>
                <a:lnTo>
                  <a:pt x="285897" y="465843"/>
                </a:lnTo>
                <a:lnTo>
                  <a:pt x="271384" y="465843"/>
                </a:lnTo>
                <a:lnTo>
                  <a:pt x="271384" y="430287"/>
                </a:lnTo>
                <a:cubicBezTo>
                  <a:pt x="271384" y="415438"/>
                  <a:pt x="281059" y="404198"/>
                  <a:pt x="298161" y="404198"/>
                </a:cubicBezTo>
                <a:close/>
                <a:moveTo>
                  <a:pt x="231865" y="404130"/>
                </a:moveTo>
                <a:cubicBezTo>
                  <a:pt x="248490" y="404130"/>
                  <a:pt x="260959" y="415165"/>
                  <a:pt x="260959" y="435395"/>
                </a:cubicBezTo>
                <a:cubicBezTo>
                  <a:pt x="260959" y="455626"/>
                  <a:pt x="248490" y="466865"/>
                  <a:pt x="231865" y="466865"/>
                </a:cubicBezTo>
                <a:cubicBezTo>
                  <a:pt x="226483" y="466865"/>
                  <a:pt x="221645" y="465503"/>
                  <a:pt x="217557" y="462778"/>
                </a:cubicBezTo>
                <a:lnTo>
                  <a:pt x="217557" y="489956"/>
                </a:lnTo>
                <a:lnTo>
                  <a:pt x="203044" y="489956"/>
                </a:lnTo>
                <a:lnTo>
                  <a:pt x="203044" y="435055"/>
                </a:lnTo>
                <a:cubicBezTo>
                  <a:pt x="203044" y="414893"/>
                  <a:pt x="215376" y="404130"/>
                  <a:pt x="231865" y="404130"/>
                </a:cubicBezTo>
                <a:close/>
                <a:moveTo>
                  <a:pt x="720191" y="403313"/>
                </a:moveTo>
                <a:cubicBezTo>
                  <a:pt x="731366" y="403313"/>
                  <a:pt x="735249" y="407945"/>
                  <a:pt x="738588" y="415029"/>
                </a:cubicBezTo>
                <a:lnTo>
                  <a:pt x="754123" y="448269"/>
                </a:lnTo>
                <a:cubicBezTo>
                  <a:pt x="754463" y="449019"/>
                  <a:pt x="755213" y="449495"/>
                  <a:pt x="756031" y="449495"/>
                </a:cubicBezTo>
                <a:cubicBezTo>
                  <a:pt x="757189" y="449495"/>
                  <a:pt x="758143" y="448542"/>
                  <a:pt x="758143" y="447384"/>
                </a:cubicBezTo>
                <a:lnTo>
                  <a:pt x="758143" y="405220"/>
                </a:lnTo>
                <a:lnTo>
                  <a:pt x="776335" y="405220"/>
                </a:lnTo>
                <a:lnTo>
                  <a:pt x="776335" y="447384"/>
                </a:lnTo>
                <a:cubicBezTo>
                  <a:pt x="776335" y="458555"/>
                  <a:pt x="767205" y="467682"/>
                  <a:pt x="756031" y="467682"/>
                </a:cubicBezTo>
                <a:cubicBezTo>
                  <a:pt x="744856" y="467682"/>
                  <a:pt x="740973" y="463050"/>
                  <a:pt x="737634" y="455966"/>
                </a:cubicBezTo>
                <a:lnTo>
                  <a:pt x="722099" y="422726"/>
                </a:lnTo>
                <a:cubicBezTo>
                  <a:pt x="721758" y="421977"/>
                  <a:pt x="721009" y="421500"/>
                  <a:pt x="720191" y="421500"/>
                </a:cubicBezTo>
                <a:cubicBezTo>
                  <a:pt x="719033" y="421500"/>
                  <a:pt x="718079" y="422453"/>
                  <a:pt x="718079" y="423611"/>
                </a:cubicBezTo>
                <a:lnTo>
                  <a:pt x="718079" y="465775"/>
                </a:lnTo>
                <a:lnTo>
                  <a:pt x="699887" y="465775"/>
                </a:lnTo>
                <a:lnTo>
                  <a:pt x="699887" y="423611"/>
                </a:lnTo>
                <a:cubicBezTo>
                  <a:pt x="699887" y="412441"/>
                  <a:pt x="709017" y="403313"/>
                  <a:pt x="720191" y="403313"/>
                </a:cubicBezTo>
                <a:close/>
                <a:moveTo>
                  <a:pt x="544947" y="146517"/>
                </a:moveTo>
                <a:cubicBezTo>
                  <a:pt x="507200" y="146517"/>
                  <a:pt x="502430" y="177441"/>
                  <a:pt x="502430" y="218515"/>
                </a:cubicBezTo>
                <a:cubicBezTo>
                  <a:pt x="502430" y="259589"/>
                  <a:pt x="507268" y="290990"/>
                  <a:pt x="544947" y="290990"/>
                </a:cubicBezTo>
                <a:cubicBezTo>
                  <a:pt x="582626" y="290990"/>
                  <a:pt x="588008" y="259589"/>
                  <a:pt x="588008" y="218515"/>
                </a:cubicBezTo>
                <a:cubicBezTo>
                  <a:pt x="588008" y="177441"/>
                  <a:pt x="582694" y="146517"/>
                  <a:pt x="544947" y="146517"/>
                </a:cubicBezTo>
                <a:close/>
                <a:moveTo>
                  <a:pt x="307495" y="146517"/>
                </a:moveTo>
                <a:cubicBezTo>
                  <a:pt x="294890" y="146517"/>
                  <a:pt x="285760" y="150399"/>
                  <a:pt x="278469" y="157620"/>
                </a:cubicBezTo>
                <a:cubicBezTo>
                  <a:pt x="265387" y="170698"/>
                  <a:pt x="263956" y="192427"/>
                  <a:pt x="263956" y="218515"/>
                </a:cubicBezTo>
                <a:cubicBezTo>
                  <a:pt x="263956" y="244603"/>
                  <a:pt x="265387" y="266877"/>
                  <a:pt x="278469" y="279887"/>
                </a:cubicBezTo>
                <a:cubicBezTo>
                  <a:pt x="285692" y="287107"/>
                  <a:pt x="294890" y="290990"/>
                  <a:pt x="307495" y="290990"/>
                </a:cubicBezTo>
                <a:cubicBezTo>
                  <a:pt x="320100" y="290990"/>
                  <a:pt x="329707" y="287107"/>
                  <a:pt x="336998" y="279887"/>
                </a:cubicBezTo>
                <a:cubicBezTo>
                  <a:pt x="350080" y="266809"/>
                  <a:pt x="351510" y="244603"/>
                  <a:pt x="351510" y="218515"/>
                </a:cubicBezTo>
                <a:cubicBezTo>
                  <a:pt x="351510" y="192427"/>
                  <a:pt x="350080" y="170630"/>
                  <a:pt x="336998" y="157620"/>
                </a:cubicBezTo>
                <a:cubicBezTo>
                  <a:pt x="329775" y="150399"/>
                  <a:pt x="320100" y="146517"/>
                  <a:pt x="307495" y="146517"/>
                </a:cubicBezTo>
                <a:close/>
                <a:moveTo>
                  <a:pt x="697229" y="92910"/>
                </a:moveTo>
                <a:lnTo>
                  <a:pt x="760118" y="92910"/>
                </a:lnTo>
                <a:lnTo>
                  <a:pt x="760118" y="344733"/>
                </a:lnTo>
                <a:lnTo>
                  <a:pt x="697229" y="344733"/>
                </a:lnTo>
                <a:close/>
                <a:moveTo>
                  <a:pt x="307495" y="89913"/>
                </a:moveTo>
                <a:cubicBezTo>
                  <a:pt x="344765" y="89913"/>
                  <a:pt x="370384" y="104421"/>
                  <a:pt x="385851" y="120837"/>
                </a:cubicBezTo>
                <a:cubicBezTo>
                  <a:pt x="408608" y="144541"/>
                  <a:pt x="414399" y="173014"/>
                  <a:pt x="414399" y="218515"/>
                </a:cubicBezTo>
                <a:cubicBezTo>
                  <a:pt x="414399" y="264016"/>
                  <a:pt x="408608" y="292965"/>
                  <a:pt x="385851" y="316670"/>
                </a:cubicBezTo>
                <a:cubicBezTo>
                  <a:pt x="370384" y="333086"/>
                  <a:pt x="344765" y="347594"/>
                  <a:pt x="307495" y="347594"/>
                </a:cubicBezTo>
                <a:cubicBezTo>
                  <a:pt x="270225" y="347594"/>
                  <a:pt x="245083" y="333086"/>
                  <a:pt x="229616" y="316670"/>
                </a:cubicBezTo>
                <a:cubicBezTo>
                  <a:pt x="206859" y="292965"/>
                  <a:pt x="201067" y="264493"/>
                  <a:pt x="201067" y="218515"/>
                </a:cubicBezTo>
                <a:cubicBezTo>
                  <a:pt x="201067" y="172537"/>
                  <a:pt x="206859" y="144541"/>
                  <a:pt x="229616" y="120837"/>
                </a:cubicBezTo>
                <a:cubicBezTo>
                  <a:pt x="245083" y="104421"/>
                  <a:pt x="270225" y="89913"/>
                  <a:pt x="307495" y="89913"/>
                </a:cubicBezTo>
                <a:close/>
                <a:moveTo>
                  <a:pt x="112696" y="89913"/>
                </a:moveTo>
                <a:cubicBezTo>
                  <a:pt x="162980" y="89913"/>
                  <a:pt x="173609" y="100539"/>
                  <a:pt x="195889" y="123766"/>
                </a:cubicBezTo>
                <a:lnTo>
                  <a:pt x="153373" y="166270"/>
                </a:lnTo>
                <a:cubicBezTo>
                  <a:pt x="140291" y="152238"/>
                  <a:pt x="129185" y="146449"/>
                  <a:pt x="112764" y="146449"/>
                </a:cubicBezTo>
                <a:cubicBezTo>
                  <a:pt x="96343" y="146449"/>
                  <a:pt x="86191" y="151762"/>
                  <a:pt x="76993" y="162865"/>
                </a:cubicBezTo>
                <a:cubicBezTo>
                  <a:pt x="67318" y="174921"/>
                  <a:pt x="62957" y="191882"/>
                  <a:pt x="62957" y="218447"/>
                </a:cubicBezTo>
                <a:cubicBezTo>
                  <a:pt x="62957" y="245012"/>
                  <a:pt x="67318" y="262450"/>
                  <a:pt x="76993" y="274506"/>
                </a:cubicBezTo>
                <a:cubicBezTo>
                  <a:pt x="86191" y="285609"/>
                  <a:pt x="97774" y="290922"/>
                  <a:pt x="112764" y="290922"/>
                </a:cubicBezTo>
                <a:cubicBezTo>
                  <a:pt x="127754" y="290922"/>
                  <a:pt x="140291" y="285132"/>
                  <a:pt x="153373" y="271100"/>
                </a:cubicBezTo>
                <a:lnTo>
                  <a:pt x="195889" y="313128"/>
                </a:lnTo>
                <a:cubicBezTo>
                  <a:pt x="173677" y="336355"/>
                  <a:pt x="147513" y="347458"/>
                  <a:pt x="112696" y="347458"/>
                </a:cubicBezTo>
                <a:lnTo>
                  <a:pt x="112696" y="347594"/>
                </a:lnTo>
                <a:cubicBezTo>
                  <a:pt x="62412" y="347594"/>
                  <a:pt x="0" y="320552"/>
                  <a:pt x="0" y="218515"/>
                </a:cubicBezTo>
                <a:cubicBezTo>
                  <a:pt x="0" y="116478"/>
                  <a:pt x="62412" y="89913"/>
                  <a:pt x="112696" y="89913"/>
                </a:cubicBezTo>
                <a:close/>
                <a:moveTo>
                  <a:pt x="811765" y="25680"/>
                </a:moveTo>
                <a:lnTo>
                  <a:pt x="874654" y="25680"/>
                </a:lnTo>
                <a:lnTo>
                  <a:pt x="874654" y="100130"/>
                </a:lnTo>
                <a:lnTo>
                  <a:pt x="919146" y="100130"/>
                </a:lnTo>
                <a:lnTo>
                  <a:pt x="919146" y="148015"/>
                </a:lnTo>
                <a:lnTo>
                  <a:pt x="874654" y="148015"/>
                </a:lnTo>
                <a:lnTo>
                  <a:pt x="874654" y="268852"/>
                </a:lnTo>
                <a:cubicBezTo>
                  <a:pt x="874654" y="283361"/>
                  <a:pt x="881399" y="291603"/>
                  <a:pt x="896389" y="291603"/>
                </a:cubicBezTo>
                <a:lnTo>
                  <a:pt x="919146" y="291603"/>
                </a:lnTo>
                <a:lnTo>
                  <a:pt x="919146" y="344801"/>
                </a:lnTo>
                <a:lnTo>
                  <a:pt x="884806" y="344801"/>
                </a:lnTo>
                <a:lnTo>
                  <a:pt x="884806" y="344733"/>
                </a:lnTo>
                <a:cubicBezTo>
                  <a:pt x="833568" y="344733"/>
                  <a:pt x="811765" y="308496"/>
                  <a:pt x="811765" y="272735"/>
                </a:cubicBezTo>
                <a:lnTo>
                  <a:pt x="811765" y="148015"/>
                </a:lnTo>
                <a:lnTo>
                  <a:pt x="785192" y="148015"/>
                </a:lnTo>
                <a:lnTo>
                  <a:pt x="785192" y="100130"/>
                </a:lnTo>
                <a:lnTo>
                  <a:pt x="811765" y="100130"/>
                </a:lnTo>
                <a:close/>
                <a:moveTo>
                  <a:pt x="976380" y="68"/>
                </a:moveTo>
                <a:lnTo>
                  <a:pt x="990075" y="68"/>
                </a:lnTo>
                <a:lnTo>
                  <a:pt x="990075" y="344733"/>
                </a:lnTo>
                <a:lnTo>
                  <a:pt x="976380" y="344733"/>
                </a:lnTo>
                <a:close/>
                <a:moveTo>
                  <a:pt x="696275" y="68"/>
                </a:moveTo>
                <a:lnTo>
                  <a:pt x="760595" y="68"/>
                </a:lnTo>
                <a:lnTo>
                  <a:pt x="760595" y="49861"/>
                </a:lnTo>
                <a:lnTo>
                  <a:pt x="696275" y="49861"/>
                </a:lnTo>
                <a:close/>
                <a:moveTo>
                  <a:pt x="588008" y="0"/>
                </a:moveTo>
                <a:lnTo>
                  <a:pt x="650897" y="0"/>
                </a:lnTo>
                <a:lnTo>
                  <a:pt x="650897" y="344665"/>
                </a:lnTo>
                <a:lnTo>
                  <a:pt x="589507" y="344665"/>
                </a:lnTo>
                <a:lnTo>
                  <a:pt x="589439" y="344733"/>
                </a:lnTo>
                <a:lnTo>
                  <a:pt x="589439" y="321029"/>
                </a:lnTo>
                <a:cubicBezTo>
                  <a:pt x="572065" y="340374"/>
                  <a:pt x="553668" y="347594"/>
                  <a:pt x="527095" y="347594"/>
                </a:cubicBezTo>
                <a:cubicBezTo>
                  <a:pt x="500522" y="347594"/>
                  <a:pt x="479196" y="338875"/>
                  <a:pt x="465228" y="324843"/>
                </a:cubicBezTo>
                <a:cubicBezTo>
                  <a:pt x="440086" y="299709"/>
                  <a:pt x="439609" y="256183"/>
                  <a:pt x="439609" y="218515"/>
                </a:cubicBezTo>
                <a:cubicBezTo>
                  <a:pt x="439609" y="180847"/>
                  <a:pt x="440086" y="137798"/>
                  <a:pt x="465228" y="112663"/>
                </a:cubicBezTo>
                <a:cubicBezTo>
                  <a:pt x="479264" y="98631"/>
                  <a:pt x="501953" y="89913"/>
                  <a:pt x="526618" y="89913"/>
                </a:cubicBezTo>
                <a:cubicBezTo>
                  <a:pt x="551283" y="89913"/>
                  <a:pt x="571588" y="96656"/>
                  <a:pt x="588008" y="115047"/>
                </a:cubicBezTo>
                <a:close/>
              </a:path>
            </a:pathLst>
          </a:custGeom>
          <a:solidFill>
            <a:schemeClr val="bg1"/>
          </a:solidFill>
          <a:ln w="0" cap="flat">
            <a:noFill/>
            <a:prstDash val="solid"/>
            <a:miter/>
          </a:ln>
        </p:spPr>
        <p:txBody>
          <a:bodyPr rtlCol="0" anchor="ct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FFFFFF"/>
              </a:solidFill>
              <a:effectLst/>
              <a:uLnTx/>
              <a:uFillTx/>
              <a:latin typeface="Codit Radikal" pitchFamily="2" charset="77"/>
              <a:ea typeface="+mn-ea"/>
              <a:cs typeface="+mn-cs"/>
            </a:endParaRPr>
          </a:p>
        </p:txBody>
      </p:sp>
    </p:spTree>
    <p:extLst>
      <p:ext uri="{BB962C8B-B14F-4D97-AF65-F5344CB8AC3E}">
        <p14:creationId xmlns:p14="http://schemas.microsoft.com/office/powerpoint/2010/main" val="369177252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0F101E-8A77-249D-968A-16F79DB3480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BE"/>
          </a:p>
        </p:txBody>
      </p:sp>
      <p:sp>
        <p:nvSpPr>
          <p:cNvPr id="3" name="Subtitle 2">
            <a:extLst>
              <a:ext uri="{FF2B5EF4-FFF2-40B4-BE49-F238E27FC236}">
                <a16:creationId xmlns:a16="http://schemas.microsoft.com/office/drawing/2014/main" id="{CF3175BC-7C5A-3D96-F003-621A77FA7C2F}"/>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BE"/>
          </a:p>
        </p:txBody>
      </p:sp>
      <p:sp>
        <p:nvSpPr>
          <p:cNvPr id="4" name="Date Placeholder 3">
            <a:extLst>
              <a:ext uri="{FF2B5EF4-FFF2-40B4-BE49-F238E27FC236}">
                <a16:creationId xmlns:a16="http://schemas.microsoft.com/office/drawing/2014/main" id="{ABA62BCB-F7CD-0B3B-695D-12C21C13D391}"/>
              </a:ext>
            </a:extLst>
          </p:cNvPr>
          <p:cNvSpPr>
            <a:spLocks noGrp="1"/>
          </p:cNvSpPr>
          <p:nvPr>
            <p:ph type="dt" sz="half" idx="10"/>
          </p:nvPr>
        </p:nvSpPr>
        <p:spPr/>
        <p:txBody>
          <a:bodyPr/>
          <a:lstStyle/>
          <a:p>
            <a:fld id="{E2A0D177-A857-42C5-BC87-58923C6A645D}" type="datetimeFigureOut">
              <a:rPr lang="en-BE" smtClean="0"/>
              <a:t>10/03/2026</a:t>
            </a:fld>
            <a:endParaRPr lang="en-BE"/>
          </a:p>
        </p:txBody>
      </p:sp>
      <p:sp>
        <p:nvSpPr>
          <p:cNvPr id="5" name="Footer Placeholder 4">
            <a:extLst>
              <a:ext uri="{FF2B5EF4-FFF2-40B4-BE49-F238E27FC236}">
                <a16:creationId xmlns:a16="http://schemas.microsoft.com/office/drawing/2014/main" id="{AB8DA549-1488-B71B-6E6E-F11E66BBF153}"/>
              </a:ext>
            </a:extLst>
          </p:cNvPr>
          <p:cNvSpPr>
            <a:spLocks noGrp="1"/>
          </p:cNvSpPr>
          <p:nvPr>
            <p:ph type="ftr" sz="quarter" idx="11"/>
          </p:nvPr>
        </p:nvSpPr>
        <p:spPr/>
        <p:txBody>
          <a:bodyPr/>
          <a:lstStyle/>
          <a:p>
            <a:endParaRPr lang="en-BE"/>
          </a:p>
        </p:txBody>
      </p:sp>
      <p:sp>
        <p:nvSpPr>
          <p:cNvPr id="6" name="Slide Number Placeholder 5">
            <a:extLst>
              <a:ext uri="{FF2B5EF4-FFF2-40B4-BE49-F238E27FC236}">
                <a16:creationId xmlns:a16="http://schemas.microsoft.com/office/drawing/2014/main" id="{3ACA21B4-5DD2-B228-DDC0-34B2F2165654}"/>
              </a:ext>
            </a:extLst>
          </p:cNvPr>
          <p:cNvSpPr>
            <a:spLocks noGrp="1"/>
          </p:cNvSpPr>
          <p:nvPr>
            <p:ph type="sldNum" sz="quarter" idx="12"/>
          </p:nvPr>
        </p:nvSpPr>
        <p:spPr/>
        <p:txBody>
          <a:bodyPr/>
          <a:lstStyle/>
          <a:p>
            <a:fld id="{F513D914-23DE-4EE9-9F3F-65D9477BB7BF}" type="slidenum">
              <a:rPr lang="en-BE" smtClean="0"/>
              <a:t>‹#›</a:t>
            </a:fld>
            <a:endParaRPr lang="en-BE"/>
          </a:p>
        </p:txBody>
      </p:sp>
    </p:spTree>
    <p:extLst>
      <p:ext uri="{BB962C8B-B14F-4D97-AF65-F5344CB8AC3E}">
        <p14:creationId xmlns:p14="http://schemas.microsoft.com/office/powerpoint/2010/main" val="40280433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barebone title/subtitle/bullets">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379D9B5-04D8-6A52-8A71-D25A918AB3DF}"/>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8" name="think-cell data - do not delete" hidden="1">
                        <a:extLst>
                          <a:ext uri="{FF2B5EF4-FFF2-40B4-BE49-F238E27FC236}">
                            <a16:creationId xmlns:a16="http://schemas.microsoft.com/office/drawing/2014/main" id="{B379D9B5-04D8-6A52-8A71-D25A918AB3DF}"/>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6" name="Afbeelding 10">
            <a:extLst>
              <a:ext uri="{FF2B5EF4-FFF2-40B4-BE49-F238E27FC236}">
                <a16:creationId xmlns:a16="http://schemas.microsoft.com/office/drawing/2014/main" id="{40666B9C-2FA2-4DA3-A68F-4E12D1CD881B}"/>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1" y="341"/>
            <a:ext cx="12192001" cy="6857323"/>
          </a:xfrm>
          <a:prstGeom prst="rect">
            <a:avLst/>
          </a:prstGeom>
        </p:spPr>
      </p:pic>
      <p:sp>
        <p:nvSpPr>
          <p:cNvPr id="4" name="Rectangle 3">
            <a:extLst>
              <a:ext uri="{FF2B5EF4-FFF2-40B4-BE49-F238E27FC236}">
                <a16:creationId xmlns:a16="http://schemas.microsoft.com/office/drawing/2014/main" id="{FD69DFC6-3CDB-9114-03D7-E0C541093124}"/>
              </a:ext>
            </a:extLst>
          </p:cNvPr>
          <p:cNvSpPr/>
          <p:nvPr userDrawn="1"/>
        </p:nvSpPr>
        <p:spPr>
          <a:xfrm>
            <a:off x="-1200" y="0"/>
            <a:ext cx="12193200" cy="6858000"/>
          </a:xfrm>
          <a:prstGeom prst="rect">
            <a:avLst/>
          </a:prstGeom>
          <a:gradFill>
            <a:gsLst>
              <a:gs pos="0">
                <a:srgbClr val="5C2D91"/>
              </a:gs>
              <a:gs pos="60000">
                <a:srgbClr val="5C2D91">
                  <a:alpha val="0"/>
                </a:srgbClr>
              </a:gs>
            </a:gsLst>
            <a:lin ang="3000000" scaled="0"/>
          </a:gra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620"/>
          </a:p>
        </p:txBody>
      </p:sp>
      <p:sp>
        <p:nvSpPr>
          <p:cNvPr id="10" name="Title 9">
            <a:extLst>
              <a:ext uri="{FF2B5EF4-FFF2-40B4-BE49-F238E27FC236}">
                <a16:creationId xmlns:a16="http://schemas.microsoft.com/office/drawing/2014/main" id="{DF6ABC68-F9EA-4273-A12B-49082AC706DF}"/>
              </a:ext>
            </a:extLst>
          </p:cNvPr>
          <p:cNvSpPr>
            <a:spLocks noGrp="1"/>
          </p:cNvSpPr>
          <p:nvPr>
            <p:ph type="title"/>
          </p:nvPr>
        </p:nvSpPr>
        <p:spPr>
          <a:xfrm>
            <a:off x="460800" y="378001"/>
            <a:ext cx="11276877" cy="492443"/>
          </a:xfrm>
        </p:spPr>
        <p:txBody>
          <a:bodyPr vert="horz" wrap="square" anchor="t" anchorCtr="0">
            <a:noAutofit/>
          </a:bodyPr>
          <a:lstStyle>
            <a:lvl1pPr>
              <a:lnSpc>
                <a:spcPct val="100000"/>
              </a:lnSpc>
              <a:defRPr sz="3200">
                <a:solidFill>
                  <a:schemeClr val="bg1"/>
                </a:solidFill>
                <a:latin typeface="Proximus Light" panose="00000500000000000000" pitchFamily="2" charset="0"/>
              </a:defRPr>
            </a:lvl1pPr>
          </a:lstStyle>
          <a:p>
            <a:r>
              <a:rPr lang="en-US"/>
              <a:t>Click to edit Master title style</a:t>
            </a:r>
            <a:endParaRPr lang="en-GB"/>
          </a:p>
        </p:txBody>
      </p:sp>
      <p:sp>
        <p:nvSpPr>
          <p:cNvPr id="11" name="Subtitle 2">
            <a:extLst>
              <a:ext uri="{FF2B5EF4-FFF2-40B4-BE49-F238E27FC236}">
                <a16:creationId xmlns:a16="http://schemas.microsoft.com/office/drawing/2014/main" id="{2C905E73-AD6F-4EE8-AF69-CDF44B8BE1E4}"/>
              </a:ext>
            </a:extLst>
          </p:cNvPr>
          <p:cNvSpPr>
            <a:spLocks noGrp="1"/>
          </p:cNvSpPr>
          <p:nvPr>
            <p:ph type="subTitle" idx="1"/>
          </p:nvPr>
        </p:nvSpPr>
        <p:spPr>
          <a:xfrm>
            <a:off x="460800" y="885820"/>
            <a:ext cx="11276877" cy="356245"/>
          </a:xfrm>
          <a:prstGeom prst="rect">
            <a:avLst/>
          </a:prstGeom>
        </p:spPr>
        <p:txBody>
          <a:bodyPr wrap="square" tIns="36000">
            <a:noAutofit/>
          </a:bodyPr>
          <a:lstStyle>
            <a:lvl1pPr marL="0" indent="0" algn="l">
              <a:lnSpc>
                <a:spcPct val="100000"/>
              </a:lnSpc>
              <a:buFont typeface="Arial" panose="020B0604020202020204" pitchFamily="34" charset="0"/>
              <a:buNone/>
              <a:defRPr sz="2000" b="1">
                <a:solidFill>
                  <a:schemeClr val="bg1"/>
                </a:solidFill>
                <a:latin typeface="Proximus" panose="00000500000000000000" pitchFamily="2" charset="0"/>
              </a:defRPr>
            </a:lvl1pPr>
            <a:lvl2pPr marL="800040" indent="-342874" algn="l">
              <a:buFont typeface="Arial" panose="020B0604020202020204" pitchFamily="34" charset="0"/>
              <a:buChar char="•"/>
              <a:defRPr sz="1800">
                <a:solidFill>
                  <a:schemeClr val="bg1"/>
                </a:solidFill>
                <a:latin typeface="Proximus" panose="00000500000000000000" pitchFamily="2" charset="0"/>
              </a:defRPr>
            </a:lvl2pPr>
            <a:lvl3pPr marL="1200061" indent="-285730" algn="l">
              <a:buFont typeface="Arial" panose="020B0604020202020204" pitchFamily="34" charset="0"/>
              <a:buChar char="•"/>
              <a:defRPr sz="1600">
                <a:solidFill>
                  <a:schemeClr val="bg1"/>
                </a:solidFill>
                <a:latin typeface="Proximus" panose="00000500000000000000" pitchFamily="2" charset="0"/>
              </a:defRPr>
            </a:lvl3pPr>
            <a:lvl4pPr marL="1657227" indent="-285730" algn="l">
              <a:buFont typeface="Arial" panose="020B0604020202020204" pitchFamily="34" charset="0"/>
              <a:buChar char="•"/>
              <a:defRPr sz="1400">
                <a:solidFill>
                  <a:schemeClr val="bg1"/>
                </a:solidFill>
                <a:latin typeface="Proximus" panose="00000500000000000000" pitchFamily="2" charset="0"/>
              </a:defRPr>
            </a:lvl4pPr>
            <a:lvl5pPr marL="2114394" indent="-285730" algn="l">
              <a:buFont typeface="Arial" panose="020B0604020202020204" pitchFamily="34" charset="0"/>
              <a:buChar char="•"/>
              <a:defRPr sz="1200">
                <a:solidFill>
                  <a:schemeClr val="bg1"/>
                </a:solidFill>
                <a:latin typeface="Proximus" panose="00000500000000000000" pitchFamily="2" charset="0"/>
              </a:defRPr>
            </a:lvl5pPr>
            <a:lvl6pPr marL="2571558" indent="-285730" algn="l">
              <a:buFont typeface="Arial" panose="020B0604020202020204" pitchFamily="34" charset="0"/>
              <a:buChar char="•"/>
              <a:defRPr sz="1100">
                <a:solidFill>
                  <a:schemeClr val="bg1"/>
                </a:solidFill>
                <a:latin typeface="Proximus" panose="00000500000000000000" pitchFamily="2" charset="0"/>
              </a:defRPr>
            </a:lvl6pPr>
            <a:lvl7pPr marL="3028723" indent="-285730" algn="l">
              <a:buFont typeface="Arial" panose="020B0604020202020204" pitchFamily="34" charset="0"/>
              <a:buChar char="•"/>
              <a:defRPr sz="1000">
                <a:solidFill>
                  <a:schemeClr val="bg1"/>
                </a:solidFill>
                <a:latin typeface="Proximus" panose="00000500000000000000" pitchFamily="2" charset="0"/>
              </a:defRPr>
            </a:lvl7pPr>
            <a:lvl8pPr marL="3200160" indent="0" algn="ctr">
              <a:buNone/>
              <a:defRPr sz="1600"/>
            </a:lvl8pPr>
            <a:lvl9pPr marL="3657327" indent="0" algn="ctr">
              <a:buNone/>
              <a:defRPr sz="1600"/>
            </a:lvl9pPr>
          </a:lstStyle>
          <a:p>
            <a:pPr lvl="0"/>
            <a:endParaRPr lang="en-GB"/>
          </a:p>
        </p:txBody>
      </p:sp>
      <p:sp>
        <p:nvSpPr>
          <p:cNvPr id="2" name="Text Placeholder 3">
            <a:extLst>
              <a:ext uri="{FF2B5EF4-FFF2-40B4-BE49-F238E27FC236}">
                <a16:creationId xmlns:a16="http://schemas.microsoft.com/office/drawing/2014/main" id="{69CF273C-D5C1-2DC7-DFA1-D04119C23FA3}"/>
              </a:ext>
            </a:extLst>
          </p:cNvPr>
          <p:cNvSpPr>
            <a:spLocks noGrp="1"/>
          </p:cNvSpPr>
          <p:nvPr>
            <p:ph type="body" sz="quarter" idx="11"/>
          </p:nvPr>
        </p:nvSpPr>
        <p:spPr>
          <a:xfrm>
            <a:off x="460800" y="1671526"/>
            <a:ext cx="11276877" cy="2171620"/>
          </a:xfrm>
          <a:prstGeom prst="rect">
            <a:avLst/>
          </a:prstGeom>
        </p:spPr>
        <p:txBody>
          <a:bodyPr anchor="t" anchorCtr="0">
            <a:spAutoFit/>
          </a:bodyPr>
          <a:lstStyle>
            <a:lvl1pPr marL="215989" indent="-215989">
              <a:lnSpc>
                <a:spcPct val="114000"/>
              </a:lnSpc>
              <a:defRPr sz="1800" b="0">
                <a:solidFill>
                  <a:schemeClr val="bg1"/>
                </a:solidFill>
                <a:latin typeface="Proximus" panose="00000500000000000000" pitchFamily="2" charset="0"/>
              </a:defRPr>
            </a:lvl1pPr>
            <a:lvl2pPr marL="431979" indent="-215989">
              <a:lnSpc>
                <a:spcPct val="114000"/>
              </a:lnSpc>
              <a:defRPr sz="1800">
                <a:solidFill>
                  <a:schemeClr val="bg1"/>
                </a:solidFill>
                <a:latin typeface="Proximus" panose="00000500000000000000" pitchFamily="2" charset="0"/>
              </a:defRPr>
            </a:lvl2pPr>
            <a:lvl3pPr marL="647968" indent="-215989">
              <a:lnSpc>
                <a:spcPct val="120000"/>
              </a:lnSpc>
              <a:defRPr sz="1600">
                <a:solidFill>
                  <a:schemeClr val="bg1"/>
                </a:solidFill>
                <a:latin typeface="Proximus" panose="00000500000000000000" pitchFamily="2" charset="0"/>
              </a:defRPr>
            </a:lvl3pPr>
            <a:lvl4pPr marL="863957" indent="-215989">
              <a:lnSpc>
                <a:spcPct val="125000"/>
              </a:lnSpc>
              <a:defRPr sz="1500">
                <a:solidFill>
                  <a:schemeClr val="bg1"/>
                </a:solidFill>
                <a:latin typeface="Proximus" panose="00000500000000000000" pitchFamily="2" charset="0"/>
              </a:defRPr>
            </a:lvl4pPr>
            <a:lvl5pPr marL="1079946" indent="-215989">
              <a:lnSpc>
                <a:spcPct val="125000"/>
              </a:lnSpc>
              <a:defRPr sz="1400">
                <a:solidFill>
                  <a:schemeClr val="bg1"/>
                </a:solidFill>
                <a:latin typeface="Proximu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 name="Graphic 2">
            <a:extLst>
              <a:ext uri="{FF2B5EF4-FFF2-40B4-BE49-F238E27FC236}">
                <a16:creationId xmlns:a16="http://schemas.microsoft.com/office/drawing/2014/main" id="{E5F3FAF7-167C-2811-47A0-26A42ABB9A31}"/>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490049" y="6143627"/>
            <a:ext cx="1247627" cy="341584"/>
          </a:xfrm>
          <a:prstGeom prst="rect">
            <a:avLst/>
          </a:prstGeom>
        </p:spPr>
      </p:pic>
      <p:sp>
        <p:nvSpPr>
          <p:cNvPr id="5" name="Slide Number Placeholder 5">
            <a:extLst>
              <a:ext uri="{FF2B5EF4-FFF2-40B4-BE49-F238E27FC236}">
                <a16:creationId xmlns:a16="http://schemas.microsoft.com/office/drawing/2014/main" id="{A5FA7D95-C05F-16D2-F287-27E3526D408A}"/>
              </a:ext>
            </a:extLst>
          </p:cNvPr>
          <p:cNvSpPr>
            <a:spLocks noGrp="1"/>
          </p:cNvSpPr>
          <p:nvPr>
            <p:ph type="sldNum" sz="quarter" idx="4"/>
          </p:nvPr>
        </p:nvSpPr>
        <p:spPr>
          <a:xfrm>
            <a:off x="9344025" y="6526215"/>
            <a:ext cx="2743200" cy="365125"/>
          </a:xfrm>
          <a:prstGeom prst="rect">
            <a:avLst/>
          </a:prstGeom>
        </p:spPr>
        <p:txBody>
          <a:bodyPr vert="horz" lIns="0" tIns="0" rIns="0" bIns="0" rtlCol="0" anchor="ctr"/>
          <a:lstStyle>
            <a:lvl1pPr algn="r">
              <a:defRPr sz="1000">
                <a:solidFill>
                  <a:schemeClr val="bg1"/>
                </a:solidFill>
                <a:latin typeface="Proximus" panose="00000500000000000000" pitchFamily="2" charset="0"/>
              </a:defRPr>
            </a:lvl1pPr>
          </a:lstStyle>
          <a:p>
            <a:fld id="{54C3750C-E539-40C9-A159-615F3584044F}" type="slidenum">
              <a:rPr lang="en-GB" smtClean="0"/>
              <a:pPr/>
              <a:t>‹#›</a:t>
            </a:fld>
            <a:endParaRPr lang="en-GB"/>
          </a:p>
        </p:txBody>
      </p:sp>
    </p:spTree>
    <p:extLst>
      <p:ext uri="{BB962C8B-B14F-4D97-AF65-F5344CB8AC3E}">
        <p14:creationId xmlns:p14="http://schemas.microsoft.com/office/powerpoint/2010/main" val="80546113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PXS NXT - content slide">
    <p:bg>
      <p:bgPr>
        <a:gradFill>
          <a:gsLst>
            <a:gs pos="0">
              <a:schemeClr val="bg1"/>
            </a:gs>
            <a:gs pos="100000">
              <a:srgbClr val="000000"/>
            </a:gs>
          </a:gsLst>
          <a:lin ang="3000000" scaled="0"/>
        </a:gradFill>
        <a:effectLst/>
      </p:bgPr>
    </p:bg>
    <p:spTree>
      <p:nvGrpSpPr>
        <p:cNvPr id="1" name=""/>
        <p:cNvGrpSpPr/>
        <p:nvPr/>
      </p:nvGrpSpPr>
      <p:grpSpPr>
        <a:xfrm>
          <a:off x="0" y="0"/>
          <a:ext cx="0" cy="0"/>
          <a:chOff x="0" y="0"/>
          <a:chExt cx="0" cy="0"/>
        </a:xfrm>
      </p:grpSpPr>
      <p:sp>
        <p:nvSpPr>
          <p:cNvPr id="3" name="Freeform: Shape 12">
            <a:extLst>
              <a:ext uri="{FF2B5EF4-FFF2-40B4-BE49-F238E27FC236}">
                <a16:creationId xmlns:a16="http://schemas.microsoft.com/office/drawing/2014/main" id="{8D6BD1B6-9F43-D555-C991-658AB3888067}"/>
              </a:ext>
            </a:extLst>
          </p:cNvPr>
          <p:cNvSpPr/>
          <p:nvPr userDrawn="1"/>
        </p:nvSpPr>
        <p:spPr>
          <a:xfrm>
            <a:off x="0" y="-907"/>
            <a:ext cx="6249872" cy="6858429"/>
          </a:xfrm>
          <a:custGeom>
            <a:avLst/>
            <a:gdLst>
              <a:gd name="connsiteX0" fmla="*/ 1302613 w 4687404"/>
              <a:gd name="connsiteY0" fmla="*/ 0 h 5143822"/>
              <a:gd name="connsiteX1" fmla="*/ 3239245 w 4687404"/>
              <a:gd name="connsiteY1" fmla="*/ 0 h 5143822"/>
              <a:gd name="connsiteX2" fmla="*/ 4293063 w 4687404"/>
              <a:gd name="connsiteY2" fmla="*/ 1392533 h 5143822"/>
              <a:gd name="connsiteX3" fmla="*/ 4293063 w 4687404"/>
              <a:gd name="connsiteY3" fmla="*/ 3750744 h 5143822"/>
              <a:gd name="connsiteX4" fmla="*/ 3237796 w 4687404"/>
              <a:gd name="connsiteY4" fmla="*/ 5143407 h 5143822"/>
              <a:gd name="connsiteX5" fmla="*/ 3181350 w 4687404"/>
              <a:gd name="connsiteY5" fmla="*/ 5143407 h 5143822"/>
              <a:gd name="connsiteX6" fmla="*/ 3181350 w 4687404"/>
              <a:gd name="connsiteY6" fmla="*/ 5143822 h 5143822"/>
              <a:gd name="connsiteX7" fmla="*/ 0 w 4687404"/>
              <a:gd name="connsiteY7" fmla="*/ 5143822 h 5143822"/>
              <a:gd name="connsiteX8" fmla="*/ 0 w 4687404"/>
              <a:gd name="connsiteY8" fmla="*/ 678 h 5143822"/>
              <a:gd name="connsiteX9" fmla="*/ 1303127 w 4687404"/>
              <a:gd name="connsiteY9" fmla="*/ 678 h 5143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87404" h="5143822">
                <a:moveTo>
                  <a:pt x="1302613" y="0"/>
                </a:moveTo>
                <a:lnTo>
                  <a:pt x="3239245" y="0"/>
                </a:lnTo>
                <a:lnTo>
                  <a:pt x="4293063" y="1392533"/>
                </a:lnTo>
                <a:cubicBezTo>
                  <a:pt x="4818852" y="2090681"/>
                  <a:pt x="4818852" y="3052596"/>
                  <a:pt x="4293063" y="3750744"/>
                </a:cubicBezTo>
                <a:lnTo>
                  <a:pt x="3237796" y="5143407"/>
                </a:lnTo>
                <a:lnTo>
                  <a:pt x="3181350" y="5143407"/>
                </a:lnTo>
                <a:lnTo>
                  <a:pt x="3181350" y="5143822"/>
                </a:lnTo>
                <a:lnTo>
                  <a:pt x="0" y="5143822"/>
                </a:lnTo>
                <a:lnTo>
                  <a:pt x="0" y="678"/>
                </a:lnTo>
                <a:lnTo>
                  <a:pt x="1303127" y="678"/>
                </a:lnTo>
                <a:close/>
              </a:path>
            </a:pathLst>
          </a:custGeom>
          <a:gradFill>
            <a:gsLst>
              <a:gs pos="0">
                <a:schemeClr val="bg1">
                  <a:lumMod val="50000"/>
                </a:schemeClr>
              </a:gs>
              <a:gs pos="100000">
                <a:schemeClr val="bg1"/>
              </a:gs>
            </a:gsLst>
            <a:lin ang="0" scaled="0"/>
          </a:gradFill>
          <a:ln w="6471"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a:ln>
                <a:noFill/>
              </a:ln>
              <a:solidFill>
                <a:srgbClr val="FFFFFF"/>
              </a:solidFill>
              <a:effectLst/>
              <a:uLnTx/>
              <a:uFillTx/>
              <a:latin typeface="Proximus"/>
              <a:ea typeface="+mn-ea"/>
              <a:cs typeface="+mn-cs"/>
            </a:endParaRPr>
          </a:p>
        </p:txBody>
      </p:sp>
      <p:sp>
        <p:nvSpPr>
          <p:cNvPr id="4" name="Freeform: Shape 13">
            <a:extLst>
              <a:ext uri="{FF2B5EF4-FFF2-40B4-BE49-F238E27FC236}">
                <a16:creationId xmlns:a16="http://schemas.microsoft.com/office/drawing/2014/main" id="{32CE49BC-6039-5911-74D7-2C066414104B}"/>
              </a:ext>
            </a:extLst>
          </p:cNvPr>
          <p:cNvSpPr/>
          <p:nvPr userDrawn="1"/>
        </p:nvSpPr>
        <p:spPr>
          <a:xfrm>
            <a:off x="5943385" y="-905"/>
            <a:ext cx="6284547" cy="6858081"/>
          </a:xfrm>
          <a:custGeom>
            <a:avLst/>
            <a:gdLst>
              <a:gd name="connsiteX0" fmla="*/ 1448330 w 4713410"/>
              <a:gd name="connsiteY0" fmla="*/ 0 h 5143561"/>
              <a:gd name="connsiteX1" fmla="*/ 3384961 w 4713410"/>
              <a:gd name="connsiteY1" fmla="*/ 0 h 5143561"/>
              <a:gd name="connsiteX2" fmla="*/ 3384645 w 4713410"/>
              <a:gd name="connsiteY2" fmla="*/ 417 h 5143561"/>
              <a:gd name="connsiteX3" fmla="*/ 4713410 w 4713410"/>
              <a:gd name="connsiteY3" fmla="*/ 417 h 5143561"/>
              <a:gd name="connsiteX4" fmla="*/ 4713410 w 4713410"/>
              <a:gd name="connsiteY4" fmla="*/ 5143561 h 5143561"/>
              <a:gd name="connsiteX5" fmla="*/ 1532060 w 4713410"/>
              <a:gd name="connsiteY5" fmla="*/ 5143561 h 5143561"/>
              <a:gd name="connsiteX6" fmla="*/ 1532060 w 4713410"/>
              <a:gd name="connsiteY6" fmla="*/ 5143146 h 5143561"/>
              <a:gd name="connsiteX7" fmla="*/ 1449910 w 4713410"/>
              <a:gd name="connsiteY7" fmla="*/ 5143146 h 5143561"/>
              <a:gd name="connsiteX8" fmla="*/ 394381 w 4713410"/>
              <a:gd name="connsiteY8" fmla="*/ 3749561 h 5143561"/>
              <a:gd name="connsiteX9" fmla="*/ 394381 w 4713410"/>
              <a:gd name="connsiteY9" fmla="*/ 1391346 h 5143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13410" h="5143561">
                <a:moveTo>
                  <a:pt x="1448330" y="0"/>
                </a:moveTo>
                <a:lnTo>
                  <a:pt x="3384961" y="0"/>
                </a:lnTo>
                <a:lnTo>
                  <a:pt x="3384645" y="417"/>
                </a:lnTo>
                <a:lnTo>
                  <a:pt x="4713410" y="417"/>
                </a:lnTo>
                <a:lnTo>
                  <a:pt x="4713410" y="5143561"/>
                </a:lnTo>
                <a:lnTo>
                  <a:pt x="1532060" y="5143561"/>
                </a:lnTo>
                <a:lnTo>
                  <a:pt x="1532060" y="5143146"/>
                </a:lnTo>
                <a:lnTo>
                  <a:pt x="1449910" y="5143146"/>
                </a:lnTo>
                <a:lnTo>
                  <a:pt x="394381" y="3749561"/>
                </a:lnTo>
                <a:cubicBezTo>
                  <a:pt x="-131461" y="3051425"/>
                  <a:pt x="-131461" y="2089483"/>
                  <a:pt x="394381" y="1391346"/>
                </a:cubicBezTo>
                <a:close/>
              </a:path>
            </a:pathLst>
          </a:custGeom>
          <a:gradFill>
            <a:gsLst>
              <a:gs pos="0">
                <a:schemeClr val="bg1">
                  <a:lumMod val="50000"/>
                </a:schemeClr>
              </a:gs>
              <a:gs pos="100000">
                <a:srgbClr val="000000"/>
              </a:gs>
            </a:gsLst>
            <a:lin ang="0" scaled="0"/>
          </a:gradFill>
          <a:ln w="6471" cap="flat">
            <a:noFill/>
            <a:prstDash val="solid"/>
            <a:miter/>
          </a:ln>
        </p:spPr>
        <p:txBody>
          <a:bodyPr rtlCol="0" anchor="ctr"/>
          <a:lstStyle/>
          <a:p>
            <a:pPr marL="0" marR="0" lvl="0" indent="0" algn="l" defTabSz="544112"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a:ln>
                <a:noFill/>
              </a:ln>
              <a:solidFill>
                <a:srgbClr val="FFFFFF"/>
              </a:solidFill>
              <a:effectLst/>
              <a:uLnTx/>
              <a:uFillTx/>
              <a:latin typeface="Proximus"/>
              <a:ea typeface="+mn-ea"/>
              <a:cs typeface="+mn-cs"/>
            </a:endParaRPr>
          </a:p>
        </p:txBody>
      </p:sp>
      <p:sp>
        <p:nvSpPr>
          <p:cNvPr id="2" name="Title 1"/>
          <p:cNvSpPr>
            <a:spLocks noGrp="1"/>
          </p:cNvSpPr>
          <p:nvPr>
            <p:ph type="title" hasCustomPrompt="1"/>
          </p:nvPr>
        </p:nvSpPr>
        <p:spPr/>
        <p:txBody>
          <a:bodyPr anchor="t"/>
          <a:lstStyle>
            <a:lvl1pPr>
              <a:defRPr b="0">
                <a:solidFill>
                  <a:schemeClr val="tx1"/>
                </a:solidFill>
              </a:defRPr>
            </a:lvl1pPr>
          </a:lstStyle>
          <a:p>
            <a:r>
              <a:rPr lang="en-US"/>
              <a:t>Click to edit title</a:t>
            </a:r>
            <a:endParaRPr lang="nl-BE"/>
          </a:p>
        </p:txBody>
      </p:sp>
      <p:sp>
        <p:nvSpPr>
          <p:cNvPr id="11" name="Text Placeholder 2">
            <a:extLst>
              <a:ext uri="{FF2B5EF4-FFF2-40B4-BE49-F238E27FC236}">
                <a16:creationId xmlns:a16="http://schemas.microsoft.com/office/drawing/2014/main" id="{10193D06-FB5B-42EC-9101-F77EE2C16642}"/>
              </a:ext>
            </a:extLst>
          </p:cNvPr>
          <p:cNvSpPr>
            <a:spLocks noGrp="1"/>
          </p:cNvSpPr>
          <p:nvPr>
            <p:ph idx="1" hasCustomPrompt="1"/>
          </p:nvPr>
        </p:nvSpPr>
        <p:spPr>
          <a:xfrm>
            <a:off x="613835" y="1384299"/>
            <a:ext cx="4677672" cy="4972052"/>
          </a:xfrm>
          <a:prstGeom prst="rect">
            <a:avLst/>
          </a:prstGeom>
        </p:spPr>
        <p:txBody>
          <a:bodyPr vert="horz" lIns="0" tIns="0" rIns="0" bIns="0" numCol="1" spcCol="0" rtlCol="0" anchor="ctr" anchorCtr="0">
            <a:noAutofit/>
          </a:bodyPr>
          <a:lstStyle>
            <a:lvl1pPr>
              <a:lnSpc>
                <a:spcPct val="100000"/>
              </a:lnSpc>
              <a:spcAft>
                <a:spcPts val="800"/>
              </a:spcAft>
              <a:defRPr>
                <a:solidFill>
                  <a:schemeClr val="tx1"/>
                </a:solidFill>
              </a:defRPr>
            </a:lvl1pPr>
            <a:lvl2pPr>
              <a:lnSpc>
                <a:spcPct val="100000"/>
              </a:lnSpc>
              <a:spcAft>
                <a:spcPts val="800"/>
              </a:spcAft>
              <a:buClr>
                <a:schemeClr val="tx1"/>
              </a:buClr>
              <a:defRPr>
                <a:solidFill>
                  <a:schemeClr val="tx1"/>
                </a:solidFill>
              </a:defRPr>
            </a:lvl2pPr>
            <a:lvl3pPr>
              <a:lnSpc>
                <a:spcPct val="100000"/>
              </a:lnSpc>
              <a:spcAft>
                <a:spcPts val="800"/>
              </a:spcAft>
              <a:buClr>
                <a:schemeClr val="tx1"/>
              </a:buClr>
              <a:defRPr>
                <a:solidFill>
                  <a:schemeClr val="tx1"/>
                </a:solidFill>
              </a:defRPr>
            </a:lvl3pPr>
            <a:lvl4pPr>
              <a:lnSpc>
                <a:spcPct val="100000"/>
              </a:lnSpc>
              <a:spcAft>
                <a:spcPts val="800"/>
              </a:spcAft>
              <a:buClr>
                <a:schemeClr val="tx1"/>
              </a:buClr>
              <a:defRPr>
                <a:solidFill>
                  <a:schemeClr val="tx1"/>
                </a:solidFill>
              </a:defRPr>
            </a:lvl4pPr>
            <a:lvl5pPr>
              <a:lnSpc>
                <a:spcPct val="100000"/>
              </a:lnSpc>
              <a:spcAft>
                <a:spcPts val="800"/>
              </a:spcAft>
              <a:buClr>
                <a:schemeClr val="tx1"/>
              </a:buClr>
              <a:defRPr>
                <a:solidFill>
                  <a:schemeClr val="tx1"/>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nl-BE"/>
          </a:p>
        </p:txBody>
      </p:sp>
      <p:sp>
        <p:nvSpPr>
          <p:cNvPr id="5" name="Content Placeholder 13">
            <a:extLst>
              <a:ext uri="{FF2B5EF4-FFF2-40B4-BE49-F238E27FC236}">
                <a16:creationId xmlns:a16="http://schemas.microsoft.com/office/drawing/2014/main" id="{FB0AB100-9552-C884-2D08-BB98B9F62943}"/>
              </a:ext>
            </a:extLst>
          </p:cNvPr>
          <p:cNvSpPr>
            <a:spLocks noGrp="1"/>
          </p:cNvSpPr>
          <p:nvPr>
            <p:ph sz="quarter" idx="11" hasCustomPrompt="1"/>
          </p:nvPr>
        </p:nvSpPr>
        <p:spPr>
          <a:xfrm>
            <a:off x="6901751" y="1384299"/>
            <a:ext cx="4657367" cy="4972052"/>
          </a:xfrm>
        </p:spPr>
        <p:txBody>
          <a:bodyPr anchor="ctr"/>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a:t>Click to edit text</a:t>
            </a:r>
          </a:p>
          <a:p>
            <a:pPr lvl="1"/>
            <a:r>
              <a:rPr lang="en-GB"/>
              <a:t>Second level</a:t>
            </a:r>
          </a:p>
          <a:p>
            <a:pPr lvl="2"/>
            <a:r>
              <a:rPr lang="en-GB"/>
              <a:t>Third level</a:t>
            </a:r>
          </a:p>
          <a:p>
            <a:pPr lvl="3"/>
            <a:r>
              <a:rPr lang="en-GB"/>
              <a:t>Fourth level</a:t>
            </a:r>
          </a:p>
          <a:p>
            <a:pPr lvl="4"/>
            <a:r>
              <a:rPr lang="en-GB"/>
              <a:t>Fifth level</a:t>
            </a:r>
            <a:endParaRPr lang="en-BE"/>
          </a:p>
        </p:txBody>
      </p:sp>
    </p:spTree>
    <p:extLst>
      <p:ext uri="{BB962C8B-B14F-4D97-AF65-F5344CB8AC3E}">
        <p14:creationId xmlns:p14="http://schemas.microsoft.com/office/powerpoint/2010/main" val="400682327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Chapter picture">
    <p:bg>
      <p:bgPr>
        <a:solidFill>
          <a:schemeClr val="accent6"/>
        </a:solidFill>
        <a:effectLst/>
      </p:bgPr>
    </p:bg>
    <p:spTree>
      <p:nvGrpSpPr>
        <p:cNvPr id="1" name=""/>
        <p:cNvGrpSpPr/>
        <p:nvPr/>
      </p:nvGrpSpPr>
      <p:grpSpPr>
        <a:xfrm>
          <a:off x="0" y="0"/>
          <a:ext cx="0" cy="0"/>
          <a:chOff x="0" y="0"/>
          <a:chExt cx="0" cy="0"/>
        </a:xfrm>
      </p:grpSpPr>
      <p:sp>
        <p:nvSpPr>
          <p:cNvPr id="8" name="Picture Placeholder 25">
            <a:extLst>
              <a:ext uri="{FF2B5EF4-FFF2-40B4-BE49-F238E27FC236}">
                <a16:creationId xmlns:a16="http://schemas.microsoft.com/office/drawing/2014/main" id="{87CF0563-59F8-C629-E92C-1A2C7BC2E588}"/>
              </a:ext>
            </a:extLst>
          </p:cNvPr>
          <p:cNvSpPr>
            <a:spLocks noGrp="1"/>
          </p:cNvSpPr>
          <p:nvPr>
            <p:ph type="pic" sz="quarter" idx="16" hasCustomPrompt="1"/>
          </p:nvPr>
        </p:nvSpPr>
        <p:spPr>
          <a:xfrm>
            <a:off x="0" y="1"/>
            <a:ext cx="12192000" cy="6858003"/>
          </a:xfrm>
          <a:prstGeom prst="rect">
            <a:avLst/>
          </a:prstGeom>
          <a:solidFill>
            <a:schemeClr val="tx2">
              <a:lumMod val="50000"/>
            </a:schemeClr>
          </a:solidFill>
        </p:spPr>
        <p:txBody>
          <a:bodyPr anchor="ctr"/>
          <a:lstStyle>
            <a:lvl1pPr marL="0" indent="0" algn="ctr">
              <a:buNone/>
              <a:defRPr/>
            </a:lvl1pPr>
          </a:lstStyle>
          <a:p>
            <a:r>
              <a:rPr lang="en-BE"/>
              <a:t>Insert picture</a:t>
            </a:r>
          </a:p>
        </p:txBody>
      </p:sp>
      <p:sp>
        <p:nvSpPr>
          <p:cNvPr id="9" name="!!title_overlay">
            <a:extLst>
              <a:ext uri="{FF2B5EF4-FFF2-40B4-BE49-F238E27FC236}">
                <a16:creationId xmlns:a16="http://schemas.microsoft.com/office/drawing/2014/main" id="{120BF2AC-29AF-7575-2D73-A3D71E20CC2A}"/>
              </a:ext>
            </a:extLst>
          </p:cNvPr>
          <p:cNvSpPr>
            <a:spLocks noGrp="1"/>
          </p:cNvSpPr>
          <p:nvPr>
            <p:ph type="body" sz="quarter" idx="13"/>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80000">
                <a:schemeClr val="accent5">
                  <a:lumMod val="50000"/>
                  <a:alpha val="40000"/>
                </a:schemeClr>
              </a:gs>
              <a:gs pos="55000">
                <a:schemeClr val="tx1">
                  <a:alpha val="0"/>
                </a:schemeClr>
              </a:gs>
              <a:gs pos="95000">
                <a:schemeClr val="accent1">
                  <a:lumMod val="50000"/>
                  <a:alpha val="30035"/>
                </a:schemeClr>
              </a:gs>
            </a:gsLst>
            <a:path path="circle">
              <a:fillToRect r="100000" b="100000"/>
            </a:path>
          </a:gradFill>
        </p:spPr>
        <p:txBody>
          <a:bodyPr wrap="square" anchor="ctr">
            <a:noAutofit/>
          </a:bodyPr>
          <a:lstStyle>
            <a:lvl1pPr marL="0" indent="0" algn="ctr">
              <a:buNone/>
              <a:defRPr>
                <a:solidFill>
                  <a:schemeClr val="tx1">
                    <a:alpha val="0"/>
                  </a:schemeClr>
                </a:solidFill>
              </a:defRPr>
            </a:lvl1pPr>
          </a:lstStyle>
          <a:p>
            <a:pPr lvl="0"/>
            <a:r>
              <a:rPr lang="en-GB"/>
              <a:t>Click to edit Master text styles</a:t>
            </a:r>
          </a:p>
        </p:txBody>
      </p:sp>
      <p:sp>
        <p:nvSpPr>
          <p:cNvPr id="3" name="Title 1">
            <a:extLst>
              <a:ext uri="{FF2B5EF4-FFF2-40B4-BE49-F238E27FC236}">
                <a16:creationId xmlns:a16="http://schemas.microsoft.com/office/drawing/2014/main" id="{69D8B499-358C-D78C-14A7-AB22D5AB82EB}"/>
              </a:ext>
            </a:extLst>
          </p:cNvPr>
          <p:cNvSpPr>
            <a:spLocks noGrp="1"/>
          </p:cNvSpPr>
          <p:nvPr>
            <p:ph type="title" hasCustomPrompt="1"/>
          </p:nvPr>
        </p:nvSpPr>
        <p:spPr>
          <a:xfrm>
            <a:off x="697562" y="3429002"/>
            <a:ext cx="8343073" cy="2330929"/>
          </a:xfrm>
          <a:prstGeom prst="rect">
            <a:avLst/>
          </a:prstGeom>
        </p:spPr>
        <p:txBody>
          <a:bodyPr lIns="0" tIns="0" rIns="0" bIns="0">
            <a:noAutofit/>
          </a:bodyPr>
          <a:lstStyle>
            <a:lvl1pPr>
              <a:defRPr sz="7000" b="0" i="0">
                <a:solidFill>
                  <a:schemeClr val="bg1"/>
                </a:solidFill>
                <a:latin typeface="Codit Radikal Medium" pitchFamily="2" charset="77"/>
              </a:defRPr>
            </a:lvl1pPr>
          </a:lstStyle>
          <a:p>
            <a:r>
              <a:rPr lang="en-GB"/>
              <a:t>Click to edit title</a:t>
            </a:r>
            <a:endParaRPr lang="en-BE"/>
          </a:p>
        </p:txBody>
      </p:sp>
      <p:sp>
        <p:nvSpPr>
          <p:cNvPr id="4" name="!!line_triangle">
            <a:extLst>
              <a:ext uri="{FF2B5EF4-FFF2-40B4-BE49-F238E27FC236}">
                <a16:creationId xmlns:a16="http://schemas.microsoft.com/office/drawing/2014/main" id="{AE3434E2-E72A-0881-F5BD-C58EECA33A01}"/>
              </a:ext>
            </a:extLst>
          </p:cNvPr>
          <p:cNvSpPr>
            <a:spLocks noGrp="1"/>
          </p:cNvSpPr>
          <p:nvPr>
            <p:ph type="body" sz="quarter" idx="14"/>
          </p:nvPr>
        </p:nvSpPr>
        <p:spPr>
          <a:xfrm>
            <a:off x="4870869" y="-80637"/>
            <a:ext cx="7395475" cy="4282864"/>
          </a:xfrm>
          <a:custGeom>
            <a:avLst/>
            <a:gdLst>
              <a:gd name="connsiteX0" fmla="*/ 0 w 7198468"/>
              <a:gd name="connsiteY0" fmla="*/ 0 h 4168774"/>
              <a:gd name="connsiteX1" fmla="*/ 7198468 w 7198468"/>
              <a:gd name="connsiteY1" fmla="*/ 0 h 4168774"/>
              <a:gd name="connsiteX2" fmla="*/ 7198468 w 7198468"/>
              <a:gd name="connsiteY2" fmla="*/ 4168774 h 4168774"/>
              <a:gd name="connsiteX3" fmla="*/ 0 w 7198468"/>
              <a:gd name="connsiteY3" fmla="*/ 4168774 h 4168774"/>
              <a:gd name="connsiteX4" fmla="*/ 0 w 7198468"/>
              <a:gd name="connsiteY4" fmla="*/ 0 h 4168774"/>
              <a:gd name="connsiteX0" fmla="*/ 0 w 7198468"/>
              <a:gd name="connsiteY0" fmla="*/ 0 h 4168774"/>
              <a:gd name="connsiteX1" fmla="*/ 7198468 w 7198468"/>
              <a:gd name="connsiteY1" fmla="*/ 0 h 4168774"/>
              <a:gd name="connsiteX2" fmla="*/ 7198468 w 7198468"/>
              <a:gd name="connsiteY2" fmla="*/ 4168774 h 4168774"/>
              <a:gd name="connsiteX3" fmla="*/ 0 w 7198468"/>
              <a:gd name="connsiteY3" fmla="*/ 0 h 4168774"/>
            </a:gdLst>
            <a:ahLst/>
            <a:cxnLst>
              <a:cxn ang="0">
                <a:pos x="connsiteX0" y="connsiteY0"/>
              </a:cxn>
              <a:cxn ang="0">
                <a:pos x="connsiteX1" y="connsiteY1"/>
              </a:cxn>
              <a:cxn ang="0">
                <a:pos x="connsiteX2" y="connsiteY2"/>
              </a:cxn>
              <a:cxn ang="0">
                <a:pos x="connsiteX3" y="connsiteY3"/>
              </a:cxn>
            </a:cxnLst>
            <a:rect l="l" t="t" r="r" b="b"/>
            <a:pathLst>
              <a:path w="7198468" h="4168774">
                <a:moveTo>
                  <a:pt x="0" y="0"/>
                </a:moveTo>
                <a:lnTo>
                  <a:pt x="7198468" y="0"/>
                </a:lnTo>
                <a:lnTo>
                  <a:pt x="7198468" y="4168774"/>
                </a:lnTo>
                <a:lnTo>
                  <a:pt x="0" y="0"/>
                </a:lnTo>
                <a:close/>
              </a:path>
            </a:pathLst>
          </a:custGeom>
          <a:ln w="6350">
            <a:solidFill>
              <a:schemeClr val="accent1">
                <a:lumMod val="50000"/>
              </a:schemeClr>
            </a:solidFill>
          </a:ln>
        </p:spPr>
        <p:txBody>
          <a:bodyPr anchor="ctr"/>
          <a:lstStyle>
            <a:lvl1pPr marL="0" indent="0" algn="r">
              <a:buNone/>
              <a:defRPr sz="1600">
                <a:solidFill>
                  <a:schemeClr val="tx1">
                    <a:alpha val="0"/>
                  </a:schemeClr>
                </a:solidFill>
              </a:defRPr>
            </a:lvl1pPr>
          </a:lstStyle>
          <a:p>
            <a:pPr lvl="0"/>
            <a:r>
              <a:rPr lang="en-GB"/>
              <a:t>Click to edit Master text styles</a:t>
            </a:r>
          </a:p>
        </p:txBody>
      </p:sp>
      <p:sp>
        <p:nvSpPr>
          <p:cNvPr id="5" name="!!line_vertical">
            <a:extLst>
              <a:ext uri="{FF2B5EF4-FFF2-40B4-BE49-F238E27FC236}">
                <a16:creationId xmlns:a16="http://schemas.microsoft.com/office/drawing/2014/main" id="{084E7EF3-63C1-D82B-252F-DB1BF7DAF654}"/>
              </a:ext>
            </a:extLst>
          </p:cNvPr>
          <p:cNvSpPr>
            <a:spLocks noGrp="1"/>
          </p:cNvSpPr>
          <p:nvPr>
            <p:ph type="body" sz="quarter" idx="15"/>
          </p:nvPr>
        </p:nvSpPr>
        <p:spPr>
          <a:xfrm>
            <a:off x="9040635" y="-80639"/>
            <a:ext cx="3225711" cy="7027848"/>
          </a:xfrm>
          <a:prstGeom prst="rect">
            <a:avLst/>
          </a:prstGeom>
          <a:ln w="6350">
            <a:solidFill>
              <a:schemeClr val="accent1">
                <a:lumMod val="50000"/>
              </a:schemeClr>
            </a:solidFill>
          </a:ln>
        </p:spPr>
        <p:txBody>
          <a:bodyPr anchor="ctr"/>
          <a:lstStyle>
            <a:lvl1pPr marL="0" indent="0" algn="r">
              <a:buNone/>
              <a:defRPr sz="1600">
                <a:solidFill>
                  <a:schemeClr val="tx1">
                    <a:alpha val="0"/>
                  </a:schemeClr>
                </a:solidFill>
              </a:defRPr>
            </a:lvl1pPr>
          </a:lstStyle>
          <a:p>
            <a:pPr lvl="0"/>
            <a:r>
              <a:rPr lang="en-GB"/>
              <a:t>Click to edit Master text styles</a:t>
            </a:r>
          </a:p>
        </p:txBody>
      </p:sp>
      <p:sp>
        <p:nvSpPr>
          <p:cNvPr id="10" name="!!codit_logo">
            <a:extLst>
              <a:ext uri="{FF2B5EF4-FFF2-40B4-BE49-F238E27FC236}">
                <a16:creationId xmlns:a16="http://schemas.microsoft.com/office/drawing/2014/main" id="{16A13D02-CD44-5CEF-EDA7-3A15D9F9F8D5}"/>
              </a:ext>
            </a:extLst>
          </p:cNvPr>
          <p:cNvSpPr/>
          <p:nvPr userDrawn="1"/>
        </p:nvSpPr>
        <p:spPr>
          <a:xfrm>
            <a:off x="10614475" y="553847"/>
            <a:ext cx="882200" cy="436572"/>
          </a:xfrm>
          <a:custGeom>
            <a:avLst/>
            <a:gdLst>
              <a:gd name="connsiteX0" fmla="*/ 231865 w 990075"/>
              <a:gd name="connsiteY0" fmla="*/ 417890 h 489956"/>
              <a:gd name="connsiteX1" fmla="*/ 217557 w 990075"/>
              <a:gd name="connsiteY1" fmla="*/ 435395 h 489956"/>
              <a:gd name="connsiteX2" fmla="*/ 231865 w 990075"/>
              <a:gd name="connsiteY2" fmla="*/ 453106 h 489956"/>
              <a:gd name="connsiteX3" fmla="*/ 246310 w 990075"/>
              <a:gd name="connsiteY3" fmla="*/ 435395 h 489956"/>
              <a:gd name="connsiteX4" fmla="*/ 231865 w 990075"/>
              <a:gd name="connsiteY4" fmla="*/ 417890 h 489956"/>
              <a:gd name="connsiteX5" fmla="*/ 336930 w 990075"/>
              <a:gd name="connsiteY5" fmla="*/ 417822 h 489956"/>
              <a:gd name="connsiteX6" fmla="*/ 322076 w 990075"/>
              <a:gd name="connsiteY6" fmla="*/ 435464 h 489956"/>
              <a:gd name="connsiteX7" fmla="*/ 336930 w 990075"/>
              <a:gd name="connsiteY7" fmla="*/ 453106 h 489956"/>
              <a:gd name="connsiteX8" fmla="*/ 351784 w 990075"/>
              <a:gd name="connsiteY8" fmla="*/ 435464 h 489956"/>
              <a:gd name="connsiteX9" fmla="*/ 336930 w 990075"/>
              <a:gd name="connsiteY9" fmla="*/ 417822 h 489956"/>
              <a:gd name="connsiteX10" fmla="*/ 859188 w 990075"/>
              <a:gd name="connsiteY10" fmla="*/ 405220 h 489956"/>
              <a:gd name="connsiteX11" fmla="*/ 859256 w 990075"/>
              <a:gd name="connsiteY11" fmla="*/ 405220 h 489956"/>
              <a:gd name="connsiteX12" fmla="*/ 919215 w 990075"/>
              <a:gd name="connsiteY12" fmla="*/ 405220 h 489956"/>
              <a:gd name="connsiteX13" fmla="*/ 919215 w 990075"/>
              <a:gd name="connsiteY13" fmla="*/ 423407 h 489956"/>
              <a:gd name="connsiteX14" fmla="*/ 898297 w 990075"/>
              <a:gd name="connsiteY14" fmla="*/ 423407 h 489956"/>
              <a:gd name="connsiteX15" fmla="*/ 898297 w 990075"/>
              <a:gd name="connsiteY15" fmla="*/ 465775 h 489956"/>
              <a:gd name="connsiteX16" fmla="*/ 880105 w 990075"/>
              <a:gd name="connsiteY16" fmla="*/ 465775 h 489956"/>
              <a:gd name="connsiteX17" fmla="*/ 880105 w 990075"/>
              <a:gd name="connsiteY17" fmla="*/ 423407 h 489956"/>
              <a:gd name="connsiteX18" fmla="*/ 859188 w 990075"/>
              <a:gd name="connsiteY18" fmla="*/ 423407 h 489956"/>
              <a:gd name="connsiteX19" fmla="*/ 779537 w 990075"/>
              <a:gd name="connsiteY19" fmla="*/ 405220 h 489956"/>
              <a:gd name="connsiteX20" fmla="*/ 802363 w 990075"/>
              <a:gd name="connsiteY20" fmla="*/ 405220 h 489956"/>
              <a:gd name="connsiteX21" fmla="*/ 814763 w 990075"/>
              <a:gd name="connsiteY21" fmla="*/ 421636 h 489956"/>
              <a:gd name="connsiteX22" fmla="*/ 818034 w 990075"/>
              <a:gd name="connsiteY22" fmla="*/ 427698 h 489956"/>
              <a:gd name="connsiteX23" fmla="*/ 821304 w 990075"/>
              <a:gd name="connsiteY23" fmla="*/ 421568 h 489956"/>
              <a:gd name="connsiteX24" fmla="*/ 833705 w 990075"/>
              <a:gd name="connsiteY24" fmla="*/ 405220 h 489956"/>
              <a:gd name="connsiteX25" fmla="*/ 856530 w 990075"/>
              <a:gd name="connsiteY25" fmla="*/ 405220 h 489956"/>
              <a:gd name="connsiteX26" fmla="*/ 835817 w 990075"/>
              <a:gd name="connsiteY26" fmla="*/ 432603 h 489956"/>
              <a:gd name="connsiteX27" fmla="*/ 835817 w 990075"/>
              <a:gd name="connsiteY27" fmla="*/ 438393 h 489956"/>
              <a:gd name="connsiteX28" fmla="*/ 835681 w 990075"/>
              <a:gd name="connsiteY28" fmla="*/ 438324 h 489956"/>
              <a:gd name="connsiteX29" fmla="*/ 856462 w 990075"/>
              <a:gd name="connsiteY29" fmla="*/ 465707 h 489956"/>
              <a:gd name="connsiteX30" fmla="*/ 833637 w 990075"/>
              <a:gd name="connsiteY30" fmla="*/ 465707 h 489956"/>
              <a:gd name="connsiteX31" fmla="*/ 821236 w 990075"/>
              <a:gd name="connsiteY31" fmla="*/ 449291 h 489956"/>
              <a:gd name="connsiteX32" fmla="*/ 817966 w 990075"/>
              <a:gd name="connsiteY32" fmla="*/ 443229 h 489956"/>
              <a:gd name="connsiteX33" fmla="*/ 814695 w 990075"/>
              <a:gd name="connsiteY33" fmla="*/ 449359 h 489956"/>
              <a:gd name="connsiteX34" fmla="*/ 802295 w 990075"/>
              <a:gd name="connsiteY34" fmla="*/ 465775 h 489956"/>
              <a:gd name="connsiteX35" fmla="*/ 779469 w 990075"/>
              <a:gd name="connsiteY35" fmla="*/ 465775 h 489956"/>
              <a:gd name="connsiteX36" fmla="*/ 800251 w 990075"/>
              <a:gd name="connsiteY36" fmla="*/ 438393 h 489956"/>
              <a:gd name="connsiteX37" fmla="*/ 800251 w 990075"/>
              <a:gd name="connsiteY37" fmla="*/ 432603 h 489956"/>
              <a:gd name="connsiteX38" fmla="*/ 559324 w 990075"/>
              <a:gd name="connsiteY38" fmla="*/ 405220 h 489956"/>
              <a:gd name="connsiteX39" fmla="*/ 573837 w 990075"/>
              <a:gd name="connsiteY39" fmla="*/ 405220 h 489956"/>
              <a:gd name="connsiteX40" fmla="*/ 573837 w 990075"/>
              <a:gd name="connsiteY40" fmla="*/ 439891 h 489956"/>
              <a:gd name="connsiteX41" fmla="*/ 586374 w 990075"/>
              <a:gd name="connsiteY41" fmla="*/ 453106 h 489956"/>
              <a:gd name="connsiteX42" fmla="*/ 598910 w 990075"/>
              <a:gd name="connsiteY42" fmla="*/ 439891 h 489956"/>
              <a:gd name="connsiteX43" fmla="*/ 598910 w 990075"/>
              <a:gd name="connsiteY43" fmla="*/ 405220 h 489956"/>
              <a:gd name="connsiteX44" fmla="*/ 599047 w 990075"/>
              <a:gd name="connsiteY44" fmla="*/ 405220 h 489956"/>
              <a:gd name="connsiteX45" fmla="*/ 613560 w 990075"/>
              <a:gd name="connsiteY45" fmla="*/ 405220 h 489956"/>
              <a:gd name="connsiteX46" fmla="*/ 613560 w 990075"/>
              <a:gd name="connsiteY46" fmla="*/ 439891 h 489956"/>
              <a:gd name="connsiteX47" fmla="*/ 586442 w 990075"/>
              <a:gd name="connsiteY47" fmla="*/ 466865 h 489956"/>
              <a:gd name="connsiteX48" fmla="*/ 559324 w 990075"/>
              <a:gd name="connsiteY48" fmla="*/ 439891 h 489956"/>
              <a:gd name="connsiteX49" fmla="*/ 433546 w 990075"/>
              <a:gd name="connsiteY49" fmla="*/ 405220 h 489956"/>
              <a:gd name="connsiteX50" fmla="*/ 448059 w 990075"/>
              <a:gd name="connsiteY50" fmla="*/ 405220 h 489956"/>
              <a:gd name="connsiteX51" fmla="*/ 448059 w 990075"/>
              <a:gd name="connsiteY51" fmla="*/ 465775 h 489956"/>
              <a:gd name="connsiteX52" fmla="*/ 433546 w 990075"/>
              <a:gd name="connsiteY52" fmla="*/ 465775 h 489956"/>
              <a:gd name="connsiteX53" fmla="*/ 367523 w 990075"/>
              <a:gd name="connsiteY53" fmla="*/ 405220 h 489956"/>
              <a:gd name="connsiteX54" fmla="*/ 383739 w 990075"/>
              <a:gd name="connsiteY54" fmla="*/ 405220 h 489956"/>
              <a:gd name="connsiteX55" fmla="*/ 396753 w 990075"/>
              <a:gd name="connsiteY55" fmla="*/ 424701 h 489956"/>
              <a:gd name="connsiteX56" fmla="*/ 409767 w 990075"/>
              <a:gd name="connsiteY56" fmla="*/ 405220 h 489956"/>
              <a:gd name="connsiteX57" fmla="*/ 425847 w 990075"/>
              <a:gd name="connsiteY57" fmla="*/ 405220 h 489956"/>
              <a:gd name="connsiteX58" fmla="*/ 404725 w 990075"/>
              <a:gd name="connsiteY58" fmla="*/ 435259 h 489956"/>
              <a:gd name="connsiteX59" fmla="*/ 425847 w 990075"/>
              <a:gd name="connsiteY59" fmla="*/ 465775 h 489956"/>
              <a:gd name="connsiteX60" fmla="*/ 409767 w 990075"/>
              <a:gd name="connsiteY60" fmla="*/ 465775 h 489956"/>
              <a:gd name="connsiteX61" fmla="*/ 396685 w 990075"/>
              <a:gd name="connsiteY61" fmla="*/ 446090 h 489956"/>
              <a:gd name="connsiteX62" fmla="*/ 383603 w 990075"/>
              <a:gd name="connsiteY62" fmla="*/ 465775 h 489956"/>
              <a:gd name="connsiteX63" fmla="*/ 367523 w 990075"/>
              <a:gd name="connsiteY63" fmla="*/ 465775 h 489956"/>
              <a:gd name="connsiteX64" fmla="*/ 388781 w 990075"/>
              <a:gd name="connsiteY64" fmla="*/ 435259 h 489956"/>
              <a:gd name="connsiteX65" fmla="*/ 485942 w 990075"/>
              <a:gd name="connsiteY65" fmla="*/ 404198 h 489956"/>
              <a:gd name="connsiteX66" fmla="*/ 504407 w 990075"/>
              <a:gd name="connsiteY66" fmla="*/ 411691 h 489956"/>
              <a:gd name="connsiteX67" fmla="*/ 522667 w 990075"/>
              <a:gd name="connsiteY67" fmla="*/ 404198 h 489956"/>
              <a:gd name="connsiteX68" fmla="*/ 548218 w 990075"/>
              <a:gd name="connsiteY68" fmla="*/ 427290 h 489956"/>
              <a:gd name="connsiteX69" fmla="*/ 548286 w 990075"/>
              <a:gd name="connsiteY69" fmla="*/ 427290 h 489956"/>
              <a:gd name="connsiteX70" fmla="*/ 548286 w 990075"/>
              <a:gd name="connsiteY70" fmla="*/ 465843 h 489956"/>
              <a:gd name="connsiteX71" fmla="*/ 533773 w 990075"/>
              <a:gd name="connsiteY71" fmla="*/ 465843 h 489956"/>
              <a:gd name="connsiteX72" fmla="*/ 533773 w 990075"/>
              <a:gd name="connsiteY72" fmla="*/ 428311 h 489956"/>
              <a:gd name="connsiteX73" fmla="*/ 522735 w 990075"/>
              <a:gd name="connsiteY73" fmla="*/ 417958 h 489956"/>
              <a:gd name="connsiteX74" fmla="*/ 511493 w 990075"/>
              <a:gd name="connsiteY74" fmla="*/ 428311 h 489956"/>
              <a:gd name="connsiteX75" fmla="*/ 511493 w 990075"/>
              <a:gd name="connsiteY75" fmla="*/ 465843 h 489956"/>
              <a:gd name="connsiteX76" fmla="*/ 497048 w 990075"/>
              <a:gd name="connsiteY76" fmla="*/ 465843 h 489956"/>
              <a:gd name="connsiteX77" fmla="*/ 497048 w 990075"/>
              <a:gd name="connsiteY77" fmla="*/ 428311 h 489956"/>
              <a:gd name="connsiteX78" fmla="*/ 485806 w 990075"/>
              <a:gd name="connsiteY78" fmla="*/ 417958 h 489956"/>
              <a:gd name="connsiteX79" fmla="*/ 474768 w 990075"/>
              <a:gd name="connsiteY79" fmla="*/ 428311 h 489956"/>
              <a:gd name="connsiteX80" fmla="*/ 474768 w 990075"/>
              <a:gd name="connsiteY80" fmla="*/ 465843 h 489956"/>
              <a:gd name="connsiteX81" fmla="*/ 460255 w 990075"/>
              <a:gd name="connsiteY81" fmla="*/ 465843 h 489956"/>
              <a:gd name="connsiteX82" fmla="*/ 460255 w 990075"/>
              <a:gd name="connsiteY82" fmla="*/ 427290 h 489956"/>
              <a:gd name="connsiteX83" fmla="*/ 485942 w 990075"/>
              <a:gd name="connsiteY83" fmla="*/ 404198 h 489956"/>
              <a:gd name="connsiteX84" fmla="*/ 645379 w 990075"/>
              <a:gd name="connsiteY84" fmla="*/ 404130 h 489956"/>
              <a:gd name="connsiteX85" fmla="*/ 667387 w 990075"/>
              <a:gd name="connsiteY85" fmla="*/ 407400 h 489956"/>
              <a:gd name="connsiteX86" fmla="*/ 664661 w 990075"/>
              <a:gd name="connsiteY86" fmla="*/ 419865 h 489956"/>
              <a:gd name="connsiteX87" fmla="*/ 645311 w 990075"/>
              <a:gd name="connsiteY87" fmla="*/ 417004 h 489956"/>
              <a:gd name="connsiteX88" fmla="*/ 637816 w 990075"/>
              <a:gd name="connsiteY88" fmla="*/ 421159 h 489956"/>
              <a:gd name="connsiteX89" fmla="*/ 647627 w 990075"/>
              <a:gd name="connsiteY89" fmla="*/ 427630 h 489956"/>
              <a:gd name="connsiteX90" fmla="*/ 652056 w 990075"/>
              <a:gd name="connsiteY90" fmla="*/ 429265 h 489956"/>
              <a:gd name="connsiteX91" fmla="*/ 670793 w 990075"/>
              <a:gd name="connsiteY91" fmla="*/ 447861 h 489956"/>
              <a:gd name="connsiteX92" fmla="*/ 670657 w 990075"/>
              <a:gd name="connsiteY92" fmla="*/ 447929 h 489956"/>
              <a:gd name="connsiteX93" fmla="*/ 646673 w 990075"/>
              <a:gd name="connsiteY93" fmla="*/ 466865 h 489956"/>
              <a:gd name="connsiteX94" fmla="*/ 622349 w 990075"/>
              <a:gd name="connsiteY94" fmla="*/ 461552 h 489956"/>
              <a:gd name="connsiteX95" fmla="*/ 625756 w 990075"/>
              <a:gd name="connsiteY95" fmla="*/ 448882 h 489956"/>
              <a:gd name="connsiteX96" fmla="*/ 645992 w 990075"/>
              <a:gd name="connsiteY96" fmla="*/ 453855 h 489956"/>
              <a:gd name="connsiteX97" fmla="*/ 656144 w 990075"/>
              <a:gd name="connsiteY97" fmla="*/ 448337 h 489956"/>
              <a:gd name="connsiteX98" fmla="*/ 645243 w 990075"/>
              <a:gd name="connsiteY98" fmla="*/ 440777 h 489956"/>
              <a:gd name="connsiteX99" fmla="*/ 641086 w 990075"/>
              <a:gd name="connsiteY99" fmla="*/ 439210 h 489956"/>
              <a:gd name="connsiteX100" fmla="*/ 623235 w 990075"/>
              <a:gd name="connsiteY100" fmla="*/ 421840 h 489956"/>
              <a:gd name="connsiteX101" fmla="*/ 645379 w 990075"/>
              <a:gd name="connsiteY101" fmla="*/ 404130 h 489956"/>
              <a:gd name="connsiteX102" fmla="*/ 336930 w 990075"/>
              <a:gd name="connsiteY102" fmla="*/ 404130 h 489956"/>
              <a:gd name="connsiteX103" fmla="*/ 366433 w 990075"/>
              <a:gd name="connsiteY103" fmla="*/ 435395 h 489956"/>
              <a:gd name="connsiteX104" fmla="*/ 336930 w 990075"/>
              <a:gd name="connsiteY104" fmla="*/ 466865 h 489956"/>
              <a:gd name="connsiteX105" fmla="*/ 307427 w 990075"/>
              <a:gd name="connsiteY105" fmla="*/ 435395 h 489956"/>
              <a:gd name="connsiteX106" fmla="*/ 336930 w 990075"/>
              <a:gd name="connsiteY106" fmla="*/ 404130 h 489956"/>
              <a:gd name="connsiteX107" fmla="*/ 298161 w 990075"/>
              <a:gd name="connsiteY107" fmla="*/ 404130 h 489956"/>
              <a:gd name="connsiteX108" fmla="*/ 304089 w 990075"/>
              <a:gd name="connsiteY108" fmla="*/ 404675 h 489956"/>
              <a:gd name="connsiteX109" fmla="*/ 301636 w 990075"/>
              <a:gd name="connsiteY109" fmla="*/ 418571 h 489956"/>
              <a:gd name="connsiteX110" fmla="*/ 298093 w 990075"/>
              <a:gd name="connsiteY110" fmla="*/ 418367 h 489956"/>
              <a:gd name="connsiteX111" fmla="*/ 285897 w 990075"/>
              <a:gd name="connsiteY111" fmla="*/ 431377 h 489956"/>
              <a:gd name="connsiteX112" fmla="*/ 285897 w 990075"/>
              <a:gd name="connsiteY112" fmla="*/ 465843 h 489956"/>
              <a:gd name="connsiteX113" fmla="*/ 271384 w 990075"/>
              <a:gd name="connsiteY113" fmla="*/ 465843 h 489956"/>
              <a:gd name="connsiteX114" fmla="*/ 271384 w 990075"/>
              <a:gd name="connsiteY114" fmla="*/ 430287 h 489956"/>
              <a:gd name="connsiteX115" fmla="*/ 298161 w 990075"/>
              <a:gd name="connsiteY115" fmla="*/ 404198 h 489956"/>
              <a:gd name="connsiteX116" fmla="*/ 231865 w 990075"/>
              <a:gd name="connsiteY116" fmla="*/ 404130 h 489956"/>
              <a:gd name="connsiteX117" fmla="*/ 260959 w 990075"/>
              <a:gd name="connsiteY117" fmla="*/ 435395 h 489956"/>
              <a:gd name="connsiteX118" fmla="*/ 231865 w 990075"/>
              <a:gd name="connsiteY118" fmla="*/ 466865 h 489956"/>
              <a:gd name="connsiteX119" fmla="*/ 217557 w 990075"/>
              <a:gd name="connsiteY119" fmla="*/ 462778 h 489956"/>
              <a:gd name="connsiteX120" fmla="*/ 217557 w 990075"/>
              <a:gd name="connsiteY120" fmla="*/ 489956 h 489956"/>
              <a:gd name="connsiteX121" fmla="*/ 203044 w 990075"/>
              <a:gd name="connsiteY121" fmla="*/ 489956 h 489956"/>
              <a:gd name="connsiteX122" fmla="*/ 203044 w 990075"/>
              <a:gd name="connsiteY122" fmla="*/ 435055 h 489956"/>
              <a:gd name="connsiteX123" fmla="*/ 231865 w 990075"/>
              <a:gd name="connsiteY123" fmla="*/ 404130 h 489956"/>
              <a:gd name="connsiteX124" fmla="*/ 720191 w 990075"/>
              <a:gd name="connsiteY124" fmla="*/ 403313 h 489956"/>
              <a:gd name="connsiteX125" fmla="*/ 738588 w 990075"/>
              <a:gd name="connsiteY125" fmla="*/ 415029 h 489956"/>
              <a:gd name="connsiteX126" fmla="*/ 754123 w 990075"/>
              <a:gd name="connsiteY126" fmla="*/ 448269 h 489956"/>
              <a:gd name="connsiteX127" fmla="*/ 756031 w 990075"/>
              <a:gd name="connsiteY127" fmla="*/ 449495 h 489956"/>
              <a:gd name="connsiteX128" fmla="*/ 758143 w 990075"/>
              <a:gd name="connsiteY128" fmla="*/ 447384 h 489956"/>
              <a:gd name="connsiteX129" fmla="*/ 758143 w 990075"/>
              <a:gd name="connsiteY129" fmla="*/ 405220 h 489956"/>
              <a:gd name="connsiteX130" fmla="*/ 776335 w 990075"/>
              <a:gd name="connsiteY130" fmla="*/ 405220 h 489956"/>
              <a:gd name="connsiteX131" fmla="*/ 776335 w 990075"/>
              <a:gd name="connsiteY131" fmla="*/ 447384 h 489956"/>
              <a:gd name="connsiteX132" fmla="*/ 756031 w 990075"/>
              <a:gd name="connsiteY132" fmla="*/ 467682 h 489956"/>
              <a:gd name="connsiteX133" fmla="*/ 737634 w 990075"/>
              <a:gd name="connsiteY133" fmla="*/ 455966 h 489956"/>
              <a:gd name="connsiteX134" fmla="*/ 722099 w 990075"/>
              <a:gd name="connsiteY134" fmla="*/ 422726 h 489956"/>
              <a:gd name="connsiteX135" fmla="*/ 720191 w 990075"/>
              <a:gd name="connsiteY135" fmla="*/ 421500 h 489956"/>
              <a:gd name="connsiteX136" fmla="*/ 718079 w 990075"/>
              <a:gd name="connsiteY136" fmla="*/ 423611 h 489956"/>
              <a:gd name="connsiteX137" fmla="*/ 718079 w 990075"/>
              <a:gd name="connsiteY137" fmla="*/ 465775 h 489956"/>
              <a:gd name="connsiteX138" fmla="*/ 699887 w 990075"/>
              <a:gd name="connsiteY138" fmla="*/ 465775 h 489956"/>
              <a:gd name="connsiteX139" fmla="*/ 699887 w 990075"/>
              <a:gd name="connsiteY139" fmla="*/ 423611 h 489956"/>
              <a:gd name="connsiteX140" fmla="*/ 720191 w 990075"/>
              <a:gd name="connsiteY140" fmla="*/ 403313 h 489956"/>
              <a:gd name="connsiteX141" fmla="*/ 544947 w 990075"/>
              <a:gd name="connsiteY141" fmla="*/ 146517 h 489956"/>
              <a:gd name="connsiteX142" fmla="*/ 502430 w 990075"/>
              <a:gd name="connsiteY142" fmla="*/ 218515 h 489956"/>
              <a:gd name="connsiteX143" fmla="*/ 544947 w 990075"/>
              <a:gd name="connsiteY143" fmla="*/ 290990 h 489956"/>
              <a:gd name="connsiteX144" fmla="*/ 588008 w 990075"/>
              <a:gd name="connsiteY144" fmla="*/ 218515 h 489956"/>
              <a:gd name="connsiteX145" fmla="*/ 544947 w 990075"/>
              <a:gd name="connsiteY145" fmla="*/ 146517 h 489956"/>
              <a:gd name="connsiteX146" fmla="*/ 307495 w 990075"/>
              <a:gd name="connsiteY146" fmla="*/ 146517 h 489956"/>
              <a:gd name="connsiteX147" fmla="*/ 278469 w 990075"/>
              <a:gd name="connsiteY147" fmla="*/ 157620 h 489956"/>
              <a:gd name="connsiteX148" fmla="*/ 263956 w 990075"/>
              <a:gd name="connsiteY148" fmla="*/ 218515 h 489956"/>
              <a:gd name="connsiteX149" fmla="*/ 278469 w 990075"/>
              <a:gd name="connsiteY149" fmla="*/ 279887 h 489956"/>
              <a:gd name="connsiteX150" fmla="*/ 307495 w 990075"/>
              <a:gd name="connsiteY150" fmla="*/ 290990 h 489956"/>
              <a:gd name="connsiteX151" fmla="*/ 336998 w 990075"/>
              <a:gd name="connsiteY151" fmla="*/ 279887 h 489956"/>
              <a:gd name="connsiteX152" fmla="*/ 351510 w 990075"/>
              <a:gd name="connsiteY152" fmla="*/ 218515 h 489956"/>
              <a:gd name="connsiteX153" fmla="*/ 336998 w 990075"/>
              <a:gd name="connsiteY153" fmla="*/ 157620 h 489956"/>
              <a:gd name="connsiteX154" fmla="*/ 307495 w 990075"/>
              <a:gd name="connsiteY154" fmla="*/ 146517 h 489956"/>
              <a:gd name="connsiteX155" fmla="*/ 697229 w 990075"/>
              <a:gd name="connsiteY155" fmla="*/ 92910 h 489956"/>
              <a:gd name="connsiteX156" fmla="*/ 760118 w 990075"/>
              <a:gd name="connsiteY156" fmla="*/ 92910 h 489956"/>
              <a:gd name="connsiteX157" fmla="*/ 760118 w 990075"/>
              <a:gd name="connsiteY157" fmla="*/ 344733 h 489956"/>
              <a:gd name="connsiteX158" fmla="*/ 697229 w 990075"/>
              <a:gd name="connsiteY158" fmla="*/ 344733 h 489956"/>
              <a:gd name="connsiteX159" fmla="*/ 307495 w 990075"/>
              <a:gd name="connsiteY159" fmla="*/ 89913 h 489956"/>
              <a:gd name="connsiteX160" fmla="*/ 385851 w 990075"/>
              <a:gd name="connsiteY160" fmla="*/ 120837 h 489956"/>
              <a:gd name="connsiteX161" fmla="*/ 414399 w 990075"/>
              <a:gd name="connsiteY161" fmla="*/ 218515 h 489956"/>
              <a:gd name="connsiteX162" fmla="*/ 385851 w 990075"/>
              <a:gd name="connsiteY162" fmla="*/ 316670 h 489956"/>
              <a:gd name="connsiteX163" fmla="*/ 307495 w 990075"/>
              <a:gd name="connsiteY163" fmla="*/ 347594 h 489956"/>
              <a:gd name="connsiteX164" fmla="*/ 229616 w 990075"/>
              <a:gd name="connsiteY164" fmla="*/ 316670 h 489956"/>
              <a:gd name="connsiteX165" fmla="*/ 201067 w 990075"/>
              <a:gd name="connsiteY165" fmla="*/ 218515 h 489956"/>
              <a:gd name="connsiteX166" fmla="*/ 229616 w 990075"/>
              <a:gd name="connsiteY166" fmla="*/ 120837 h 489956"/>
              <a:gd name="connsiteX167" fmla="*/ 307495 w 990075"/>
              <a:gd name="connsiteY167" fmla="*/ 89913 h 489956"/>
              <a:gd name="connsiteX168" fmla="*/ 112696 w 990075"/>
              <a:gd name="connsiteY168" fmla="*/ 89913 h 489956"/>
              <a:gd name="connsiteX169" fmla="*/ 195889 w 990075"/>
              <a:gd name="connsiteY169" fmla="*/ 123766 h 489956"/>
              <a:gd name="connsiteX170" fmla="*/ 153373 w 990075"/>
              <a:gd name="connsiteY170" fmla="*/ 166270 h 489956"/>
              <a:gd name="connsiteX171" fmla="*/ 112764 w 990075"/>
              <a:gd name="connsiteY171" fmla="*/ 146449 h 489956"/>
              <a:gd name="connsiteX172" fmla="*/ 76993 w 990075"/>
              <a:gd name="connsiteY172" fmla="*/ 162865 h 489956"/>
              <a:gd name="connsiteX173" fmla="*/ 62957 w 990075"/>
              <a:gd name="connsiteY173" fmla="*/ 218447 h 489956"/>
              <a:gd name="connsiteX174" fmla="*/ 76993 w 990075"/>
              <a:gd name="connsiteY174" fmla="*/ 274506 h 489956"/>
              <a:gd name="connsiteX175" fmla="*/ 112764 w 990075"/>
              <a:gd name="connsiteY175" fmla="*/ 290922 h 489956"/>
              <a:gd name="connsiteX176" fmla="*/ 153373 w 990075"/>
              <a:gd name="connsiteY176" fmla="*/ 271100 h 489956"/>
              <a:gd name="connsiteX177" fmla="*/ 195889 w 990075"/>
              <a:gd name="connsiteY177" fmla="*/ 313128 h 489956"/>
              <a:gd name="connsiteX178" fmla="*/ 112696 w 990075"/>
              <a:gd name="connsiteY178" fmla="*/ 347458 h 489956"/>
              <a:gd name="connsiteX179" fmla="*/ 112696 w 990075"/>
              <a:gd name="connsiteY179" fmla="*/ 347594 h 489956"/>
              <a:gd name="connsiteX180" fmla="*/ 0 w 990075"/>
              <a:gd name="connsiteY180" fmla="*/ 218515 h 489956"/>
              <a:gd name="connsiteX181" fmla="*/ 112696 w 990075"/>
              <a:gd name="connsiteY181" fmla="*/ 89913 h 489956"/>
              <a:gd name="connsiteX182" fmla="*/ 811765 w 990075"/>
              <a:gd name="connsiteY182" fmla="*/ 25680 h 489956"/>
              <a:gd name="connsiteX183" fmla="*/ 874654 w 990075"/>
              <a:gd name="connsiteY183" fmla="*/ 25680 h 489956"/>
              <a:gd name="connsiteX184" fmla="*/ 874654 w 990075"/>
              <a:gd name="connsiteY184" fmla="*/ 100130 h 489956"/>
              <a:gd name="connsiteX185" fmla="*/ 919146 w 990075"/>
              <a:gd name="connsiteY185" fmla="*/ 100130 h 489956"/>
              <a:gd name="connsiteX186" fmla="*/ 919146 w 990075"/>
              <a:gd name="connsiteY186" fmla="*/ 148015 h 489956"/>
              <a:gd name="connsiteX187" fmla="*/ 874654 w 990075"/>
              <a:gd name="connsiteY187" fmla="*/ 148015 h 489956"/>
              <a:gd name="connsiteX188" fmla="*/ 874654 w 990075"/>
              <a:gd name="connsiteY188" fmla="*/ 268852 h 489956"/>
              <a:gd name="connsiteX189" fmla="*/ 896389 w 990075"/>
              <a:gd name="connsiteY189" fmla="*/ 291603 h 489956"/>
              <a:gd name="connsiteX190" fmla="*/ 919146 w 990075"/>
              <a:gd name="connsiteY190" fmla="*/ 291603 h 489956"/>
              <a:gd name="connsiteX191" fmla="*/ 919146 w 990075"/>
              <a:gd name="connsiteY191" fmla="*/ 344801 h 489956"/>
              <a:gd name="connsiteX192" fmla="*/ 884806 w 990075"/>
              <a:gd name="connsiteY192" fmla="*/ 344801 h 489956"/>
              <a:gd name="connsiteX193" fmla="*/ 884806 w 990075"/>
              <a:gd name="connsiteY193" fmla="*/ 344733 h 489956"/>
              <a:gd name="connsiteX194" fmla="*/ 811765 w 990075"/>
              <a:gd name="connsiteY194" fmla="*/ 272735 h 489956"/>
              <a:gd name="connsiteX195" fmla="*/ 811765 w 990075"/>
              <a:gd name="connsiteY195" fmla="*/ 148015 h 489956"/>
              <a:gd name="connsiteX196" fmla="*/ 785192 w 990075"/>
              <a:gd name="connsiteY196" fmla="*/ 148015 h 489956"/>
              <a:gd name="connsiteX197" fmla="*/ 785192 w 990075"/>
              <a:gd name="connsiteY197" fmla="*/ 100130 h 489956"/>
              <a:gd name="connsiteX198" fmla="*/ 811765 w 990075"/>
              <a:gd name="connsiteY198" fmla="*/ 100130 h 489956"/>
              <a:gd name="connsiteX199" fmla="*/ 976380 w 990075"/>
              <a:gd name="connsiteY199" fmla="*/ 68 h 489956"/>
              <a:gd name="connsiteX200" fmla="*/ 990075 w 990075"/>
              <a:gd name="connsiteY200" fmla="*/ 68 h 489956"/>
              <a:gd name="connsiteX201" fmla="*/ 990075 w 990075"/>
              <a:gd name="connsiteY201" fmla="*/ 344733 h 489956"/>
              <a:gd name="connsiteX202" fmla="*/ 976380 w 990075"/>
              <a:gd name="connsiteY202" fmla="*/ 344733 h 489956"/>
              <a:gd name="connsiteX203" fmla="*/ 696275 w 990075"/>
              <a:gd name="connsiteY203" fmla="*/ 68 h 489956"/>
              <a:gd name="connsiteX204" fmla="*/ 760595 w 990075"/>
              <a:gd name="connsiteY204" fmla="*/ 68 h 489956"/>
              <a:gd name="connsiteX205" fmla="*/ 760595 w 990075"/>
              <a:gd name="connsiteY205" fmla="*/ 49861 h 489956"/>
              <a:gd name="connsiteX206" fmla="*/ 696275 w 990075"/>
              <a:gd name="connsiteY206" fmla="*/ 49861 h 489956"/>
              <a:gd name="connsiteX207" fmla="*/ 588008 w 990075"/>
              <a:gd name="connsiteY207" fmla="*/ 0 h 489956"/>
              <a:gd name="connsiteX208" fmla="*/ 650897 w 990075"/>
              <a:gd name="connsiteY208" fmla="*/ 0 h 489956"/>
              <a:gd name="connsiteX209" fmla="*/ 650897 w 990075"/>
              <a:gd name="connsiteY209" fmla="*/ 344665 h 489956"/>
              <a:gd name="connsiteX210" fmla="*/ 589507 w 990075"/>
              <a:gd name="connsiteY210" fmla="*/ 344665 h 489956"/>
              <a:gd name="connsiteX211" fmla="*/ 589439 w 990075"/>
              <a:gd name="connsiteY211" fmla="*/ 344733 h 489956"/>
              <a:gd name="connsiteX212" fmla="*/ 589439 w 990075"/>
              <a:gd name="connsiteY212" fmla="*/ 321029 h 489956"/>
              <a:gd name="connsiteX213" fmla="*/ 527095 w 990075"/>
              <a:gd name="connsiteY213" fmla="*/ 347594 h 489956"/>
              <a:gd name="connsiteX214" fmla="*/ 465228 w 990075"/>
              <a:gd name="connsiteY214" fmla="*/ 324843 h 489956"/>
              <a:gd name="connsiteX215" fmla="*/ 439609 w 990075"/>
              <a:gd name="connsiteY215" fmla="*/ 218515 h 489956"/>
              <a:gd name="connsiteX216" fmla="*/ 465228 w 990075"/>
              <a:gd name="connsiteY216" fmla="*/ 112663 h 489956"/>
              <a:gd name="connsiteX217" fmla="*/ 526618 w 990075"/>
              <a:gd name="connsiteY217" fmla="*/ 89913 h 489956"/>
              <a:gd name="connsiteX218" fmla="*/ 588008 w 990075"/>
              <a:gd name="connsiteY218" fmla="*/ 115047 h 489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Lst>
            <a:rect l="l" t="t" r="r" b="b"/>
            <a:pathLst>
              <a:path w="990075" h="489956">
                <a:moveTo>
                  <a:pt x="231865" y="417890"/>
                </a:moveTo>
                <a:cubicBezTo>
                  <a:pt x="223144" y="417890"/>
                  <a:pt x="217557" y="422862"/>
                  <a:pt x="217557" y="435395"/>
                </a:cubicBezTo>
                <a:cubicBezTo>
                  <a:pt x="217557" y="447929"/>
                  <a:pt x="223144" y="453106"/>
                  <a:pt x="231865" y="453106"/>
                </a:cubicBezTo>
                <a:cubicBezTo>
                  <a:pt x="240723" y="453106"/>
                  <a:pt x="246310" y="447724"/>
                  <a:pt x="246310" y="435395"/>
                </a:cubicBezTo>
                <a:cubicBezTo>
                  <a:pt x="246310" y="423067"/>
                  <a:pt x="240587" y="417890"/>
                  <a:pt x="231865" y="417890"/>
                </a:cubicBezTo>
                <a:close/>
                <a:moveTo>
                  <a:pt x="336930" y="417822"/>
                </a:moveTo>
                <a:cubicBezTo>
                  <a:pt x="328209" y="417822"/>
                  <a:pt x="322076" y="422998"/>
                  <a:pt x="322076" y="435464"/>
                </a:cubicBezTo>
                <a:cubicBezTo>
                  <a:pt x="322076" y="447929"/>
                  <a:pt x="328209" y="453106"/>
                  <a:pt x="336930" y="453106"/>
                </a:cubicBezTo>
                <a:cubicBezTo>
                  <a:pt x="345515" y="453106"/>
                  <a:pt x="351784" y="447929"/>
                  <a:pt x="351784" y="435464"/>
                </a:cubicBezTo>
                <a:cubicBezTo>
                  <a:pt x="351784" y="422998"/>
                  <a:pt x="345651" y="417822"/>
                  <a:pt x="336930" y="417822"/>
                </a:cubicBezTo>
                <a:close/>
                <a:moveTo>
                  <a:pt x="859188" y="405220"/>
                </a:moveTo>
                <a:lnTo>
                  <a:pt x="859256" y="405220"/>
                </a:lnTo>
                <a:lnTo>
                  <a:pt x="919215" y="405220"/>
                </a:lnTo>
                <a:lnTo>
                  <a:pt x="919215" y="423407"/>
                </a:lnTo>
                <a:lnTo>
                  <a:pt x="898297" y="423407"/>
                </a:lnTo>
                <a:lnTo>
                  <a:pt x="898297" y="465775"/>
                </a:lnTo>
                <a:lnTo>
                  <a:pt x="880105" y="465775"/>
                </a:lnTo>
                <a:lnTo>
                  <a:pt x="880105" y="423407"/>
                </a:lnTo>
                <a:lnTo>
                  <a:pt x="859188" y="423407"/>
                </a:lnTo>
                <a:close/>
                <a:moveTo>
                  <a:pt x="779537" y="405220"/>
                </a:moveTo>
                <a:lnTo>
                  <a:pt x="802363" y="405220"/>
                </a:lnTo>
                <a:lnTo>
                  <a:pt x="814763" y="421636"/>
                </a:lnTo>
                <a:cubicBezTo>
                  <a:pt x="816194" y="423475"/>
                  <a:pt x="817284" y="425519"/>
                  <a:pt x="818034" y="427698"/>
                </a:cubicBezTo>
                <a:cubicBezTo>
                  <a:pt x="818783" y="425519"/>
                  <a:pt x="819873" y="423475"/>
                  <a:pt x="821304" y="421568"/>
                </a:cubicBezTo>
                <a:lnTo>
                  <a:pt x="833705" y="405220"/>
                </a:lnTo>
                <a:lnTo>
                  <a:pt x="856530" y="405220"/>
                </a:lnTo>
                <a:lnTo>
                  <a:pt x="835817" y="432603"/>
                </a:lnTo>
                <a:cubicBezTo>
                  <a:pt x="834523" y="434306"/>
                  <a:pt x="834523" y="436690"/>
                  <a:pt x="835817" y="438393"/>
                </a:cubicBezTo>
                <a:lnTo>
                  <a:pt x="835681" y="438324"/>
                </a:lnTo>
                <a:lnTo>
                  <a:pt x="856462" y="465707"/>
                </a:lnTo>
                <a:lnTo>
                  <a:pt x="833637" y="465707"/>
                </a:lnTo>
                <a:lnTo>
                  <a:pt x="821236" y="449291"/>
                </a:lnTo>
                <a:cubicBezTo>
                  <a:pt x="819805" y="447452"/>
                  <a:pt x="818715" y="445408"/>
                  <a:pt x="817966" y="443229"/>
                </a:cubicBezTo>
                <a:cubicBezTo>
                  <a:pt x="817216" y="445408"/>
                  <a:pt x="816126" y="447452"/>
                  <a:pt x="814695" y="449359"/>
                </a:cubicBezTo>
                <a:lnTo>
                  <a:pt x="802295" y="465775"/>
                </a:lnTo>
                <a:lnTo>
                  <a:pt x="779469" y="465775"/>
                </a:lnTo>
                <a:lnTo>
                  <a:pt x="800251" y="438393"/>
                </a:lnTo>
                <a:cubicBezTo>
                  <a:pt x="801545" y="436690"/>
                  <a:pt x="801545" y="434306"/>
                  <a:pt x="800251" y="432603"/>
                </a:cubicBezTo>
                <a:close/>
                <a:moveTo>
                  <a:pt x="559324" y="405220"/>
                </a:moveTo>
                <a:lnTo>
                  <a:pt x="573837" y="405220"/>
                </a:lnTo>
                <a:lnTo>
                  <a:pt x="573837" y="439891"/>
                </a:lnTo>
                <a:cubicBezTo>
                  <a:pt x="573837" y="449904"/>
                  <a:pt x="579424" y="453106"/>
                  <a:pt x="586374" y="453106"/>
                </a:cubicBezTo>
                <a:cubicBezTo>
                  <a:pt x="593323" y="453106"/>
                  <a:pt x="598910" y="449904"/>
                  <a:pt x="598910" y="439891"/>
                </a:cubicBezTo>
                <a:lnTo>
                  <a:pt x="598910" y="405220"/>
                </a:lnTo>
                <a:lnTo>
                  <a:pt x="599047" y="405220"/>
                </a:lnTo>
                <a:lnTo>
                  <a:pt x="613560" y="405220"/>
                </a:lnTo>
                <a:lnTo>
                  <a:pt x="613560" y="439891"/>
                </a:lnTo>
                <a:cubicBezTo>
                  <a:pt x="613560" y="457942"/>
                  <a:pt x="604293" y="466865"/>
                  <a:pt x="586442" y="466865"/>
                </a:cubicBezTo>
                <a:cubicBezTo>
                  <a:pt x="568590" y="466865"/>
                  <a:pt x="559324" y="457942"/>
                  <a:pt x="559324" y="439891"/>
                </a:cubicBezTo>
                <a:close/>
                <a:moveTo>
                  <a:pt x="433546" y="405220"/>
                </a:moveTo>
                <a:lnTo>
                  <a:pt x="448059" y="405220"/>
                </a:lnTo>
                <a:lnTo>
                  <a:pt x="448059" y="465775"/>
                </a:lnTo>
                <a:lnTo>
                  <a:pt x="433546" y="465775"/>
                </a:lnTo>
                <a:close/>
                <a:moveTo>
                  <a:pt x="367523" y="405220"/>
                </a:moveTo>
                <a:lnTo>
                  <a:pt x="383739" y="405220"/>
                </a:lnTo>
                <a:lnTo>
                  <a:pt x="396753" y="424701"/>
                </a:lnTo>
                <a:lnTo>
                  <a:pt x="409767" y="405220"/>
                </a:lnTo>
                <a:lnTo>
                  <a:pt x="425847" y="405220"/>
                </a:lnTo>
                <a:lnTo>
                  <a:pt x="404725" y="435259"/>
                </a:lnTo>
                <a:lnTo>
                  <a:pt x="425847" y="465775"/>
                </a:lnTo>
                <a:lnTo>
                  <a:pt x="409767" y="465775"/>
                </a:lnTo>
                <a:lnTo>
                  <a:pt x="396685" y="446090"/>
                </a:lnTo>
                <a:lnTo>
                  <a:pt x="383603" y="465775"/>
                </a:lnTo>
                <a:lnTo>
                  <a:pt x="367523" y="465775"/>
                </a:lnTo>
                <a:lnTo>
                  <a:pt x="388781" y="435259"/>
                </a:lnTo>
                <a:close/>
                <a:moveTo>
                  <a:pt x="485942" y="404198"/>
                </a:moveTo>
                <a:cubicBezTo>
                  <a:pt x="500182" y="404198"/>
                  <a:pt x="499842" y="406923"/>
                  <a:pt x="504407" y="411691"/>
                </a:cubicBezTo>
                <a:cubicBezTo>
                  <a:pt x="508699" y="406923"/>
                  <a:pt x="516194" y="404198"/>
                  <a:pt x="522667" y="404198"/>
                </a:cubicBezTo>
                <a:cubicBezTo>
                  <a:pt x="536090" y="404198"/>
                  <a:pt x="548218" y="410806"/>
                  <a:pt x="548218" y="427290"/>
                </a:cubicBezTo>
                <a:lnTo>
                  <a:pt x="548286" y="427290"/>
                </a:lnTo>
                <a:lnTo>
                  <a:pt x="548286" y="465843"/>
                </a:lnTo>
                <a:lnTo>
                  <a:pt x="533773" y="465843"/>
                </a:lnTo>
                <a:lnTo>
                  <a:pt x="533773" y="428311"/>
                </a:lnTo>
                <a:cubicBezTo>
                  <a:pt x="533773" y="421364"/>
                  <a:pt x="530366" y="417958"/>
                  <a:pt x="522735" y="417958"/>
                </a:cubicBezTo>
                <a:cubicBezTo>
                  <a:pt x="515104" y="417958"/>
                  <a:pt x="511493" y="422113"/>
                  <a:pt x="511493" y="428311"/>
                </a:cubicBezTo>
                <a:lnTo>
                  <a:pt x="511493" y="465843"/>
                </a:lnTo>
                <a:lnTo>
                  <a:pt x="497048" y="465843"/>
                </a:lnTo>
                <a:lnTo>
                  <a:pt x="497048" y="428311"/>
                </a:lnTo>
                <a:cubicBezTo>
                  <a:pt x="497048" y="421364"/>
                  <a:pt x="493641" y="417958"/>
                  <a:pt x="485806" y="417958"/>
                </a:cubicBezTo>
                <a:cubicBezTo>
                  <a:pt x="477970" y="417958"/>
                  <a:pt x="474768" y="422113"/>
                  <a:pt x="474768" y="428311"/>
                </a:cubicBezTo>
                <a:lnTo>
                  <a:pt x="474768" y="465843"/>
                </a:lnTo>
                <a:lnTo>
                  <a:pt x="460255" y="465843"/>
                </a:lnTo>
                <a:lnTo>
                  <a:pt x="460255" y="427290"/>
                </a:lnTo>
                <a:cubicBezTo>
                  <a:pt x="460255" y="411896"/>
                  <a:pt x="471702" y="404198"/>
                  <a:pt x="485942" y="404198"/>
                </a:cubicBezTo>
                <a:close/>
                <a:moveTo>
                  <a:pt x="645379" y="404130"/>
                </a:moveTo>
                <a:cubicBezTo>
                  <a:pt x="663367" y="404130"/>
                  <a:pt x="663094" y="405970"/>
                  <a:pt x="667387" y="407400"/>
                </a:cubicBezTo>
                <a:lnTo>
                  <a:pt x="664661" y="419865"/>
                </a:lnTo>
                <a:cubicBezTo>
                  <a:pt x="660028" y="418639"/>
                  <a:pt x="651034" y="417004"/>
                  <a:pt x="645311" y="417004"/>
                </a:cubicBezTo>
                <a:cubicBezTo>
                  <a:pt x="639587" y="417004"/>
                  <a:pt x="637816" y="418094"/>
                  <a:pt x="637816" y="421159"/>
                </a:cubicBezTo>
                <a:cubicBezTo>
                  <a:pt x="637816" y="424225"/>
                  <a:pt x="639792" y="424769"/>
                  <a:pt x="647627" y="427630"/>
                </a:cubicBezTo>
                <a:lnTo>
                  <a:pt x="652056" y="429265"/>
                </a:lnTo>
                <a:cubicBezTo>
                  <a:pt x="665411" y="434101"/>
                  <a:pt x="670793" y="438188"/>
                  <a:pt x="670793" y="447861"/>
                </a:cubicBezTo>
                <a:lnTo>
                  <a:pt x="670657" y="447929"/>
                </a:lnTo>
                <a:cubicBezTo>
                  <a:pt x="670657" y="458350"/>
                  <a:pt x="664729" y="466865"/>
                  <a:pt x="646673" y="466865"/>
                </a:cubicBezTo>
                <a:cubicBezTo>
                  <a:pt x="628617" y="466865"/>
                  <a:pt x="628958" y="464753"/>
                  <a:pt x="622349" y="461552"/>
                </a:cubicBezTo>
                <a:lnTo>
                  <a:pt x="625756" y="448882"/>
                </a:lnTo>
                <a:cubicBezTo>
                  <a:pt x="632706" y="451743"/>
                  <a:pt x="639178" y="453855"/>
                  <a:pt x="645992" y="453855"/>
                </a:cubicBezTo>
                <a:cubicBezTo>
                  <a:pt x="652806" y="453855"/>
                  <a:pt x="656144" y="451539"/>
                  <a:pt x="656144" y="448337"/>
                </a:cubicBezTo>
                <a:cubicBezTo>
                  <a:pt x="656144" y="445136"/>
                  <a:pt x="652533" y="443365"/>
                  <a:pt x="645243" y="440777"/>
                </a:cubicBezTo>
                <a:lnTo>
                  <a:pt x="641086" y="439210"/>
                </a:lnTo>
                <a:cubicBezTo>
                  <a:pt x="628413" y="434714"/>
                  <a:pt x="623235" y="431649"/>
                  <a:pt x="623235" y="421840"/>
                </a:cubicBezTo>
                <a:cubicBezTo>
                  <a:pt x="623235" y="412032"/>
                  <a:pt x="627391" y="404130"/>
                  <a:pt x="645379" y="404130"/>
                </a:cubicBezTo>
                <a:close/>
                <a:moveTo>
                  <a:pt x="336930" y="404130"/>
                </a:moveTo>
                <a:cubicBezTo>
                  <a:pt x="353555" y="404130"/>
                  <a:pt x="366433" y="415029"/>
                  <a:pt x="366433" y="435395"/>
                </a:cubicBezTo>
                <a:cubicBezTo>
                  <a:pt x="366433" y="455762"/>
                  <a:pt x="353555" y="466865"/>
                  <a:pt x="336930" y="466865"/>
                </a:cubicBezTo>
                <a:cubicBezTo>
                  <a:pt x="320305" y="466865"/>
                  <a:pt x="307427" y="455558"/>
                  <a:pt x="307427" y="435395"/>
                </a:cubicBezTo>
                <a:cubicBezTo>
                  <a:pt x="307427" y="415233"/>
                  <a:pt x="320305" y="404130"/>
                  <a:pt x="336930" y="404130"/>
                </a:cubicBezTo>
                <a:close/>
                <a:moveTo>
                  <a:pt x="298161" y="404130"/>
                </a:moveTo>
                <a:cubicBezTo>
                  <a:pt x="301023" y="404130"/>
                  <a:pt x="303203" y="404471"/>
                  <a:pt x="304089" y="404675"/>
                </a:cubicBezTo>
                <a:lnTo>
                  <a:pt x="301636" y="418571"/>
                </a:lnTo>
                <a:cubicBezTo>
                  <a:pt x="300750" y="418435"/>
                  <a:pt x="299115" y="418367"/>
                  <a:pt x="298093" y="418367"/>
                </a:cubicBezTo>
                <a:cubicBezTo>
                  <a:pt x="289712" y="418367"/>
                  <a:pt x="285897" y="423407"/>
                  <a:pt x="285897" y="431377"/>
                </a:cubicBezTo>
                <a:lnTo>
                  <a:pt x="285897" y="465843"/>
                </a:lnTo>
                <a:lnTo>
                  <a:pt x="271384" y="465843"/>
                </a:lnTo>
                <a:lnTo>
                  <a:pt x="271384" y="430287"/>
                </a:lnTo>
                <a:cubicBezTo>
                  <a:pt x="271384" y="415438"/>
                  <a:pt x="281059" y="404198"/>
                  <a:pt x="298161" y="404198"/>
                </a:cubicBezTo>
                <a:close/>
                <a:moveTo>
                  <a:pt x="231865" y="404130"/>
                </a:moveTo>
                <a:cubicBezTo>
                  <a:pt x="248490" y="404130"/>
                  <a:pt x="260959" y="415165"/>
                  <a:pt x="260959" y="435395"/>
                </a:cubicBezTo>
                <a:cubicBezTo>
                  <a:pt x="260959" y="455626"/>
                  <a:pt x="248490" y="466865"/>
                  <a:pt x="231865" y="466865"/>
                </a:cubicBezTo>
                <a:cubicBezTo>
                  <a:pt x="226483" y="466865"/>
                  <a:pt x="221645" y="465503"/>
                  <a:pt x="217557" y="462778"/>
                </a:cubicBezTo>
                <a:lnTo>
                  <a:pt x="217557" y="489956"/>
                </a:lnTo>
                <a:lnTo>
                  <a:pt x="203044" y="489956"/>
                </a:lnTo>
                <a:lnTo>
                  <a:pt x="203044" y="435055"/>
                </a:lnTo>
                <a:cubicBezTo>
                  <a:pt x="203044" y="414893"/>
                  <a:pt x="215376" y="404130"/>
                  <a:pt x="231865" y="404130"/>
                </a:cubicBezTo>
                <a:close/>
                <a:moveTo>
                  <a:pt x="720191" y="403313"/>
                </a:moveTo>
                <a:cubicBezTo>
                  <a:pt x="731366" y="403313"/>
                  <a:pt x="735249" y="407945"/>
                  <a:pt x="738588" y="415029"/>
                </a:cubicBezTo>
                <a:lnTo>
                  <a:pt x="754123" y="448269"/>
                </a:lnTo>
                <a:cubicBezTo>
                  <a:pt x="754463" y="449019"/>
                  <a:pt x="755213" y="449495"/>
                  <a:pt x="756031" y="449495"/>
                </a:cubicBezTo>
                <a:cubicBezTo>
                  <a:pt x="757189" y="449495"/>
                  <a:pt x="758143" y="448542"/>
                  <a:pt x="758143" y="447384"/>
                </a:cubicBezTo>
                <a:lnTo>
                  <a:pt x="758143" y="405220"/>
                </a:lnTo>
                <a:lnTo>
                  <a:pt x="776335" y="405220"/>
                </a:lnTo>
                <a:lnTo>
                  <a:pt x="776335" y="447384"/>
                </a:lnTo>
                <a:cubicBezTo>
                  <a:pt x="776335" y="458555"/>
                  <a:pt x="767205" y="467682"/>
                  <a:pt x="756031" y="467682"/>
                </a:cubicBezTo>
                <a:cubicBezTo>
                  <a:pt x="744856" y="467682"/>
                  <a:pt x="740973" y="463050"/>
                  <a:pt x="737634" y="455966"/>
                </a:cubicBezTo>
                <a:lnTo>
                  <a:pt x="722099" y="422726"/>
                </a:lnTo>
                <a:cubicBezTo>
                  <a:pt x="721758" y="421977"/>
                  <a:pt x="721009" y="421500"/>
                  <a:pt x="720191" y="421500"/>
                </a:cubicBezTo>
                <a:cubicBezTo>
                  <a:pt x="719033" y="421500"/>
                  <a:pt x="718079" y="422453"/>
                  <a:pt x="718079" y="423611"/>
                </a:cubicBezTo>
                <a:lnTo>
                  <a:pt x="718079" y="465775"/>
                </a:lnTo>
                <a:lnTo>
                  <a:pt x="699887" y="465775"/>
                </a:lnTo>
                <a:lnTo>
                  <a:pt x="699887" y="423611"/>
                </a:lnTo>
                <a:cubicBezTo>
                  <a:pt x="699887" y="412441"/>
                  <a:pt x="709017" y="403313"/>
                  <a:pt x="720191" y="403313"/>
                </a:cubicBezTo>
                <a:close/>
                <a:moveTo>
                  <a:pt x="544947" y="146517"/>
                </a:moveTo>
                <a:cubicBezTo>
                  <a:pt x="507200" y="146517"/>
                  <a:pt x="502430" y="177441"/>
                  <a:pt x="502430" y="218515"/>
                </a:cubicBezTo>
                <a:cubicBezTo>
                  <a:pt x="502430" y="259589"/>
                  <a:pt x="507268" y="290990"/>
                  <a:pt x="544947" y="290990"/>
                </a:cubicBezTo>
                <a:cubicBezTo>
                  <a:pt x="582626" y="290990"/>
                  <a:pt x="588008" y="259589"/>
                  <a:pt x="588008" y="218515"/>
                </a:cubicBezTo>
                <a:cubicBezTo>
                  <a:pt x="588008" y="177441"/>
                  <a:pt x="582694" y="146517"/>
                  <a:pt x="544947" y="146517"/>
                </a:cubicBezTo>
                <a:close/>
                <a:moveTo>
                  <a:pt x="307495" y="146517"/>
                </a:moveTo>
                <a:cubicBezTo>
                  <a:pt x="294890" y="146517"/>
                  <a:pt x="285760" y="150399"/>
                  <a:pt x="278469" y="157620"/>
                </a:cubicBezTo>
                <a:cubicBezTo>
                  <a:pt x="265387" y="170698"/>
                  <a:pt x="263956" y="192427"/>
                  <a:pt x="263956" y="218515"/>
                </a:cubicBezTo>
                <a:cubicBezTo>
                  <a:pt x="263956" y="244603"/>
                  <a:pt x="265387" y="266877"/>
                  <a:pt x="278469" y="279887"/>
                </a:cubicBezTo>
                <a:cubicBezTo>
                  <a:pt x="285692" y="287107"/>
                  <a:pt x="294890" y="290990"/>
                  <a:pt x="307495" y="290990"/>
                </a:cubicBezTo>
                <a:cubicBezTo>
                  <a:pt x="320100" y="290990"/>
                  <a:pt x="329707" y="287107"/>
                  <a:pt x="336998" y="279887"/>
                </a:cubicBezTo>
                <a:cubicBezTo>
                  <a:pt x="350080" y="266809"/>
                  <a:pt x="351510" y="244603"/>
                  <a:pt x="351510" y="218515"/>
                </a:cubicBezTo>
                <a:cubicBezTo>
                  <a:pt x="351510" y="192427"/>
                  <a:pt x="350080" y="170630"/>
                  <a:pt x="336998" y="157620"/>
                </a:cubicBezTo>
                <a:cubicBezTo>
                  <a:pt x="329775" y="150399"/>
                  <a:pt x="320100" y="146517"/>
                  <a:pt x="307495" y="146517"/>
                </a:cubicBezTo>
                <a:close/>
                <a:moveTo>
                  <a:pt x="697229" y="92910"/>
                </a:moveTo>
                <a:lnTo>
                  <a:pt x="760118" y="92910"/>
                </a:lnTo>
                <a:lnTo>
                  <a:pt x="760118" y="344733"/>
                </a:lnTo>
                <a:lnTo>
                  <a:pt x="697229" y="344733"/>
                </a:lnTo>
                <a:close/>
                <a:moveTo>
                  <a:pt x="307495" y="89913"/>
                </a:moveTo>
                <a:cubicBezTo>
                  <a:pt x="344765" y="89913"/>
                  <a:pt x="370384" y="104421"/>
                  <a:pt x="385851" y="120837"/>
                </a:cubicBezTo>
                <a:cubicBezTo>
                  <a:pt x="408608" y="144541"/>
                  <a:pt x="414399" y="173014"/>
                  <a:pt x="414399" y="218515"/>
                </a:cubicBezTo>
                <a:cubicBezTo>
                  <a:pt x="414399" y="264016"/>
                  <a:pt x="408608" y="292965"/>
                  <a:pt x="385851" y="316670"/>
                </a:cubicBezTo>
                <a:cubicBezTo>
                  <a:pt x="370384" y="333086"/>
                  <a:pt x="344765" y="347594"/>
                  <a:pt x="307495" y="347594"/>
                </a:cubicBezTo>
                <a:cubicBezTo>
                  <a:pt x="270225" y="347594"/>
                  <a:pt x="245083" y="333086"/>
                  <a:pt x="229616" y="316670"/>
                </a:cubicBezTo>
                <a:cubicBezTo>
                  <a:pt x="206859" y="292965"/>
                  <a:pt x="201067" y="264493"/>
                  <a:pt x="201067" y="218515"/>
                </a:cubicBezTo>
                <a:cubicBezTo>
                  <a:pt x="201067" y="172537"/>
                  <a:pt x="206859" y="144541"/>
                  <a:pt x="229616" y="120837"/>
                </a:cubicBezTo>
                <a:cubicBezTo>
                  <a:pt x="245083" y="104421"/>
                  <a:pt x="270225" y="89913"/>
                  <a:pt x="307495" y="89913"/>
                </a:cubicBezTo>
                <a:close/>
                <a:moveTo>
                  <a:pt x="112696" y="89913"/>
                </a:moveTo>
                <a:cubicBezTo>
                  <a:pt x="162980" y="89913"/>
                  <a:pt x="173609" y="100539"/>
                  <a:pt x="195889" y="123766"/>
                </a:cubicBezTo>
                <a:lnTo>
                  <a:pt x="153373" y="166270"/>
                </a:lnTo>
                <a:cubicBezTo>
                  <a:pt x="140291" y="152238"/>
                  <a:pt x="129185" y="146449"/>
                  <a:pt x="112764" y="146449"/>
                </a:cubicBezTo>
                <a:cubicBezTo>
                  <a:pt x="96343" y="146449"/>
                  <a:pt x="86191" y="151762"/>
                  <a:pt x="76993" y="162865"/>
                </a:cubicBezTo>
                <a:cubicBezTo>
                  <a:pt x="67318" y="174921"/>
                  <a:pt x="62957" y="191882"/>
                  <a:pt x="62957" y="218447"/>
                </a:cubicBezTo>
                <a:cubicBezTo>
                  <a:pt x="62957" y="245012"/>
                  <a:pt x="67318" y="262450"/>
                  <a:pt x="76993" y="274506"/>
                </a:cubicBezTo>
                <a:cubicBezTo>
                  <a:pt x="86191" y="285609"/>
                  <a:pt x="97774" y="290922"/>
                  <a:pt x="112764" y="290922"/>
                </a:cubicBezTo>
                <a:cubicBezTo>
                  <a:pt x="127754" y="290922"/>
                  <a:pt x="140291" y="285132"/>
                  <a:pt x="153373" y="271100"/>
                </a:cubicBezTo>
                <a:lnTo>
                  <a:pt x="195889" y="313128"/>
                </a:lnTo>
                <a:cubicBezTo>
                  <a:pt x="173677" y="336355"/>
                  <a:pt x="147513" y="347458"/>
                  <a:pt x="112696" y="347458"/>
                </a:cubicBezTo>
                <a:lnTo>
                  <a:pt x="112696" y="347594"/>
                </a:lnTo>
                <a:cubicBezTo>
                  <a:pt x="62412" y="347594"/>
                  <a:pt x="0" y="320552"/>
                  <a:pt x="0" y="218515"/>
                </a:cubicBezTo>
                <a:cubicBezTo>
                  <a:pt x="0" y="116478"/>
                  <a:pt x="62412" y="89913"/>
                  <a:pt x="112696" y="89913"/>
                </a:cubicBezTo>
                <a:close/>
                <a:moveTo>
                  <a:pt x="811765" y="25680"/>
                </a:moveTo>
                <a:lnTo>
                  <a:pt x="874654" y="25680"/>
                </a:lnTo>
                <a:lnTo>
                  <a:pt x="874654" y="100130"/>
                </a:lnTo>
                <a:lnTo>
                  <a:pt x="919146" y="100130"/>
                </a:lnTo>
                <a:lnTo>
                  <a:pt x="919146" y="148015"/>
                </a:lnTo>
                <a:lnTo>
                  <a:pt x="874654" y="148015"/>
                </a:lnTo>
                <a:lnTo>
                  <a:pt x="874654" y="268852"/>
                </a:lnTo>
                <a:cubicBezTo>
                  <a:pt x="874654" y="283361"/>
                  <a:pt x="881399" y="291603"/>
                  <a:pt x="896389" y="291603"/>
                </a:cubicBezTo>
                <a:lnTo>
                  <a:pt x="919146" y="291603"/>
                </a:lnTo>
                <a:lnTo>
                  <a:pt x="919146" y="344801"/>
                </a:lnTo>
                <a:lnTo>
                  <a:pt x="884806" y="344801"/>
                </a:lnTo>
                <a:lnTo>
                  <a:pt x="884806" y="344733"/>
                </a:lnTo>
                <a:cubicBezTo>
                  <a:pt x="833568" y="344733"/>
                  <a:pt x="811765" y="308496"/>
                  <a:pt x="811765" y="272735"/>
                </a:cubicBezTo>
                <a:lnTo>
                  <a:pt x="811765" y="148015"/>
                </a:lnTo>
                <a:lnTo>
                  <a:pt x="785192" y="148015"/>
                </a:lnTo>
                <a:lnTo>
                  <a:pt x="785192" y="100130"/>
                </a:lnTo>
                <a:lnTo>
                  <a:pt x="811765" y="100130"/>
                </a:lnTo>
                <a:close/>
                <a:moveTo>
                  <a:pt x="976380" y="68"/>
                </a:moveTo>
                <a:lnTo>
                  <a:pt x="990075" y="68"/>
                </a:lnTo>
                <a:lnTo>
                  <a:pt x="990075" y="344733"/>
                </a:lnTo>
                <a:lnTo>
                  <a:pt x="976380" y="344733"/>
                </a:lnTo>
                <a:close/>
                <a:moveTo>
                  <a:pt x="696275" y="68"/>
                </a:moveTo>
                <a:lnTo>
                  <a:pt x="760595" y="68"/>
                </a:lnTo>
                <a:lnTo>
                  <a:pt x="760595" y="49861"/>
                </a:lnTo>
                <a:lnTo>
                  <a:pt x="696275" y="49861"/>
                </a:lnTo>
                <a:close/>
                <a:moveTo>
                  <a:pt x="588008" y="0"/>
                </a:moveTo>
                <a:lnTo>
                  <a:pt x="650897" y="0"/>
                </a:lnTo>
                <a:lnTo>
                  <a:pt x="650897" y="344665"/>
                </a:lnTo>
                <a:lnTo>
                  <a:pt x="589507" y="344665"/>
                </a:lnTo>
                <a:lnTo>
                  <a:pt x="589439" y="344733"/>
                </a:lnTo>
                <a:lnTo>
                  <a:pt x="589439" y="321029"/>
                </a:lnTo>
                <a:cubicBezTo>
                  <a:pt x="572065" y="340374"/>
                  <a:pt x="553668" y="347594"/>
                  <a:pt x="527095" y="347594"/>
                </a:cubicBezTo>
                <a:cubicBezTo>
                  <a:pt x="500522" y="347594"/>
                  <a:pt x="479196" y="338875"/>
                  <a:pt x="465228" y="324843"/>
                </a:cubicBezTo>
                <a:cubicBezTo>
                  <a:pt x="440086" y="299709"/>
                  <a:pt x="439609" y="256183"/>
                  <a:pt x="439609" y="218515"/>
                </a:cubicBezTo>
                <a:cubicBezTo>
                  <a:pt x="439609" y="180847"/>
                  <a:pt x="440086" y="137798"/>
                  <a:pt x="465228" y="112663"/>
                </a:cubicBezTo>
                <a:cubicBezTo>
                  <a:pt x="479264" y="98631"/>
                  <a:pt x="501953" y="89913"/>
                  <a:pt x="526618" y="89913"/>
                </a:cubicBezTo>
                <a:cubicBezTo>
                  <a:pt x="551283" y="89913"/>
                  <a:pt x="571588" y="96656"/>
                  <a:pt x="588008" y="115047"/>
                </a:cubicBezTo>
                <a:close/>
              </a:path>
            </a:pathLst>
          </a:custGeom>
          <a:solidFill>
            <a:schemeClr val="bg1"/>
          </a:solidFill>
          <a:ln w="0" cap="flat">
            <a:noFill/>
            <a:prstDash val="solid"/>
            <a:miter/>
          </a:ln>
        </p:spPr>
        <p:txBody>
          <a:bodyPr rtlCol="0" anchor="ctr"/>
          <a:lstStyle/>
          <a:p>
            <a:endParaRPr lang="en-BE" sz="1620" b="0" i="0">
              <a:latin typeface="Codit Radikal" pitchFamily="2" charset="77"/>
            </a:endParaRPr>
          </a:p>
        </p:txBody>
      </p:sp>
      <p:sp>
        <p:nvSpPr>
          <p:cNvPr id="11" name="Text Placeholder 20">
            <a:extLst>
              <a:ext uri="{FF2B5EF4-FFF2-40B4-BE49-F238E27FC236}">
                <a16:creationId xmlns:a16="http://schemas.microsoft.com/office/drawing/2014/main" id="{1D2EE486-D6EA-F0A0-DC18-AC55D98C417C}"/>
              </a:ext>
            </a:extLst>
          </p:cNvPr>
          <p:cNvSpPr>
            <a:spLocks noGrp="1"/>
          </p:cNvSpPr>
          <p:nvPr>
            <p:ph type="body" sz="quarter" idx="11" hasCustomPrompt="1"/>
          </p:nvPr>
        </p:nvSpPr>
        <p:spPr>
          <a:xfrm>
            <a:off x="695327" y="627430"/>
            <a:ext cx="5403325" cy="1714500"/>
          </a:xfrm>
          <a:prstGeom prst="rect">
            <a:avLst/>
          </a:prstGeom>
        </p:spPr>
        <p:txBody>
          <a:bodyPr>
            <a:noAutofit/>
          </a:bodyPr>
          <a:lstStyle>
            <a:lvl1pPr marL="0" indent="0">
              <a:buNone/>
              <a:defRPr sz="15000" b="0" i="0">
                <a:ln>
                  <a:solidFill>
                    <a:schemeClr val="bg1"/>
                  </a:solidFill>
                </a:ln>
                <a:noFill/>
                <a:latin typeface="Codit Radikal Medium" pitchFamily="2" charset="77"/>
              </a:defRPr>
            </a:lvl1pPr>
          </a:lstStyle>
          <a:p>
            <a:pPr lvl="0"/>
            <a:r>
              <a:rPr lang="en-GB"/>
              <a:t>XX</a:t>
            </a:r>
            <a:endParaRPr lang="en-BE"/>
          </a:p>
        </p:txBody>
      </p:sp>
    </p:spTree>
    <p:extLst>
      <p:ext uri="{BB962C8B-B14F-4D97-AF65-F5344CB8AC3E}">
        <p14:creationId xmlns:p14="http://schemas.microsoft.com/office/powerpoint/2010/main" val="221528760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74">
          <p15:clr>
            <a:srgbClr val="5ACBF0"/>
          </p15:clr>
        </p15:guide>
        <p15:guide id="4" pos="438">
          <p15:clr>
            <a:srgbClr val="5ACBF0"/>
          </p15:clr>
        </p15:guide>
        <p15:guide id="5" pos="7242">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cSld name="Lee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F3942787-3449-7229-10A0-462E2D2AC7E7}"/>
              </a:ext>
            </a:extLst>
          </p:cNvPr>
          <p:cNvSpPr>
            <a:spLocks noGrp="1"/>
          </p:cNvSpPr>
          <p:nvPr>
            <p:ph type="dt" sz="half" idx="10"/>
          </p:nvPr>
        </p:nvSpPr>
        <p:spPr/>
        <p:txBody>
          <a:bodyPr/>
          <a:lstStyle/>
          <a:p>
            <a:fld id="{7BC0F359-DD5A-3047-A153-7B4AFDFA0348}" type="datetimeFigureOut">
              <a:rPr lang="nl-BE" smtClean="0"/>
              <a:t>10/03/2026</a:t>
            </a:fld>
            <a:endParaRPr lang="nl-BE"/>
          </a:p>
        </p:txBody>
      </p:sp>
      <p:sp>
        <p:nvSpPr>
          <p:cNvPr id="3" name="Tijdelijke aanduiding voor voettekst 2">
            <a:extLst>
              <a:ext uri="{FF2B5EF4-FFF2-40B4-BE49-F238E27FC236}">
                <a16:creationId xmlns:a16="http://schemas.microsoft.com/office/drawing/2014/main" id="{22F45AFB-4B76-2BEF-4105-39C4FB34A161}"/>
              </a:ext>
            </a:extLst>
          </p:cNvPr>
          <p:cNvSpPr>
            <a:spLocks noGrp="1"/>
          </p:cNvSpPr>
          <p:nvPr>
            <p:ph type="ftr" sz="quarter" idx="11"/>
          </p:nvPr>
        </p:nvSpPr>
        <p:spPr>
          <a:xfrm>
            <a:off x="4038600" y="6356352"/>
            <a:ext cx="4114800" cy="365125"/>
          </a:xfrm>
          <a:prstGeom prst="rect">
            <a:avLst/>
          </a:prstGeom>
        </p:spPr>
        <p:txBody>
          <a:bodyPr/>
          <a:lstStyle/>
          <a:p>
            <a:endParaRPr lang="nl-BE"/>
          </a:p>
        </p:txBody>
      </p:sp>
      <p:sp>
        <p:nvSpPr>
          <p:cNvPr id="4" name="Tijdelijke aanduiding voor dianummer 3">
            <a:extLst>
              <a:ext uri="{FF2B5EF4-FFF2-40B4-BE49-F238E27FC236}">
                <a16:creationId xmlns:a16="http://schemas.microsoft.com/office/drawing/2014/main" id="{31E1A863-A1E7-B4EE-F902-A16A70B53917}"/>
              </a:ext>
            </a:extLst>
          </p:cNvPr>
          <p:cNvSpPr>
            <a:spLocks noGrp="1"/>
          </p:cNvSpPr>
          <p:nvPr>
            <p:ph type="sldNum" sz="quarter" idx="12"/>
          </p:nvPr>
        </p:nvSpPr>
        <p:spPr/>
        <p:txBody>
          <a:bodyPr/>
          <a:lstStyle/>
          <a:p>
            <a:fld id="{7FD19475-B896-D349-A258-E0354BE2163E}" type="slidenum">
              <a:rPr lang="nl-BE" smtClean="0"/>
              <a:t>‹#›</a:t>
            </a:fld>
            <a:endParaRPr lang="nl-BE"/>
          </a:p>
        </p:txBody>
      </p:sp>
      <p:pic>
        <p:nvPicPr>
          <p:cNvPr id="6" name="Picture 5">
            <a:extLst>
              <a:ext uri="{FF2B5EF4-FFF2-40B4-BE49-F238E27FC236}">
                <a16:creationId xmlns:a16="http://schemas.microsoft.com/office/drawing/2014/main" id="{27DBA78B-D8AC-635F-01C3-ADC436A96550}"/>
              </a:ext>
            </a:extLst>
          </p:cNvPr>
          <p:cNvPicPr>
            <a:picLocks noChangeAspect="1"/>
          </p:cNvPicPr>
          <p:nvPr userDrawn="1"/>
        </p:nvPicPr>
        <p:blipFill>
          <a:blip r:embed="rId2"/>
          <a:stretch>
            <a:fillRect/>
          </a:stretch>
        </p:blipFill>
        <p:spPr>
          <a:xfrm>
            <a:off x="3215" y="0"/>
            <a:ext cx="12185572" cy="6858000"/>
          </a:xfrm>
          <a:prstGeom prst="rect">
            <a:avLst/>
          </a:prstGeom>
        </p:spPr>
      </p:pic>
    </p:spTree>
    <p:extLst>
      <p:ext uri="{BB962C8B-B14F-4D97-AF65-F5344CB8AC3E}">
        <p14:creationId xmlns:p14="http://schemas.microsoft.com/office/powerpoint/2010/main" val="137876395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barebone title/subtitle">
    <p:spTree>
      <p:nvGrpSpPr>
        <p:cNvPr id="1" name=""/>
        <p:cNvGrpSpPr/>
        <p:nvPr/>
      </p:nvGrpSpPr>
      <p:grpSpPr>
        <a:xfrm>
          <a:off x="0" y="0"/>
          <a:ext cx="0" cy="0"/>
          <a:chOff x="0" y="0"/>
          <a:chExt cx="0" cy="0"/>
        </a:xfrm>
      </p:grpSpPr>
      <p:pic>
        <p:nvPicPr>
          <p:cNvPr id="6" name="Afbeelding 10">
            <a:extLst>
              <a:ext uri="{FF2B5EF4-FFF2-40B4-BE49-F238E27FC236}">
                <a16:creationId xmlns:a16="http://schemas.microsoft.com/office/drawing/2014/main" id="{40666B9C-2FA2-4DA3-A68F-4E12D1CD881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 y="341"/>
            <a:ext cx="12192001" cy="6857323"/>
          </a:xfrm>
          <a:prstGeom prst="rect">
            <a:avLst/>
          </a:prstGeom>
        </p:spPr>
      </p:pic>
      <p:sp>
        <p:nvSpPr>
          <p:cNvPr id="4" name="Rectangle 3">
            <a:extLst>
              <a:ext uri="{FF2B5EF4-FFF2-40B4-BE49-F238E27FC236}">
                <a16:creationId xmlns:a16="http://schemas.microsoft.com/office/drawing/2014/main" id="{FD69DFC6-3CDB-9114-03D7-E0C541093124}"/>
              </a:ext>
            </a:extLst>
          </p:cNvPr>
          <p:cNvSpPr/>
          <p:nvPr userDrawn="1"/>
        </p:nvSpPr>
        <p:spPr>
          <a:xfrm>
            <a:off x="-1200" y="0"/>
            <a:ext cx="12193200" cy="6858000"/>
          </a:xfrm>
          <a:prstGeom prst="rect">
            <a:avLst/>
          </a:prstGeom>
          <a:gradFill>
            <a:gsLst>
              <a:gs pos="0">
                <a:srgbClr val="5C2D91"/>
              </a:gs>
              <a:gs pos="60000">
                <a:srgbClr val="5C2D91">
                  <a:alpha val="0"/>
                </a:srgbClr>
              </a:gs>
            </a:gsLst>
            <a:lin ang="3000000" scaled="0"/>
          </a:gra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620"/>
          </a:p>
        </p:txBody>
      </p:sp>
      <p:sp>
        <p:nvSpPr>
          <p:cNvPr id="10" name="Title 9">
            <a:extLst>
              <a:ext uri="{FF2B5EF4-FFF2-40B4-BE49-F238E27FC236}">
                <a16:creationId xmlns:a16="http://schemas.microsoft.com/office/drawing/2014/main" id="{DF6ABC68-F9EA-4273-A12B-49082AC706DF}"/>
              </a:ext>
            </a:extLst>
          </p:cNvPr>
          <p:cNvSpPr>
            <a:spLocks noGrp="1"/>
          </p:cNvSpPr>
          <p:nvPr>
            <p:ph type="title"/>
          </p:nvPr>
        </p:nvSpPr>
        <p:spPr>
          <a:xfrm>
            <a:off x="460800" y="378002"/>
            <a:ext cx="11276877" cy="553999"/>
          </a:xfrm>
        </p:spPr>
        <p:txBody>
          <a:bodyPr wrap="square" anchor="t" anchorCtr="0">
            <a:spAutoFit/>
          </a:bodyPr>
          <a:lstStyle>
            <a:lvl1pPr>
              <a:lnSpc>
                <a:spcPct val="100000"/>
              </a:lnSpc>
              <a:defRPr sz="3600">
                <a:solidFill>
                  <a:schemeClr val="bg1"/>
                </a:solidFill>
                <a:latin typeface="Proximus Light" panose="00000500000000000000" pitchFamily="2" charset="0"/>
              </a:defRPr>
            </a:lvl1pPr>
          </a:lstStyle>
          <a:p>
            <a:r>
              <a:rPr lang="en-US"/>
              <a:t>Click to edit Master title style</a:t>
            </a:r>
            <a:endParaRPr lang="en-GB"/>
          </a:p>
        </p:txBody>
      </p:sp>
      <p:sp>
        <p:nvSpPr>
          <p:cNvPr id="11" name="Subtitle 2">
            <a:extLst>
              <a:ext uri="{FF2B5EF4-FFF2-40B4-BE49-F238E27FC236}">
                <a16:creationId xmlns:a16="http://schemas.microsoft.com/office/drawing/2014/main" id="{2C905E73-AD6F-4EE8-AF69-CDF44B8BE1E4}"/>
              </a:ext>
            </a:extLst>
          </p:cNvPr>
          <p:cNvSpPr>
            <a:spLocks noGrp="1"/>
          </p:cNvSpPr>
          <p:nvPr>
            <p:ph type="subTitle" idx="1"/>
          </p:nvPr>
        </p:nvSpPr>
        <p:spPr>
          <a:xfrm>
            <a:off x="460800" y="950473"/>
            <a:ext cx="11276877" cy="416831"/>
          </a:xfrm>
          <a:prstGeom prst="rect">
            <a:avLst/>
          </a:prstGeom>
        </p:spPr>
        <p:txBody>
          <a:bodyPr wrap="square" tIns="108000">
            <a:spAutoFit/>
          </a:bodyPr>
          <a:lstStyle>
            <a:lvl1pPr marL="0" indent="0" algn="l">
              <a:lnSpc>
                <a:spcPct val="100000"/>
              </a:lnSpc>
              <a:buFont typeface="Arial" panose="020B0604020202020204" pitchFamily="34" charset="0"/>
              <a:buNone/>
              <a:defRPr sz="2000" b="1">
                <a:solidFill>
                  <a:schemeClr val="bg1"/>
                </a:solidFill>
                <a:latin typeface="Proximus" panose="00000500000000000000" pitchFamily="2" charset="0"/>
              </a:defRPr>
            </a:lvl1pPr>
            <a:lvl2pPr marL="800040" indent="-342874" algn="l">
              <a:buFont typeface="Arial" panose="020B0604020202020204" pitchFamily="34" charset="0"/>
              <a:buChar char="•"/>
              <a:defRPr sz="1800">
                <a:solidFill>
                  <a:schemeClr val="bg1"/>
                </a:solidFill>
                <a:latin typeface="Proximus" panose="00000500000000000000" pitchFamily="2" charset="0"/>
              </a:defRPr>
            </a:lvl2pPr>
            <a:lvl3pPr marL="1200061" indent="-285730" algn="l">
              <a:buFont typeface="Arial" panose="020B0604020202020204" pitchFamily="34" charset="0"/>
              <a:buChar char="•"/>
              <a:defRPr sz="1600">
                <a:solidFill>
                  <a:schemeClr val="bg1"/>
                </a:solidFill>
                <a:latin typeface="Proximus" panose="00000500000000000000" pitchFamily="2" charset="0"/>
              </a:defRPr>
            </a:lvl3pPr>
            <a:lvl4pPr marL="1657227" indent="-285730" algn="l">
              <a:buFont typeface="Arial" panose="020B0604020202020204" pitchFamily="34" charset="0"/>
              <a:buChar char="•"/>
              <a:defRPr sz="1400">
                <a:solidFill>
                  <a:schemeClr val="bg1"/>
                </a:solidFill>
                <a:latin typeface="Proximus" panose="00000500000000000000" pitchFamily="2" charset="0"/>
              </a:defRPr>
            </a:lvl4pPr>
            <a:lvl5pPr marL="2114394" indent="-285730" algn="l">
              <a:buFont typeface="Arial" panose="020B0604020202020204" pitchFamily="34" charset="0"/>
              <a:buChar char="•"/>
              <a:defRPr sz="1200">
                <a:solidFill>
                  <a:schemeClr val="bg1"/>
                </a:solidFill>
                <a:latin typeface="Proximus" panose="00000500000000000000" pitchFamily="2" charset="0"/>
              </a:defRPr>
            </a:lvl5pPr>
            <a:lvl6pPr marL="2571558" indent="-285730" algn="l">
              <a:buFont typeface="Arial" panose="020B0604020202020204" pitchFamily="34" charset="0"/>
              <a:buChar char="•"/>
              <a:defRPr sz="1100">
                <a:solidFill>
                  <a:schemeClr val="bg1"/>
                </a:solidFill>
                <a:latin typeface="Proximus" panose="00000500000000000000" pitchFamily="2" charset="0"/>
              </a:defRPr>
            </a:lvl6pPr>
            <a:lvl7pPr marL="3028723" indent="-285730" algn="l">
              <a:buFont typeface="Arial" panose="020B0604020202020204" pitchFamily="34" charset="0"/>
              <a:buChar char="•"/>
              <a:defRPr sz="1000">
                <a:solidFill>
                  <a:schemeClr val="bg1"/>
                </a:solidFill>
                <a:latin typeface="Proximus" panose="00000500000000000000" pitchFamily="2" charset="0"/>
              </a:defRPr>
            </a:lvl7pPr>
            <a:lvl8pPr marL="3200160" indent="0" algn="ctr">
              <a:buNone/>
              <a:defRPr sz="1600"/>
            </a:lvl8pPr>
            <a:lvl9pPr marL="3657327" indent="0" algn="ctr">
              <a:buNone/>
              <a:defRPr sz="1600"/>
            </a:lvl9pPr>
          </a:lstStyle>
          <a:p>
            <a:pPr lvl="0"/>
            <a:endParaRPr lang="en-GB"/>
          </a:p>
        </p:txBody>
      </p:sp>
      <p:pic>
        <p:nvPicPr>
          <p:cNvPr id="3" name="Graphic 2">
            <a:extLst>
              <a:ext uri="{FF2B5EF4-FFF2-40B4-BE49-F238E27FC236}">
                <a16:creationId xmlns:a16="http://schemas.microsoft.com/office/drawing/2014/main" id="{E5F3FAF7-167C-2811-47A0-26A42ABB9A31}"/>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490049" y="6143627"/>
            <a:ext cx="1247627" cy="341584"/>
          </a:xfrm>
          <a:prstGeom prst="rect">
            <a:avLst/>
          </a:prstGeom>
        </p:spPr>
      </p:pic>
      <p:sp>
        <p:nvSpPr>
          <p:cNvPr id="2" name="Slide Number Placeholder 5">
            <a:extLst>
              <a:ext uri="{FF2B5EF4-FFF2-40B4-BE49-F238E27FC236}">
                <a16:creationId xmlns:a16="http://schemas.microsoft.com/office/drawing/2014/main" id="{D92C9941-466C-55B7-F816-431FD3DDB37C}"/>
              </a:ext>
            </a:extLst>
          </p:cNvPr>
          <p:cNvSpPr>
            <a:spLocks noGrp="1"/>
          </p:cNvSpPr>
          <p:nvPr>
            <p:ph type="sldNum" sz="quarter" idx="4"/>
          </p:nvPr>
        </p:nvSpPr>
        <p:spPr>
          <a:xfrm>
            <a:off x="9344025" y="6526215"/>
            <a:ext cx="2743200" cy="365125"/>
          </a:xfrm>
          <a:prstGeom prst="rect">
            <a:avLst/>
          </a:prstGeom>
        </p:spPr>
        <p:txBody>
          <a:bodyPr vert="horz" lIns="0" tIns="0" rIns="0" bIns="0" rtlCol="0" anchor="ctr"/>
          <a:lstStyle>
            <a:lvl1pPr algn="r">
              <a:defRPr sz="1000">
                <a:solidFill>
                  <a:schemeClr val="bg1"/>
                </a:solidFill>
                <a:latin typeface="Proximus" panose="00000500000000000000" pitchFamily="2" charset="0"/>
              </a:defRPr>
            </a:lvl1pPr>
          </a:lstStyle>
          <a:p>
            <a:fld id="{54C3750C-E539-40C9-A159-615F3584044F}" type="slidenum">
              <a:rPr lang="en-GB" smtClean="0"/>
              <a:pPr/>
              <a:t>‹#›</a:t>
            </a:fld>
            <a:endParaRPr lang="en-GB"/>
          </a:p>
        </p:txBody>
      </p:sp>
    </p:spTree>
    <p:extLst>
      <p:ext uri="{BB962C8B-B14F-4D97-AF65-F5344CB8AC3E}">
        <p14:creationId xmlns:p14="http://schemas.microsoft.com/office/powerpoint/2010/main" val="180218063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Content slide - WHIT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05F860-1FC7-E54F-B3B9-10BFC20A40A4}"/>
              </a:ext>
            </a:extLst>
          </p:cNvPr>
          <p:cNvSpPr>
            <a:spLocks noGrp="1"/>
          </p:cNvSpPr>
          <p:nvPr>
            <p:ph type="title"/>
          </p:nvPr>
        </p:nvSpPr>
        <p:spPr/>
        <p:txBody>
          <a:bodyPr/>
          <a:lstStyle/>
          <a:p>
            <a:r>
              <a:rPr lang="nl-NL" noProof="0"/>
              <a:t>Click </a:t>
            </a:r>
            <a:r>
              <a:rPr lang="nl-NL" noProof="0" err="1"/>
              <a:t>to</a:t>
            </a:r>
            <a:r>
              <a:rPr lang="nl-NL" noProof="0"/>
              <a:t> </a:t>
            </a:r>
            <a:r>
              <a:rPr lang="nl-NL" noProof="0" err="1"/>
              <a:t>edit</a:t>
            </a:r>
            <a:r>
              <a:rPr lang="nl-NL" noProof="0"/>
              <a:t> Master </a:t>
            </a:r>
            <a:r>
              <a:rPr lang="nl-NL" noProof="0" err="1"/>
              <a:t>title</a:t>
            </a:r>
            <a:r>
              <a:rPr lang="nl-NL" noProof="0"/>
              <a:t> </a:t>
            </a:r>
            <a:r>
              <a:rPr lang="nl-NL" noProof="0" err="1"/>
              <a:t>style</a:t>
            </a:r>
            <a:endParaRPr lang="nl-NL" noProof="0"/>
          </a:p>
        </p:txBody>
      </p:sp>
      <p:sp>
        <p:nvSpPr>
          <p:cNvPr id="6" name="Content Placeholder 5">
            <a:extLst>
              <a:ext uri="{FF2B5EF4-FFF2-40B4-BE49-F238E27FC236}">
                <a16:creationId xmlns:a16="http://schemas.microsoft.com/office/drawing/2014/main" id="{531BD726-289F-9F44-A425-5E1602C2BFAC}"/>
              </a:ext>
            </a:extLst>
          </p:cNvPr>
          <p:cNvSpPr>
            <a:spLocks noGrp="1"/>
          </p:cNvSpPr>
          <p:nvPr>
            <p:ph sz="quarter" idx="10"/>
          </p:nvPr>
        </p:nvSpPr>
        <p:spPr>
          <a:xfrm>
            <a:off x="900000" y="1800001"/>
            <a:ext cx="10392000" cy="2482603"/>
          </a:xfrm>
        </p:spPr>
        <p:txBody>
          <a:bodyPr wrap="square">
            <a:spAutoFit/>
          </a:bodyPr>
          <a:lstStyle/>
          <a:p>
            <a:pPr lvl="0"/>
            <a:r>
              <a:rPr lang="nl-NL" noProof="0"/>
              <a:t>Click </a:t>
            </a:r>
            <a:r>
              <a:rPr lang="nl-NL" noProof="0" err="1"/>
              <a:t>to</a:t>
            </a:r>
            <a:r>
              <a:rPr lang="nl-NL" noProof="0"/>
              <a:t> </a:t>
            </a:r>
            <a:r>
              <a:rPr lang="nl-NL" noProof="0" err="1"/>
              <a:t>edit</a:t>
            </a:r>
            <a:r>
              <a:rPr lang="nl-NL" noProof="0"/>
              <a:t> Master </a:t>
            </a:r>
            <a:r>
              <a:rPr lang="nl-NL" noProof="0" err="1"/>
              <a:t>text</a:t>
            </a:r>
            <a:r>
              <a:rPr lang="nl-NL" noProof="0"/>
              <a:t> </a:t>
            </a:r>
            <a:r>
              <a:rPr lang="nl-NL" noProof="0" err="1"/>
              <a:t>styles</a:t>
            </a:r>
            <a:endParaRPr lang="nl-NL" noProof="0"/>
          </a:p>
          <a:p>
            <a:pPr lvl="1"/>
            <a:r>
              <a:rPr lang="nl-NL" noProof="0"/>
              <a:t>Second level</a:t>
            </a:r>
          </a:p>
          <a:p>
            <a:pPr lvl="2"/>
            <a:r>
              <a:rPr lang="nl-NL" noProof="0" err="1"/>
              <a:t>Third</a:t>
            </a:r>
            <a:r>
              <a:rPr lang="nl-NL" noProof="0"/>
              <a:t> level</a:t>
            </a:r>
          </a:p>
          <a:p>
            <a:pPr lvl="3"/>
            <a:r>
              <a:rPr lang="nl-NL" noProof="0" err="1"/>
              <a:t>Fourth</a:t>
            </a:r>
            <a:r>
              <a:rPr lang="nl-NL" noProof="0"/>
              <a:t> level</a:t>
            </a:r>
          </a:p>
          <a:p>
            <a:pPr lvl="4"/>
            <a:r>
              <a:rPr lang="nl-NL" noProof="0" err="1"/>
              <a:t>Fifth</a:t>
            </a:r>
            <a:r>
              <a:rPr lang="nl-NL" noProof="0"/>
              <a:t> level</a:t>
            </a:r>
          </a:p>
        </p:txBody>
      </p:sp>
    </p:spTree>
    <p:extLst>
      <p:ext uri="{BB962C8B-B14F-4D97-AF65-F5344CB8AC3E}">
        <p14:creationId xmlns:p14="http://schemas.microsoft.com/office/powerpoint/2010/main" val="1920055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XS ADA -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b="0"/>
            </a:lvl1pPr>
          </a:lstStyle>
          <a:p>
            <a:r>
              <a:rPr lang="en-US"/>
              <a:t>Click to edit slide title</a:t>
            </a:r>
            <a:endParaRPr lang="nl-BE"/>
          </a:p>
        </p:txBody>
      </p:sp>
    </p:spTree>
    <p:extLst>
      <p:ext uri="{BB962C8B-B14F-4D97-AF65-F5344CB8AC3E}">
        <p14:creationId xmlns:p14="http://schemas.microsoft.com/office/powerpoint/2010/main" val="249215007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Content slide - Image left">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0BDA83C3-91B0-900B-BC21-475B0DD60759}"/>
              </a:ext>
            </a:extLst>
          </p:cNvPr>
          <p:cNvSpPr>
            <a:spLocks noGrp="1"/>
          </p:cNvSpPr>
          <p:nvPr>
            <p:ph type="pic" sz="quarter" idx="19" hasCustomPrompt="1"/>
          </p:nvPr>
        </p:nvSpPr>
        <p:spPr>
          <a:xfrm>
            <a:off x="1" y="0"/>
            <a:ext cx="6588428" cy="6858000"/>
          </a:xfrm>
          <a:blipFill>
            <a:blip r:embed="rId2"/>
            <a:tile tx="0" ty="69850" sx="100000" sy="100000" flip="none" algn="ctr"/>
          </a:blipFill>
        </p:spPr>
        <p:txBody>
          <a:bodyPr anchor="ctr"/>
          <a:lstStyle>
            <a:lvl1pPr marL="0" indent="0" algn="ctr">
              <a:lnSpc>
                <a:spcPct val="100000"/>
              </a:lnSpc>
              <a:buNone/>
              <a:defRPr baseline="0">
                <a:latin typeface="Proximus" panose="00000500000000000000" pitchFamily="2" charset="0"/>
              </a:defRPr>
            </a:lvl1pPr>
          </a:lstStyle>
          <a:p>
            <a:r>
              <a:rPr lang="en-GB"/>
              <a:t>Click icon to change picture</a:t>
            </a:r>
          </a:p>
        </p:txBody>
      </p:sp>
      <p:sp>
        <p:nvSpPr>
          <p:cNvPr id="2" name="Title 1"/>
          <p:cNvSpPr>
            <a:spLocks noGrp="1"/>
          </p:cNvSpPr>
          <p:nvPr>
            <p:ph type="title" hasCustomPrompt="1"/>
          </p:nvPr>
        </p:nvSpPr>
        <p:spPr>
          <a:xfrm>
            <a:off x="7247489" y="503767"/>
            <a:ext cx="4320928" cy="1409743"/>
          </a:xfrm>
        </p:spPr>
        <p:txBody>
          <a:bodyPr/>
          <a:lstStyle>
            <a:lvl1pPr>
              <a:defRPr b="1">
                <a:solidFill>
                  <a:schemeClr val="bg1"/>
                </a:solidFill>
                <a:latin typeface="Proximus" panose="00000500000000000000" pitchFamily="2" charset="0"/>
              </a:defRPr>
            </a:lvl1pPr>
          </a:lstStyle>
          <a:p>
            <a:r>
              <a:rPr lang="en-US"/>
              <a:t>Click to edit slide title</a:t>
            </a:r>
            <a:endParaRPr lang="nl-BE"/>
          </a:p>
        </p:txBody>
      </p:sp>
      <p:sp>
        <p:nvSpPr>
          <p:cNvPr id="5" name="Text Placeholder 4">
            <a:extLst>
              <a:ext uri="{FF2B5EF4-FFF2-40B4-BE49-F238E27FC236}">
                <a16:creationId xmlns:a16="http://schemas.microsoft.com/office/drawing/2014/main" id="{92B82360-6E03-CB5A-DE23-8C03DE7AFF22}"/>
              </a:ext>
            </a:extLst>
          </p:cNvPr>
          <p:cNvSpPr>
            <a:spLocks noGrp="1"/>
          </p:cNvSpPr>
          <p:nvPr>
            <p:ph type="body" sz="quarter" idx="18"/>
          </p:nvPr>
        </p:nvSpPr>
        <p:spPr>
          <a:xfrm>
            <a:off x="7247467" y="2133599"/>
            <a:ext cx="4320404" cy="4127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780313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Blocks -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p:txBody>
          <a:bodyPr/>
          <a:lstStyle/>
          <a:p>
            <a:r>
              <a:rPr lang="en-US"/>
              <a:t>Click to edit Master title style</a:t>
            </a:r>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613833" y="1676400"/>
            <a:ext cx="4900789" cy="4584699"/>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216000" tIns="216000" rIns="216000" bIns="216000"/>
          <a:lstStyle>
            <a:lvl1pPr marL="0" indent="0">
              <a:spcAft>
                <a:spcPts val="800"/>
              </a:spcAft>
              <a:buNone/>
              <a:defRPr sz="2400">
                <a:solidFill>
                  <a:schemeClr val="bg1"/>
                </a:solidFill>
                <a:latin typeface="Proximus Light" panose="020B0604020202020204" charset="0"/>
              </a:defRPr>
            </a:lvl1pPr>
            <a:lvl2pPr marL="235194" indent="-234917">
              <a:defRPr sz="1867"/>
            </a:lvl2pPr>
            <a:lvl3pPr marL="479988">
              <a:defRPr>
                <a:latin typeface="+mn-lt"/>
              </a:defRPr>
            </a:lvl3pPr>
            <a:lvl4pPr marL="715182" indent="-235194">
              <a:spcBef>
                <a:spcPts val="800"/>
              </a:spcBef>
              <a:buFont typeface="Arial" panose="020B0604020202020204" pitchFamily="34" charset="0"/>
              <a:buChar char="•"/>
              <a:defRPr sz="1600">
                <a:latin typeface="Proximus Light" panose="00000400000000000000" pitchFamily="50" charset="0"/>
              </a:defRPr>
            </a:lvl4pPr>
            <a:lvl5pPr>
              <a:spcBef>
                <a:spcPts val="800"/>
              </a:spcBef>
              <a:defRPr sz="18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A4859FEF-708C-918C-2188-2D7CFCDD42BE}"/>
              </a:ext>
            </a:extLst>
          </p:cNvPr>
          <p:cNvSpPr>
            <a:spLocks noGrp="1"/>
          </p:cNvSpPr>
          <p:nvPr>
            <p:ph type="body" sz="quarter" idx="14"/>
          </p:nvPr>
        </p:nvSpPr>
        <p:spPr>
          <a:xfrm>
            <a:off x="6667628" y="1676400"/>
            <a:ext cx="4900789" cy="4584699"/>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216000" tIns="216000" rIns="216000" bIns="216000"/>
          <a:lstStyle>
            <a:lvl1pPr marL="0" indent="0">
              <a:spcAft>
                <a:spcPts val="800"/>
              </a:spcAft>
              <a:buNone/>
              <a:defRPr sz="2400">
                <a:solidFill>
                  <a:schemeClr val="bg1"/>
                </a:solidFill>
                <a:latin typeface="Proximus Light" panose="020B0604020202020204" charset="0"/>
              </a:defRPr>
            </a:lvl1pPr>
            <a:lvl2pPr marL="235194" indent="-234917">
              <a:defRPr sz="1867"/>
            </a:lvl2pPr>
            <a:lvl3pPr marL="479988">
              <a:defRPr>
                <a:latin typeface="+mn-lt"/>
              </a:defRPr>
            </a:lvl3pPr>
            <a:lvl4pPr marL="715182" indent="-235194">
              <a:spcBef>
                <a:spcPts val="800"/>
              </a:spcBef>
              <a:buFont typeface="Arial" panose="020B0604020202020204" pitchFamily="34" charset="0"/>
              <a:buChar char="•"/>
              <a:defRPr sz="1600">
                <a:latin typeface="Proximus Light" panose="00000400000000000000" pitchFamily="50" charset="0"/>
              </a:defRPr>
            </a:lvl4pPr>
            <a:lvl5pPr>
              <a:spcBef>
                <a:spcPts val="800"/>
              </a:spcBef>
              <a:defRPr sz="18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543858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Content slide - white bg - bullet menu">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b="1"/>
            </a:lvl1pPr>
          </a:lstStyle>
          <a:p>
            <a:r>
              <a:rPr lang="en-US"/>
              <a:t>Click to edit slide title</a:t>
            </a:r>
            <a:endParaRPr lang="nl-BE"/>
          </a:p>
        </p:txBody>
      </p:sp>
      <p:sp>
        <p:nvSpPr>
          <p:cNvPr id="11" name="Text Placeholder 2">
            <a:extLst>
              <a:ext uri="{FF2B5EF4-FFF2-40B4-BE49-F238E27FC236}">
                <a16:creationId xmlns:a16="http://schemas.microsoft.com/office/drawing/2014/main" id="{10193D06-FB5B-42EC-9101-F77EE2C16642}"/>
              </a:ext>
            </a:extLst>
          </p:cNvPr>
          <p:cNvSpPr>
            <a:spLocks noGrp="1"/>
          </p:cNvSpPr>
          <p:nvPr>
            <p:ph idx="1"/>
          </p:nvPr>
        </p:nvSpPr>
        <p:spPr>
          <a:xfrm>
            <a:off x="613835" y="1382400"/>
            <a:ext cx="10962216" cy="4690317"/>
          </a:xfrm>
          <a:prstGeom prst="rect">
            <a:avLst/>
          </a:prstGeom>
        </p:spPr>
        <p:txBody>
          <a:bodyPr vert="horz" lIns="0" tIns="0" rIns="0" bIns="0" numCol="1" spcCol="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Tree>
    <p:extLst>
      <p:ext uri="{BB962C8B-B14F-4D97-AF65-F5344CB8AC3E}">
        <p14:creationId xmlns:p14="http://schemas.microsoft.com/office/powerpoint/2010/main" val="233534520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Blocks -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p:txBody>
          <a:bodyPr/>
          <a:lstStyle/>
          <a:p>
            <a:r>
              <a:rPr lang="en-US"/>
              <a:t>Click to edit Master title style</a:t>
            </a:r>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613833" y="1676400"/>
            <a:ext cx="3360000" cy="4584699"/>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216000" tIns="216000" rIns="216000" bIns="216000"/>
          <a:lstStyle>
            <a:lvl1pPr marL="0" indent="0">
              <a:spcAft>
                <a:spcPts val="800"/>
              </a:spcAft>
              <a:buNone/>
              <a:defRPr sz="2400">
                <a:solidFill>
                  <a:schemeClr val="bg1"/>
                </a:solidFill>
                <a:latin typeface="Proximus Light" panose="020B0604020202020204" charset="0"/>
              </a:defRPr>
            </a:lvl1pPr>
            <a:lvl2pPr marL="235194" indent="-234917">
              <a:defRPr sz="1867"/>
            </a:lvl2pPr>
            <a:lvl3pPr marL="479988">
              <a:defRPr>
                <a:latin typeface="+mn-lt"/>
              </a:defRPr>
            </a:lvl3pPr>
            <a:lvl4pPr marL="715182" indent="-235194">
              <a:spcBef>
                <a:spcPts val="800"/>
              </a:spcBef>
              <a:buFont typeface="Arial" panose="020B0604020202020204" pitchFamily="34" charset="0"/>
              <a:buChar char="•"/>
              <a:defRPr sz="1600">
                <a:latin typeface="Proximus Light" panose="00000400000000000000" pitchFamily="50" charset="0"/>
              </a:defRPr>
            </a:lvl4pPr>
            <a:lvl5pPr>
              <a:spcBef>
                <a:spcPts val="800"/>
              </a:spcBef>
              <a:defRPr sz="18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26366419-4CB1-22C2-BFEF-A47ACEC91643}"/>
              </a:ext>
            </a:extLst>
          </p:cNvPr>
          <p:cNvSpPr>
            <a:spLocks noGrp="1"/>
          </p:cNvSpPr>
          <p:nvPr>
            <p:ph type="body" sz="quarter" idx="14"/>
          </p:nvPr>
        </p:nvSpPr>
        <p:spPr>
          <a:xfrm>
            <a:off x="4411125" y="1676400"/>
            <a:ext cx="3360000" cy="4584699"/>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216000" tIns="216000" rIns="216000" bIns="216000"/>
          <a:lstStyle>
            <a:lvl1pPr marL="0" indent="0">
              <a:spcAft>
                <a:spcPts val="800"/>
              </a:spcAft>
              <a:buNone/>
              <a:defRPr sz="2400">
                <a:solidFill>
                  <a:schemeClr val="bg1"/>
                </a:solidFill>
                <a:latin typeface="Proximus Light" panose="020B0604020202020204" charset="0"/>
              </a:defRPr>
            </a:lvl1pPr>
            <a:lvl2pPr marL="235194" indent="-234917">
              <a:defRPr sz="1867"/>
            </a:lvl2pPr>
            <a:lvl3pPr marL="479988">
              <a:defRPr>
                <a:latin typeface="+mn-lt"/>
              </a:defRPr>
            </a:lvl3pPr>
            <a:lvl4pPr marL="715182" indent="-235194">
              <a:spcBef>
                <a:spcPts val="800"/>
              </a:spcBef>
              <a:buFont typeface="Arial" panose="020B0604020202020204" pitchFamily="34" charset="0"/>
              <a:buChar char="•"/>
              <a:defRPr sz="1600">
                <a:latin typeface="Proximus Light" panose="00000400000000000000" pitchFamily="50" charset="0"/>
              </a:defRPr>
            </a:lvl4pPr>
            <a:lvl5pPr>
              <a:spcBef>
                <a:spcPts val="800"/>
              </a:spcBef>
              <a:defRPr sz="18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2498A6E2-70E0-E343-408B-2BDF74C11E13}"/>
              </a:ext>
            </a:extLst>
          </p:cNvPr>
          <p:cNvSpPr>
            <a:spLocks noGrp="1"/>
          </p:cNvSpPr>
          <p:nvPr>
            <p:ph type="body" sz="quarter" idx="15"/>
          </p:nvPr>
        </p:nvSpPr>
        <p:spPr>
          <a:xfrm>
            <a:off x="8208417" y="1676400"/>
            <a:ext cx="3360000" cy="4584699"/>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216000" tIns="216000" rIns="216000" bIns="216000"/>
          <a:lstStyle>
            <a:lvl1pPr marL="0" indent="0">
              <a:spcAft>
                <a:spcPts val="800"/>
              </a:spcAft>
              <a:buNone/>
              <a:defRPr sz="2400">
                <a:solidFill>
                  <a:schemeClr val="bg1"/>
                </a:solidFill>
                <a:latin typeface="Proximus Light" panose="020B0604020202020204" charset="0"/>
              </a:defRPr>
            </a:lvl1pPr>
            <a:lvl2pPr marL="235194" indent="-234917">
              <a:defRPr sz="1867"/>
            </a:lvl2pPr>
            <a:lvl3pPr marL="479988">
              <a:defRPr>
                <a:latin typeface="+mn-lt"/>
              </a:defRPr>
            </a:lvl3pPr>
            <a:lvl4pPr marL="715182" indent="-235194">
              <a:spcBef>
                <a:spcPts val="800"/>
              </a:spcBef>
              <a:buFont typeface="Arial" panose="020B0604020202020204" pitchFamily="34" charset="0"/>
              <a:buChar char="•"/>
              <a:defRPr sz="1600">
                <a:latin typeface="Proximus Light" panose="00000400000000000000" pitchFamily="50" charset="0"/>
              </a:defRPr>
            </a:lvl4pPr>
            <a:lvl5pPr>
              <a:spcBef>
                <a:spcPts val="800"/>
              </a:spcBef>
              <a:defRPr sz="18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173099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ver - Gradient">
    <p:bg>
      <p:bgPr>
        <a:gradFill>
          <a:gsLst>
            <a:gs pos="25000">
              <a:schemeClr val="bg1"/>
            </a:gs>
            <a:gs pos="100000">
              <a:srgbClr val="D12E67"/>
            </a:gs>
          </a:gsLst>
          <a:lin ang="3000000" scaled="0"/>
        </a:gra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13836" y="504000"/>
            <a:ext cx="10962217" cy="1748400"/>
          </a:xfrm>
        </p:spPr>
        <p:txBody>
          <a:bodyPr anchor="b">
            <a:noAutofit/>
          </a:bodyPr>
          <a:lstStyle>
            <a:lvl1pPr>
              <a:defRPr sz="5600" b="0">
                <a:solidFill>
                  <a:srgbClr val="FFFFFF"/>
                </a:solidFill>
                <a:latin typeface="Proximus ExtraBold" panose="00000900000000000000" pitchFamily="2" charset="0"/>
              </a:defRPr>
            </a:lvl1pPr>
          </a:lstStyle>
          <a:p>
            <a:r>
              <a:rPr lang="en-US"/>
              <a:t>Click to edit </a:t>
            </a:r>
            <a:br>
              <a:rPr lang="en-US"/>
            </a:br>
            <a:r>
              <a:rPr lang="en-US"/>
              <a:t>presentation title</a:t>
            </a:r>
            <a:endParaRPr lang="nl-BE"/>
          </a:p>
        </p:txBody>
      </p:sp>
      <p:sp>
        <p:nvSpPr>
          <p:cNvPr id="6" name="Subtitle 2">
            <a:extLst>
              <a:ext uri="{FF2B5EF4-FFF2-40B4-BE49-F238E27FC236}">
                <a16:creationId xmlns:a16="http://schemas.microsoft.com/office/drawing/2014/main" id="{56176E85-8408-4B89-A7FD-D33D192C3CE4}"/>
              </a:ext>
            </a:extLst>
          </p:cNvPr>
          <p:cNvSpPr>
            <a:spLocks noGrp="1"/>
          </p:cNvSpPr>
          <p:nvPr>
            <p:ph type="subTitle" idx="1" hasCustomPrompt="1"/>
          </p:nvPr>
        </p:nvSpPr>
        <p:spPr>
          <a:xfrm>
            <a:off x="613836" y="2624867"/>
            <a:ext cx="10962217" cy="1335741"/>
          </a:xfrm>
        </p:spPr>
        <p:txBody>
          <a:bodyPr/>
          <a:lstStyle>
            <a:lvl1pPr marL="0" indent="0" algn="l">
              <a:lnSpc>
                <a:spcPct val="100000"/>
              </a:lnSpc>
              <a:buNone/>
              <a:defRPr sz="3467">
                <a:solidFill>
                  <a:schemeClr val="tx1"/>
                </a:solidFill>
                <a:latin typeface="Proximus Light" panose="00000500000000000000" pitchFamily="2"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Subtitle</a:t>
            </a:r>
            <a:endParaRPr lang="nl-BE"/>
          </a:p>
        </p:txBody>
      </p:sp>
      <p:pic>
        <p:nvPicPr>
          <p:cNvPr id="5" name="Graphic 4">
            <a:extLst>
              <a:ext uri="{FF2B5EF4-FFF2-40B4-BE49-F238E27FC236}">
                <a16:creationId xmlns:a16="http://schemas.microsoft.com/office/drawing/2014/main" id="{FDB73C8E-6ED7-46A1-909B-13EF4FD2AEA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702899" y="5724528"/>
            <a:ext cx="889207" cy="720725"/>
          </a:xfrm>
          <a:prstGeom prst="rect">
            <a:avLst/>
          </a:prstGeom>
        </p:spPr>
      </p:pic>
      <p:sp>
        <p:nvSpPr>
          <p:cNvPr id="3" name="Date Placeholder 8">
            <a:extLst>
              <a:ext uri="{FF2B5EF4-FFF2-40B4-BE49-F238E27FC236}">
                <a16:creationId xmlns:a16="http://schemas.microsoft.com/office/drawing/2014/main" id="{C6D253A4-9E71-17BB-14ED-6271A75930B9}"/>
              </a:ext>
            </a:extLst>
          </p:cNvPr>
          <p:cNvSpPr>
            <a:spLocks noGrp="1"/>
          </p:cNvSpPr>
          <p:nvPr>
            <p:ph type="dt" sz="half" idx="2"/>
          </p:nvPr>
        </p:nvSpPr>
        <p:spPr>
          <a:xfrm>
            <a:off x="613835" y="5821863"/>
            <a:ext cx="204560" cy="377528"/>
          </a:xfrm>
          <a:prstGeom prst="roundRect">
            <a:avLst>
              <a:gd name="adj" fmla="val 50000"/>
            </a:avLst>
          </a:prstGeom>
          <a:solidFill>
            <a:schemeClr val="tx1"/>
          </a:solidFill>
        </p:spPr>
        <p:txBody>
          <a:bodyPr vert="horz" wrap="none" lIns="72000" tIns="36000" rIns="72000" bIns="36000" rtlCol="0" anchor="ctr">
            <a:spAutoFit/>
          </a:bodyPr>
          <a:lstStyle>
            <a:lvl1pPr algn="l">
              <a:defRPr sz="1600">
                <a:solidFill>
                  <a:schemeClr val="bg1"/>
                </a:solidFill>
              </a:defRPr>
            </a:lvl1pPr>
          </a:lstStyle>
          <a:p>
            <a:endParaRPr lang="en-US"/>
          </a:p>
        </p:txBody>
      </p:sp>
    </p:spTree>
    <p:extLst>
      <p:ext uri="{BB962C8B-B14F-4D97-AF65-F5344CB8AC3E}">
        <p14:creationId xmlns:p14="http://schemas.microsoft.com/office/powerpoint/2010/main" val="164021615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ver - Gradient - Image">
    <p:bg>
      <p:bgPr>
        <a:gradFill>
          <a:gsLst>
            <a:gs pos="25000">
              <a:schemeClr val="bg1"/>
            </a:gs>
            <a:gs pos="100000">
              <a:srgbClr val="D12E67"/>
            </a:gs>
          </a:gsLst>
          <a:lin ang="3000000" scaled="0"/>
        </a:gradFill>
        <a:effectLst/>
      </p:bgPr>
    </p:bg>
    <p:spTree>
      <p:nvGrpSpPr>
        <p:cNvPr id="1" name=""/>
        <p:cNvGrpSpPr/>
        <p:nvPr/>
      </p:nvGrpSpPr>
      <p:grpSpPr>
        <a:xfrm>
          <a:off x="0" y="0"/>
          <a:ext cx="0" cy="0"/>
          <a:chOff x="0" y="0"/>
          <a:chExt cx="0" cy="0"/>
        </a:xfrm>
      </p:grpSpPr>
      <p:grpSp>
        <p:nvGrpSpPr>
          <p:cNvPr id="11" name="Graphic 4">
            <a:extLst>
              <a:ext uri="{FF2B5EF4-FFF2-40B4-BE49-F238E27FC236}">
                <a16:creationId xmlns:a16="http://schemas.microsoft.com/office/drawing/2014/main" id="{15EDE4F8-FC59-7BE7-1801-8537A16910DD}"/>
              </a:ext>
            </a:extLst>
          </p:cNvPr>
          <p:cNvGrpSpPr/>
          <p:nvPr userDrawn="1"/>
        </p:nvGrpSpPr>
        <p:grpSpPr>
          <a:xfrm>
            <a:off x="10706048" y="5727769"/>
            <a:ext cx="884432" cy="712555"/>
            <a:chOff x="8029536" y="4295826"/>
            <a:chExt cx="663324" cy="534416"/>
          </a:xfrm>
        </p:grpSpPr>
        <p:grpSp>
          <p:nvGrpSpPr>
            <p:cNvPr id="12" name="Graphic 4">
              <a:extLst>
                <a:ext uri="{FF2B5EF4-FFF2-40B4-BE49-F238E27FC236}">
                  <a16:creationId xmlns:a16="http://schemas.microsoft.com/office/drawing/2014/main" id="{6940611F-F0A4-39EB-FD9E-D5424E86FCE5}"/>
                </a:ext>
              </a:extLst>
            </p:cNvPr>
            <p:cNvGrpSpPr/>
            <p:nvPr userDrawn="1"/>
          </p:nvGrpSpPr>
          <p:grpSpPr>
            <a:xfrm>
              <a:off x="8029536" y="4708959"/>
              <a:ext cx="663324" cy="121283"/>
              <a:chOff x="8029536" y="4708959"/>
              <a:chExt cx="663324" cy="121283"/>
            </a:xfrm>
            <a:solidFill>
              <a:srgbClr val="FFFFFF"/>
            </a:solidFill>
          </p:grpSpPr>
          <p:sp>
            <p:nvSpPr>
              <p:cNvPr id="13" name="Freeform: Shape 12">
                <a:extLst>
                  <a:ext uri="{FF2B5EF4-FFF2-40B4-BE49-F238E27FC236}">
                    <a16:creationId xmlns:a16="http://schemas.microsoft.com/office/drawing/2014/main" id="{35DF712F-A3AE-145E-2BE5-0AC407A707EF}"/>
                  </a:ext>
                </a:extLst>
              </p:cNvPr>
              <p:cNvSpPr/>
              <p:nvPr userDrawn="1"/>
            </p:nvSpPr>
            <p:spPr>
              <a:xfrm>
                <a:off x="8029536" y="4708959"/>
                <a:ext cx="81783" cy="121283"/>
              </a:xfrm>
              <a:custGeom>
                <a:avLst/>
                <a:gdLst>
                  <a:gd name="connsiteX0" fmla="*/ 81784 w 81783"/>
                  <a:gd name="connsiteY0" fmla="*/ 44180 h 121283"/>
                  <a:gd name="connsiteX1" fmla="*/ 40740 w 81783"/>
                  <a:gd name="connsiteY1" fmla="*/ 88640 h 121283"/>
                  <a:gd name="connsiteX2" fmla="*/ 20522 w 81783"/>
                  <a:gd name="connsiteY2" fmla="*/ 82883 h 121283"/>
                  <a:gd name="connsiteX3" fmla="*/ 20522 w 81783"/>
                  <a:gd name="connsiteY3" fmla="*/ 121283 h 121283"/>
                  <a:gd name="connsiteX4" fmla="*/ 0 w 81783"/>
                  <a:gd name="connsiteY4" fmla="*/ 121283 h 121283"/>
                  <a:gd name="connsiteX5" fmla="*/ 0 w 81783"/>
                  <a:gd name="connsiteY5" fmla="*/ 43688 h 121283"/>
                  <a:gd name="connsiteX6" fmla="*/ 40740 w 81783"/>
                  <a:gd name="connsiteY6" fmla="*/ 0 h 121283"/>
                  <a:gd name="connsiteX7" fmla="*/ 81784 w 81783"/>
                  <a:gd name="connsiteY7" fmla="*/ 44180 h 121283"/>
                  <a:gd name="connsiteX8" fmla="*/ 61121 w 81783"/>
                  <a:gd name="connsiteY8" fmla="*/ 44180 h 121283"/>
                  <a:gd name="connsiteX9" fmla="*/ 40763 w 81783"/>
                  <a:gd name="connsiteY9" fmla="*/ 19469 h 121283"/>
                  <a:gd name="connsiteX10" fmla="*/ 20545 w 81783"/>
                  <a:gd name="connsiteY10" fmla="*/ 44180 h 121283"/>
                  <a:gd name="connsiteX11" fmla="*/ 40763 w 81783"/>
                  <a:gd name="connsiteY11" fmla="*/ 69218 h 121283"/>
                  <a:gd name="connsiteX12" fmla="*/ 61121 w 81783"/>
                  <a:gd name="connsiteY12" fmla="*/ 44180 h 121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1783" h="121283">
                    <a:moveTo>
                      <a:pt x="81784" y="44180"/>
                    </a:moveTo>
                    <a:cubicBezTo>
                      <a:pt x="81784" y="72798"/>
                      <a:pt x="64210" y="88640"/>
                      <a:pt x="40740" y="88640"/>
                    </a:cubicBezTo>
                    <a:cubicBezTo>
                      <a:pt x="33111" y="88640"/>
                      <a:pt x="26278" y="86768"/>
                      <a:pt x="20522" y="82883"/>
                    </a:cubicBezTo>
                    <a:lnTo>
                      <a:pt x="20522" y="121283"/>
                    </a:lnTo>
                    <a:lnTo>
                      <a:pt x="0" y="121283"/>
                    </a:lnTo>
                    <a:lnTo>
                      <a:pt x="0" y="43688"/>
                    </a:lnTo>
                    <a:cubicBezTo>
                      <a:pt x="0" y="15234"/>
                      <a:pt x="17410" y="0"/>
                      <a:pt x="40740" y="0"/>
                    </a:cubicBezTo>
                    <a:cubicBezTo>
                      <a:pt x="64210" y="23"/>
                      <a:pt x="81784" y="15725"/>
                      <a:pt x="81784" y="44180"/>
                    </a:cubicBezTo>
                    <a:close/>
                    <a:moveTo>
                      <a:pt x="61121" y="44180"/>
                    </a:moveTo>
                    <a:cubicBezTo>
                      <a:pt x="61121" y="26770"/>
                      <a:pt x="53189" y="19469"/>
                      <a:pt x="40763" y="19469"/>
                    </a:cubicBezTo>
                    <a:cubicBezTo>
                      <a:pt x="28478" y="19469"/>
                      <a:pt x="20545" y="26770"/>
                      <a:pt x="20545" y="44180"/>
                    </a:cubicBezTo>
                    <a:cubicBezTo>
                      <a:pt x="20545" y="61917"/>
                      <a:pt x="28478" y="69218"/>
                      <a:pt x="40763" y="69218"/>
                    </a:cubicBezTo>
                    <a:cubicBezTo>
                      <a:pt x="53189" y="69194"/>
                      <a:pt x="61121" y="61893"/>
                      <a:pt x="61121" y="44180"/>
                    </a:cubicBezTo>
                    <a:close/>
                  </a:path>
                </a:pathLst>
              </a:custGeom>
              <a:solidFill>
                <a:srgbClr val="FFFFFF"/>
              </a:solidFill>
              <a:ln w="2339" cap="flat">
                <a:noFill/>
                <a:prstDash val="solid"/>
                <a:miter/>
              </a:ln>
            </p:spPr>
            <p:txBody>
              <a:bodyPr rtlCol="0" anchor="ctr"/>
              <a:lstStyle/>
              <a:p>
                <a:endParaRPr lang="en-US" sz="2400"/>
              </a:p>
            </p:txBody>
          </p:sp>
          <p:sp>
            <p:nvSpPr>
              <p:cNvPr id="14" name="Freeform: Shape 13">
                <a:extLst>
                  <a:ext uri="{FF2B5EF4-FFF2-40B4-BE49-F238E27FC236}">
                    <a16:creationId xmlns:a16="http://schemas.microsoft.com/office/drawing/2014/main" id="{0FF1B7DF-7CA9-52C1-7C8E-B6FBA392CD79}"/>
                  </a:ext>
                </a:extLst>
              </p:cNvPr>
              <p:cNvSpPr/>
              <p:nvPr userDrawn="1"/>
            </p:nvSpPr>
            <p:spPr>
              <a:xfrm>
                <a:off x="8126717" y="4708983"/>
                <a:ext cx="46191" cy="87072"/>
              </a:xfrm>
              <a:custGeom>
                <a:avLst/>
                <a:gdLst>
                  <a:gd name="connsiteX0" fmla="*/ 20522 w 46191"/>
                  <a:gd name="connsiteY0" fmla="*/ 87072 h 87072"/>
                  <a:gd name="connsiteX1" fmla="*/ 0 w 46191"/>
                  <a:gd name="connsiteY1" fmla="*/ 87072 h 87072"/>
                  <a:gd name="connsiteX2" fmla="*/ 0 w 46191"/>
                  <a:gd name="connsiteY2" fmla="*/ 36855 h 87072"/>
                  <a:gd name="connsiteX3" fmla="*/ 37791 w 46191"/>
                  <a:gd name="connsiteY3" fmla="*/ 0 h 87072"/>
                  <a:gd name="connsiteX4" fmla="*/ 46192 w 46191"/>
                  <a:gd name="connsiteY4" fmla="*/ 772 h 87072"/>
                  <a:gd name="connsiteX5" fmla="*/ 42776 w 46191"/>
                  <a:gd name="connsiteY5" fmla="*/ 20358 h 87072"/>
                  <a:gd name="connsiteX6" fmla="*/ 37791 w 46191"/>
                  <a:gd name="connsiteY6" fmla="*/ 20054 h 87072"/>
                  <a:gd name="connsiteX7" fmla="*/ 20522 w 46191"/>
                  <a:gd name="connsiteY7" fmla="*/ 38400 h 87072"/>
                  <a:gd name="connsiteX8" fmla="*/ 20522 w 46191"/>
                  <a:gd name="connsiteY8" fmla="*/ 87072 h 87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91" h="87072">
                    <a:moveTo>
                      <a:pt x="20522" y="87072"/>
                    </a:moveTo>
                    <a:lnTo>
                      <a:pt x="0" y="87072"/>
                    </a:lnTo>
                    <a:lnTo>
                      <a:pt x="0" y="36855"/>
                    </a:lnTo>
                    <a:cubicBezTo>
                      <a:pt x="0" y="15865"/>
                      <a:pt x="13689" y="0"/>
                      <a:pt x="37791" y="0"/>
                    </a:cubicBezTo>
                    <a:cubicBezTo>
                      <a:pt x="41840" y="0"/>
                      <a:pt x="44952" y="468"/>
                      <a:pt x="46192" y="772"/>
                    </a:cubicBezTo>
                    <a:lnTo>
                      <a:pt x="42776" y="20358"/>
                    </a:lnTo>
                    <a:cubicBezTo>
                      <a:pt x="41535" y="20194"/>
                      <a:pt x="39195" y="20054"/>
                      <a:pt x="37791" y="20054"/>
                    </a:cubicBezTo>
                    <a:cubicBezTo>
                      <a:pt x="25974" y="20054"/>
                      <a:pt x="20522" y="27214"/>
                      <a:pt x="20522" y="38400"/>
                    </a:cubicBezTo>
                    <a:lnTo>
                      <a:pt x="20522" y="87072"/>
                    </a:lnTo>
                    <a:close/>
                  </a:path>
                </a:pathLst>
              </a:custGeom>
              <a:solidFill>
                <a:srgbClr val="FFFFFF"/>
              </a:solidFill>
              <a:ln w="2339" cap="flat">
                <a:noFill/>
                <a:prstDash val="solid"/>
                <a:miter/>
              </a:ln>
            </p:spPr>
            <p:txBody>
              <a:bodyPr rtlCol="0" anchor="ctr"/>
              <a:lstStyle/>
              <a:p>
                <a:endParaRPr lang="en-US" sz="2400"/>
              </a:p>
            </p:txBody>
          </p:sp>
          <p:sp>
            <p:nvSpPr>
              <p:cNvPr id="15" name="Freeform: Shape 14">
                <a:extLst>
                  <a:ext uri="{FF2B5EF4-FFF2-40B4-BE49-F238E27FC236}">
                    <a16:creationId xmlns:a16="http://schemas.microsoft.com/office/drawing/2014/main" id="{4D513318-B548-1E38-6DE2-BC4B8CED227D}"/>
                  </a:ext>
                </a:extLst>
              </p:cNvPr>
              <p:cNvSpPr/>
              <p:nvPr userDrawn="1"/>
            </p:nvSpPr>
            <p:spPr>
              <a:xfrm>
                <a:off x="8176629" y="4708983"/>
                <a:ext cx="83351" cy="88616"/>
              </a:xfrm>
              <a:custGeom>
                <a:avLst/>
                <a:gdLst>
                  <a:gd name="connsiteX0" fmla="*/ 41676 w 83351"/>
                  <a:gd name="connsiteY0" fmla="*/ 88616 h 88616"/>
                  <a:gd name="connsiteX1" fmla="*/ 0 w 83351"/>
                  <a:gd name="connsiteY1" fmla="*/ 44156 h 88616"/>
                  <a:gd name="connsiteX2" fmla="*/ 41676 w 83351"/>
                  <a:gd name="connsiteY2" fmla="*/ 0 h 88616"/>
                  <a:gd name="connsiteX3" fmla="*/ 83351 w 83351"/>
                  <a:gd name="connsiteY3" fmla="*/ 44156 h 88616"/>
                  <a:gd name="connsiteX4" fmla="*/ 41676 w 83351"/>
                  <a:gd name="connsiteY4" fmla="*/ 88616 h 88616"/>
                  <a:gd name="connsiteX5" fmla="*/ 41676 w 83351"/>
                  <a:gd name="connsiteY5" fmla="*/ 19422 h 88616"/>
                  <a:gd name="connsiteX6" fmla="*/ 20686 w 83351"/>
                  <a:gd name="connsiteY6" fmla="*/ 44297 h 88616"/>
                  <a:gd name="connsiteX7" fmla="*/ 41676 w 83351"/>
                  <a:gd name="connsiteY7" fmla="*/ 69171 h 88616"/>
                  <a:gd name="connsiteX8" fmla="*/ 62666 w 83351"/>
                  <a:gd name="connsiteY8" fmla="*/ 44297 h 88616"/>
                  <a:gd name="connsiteX9" fmla="*/ 41676 w 83351"/>
                  <a:gd name="connsiteY9" fmla="*/ 19422 h 88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351" h="88616">
                    <a:moveTo>
                      <a:pt x="41676" y="88616"/>
                    </a:moveTo>
                    <a:cubicBezTo>
                      <a:pt x="18205" y="88616"/>
                      <a:pt x="0" y="72915"/>
                      <a:pt x="0" y="44156"/>
                    </a:cubicBezTo>
                    <a:cubicBezTo>
                      <a:pt x="0" y="15701"/>
                      <a:pt x="18182" y="0"/>
                      <a:pt x="41676" y="0"/>
                    </a:cubicBezTo>
                    <a:cubicBezTo>
                      <a:pt x="65146" y="0"/>
                      <a:pt x="83351" y="15701"/>
                      <a:pt x="83351" y="44156"/>
                    </a:cubicBezTo>
                    <a:cubicBezTo>
                      <a:pt x="83351" y="72915"/>
                      <a:pt x="65146" y="88616"/>
                      <a:pt x="41676" y="88616"/>
                    </a:cubicBezTo>
                    <a:close/>
                    <a:moveTo>
                      <a:pt x="41676" y="19422"/>
                    </a:moveTo>
                    <a:cubicBezTo>
                      <a:pt x="29391" y="19422"/>
                      <a:pt x="20686" y="26723"/>
                      <a:pt x="20686" y="44297"/>
                    </a:cubicBezTo>
                    <a:cubicBezTo>
                      <a:pt x="20686" y="61870"/>
                      <a:pt x="29391" y="69171"/>
                      <a:pt x="41676" y="69171"/>
                    </a:cubicBezTo>
                    <a:cubicBezTo>
                      <a:pt x="53797" y="69171"/>
                      <a:pt x="62666" y="61870"/>
                      <a:pt x="62666" y="44297"/>
                    </a:cubicBezTo>
                    <a:cubicBezTo>
                      <a:pt x="62666" y="26723"/>
                      <a:pt x="53797" y="19422"/>
                      <a:pt x="41676" y="19422"/>
                    </a:cubicBezTo>
                    <a:close/>
                  </a:path>
                </a:pathLst>
              </a:custGeom>
              <a:solidFill>
                <a:srgbClr val="FFFFFF"/>
              </a:solidFill>
              <a:ln w="2339" cap="flat">
                <a:noFill/>
                <a:prstDash val="solid"/>
                <a:miter/>
              </a:ln>
            </p:spPr>
            <p:txBody>
              <a:bodyPr rtlCol="0" anchor="ctr"/>
              <a:lstStyle/>
              <a:p>
                <a:endParaRPr lang="en-US" sz="2400"/>
              </a:p>
            </p:txBody>
          </p:sp>
          <p:sp>
            <p:nvSpPr>
              <p:cNvPr id="16" name="Freeform: Shape 15">
                <a:extLst>
                  <a:ext uri="{FF2B5EF4-FFF2-40B4-BE49-F238E27FC236}">
                    <a16:creationId xmlns:a16="http://schemas.microsoft.com/office/drawing/2014/main" id="{488B492F-3B08-F01C-AC04-3066CB281937}"/>
                  </a:ext>
                </a:extLst>
              </p:cNvPr>
              <p:cNvSpPr/>
              <p:nvPr userDrawn="1"/>
            </p:nvSpPr>
            <p:spPr>
              <a:xfrm>
                <a:off x="8262157" y="4710527"/>
                <a:ext cx="82415" cy="85527"/>
              </a:xfrm>
              <a:custGeom>
                <a:avLst/>
                <a:gdLst>
                  <a:gd name="connsiteX0" fmla="*/ 52557 w 82415"/>
                  <a:gd name="connsiteY0" fmla="*/ 42448 h 85527"/>
                  <a:gd name="connsiteX1" fmla="*/ 82415 w 82415"/>
                  <a:gd name="connsiteY1" fmla="*/ 85528 h 85527"/>
                  <a:gd name="connsiteX2" fmla="*/ 59717 w 82415"/>
                  <a:gd name="connsiteY2" fmla="*/ 85528 h 85527"/>
                  <a:gd name="connsiteX3" fmla="*/ 41208 w 82415"/>
                  <a:gd name="connsiteY3" fmla="*/ 57705 h 85527"/>
                  <a:gd name="connsiteX4" fmla="*/ 22698 w 82415"/>
                  <a:gd name="connsiteY4" fmla="*/ 85528 h 85527"/>
                  <a:gd name="connsiteX5" fmla="*/ 0 w 82415"/>
                  <a:gd name="connsiteY5" fmla="*/ 85528 h 85527"/>
                  <a:gd name="connsiteX6" fmla="*/ 29999 w 82415"/>
                  <a:gd name="connsiteY6" fmla="*/ 42448 h 85527"/>
                  <a:gd name="connsiteX7" fmla="*/ 0 w 82415"/>
                  <a:gd name="connsiteY7" fmla="*/ 0 h 85527"/>
                  <a:gd name="connsiteX8" fmla="*/ 22862 w 82415"/>
                  <a:gd name="connsiteY8" fmla="*/ 0 h 85527"/>
                  <a:gd name="connsiteX9" fmla="*/ 41208 w 82415"/>
                  <a:gd name="connsiteY9" fmla="*/ 27519 h 85527"/>
                  <a:gd name="connsiteX10" fmla="*/ 59553 w 82415"/>
                  <a:gd name="connsiteY10" fmla="*/ 0 h 85527"/>
                  <a:gd name="connsiteX11" fmla="*/ 82415 w 82415"/>
                  <a:gd name="connsiteY11" fmla="*/ 0 h 85527"/>
                  <a:gd name="connsiteX12" fmla="*/ 52557 w 82415"/>
                  <a:gd name="connsiteY12" fmla="*/ 42448 h 8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415" h="85527">
                    <a:moveTo>
                      <a:pt x="52557" y="42448"/>
                    </a:moveTo>
                    <a:lnTo>
                      <a:pt x="82415" y="85528"/>
                    </a:lnTo>
                    <a:lnTo>
                      <a:pt x="59717" y="85528"/>
                    </a:lnTo>
                    <a:lnTo>
                      <a:pt x="41208" y="57705"/>
                    </a:lnTo>
                    <a:lnTo>
                      <a:pt x="22698" y="85528"/>
                    </a:lnTo>
                    <a:lnTo>
                      <a:pt x="0" y="85528"/>
                    </a:lnTo>
                    <a:lnTo>
                      <a:pt x="29999" y="42448"/>
                    </a:lnTo>
                    <a:lnTo>
                      <a:pt x="0" y="0"/>
                    </a:lnTo>
                    <a:lnTo>
                      <a:pt x="22862" y="0"/>
                    </a:lnTo>
                    <a:lnTo>
                      <a:pt x="41208" y="27519"/>
                    </a:lnTo>
                    <a:lnTo>
                      <a:pt x="59553" y="0"/>
                    </a:lnTo>
                    <a:lnTo>
                      <a:pt x="82415" y="0"/>
                    </a:lnTo>
                    <a:lnTo>
                      <a:pt x="52557" y="42448"/>
                    </a:lnTo>
                    <a:close/>
                  </a:path>
                </a:pathLst>
              </a:custGeom>
              <a:solidFill>
                <a:srgbClr val="FFFFFF"/>
              </a:solidFill>
              <a:ln w="2339" cap="flat">
                <a:noFill/>
                <a:prstDash val="solid"/>
                <a:miter/>
              </a:ln>
            </p:spPr>
            <p:txBody>
              <a:bodyPr rtlCol="0" anchor="ctr"/>
              <a:lstStyle/>
              <a:p>
                <a:endParaRPr lang="en-US" sz="2400"/>
              </a:p>
            </p:txBody>
          </p:sp>
          <p:sp>
            <p:nvSpPr>
              <p:cNvPr id="17" name="Freeform: Shape 16">
                <a:extLst>
                  <a:ext uri="{FF2B5EF4-FFF2-40B4-BE49-F238E27FC236}">
                    <a16:creationId xmlns:a16="http://schemas.microsoft.com/office/drawing/2014/main" id="{20FD94F1-C7F8-55C6-5A21-D125F19E6533}"/>
                  </a:ext>
                </a:extLst>
              </p:cNvPr>
              <p:cNvSpPr/>
              <p:nvPr userDrawn="1"/>
            </p:nvSpPr>
            <p:spPr>
              <a:xfrm>
                <a:off x="8356062" y="4710527"/>
                <a:ext cx="20521" cy="85504"/>
              </a:xfrm>
              <a:custGeom>
                <a:avLst/>
                <a:gdLst>
                  <a:gd name="connsiteX0" fmla="*/ 0 w 20521"/>
                  <a:gd name="connsiteY0" fmla="*/ 0 h 85504"/>
                  <a:gd name="connsiteX1" fmla="*/ 20522 w 20521"/>
                  <a:gd name="connsiteY1" fmla="*/ 0 h 85504"/>
                  <a:gd name="connsiteX2" fmla="*/ 20522 w 20521"/>
                  <a:gd name="connsiteY2" fmla="*/ 85504 h 85504"/>
                  <a:gd name="connsiteX3" fmla="*/ 0 w 20521"/>
                  <a:gd name="connsiteY3" fmla="*/ 85504 h 85504"/>
                  <a:gd name="connsiteX4" fmla="*/ 0 w 20521"/>
                  <a:gd name="connsiteY4" fmla="*/ 0 h 85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21" h="85504">
                    <a:moveTo>
                      <a:pt x="0" y="0"/>
                    </a:moveTo>
                    <a:lnTo>
                      <a:pt x="20522" y="0"/>
                    </a:lnTo>
                    <a:lnTo>
                      <a:pt x="20522" y="85504"/>
                    </a:lnTo>
                    <a:lnTo>
                      <a:pt x="0" y="85504"/>
                    </a:lnTo>
                    <a:lnTo>
                      <a:pt x="0" y="0"/>
                    </a:lnTo>
                    <a:close/>
                  </a:path>
                </a:pathLst>
              </a:custGeom>
              <a:solidFill>
                <a:srgbClr val="FFFFFF"/>
              </a:solidFill>
              <a:ln w="2339" cap="flat">
                <a:noFill/>
                <a:prstDash val="solid"/>
                <a:miter/>
              </a:ln>
            </p:spPr>
            <p:txBody>
              <a:bodyPr rtlCol="0" anchor="ctr"/>
              <a:lstStyle/>
              <a:p>
                <a:endParaRPr lang="en-US" sz="2400"/>
              </a:p>
            </p:txBody>
          </p:sp>
          <p:sp>
            <p:nvSpPr>
              <p:cNvPr id="18" name="Freeform: Shape 17">
                <a:extLst>
                  <a:ext uri="{FF2B5EF4-FFF2-40B4-BE49-F238E27FC236}">
                    <a16:creationId xmlns:a16="http://schemas.microsoft.com/office/drawing/2014/main" id="{75796C52-1203-22F0-77EB-899192F32D36}"/>
                  </a:ext>
                </a:extLst>
              </p:cNvPr>
              <p:cNvSpPr/>
              <p:nvPr userDrawn="1"/>
            </p:nvSpPr>
            <p:spPr>
              <a:xfrm>
                <a:off x="8394508" y="4708983"/>
                <a:ext cx="124208" cy="87072"/>
              </a:xfrm>
              <a:custGeom>
                <a:avLst/>
                <a:gdLst>
                  <a:gd name="connsiteX0" fmla="*/ 124208 w 124208"/>
                  <a:gd name="connsiteY0" fmla="*/ 32643 h 87072"/>
                  <a:gd name="connsiteX1" fmla="*/ 124208 w 124208"/>
                  <a:gd name="connsiteY1" fmla="*/ 87072 h 87072"/>
                  <a:gd name="connsiteX2" fmla="*/ 103686 w 124208"/>
                  <a:gd name="connsiteY2" fmla="*/ 87072 h 87072"/>
                  <a:gd name="connsiteX3" fmla="*/ 103686 w 124208"/>
                  <a:gd name="connsiteY3" fmla="*/ 34047 h 87072"/>
                  <a:gd name="connsiteX4" fmla="*/ 88148 w 124208"/>
                  <a:gd name="connsiteY4" fmla="*/ 19422 h 87072"/>
                  <a:gd name="connsiteX5" fmla="*/ 72283 w 124208"/>
                  <a:gd name="connsiteY5" fmla="*/ 34047 h 87072"/>
                  <a:gd name="connsiteX6" fmla="*/ 72283 w 124208"/>
                  <a:gd name="connsiteY6" fmla="*/ 87072 h 87072"/>
                  <a:gd name="connsiteX7" fmla="*/ 51925 w 124208"/>
                  <a:gd name="connsiteY7" fmla="*/ 87072 h 87072"/>
                  <a:gd name="connsiteX8" fmla="*/ 51925 w 124208"/>
                  <a:gd name="connsiteY8" fmla="*/ 34047 h 87072"/>
                  <a:gd name="connsiteX9" fmla="*/ 36060 w 124208"/>
                  <a:gd name="connsiteY9" fmla="*/ 19422 h 87072"/>
                  <a:gd name="connsiteX10" fmla="*/ 20522 w 124208"/>
                  <a:gd name="connsiteY10" fmla="*/ 34047 h 87072"/>
                  <a:gd name="connsiteX11" fmla="*/ 20522 w 124208"/>
                  <a:gd name="connsiteY11" fmla="*/ 87072 h 87072"/>
                  <a:gd name="connsiteX12" fmla="*/ 0 w 124208"/>
                  <a:gd name="connsiteY12" fmla="*/ 87072 h 87072"/>
                  <a:gd name="connsiteX13" fmla="*/ 0 w 124208"/>
                  <a:gd name="connsiteY13" fmla="*/ 32643 h 87072"/>
                  <a:gd name="connsiteX14" fmla="*/ 36223 w 124208"/>
                  <a:gd name="connsiteY14" fmla="*/ 0 h 87072"/>
                  <a:gd name="connsiteX15" fmla="*/ 62338 w 124208"/>
                  <a:gd name="connsiteY15" fmla="*/ 10577 h 87072"/>
                  <a:gd name="connsiteX16" fmla="*/ 88148 w 124208"/>
                  <a:gd name="connsiteY16" fmla="*/ 0 h 87072"/>
                  <a:gd name="connsiteX17" fmla="*/ 124208 w 124208"/>
                  <a:gd name="connsiteY17" fmla="*/ 32643 h 87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4208" h="87072">
                    <a:moveTo>
                      <a:pt x="124208" y="32643"/>
                    </a:moveTo>
                    <a:lnTo>
                      <a:pt x="124208" y="87072"/>
                    </a:lnTo>
                    <a:lnTo>
                      <a:pt x="103686" y="87072"/>
                    </a:lnTo>
                    <a:lnTo>
                      <a:pt x="103686" y="34047"/>
                    </a:lnTo>
                    <a:cubicBezTo>
                      <a:pt x="103686" y="24243"/>
                      <a:pt x="98866" y="19422"/>
                      <a:pt x="88148" y="19422"/>
                    </a:cubicBezTo>
                    <a:cubicBezTo>
                      <a:pt x="75863" y="19422"/>
                      <a:pt x="72283" y="25319"/>
                      <a:pt x="72283" y="34047"/>
                    </a:cubicBezTo>
                    <a:lnTo>
                      <a:pt x="72283" y="87072"/>
                    </a:lnTo>
                    <a:lnTo>
                      <a:pt x="51925" y="87072"/>
                    </a:lnTo>
                    <a:lnTo>
                      <a:pt x="51925" y="34047"/>
                    </a:lnTo>
                    <a:cubicBezTo>
                      <a:pt x="51925" y="24243"/>
                      <a:pt x="47105" y="19422"/>
                      <a:pt x="36060" y="19422"/>
                    </a:cubicBezTo>
                    <a:cubicBezTo>
                      <a:pt x="23938" y="19422"/>
                      <a:pt x="20522" y="25319"/>
                      <a:pt x="20522" y="34047"/>
                    </a:cubicBezTo>
                    <a:lnTo>
                      <a:pt x="20522" y="87072"/>
                    </a:lnTo>
                    <a:lnTo>
                      <a:pt x="0" y="87072"/>
                    </a:lnTo>
                    <a:lnTo>
                      <a:pt x="0" y="32643"/>
                    </a:lnTo>
                    <a:cubicBezTo>
                      <a:pt x="0" y="10881"/>
                      <a:pt x="16170" y="0"/>
                      <a:pt x="36223" y="0"/>
                    </a:cubicBezTo>
                    <a:cubicBezTo>
                      <a:pt x="45560" y="0"/>
                      <a:pt x="55809" y="3884"/>
                      <a:pt x="62338" y="10577"/>
                    </a:cubicBezTo>
                    <a:cubicBezTo>
                      <a:pt x="68399" y="3884"/>
                      <a:pt x="78976" y="0"/>
                      <a:pt x="88148" y="0"/>
                    </a:cubicBezTo>
                    <a:cubicBezTo>
                      <a:pt x="107103" y="0"/>
                      <a:pt x="124208" y="9313"/>
                      <a:pt x="124208" y="32643"/>
                    </a:cubicBezTo>
                    <a:close/>
                  </a:path>
                </a:pathLst>
              </a:custGeom>
              <a:solidFill>
                <a:srgbClr val="FFFFFF"/>
              </a:solidFill>
              <a:ln w="2339" cap="flat">
                <a:noFill/>
                <a:prstDash val="solid"/>
                <a:miter/>
              </a:ln>
            </p:spPr>
            <p:txBody>
              <a:bodyPr rtlCol="0" anchor="ctr"/>
              <a:lstStyle/>
              <a:p>
                <a:endParaRPr lang="en-US" sz="2400"/>
              </a:p>
            </p:txBody>
          </p:sp>
          <p:sp>
            <p:nvSpPr>
              <p:cNvPr id="19" name="Freeform: Shape 18">
                <a:extLst>
                  <a:ext uri="{FF2B5EF4-FFF2-40B4-BE49-F238E27FC236}">
                    <a16:creationId xmlns:a16="http://schemas.microsoft.com/office/drawing/2014/main" id="{8AE7ECFA-2993-7B80-C96F-67E5DBE065F1}"/>
                  </a:ext>
                </a:extLst>
              </p:cNvPr>
              <p:cNvSpPr/>
              <p:nvPr userDrawn="1"/>
            </p:nvSpPr>
            <p:spPr>
              <a:xfrm>
                <a:off x="8535027" y="4710527"/>
                <a:ext cx="76518" cy="87072"/>
              </a:xfrm>
              <a:custGeom>
                <a:avLst/>
                <a:gdLst>
                  <a:gd name="connsiteX0" fmla="*/ 76519 w 76518"/>
                  <a:gd name="connsiteY0" fmla="*/ 0 h 87072"/>
                  <a:gd name="connsiteX1" fmla="*/ 76519 w 76518"/>
                  <a:gd name="connsiteY1" fmla="*/ 48977 h 87072"/>
                  <a:gd name="connsiteX2" fmla="*/ 38259 w 76518"/>
                  <a:gd name="connsiteY2" fmla="*/ 87072 h 87072"/>
                  <a:gd name="connsiteX3" fmla="*/ 0 w 76518"/>
                  <a:gd name="connsiteY3" fmla="*/ 48977 h 87072"/>
                  <a:gd name="connsiteX4" fmla="*/ 0 w 76518"/>
                  <a:gd name="connsiteY4" fmla="*/ 0 h 87072"/>
                  <a:gd name="connsiteX5" fmla="*/ 20522 w 76518"/>
                  <a:gd name="connsiteY5" fmla="*/ 0 h 87072"/>
                  <a:gd name="connsiteX6" fmla="*/ 20522 w 76518"/>
                  <a:gd name="connsiteY6" fmla="*/ 48977 h 87072"/>
                  <a:gd name="connsiteX7" fmla="*/ 38236 w 76518"/>
                  <a:gd name="connsiteY7" fmla="*/ 67627 h 87072"/>
                  <a:gd name="connsiteX8" fmla="*/ 55950 w 76518"/>
                  <a:gd name="connsiteY8" fmla="*/ 48977 h 87072"/>
                  <a:gd name="connsiteX9" fmla="*/ 55950 w 76518"/>
                  <a:gd name="connsiteY9" fmla="*/ 0 h 87072"/>
                  <a:gd name="connsiteX10" fmla="*/ 76519 w 76518"/>
                  <a:gd name="connsiteY10" fmla="*/ 0 h 87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8" h="87072">
                    <a:moveTo>
                      <a:pt x="76519" y="0"/>
                    </a:moveTo>
                    <a:lnTo>
                      <a:pt x="76519" y="48977"/>
                    </a:lnTo>
                    <a:cubicBezTo>
                      <a:pt x="76519" y="74483"/>
                      <a:pt x="63461" y="87072"/>
                      <a:pt x="38259" y="87072"/>
                    </a:cubicBezTo>
                    <a:cubicBezTo>
                      <a:pt x="13221" y="87072"/>
                      <a:pt x="0" y="74483"/>
                      <a:pt x="0" y="48977"/>
                    </a:cubicBezTo>
                    <a:lnTo>
                      <a:pt x="0" y="0"/>
                    </a:lnTo>
                    <a:lnTo>
                      <a:pt x="20522" y="0"/>
                    </a:lnTo>
                    <a:lnTo>
                      <a:pt x="20522" y="48977"/>
                    </a:lnTo>
                    <a:cubicBezTo>
                      <a:pt x="20522" y="63134"/>
                      <a:pt x="28455" y="67627"/>
                      <a:pt x="38236" y="67627"/>
                    </a:cubicBezTo>
                    <a:cubicBezTo>
                      <a:pt x="48041" y="67627"/>
                      <a:pt x="55950" y="63110"/>
                      <a:pt x="55950" y="48977"/>
                    </a:cubicBezTo>
                    <a:lnTo>
                      <a:pt x="55950" y="0"/>
                    </a:lnTo>
                    <a:lnTo>
                      <a:pt x="76519" y="0"/>
                    </a:lnTo>
                    <a:close/>
                  </a:path>
                </a:pathLst>
              </a:custGeom>
              <a:solidFill>
                <a:srgbClr val="FFFFFF"/>
              </a:solidFill>
              <a:ln w="2339" cap="flat">
                <a:noFill/>
                <a:prstDash val="solid"/>
                <a:miter/>
              </a:ln>
            </p:spPr>
            <p:txBody>
              <a:bodyPr rtlCol="0" anchor="ctr"/>
              <a:lstStyle/>
              <a:p>
                <a:endParaRPr lang="en-US" sz="2400"/>
              </a:p>
            </p:txBody>
          </p:sp>
          <p:sp>
            <p:nvSpPr>
              <p:cNvPr id="20" name="Freeform: Shape 19">
                <a:extLst>
                  <a:ext uri="{FF2B5EF4-FFF2-40B4-BE49-F238E27FC236}">
                    <a16:creationId xmlns:a16="http://schemas.microsoft.com/office/drawing/2014/main" id="{DD2F73A2-4A2C-ADD7-F1BF-8211B2562C2F}"/>
                  </a:ext>
                </a:extLst>
              </p:cNvPr>
              <p:cNvSpPr/>
              <p:nvPr userDrawn="1"/>
            </p:nvSpPr>
            <p:spPr>
              <a:xfrm>
                <a:off x="8624626" y="4708983"/>
                <a:ext cx="68234" cy="88616"/>
              </a:xfrm>
              <a:custGeom>
                <a:avLst/>
                <a:gdLst>
                  <a:gd name="connsiteX0" fmla="*/ 68235 w 68234"/>
                  <a:gd name="connsiteY0" fmla="*/ 61870 h 88616"/>
                  <a:gd name="connsiteX1" fmla="*/ 34351 w 68234"/>
                  <a:gd name="connsiteY1" fmla="*/ 88616 h 88616"/>
                  <a:gd name="connsiteX2" fmla="*/ 0 w 68234"/>
                  <a:gd name="connsiteY2" fmla="*/ 81152 h 88616"/>
                  <a:gd name="connsiteX3" fmla="*/ 4820 w 68234"/>
                  <a:gd name="connsiteY3" fmla="*/ 63274 h 88616"/>
                  <a:gd name="connsiteX4" fmla="*/ 33439 w 68234"/>
                  <a:gd name="connsiteY4" fmla="*/ 70271 h 88616"/>
                  <a:gd name="connsiteX5" fmla="*/ 47736 w 68234"/>
                  <a:gd name="connsiteY5" fmla="*/ 62502 h 88616"/>
                  <a:gd name="connsiteX6" fmla="*/ 32339 w 68234"/>
                  <a:gd name="connsiteY6" fmla="*/ 51785 h 88616"/>
                  <a:gd name="connsiteX7" fmla="*/ 26419 w 68234"/>
                  <a:gd name="connsiteY7" fmla="*/ 49608 h 88616"/>
                  <a:gd name="connsiteX8" fmla="*/ 1240 w 68234"/>
                  <a:gd name="connsiteY8" fmla="*/ 25038 h 88616"/>
                  <a:gd name="connsiteX9" fmla="*/ 32503 w 68234"/>
                  <a:gd name="connsiteY9" fmla="*/ 0 h 88616"/>
                  <a:gd name="connsiteX10" fmla="*/ 63602 w 68234"/>
                  <a:gd name="connsiteY10" fmla="*/ 4657 h 88616"/>
                  <a:gd name="connsiteX11" fmla="*/ 59717 w 68234"/>
                  <a:gd name="connsiteY11" fmla="*/ 22230 h 88616"/>
                  <a:gd name="connsiteX12" fmla="*/ 32362 w 68234"/>
                  <a:gd name="connsiteY12" fmla="*/ 18182 h 88616"/>
                  <a:gd name="connsiteX13" fmla="*/ 21786 w 68234"/>
                  <a:gd name="connsiteY13" fmla="*/ 24102 h 88616"/>
                  <a:gd name="connsiteX14" fmla="*/ 35615 w 68234"/>
                  <a:gd name="connsiteY14" fmla="*/ 33275 h 88616"/>
                  <a:gd name="connsiteX15" fmla="*/ 41840 w 68234"/>
                  <a:gd name="connsiteY15" fmla="*/ 35615 h 88616"/>
                  <a:gd name="connsiteX16" fmla="*/ 68235 w 68234"/>
                  <a:gd name="connsiteY16" fmla="*/ 61870 h 88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8234" h="88616">
                    <a:moveTo>
                      <a:pt x="68235" y="61870"/>
                    </a:moveTo>
                    <a:cubicBezTo>
                      <a:pt x="68235" y="76636"/>
                      <a:pt x="59834" y="88616"/>
                      <a:pt x="34351" y="88616"/>
                    </a:cubicBezTo>
                    <a:cubicBezTo>
                      <a:pt x="21598" y="88616"/>
                      <a:pt x="9313" y="85668"/>
                      <a:pt x="0" y="81152"/>
                    </a:cubicBezTo>
                    <a:lnTo>
                      <a:pt x="4820" y="63274"/>
                    </a:lnTo>
                    <a:cubicBezTo>
                      <a:pt x="14625" y="67322"/>
                      <a:pt x="23798" y="70271"/>
                      <a:pt x="33439" y="70271"/>
                    </a:cubicBezTo>
                    <a:cubicBezTo>
                      <a:pt x="43548" y="70271"/>
                      <a:pt x="47736" y="66995"/>
                      <a:pt x="47736" y="62502"/>
                    </a:cubicBezTo>
                    <a:cubicBezTo>
                      <a:pt x="47736" y="57377"/>
                      <a:pt x="42612" y="55505"/>
                      <a:pt x="32339" y="51785"/>
                    </a:cubicBezTo>
                    <a:lnTo>
                      <a:pt x="26419" y="49608"/>
                    </a:lnTo>
                    <a:cubicBezTo>
                      <a:pt x="8541" y="43244"/>
                      <a:pt x="1240" y="38891"/>
                      <a:pt x="1240" y="25038"/>
                    </a:cubicBezTo>
                    <a:cubicBezTo>
                      <a:pt x="1240" y="12285"/>
                      <a:pt x="7137" y="0"/>
                      <a:pt x="32503" y="0"/>
                    </a:cubicBezTo>
                    <a:cubicBezTo>
                      <a:pt x="43852" y="0"/>
                      <a:pt x="57541" y="2644"/>
                      <a:pt x="63602" y="4657"/>
                    </a:cubicBezTo>
                    <a:lnTo>
                      <a:pt x="59717" y="22230"/>
                    </a:lnTo>
                    <a:cubicBezTo>
                      <a:pt x="53189" y="20522"/>
                      <a:pt x="40436" y="18182"/>
                      <a:pt x="32362" y="18182"/>
                    </a:cubicBezTo>
                    <a:cubicBezTo>
                      <a:pt x="25202" y="18182"/>
                      <a:pt x="21786" y="19726"/>
                      <a:pt x="21786" y="24102"/>
                    </a:cubicBezTo>
                    <a:cubicBezTo>
                      <a:pt x="21786" y="28150"/>
                      <a:pt x="24594" y="29227"/>
                      <a:pt x="35615" y="33275"/>
                    </a:cubicBezTo>
                    <a:lnTo>
                      <a:pt x="41840" y="35615"/>
                    </a:lnTo>
                    <a:cubicBezTo>
                      <a:pt x="60606" y="42448"/>
                      <a:pt x="68235" y="48181"/>
                      <a:pt x="68235" y="61870"/>
                    </a:cubicBezTo>
                    <a:close/>
                  </a:path>
                </a:pathLst>
              </a:custGeom>
              <a:solidFill>
                <a:srgbClr val="FFFFFF"/>
              </a:solidFill>
              <a:ln w="2339" cap="flat">
                <a:noFill/>
                <a:prstDash val="solid"/>
                <a:miter/>
              </a:ln>
            </p:spPr>
            <p:txBody>
              <a:bodyPr rtlCol="0" anchor="ctr"/>
              <a:lstStyle/>
              <a:p>
                <a:endParaRPr lang="en-US" sz="2400"/>
              </a:p>
            </p:txBody>
          </p:sp>
        </p:grpSp>
        <p:grpSp>
          <p:nvGrpSpPr>
            <p:cNvPr id="21" name="Graphic 4">
              <a:extLst>
                <a:ext uri="{FF2B5EF4-FFF2-40B4-BE49-F238E27FC236}">
                  <a16:creationId xmlns:a16="http://schemas.microsoft.com/office/drawing/2014/main" id="{A3FBB68A-DC56-B89A-3EC9-6AE0F6299B82}"/>
                </a:ext>
              </a:extLst>
            </p:cNvPr>
            <p:cNvGrpSpPr/>
            <p:nvPr userDrawn="1"/>
          </p:nvGrpSpPr>
          <p:grpSpPr>
            <a:xfrm>
              <a:off x="8195045" y="4295826"/>
              <a:ext cx="332188" cy="331794"/>
              <a:chOff x="8195045" y="4295826"/>
              <a:chExt cx="332188" cy="331794"/>
            </a:xfrm>
          </p:grpSpPr>
          <p:grpSp>
            <p:nvGrpSpPr>
              <p:cNvPr id="22" name="Graphic 4">
                <a:extLst>
                  <a:ext uri="{FF2B5EF4-FFF2-40B4-BE49-F238E27FC236}">
                    <a16:creationId xmlns:a16="http://schemas.microsoft.com/office/drawing/2014/main" id="{8187DE17-F357-2A22-F20C-458844AE72D2}"/>
                  </a:ext>
                </a:extLst>
              </p:cNvPr>
              <p:cNvGrpSpPr/>
              <p:nvPr userDrawn="1"/>
            </p:nvGrpSpPr>
            <p:grpSpPr>
              <a:xfrm>
                <a:off x="8315884" y="4398907"/>
                <a:ext cx="90535" cy="125635"/>
                <a:chOff x="8315884" y="4398907"/>
                <a:chExt cx="90534" cy="125635"/>
              </a:xfrm>
              <a:solidFill>
                <a:srgbClr val="B1B8CC"/>
              </a:solidFill>
            </p:grpSpPr>
            <p:sp>
              <p:nvSpPr>
                <p:cNvPr id="23" name="Freeform: Shape 22">
                  <a:extLst>
                    <a:ext uri="{FF2B5EF4-FFF2-40B4-BE49-F238E27FC236}">
                      <a16:creationId xmlns:a16="http://schemas.microsoft.com/office/drawing/2014/main" id="{F0CE3E14-D941-AE41-0093-3CAEE8F4C2CB}"/>
                    </a:ext>
                  </a:extLst>
                </p:cNvPr>
                <p:cNvSpPr/>
                <p:nvPr userDrawn="1"/>
              </p:nvSpPr>
              <p:spPr>
                <a:xfrm>
                  <a:off x="8315907" y="4480082"/>
                  <a:ext cx="90511" cy="44460"/>
                </a:xfrm>
                <a:custGeom>
                  <a:avLst/>
                  <a:gdLst>
                    <a:gd name="connsiteX0" fmla="*/ 84428 w 90511"/>
                    <a:gd name="connsiteY0" fmla="*/ 44460 h 44460"/>
                    <a:gd name="connsiteX1" fmla="*/ 45209 w 90511"/>
                    <a:gd name="connsiteY1" fmla="*/ 41582 h 44460"/>
                    <a:gd name="connsiteX2" fmla="*/ 6061 w 90511"/>
                    <a:gd name="connsiteY2" fmla="*/ 44460 h 44460"/>
                    <a:gd name="connsiteX3" fmla="*/ 0 w 90511"/>
                    <a:gd name="connsiteY3" fmla="*/ 3253 h 44460"/>
                    <a:gd name="connsiteX4" fmla="*/ 45233 w 90511"/>
                    <a:gd name="connsiteY4" fmla="*/ 0 h 44460"/>
                    <a:gd name="connsiteX5" fmla="*/ 90512 w 90511"/>
                    <a:gd name="connsiteY5" fmla="*/ 3253 h 44460"/>
                    <a:gd name="connsiteX6" fmla="*/ 84428 w 90511"/>
                    <a:gd name="connsiteY6" fmla="*/ 44460 h 44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511" h="44460">
                      <a:moveTo>
                        <a:pt x="84428" y="44460"/>
                      </a:moveTo>
                      <a:cubicBezTo>
                        <a:pt x="71768" y="42588"/>
                        <a:pt x="58571" y="41606"/>
                        <a:pt x="45209" y="41582"/>
                      </a:cubicBezTo>
                      <a:cubicBezTo>
                        <a:pt x="31894" y="41606"/>
                        <a:pt x="18720" y="42588"/>
                        <a:pt x="6061" y="44460"/>
                      </a:cubicBezTo>
                      <a:lnTo>
                        <a:pt x="0" y="3253"/>
                      </a:lnTo>
                      <a:cubicBezTo>
                        <a:pt x="14625" y="1100"/>
                        <a:pt x="29859" y="23"/>
                        <a:pt x="45233" y="0"/>
                      </a:cubicBezTo>
                      <a:cubicBezTo>
                        <a:pt x="60677" y="23"/>
                        <a:pt x="75887" y="1076"/>
                        <a:pt x="90512" y="3253"/>
                      </a:cubicBezTo>
                      <a:lnTo>
                        <a:pt x="84428" y="44460"/>
                      </a:lnTo>
                      <a:close/>
                    </a:path>
                  </a:pathLst>
                </a:custGeom>
                <a:solidFill>
                  <a:srgbClr val="B1B8CC"/>
                </a:solidFill>
                <a:ln w="2339" cap="flat">
                  <a:noFill/>
                  <a:prstDash val="solid"/>
                  <a:miter/>
                </a:ln>
              </p:spPr>
              <p:txBody>
                <a:bodyPr rtlCol="0" anchor="ctr"/>
                <a:lstStyle/>
                <a:p>
                  <a:endParaRPr lang="en-US" sz="2400"/>
                </a:p>
              </p:txBody>
            </p:sp>
            <p:sp>
              <p:nvSpPr>
                <p:cNvPr id="24" name="Freeform: Shape 23">
                  <a:extLst>
                    <a:ext uri="{FF2B5EF4-FFF2-40B4-BE49-F238E27FC236}">
                      <a16:creationId xmlns:a16="http://schemas.microsoft.com/office/drawing/2014/main" id="{FC5B55BA-6298-5E03-56E1-BC001D8A8023}"/>
                    </a:ext>
                  </a:extLst>
                </p:cNvPr>
                <p:cNvSpPr/>
                <p:nvPr userDrawn="1"/>
              </p:nvSpPr>
              <p:spPr>
                <a:xfrm>
                  <a:off x="8315884" y="4398907"/>
                  <a:ext cx="90488" cy="44436"/>
                </a:xfrm>
                <a:custGeom>
                  <a:avLst/>
                  <a:gdLst>
                    <a:gd name="connsiteX0" fmla="*/ 45279 w 90488"/>
                    <a:gd name="connsiteY0" fmla="*/ 44437 h 44436"/>
                    <a:gd name="connsiteX1" fmla="*/ 0 w 90488"/>
                    <a:gd name="connsiteY1" fmla="*/ 41208 h 44436"/>
                    <a:gd name="connsiteX2" fmla="*/ 6061 w 90488"/>
                    <a:gd name="connsiteY2" fmla="*/ 0 h 44436"/>
                    <a:gd name="connsiteX3" fmla="*/ 45279 w 90488"/>
                    <a:gd name="connsiteY3" fmla="*/ 2878 h 44436"/>
                    <a:gd name="connsiteX4" fmla="*/ 84428 w 90488"/>
                    <a:gd name="connsiteY4" fmla="*/ 0 h 44436"/>
                    <a:gd name="connsiteX5" fmla="*/ 90488 w 90488"/>
                    <a:gd name="connsiteY5" fmla="*/ 41208 h 44436"/>
                    <a:gd name="connsiteX6" fmla="*/ 45279 w 90488"/>
                    <a:gd name="connsiteY6" fmla="*/ 44437 h 44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488" h="44436">
                      <a:moveTo>
                        <a:pt x="45279" y="44437"/>
                      </a:moveTo>
                      <a:cubicBezTo>
                        <a:pt x="29835" y="44414"/>
                        <a:pt x="14625" y="43361"/>
                        <a:pt x="0" y="41208"/>
                      </a:cubicBezTo>
                      <a:lnTo>
                        <a:pt x="6061" y="0"/>
                      </a:lnTo>
                      <a:cubicBezTo>
                        <a:pt x="18720" y="1872"/>
                        <a:pt x="31918" y="2855"/>
                        <a:pt x="45279" y="2878"/>
                      </a:cubicBezTo>
                      <a:cubicBezTo>
                        <a:pt x="58594" y="2855"/>
                        <a:pt x="71768" y="1872"/>
                        <a:pt x="84428" y="0"/>
                      </a:cubicBezTo>
                      <a:lnTo>
                        <a:pt x="90488" y="41208"/>
                      </a:lnTo>
                      <a:cubicBezTo>
                        <a:pt x="75863" y="43361"/>
                        <a:pt x="60653" y="44414"/>
                        <a:pt x="45279" y="44437"/>
                      </a:cubicBezTo>
                      <a:close/>
                    </a:path>
                  </a:pathLst>
                </a:custGeom>
                <a:solidFill>
                  <a:srgbClr val="B1B8CC"/>
                </a:solidFill>
                <a:ln w="2339" cap="flat">
                  <a:noFill/>
                  <a:prstDash val="solid"/>
                  <a:miter/>
                </a:ln>
              </p:spPr>
              <p:txBody>
                <a:bodyPr rtlCol="0" anchor="ctr"/>
                <a:lstStyle/>
                <a:p>
                  <a:endParaRPr lang="en-US" sz="2400"/>
                </a:p>
              </p:txBody>
            </p:sp>
          </p:grpSp>
          <p:grpSp>
            <p:nvGrpSpPr>
              <p:cNvPr id="25" name="Graphic 4">
                <a:extLst>
                  <a:ext uri="{FF2B5EF4-FFF2-40B4-BE49-F238E27FC236}">
                    <a16:creationId xmlns:a16="http://schemas.microsoft.com/office/drawing/2014/main" id="{F51543B4-B646-2EB5-79C2-129CEBBE59B6}"/>
                  </a:ext>
                </a:extLst>
              </p:cNvPr>
              <p:cNvGrpSpPr/>
              <p:nvPr userDrawn="1"/>
            </p:nvGrpSpPr>
            <p:grpSpPr>
              <a:xfrm>
                <a:off x="8195045" y="4333223"/>
                <a:ext cx="332188" cy="107360"/>
                <a:chOff x="8195045" y="4333223"/>
                <a:chExt cx="332189" cy="107360"/>
              </a:xfrm>
            </p:grpSpPr>
            <p:grpSp>
              <p:nvGrpSpPr>
                <p:cNvPr id="26" name="Graphic 4">
                  <a:extLst>
                    <a:ext uri="{FF2B5EF4-FFF2-40B4-BE49-F238E27FC236}">
                      <a16:creationId xmlns:a16="http://schemas.microsoft.com/office/drawing/2014/main" id="{D81D0BA9-7100-FAB3-491E-2527FC434561}"/>
                    </a:ext>
                  </a:extLst>
                </p:cNvPr>
                <p:cNvGrpSpPr/>
                <p:nvPr userDrawn="1"/>
              </p:nvGrpSpPr>
              <p:grpSpPr>
                <a:xfrm>
                  <a:off x="8195045" y="4333223"/>
                  <a:ext cx="144893" cy="107360"/>
                  <a:chOff x="8195045" y="4333223"/>
                  <a:chExt cx="144893" cy="107359"/>
                </a:xfrm>
              </p:grpSpPr>
              <p:sp>
                <p:nvSpPr>
                  <p:cNvPr id="27" name="Freeform: Shape 26">
                    <a:extLst>
                      <a:ext uri="{FF2B5EF4-FFF2-40B4-BE49-F238E27FC236}">
                        <a16:creationId xmlns:a16="http://schemas.microsoft.com/office/drawing/2014/main" id="{0948CA29-F1EA-5323-4AC3-93C95AE6867A}"/>
                      </a:ext>
                    </a:extLst>
                  </p:cNvPr>
                  <p:cNvSpPr/>
                  <p:nvPr userDrawn="1"/>
                </p:nvSpPr>
                <p:spPr>
                  <a:xfrm>
                    <a:off x="8297842" y="439850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1B8CC"/>
                  </a:solidFill>
                  <a:ln w="2339" cap="flat">
                    <a:noFill/>
                    <a:prstDash val="solid"/>
                    <a:miter/>
                  </a:ln>
                </p:spPr>
                <p:txBody>
                  <a:bodyPr rtlCol="0" anchor="ctr"/>
                  <a:lstStyle/>
                  <a:p>
                    <a:endParaRPr lang="en-US" sz="2400"/>
                  </a:p>
                </p:txBody>
              </p:sp>
              <p:sp>
                <p:nvSpPr>
                  <p:cNvPr id="28" name="Freeform: Shape 27">
                    <a:extLst>
                      <a:ext uri="{FF2B5EF4-FFF2-40B4-BE49-F238E27FC236}">
                        <a16:creationId xmlns:a16="http://schemas.microsoft.com/office/drawing/2014/main" id="{6F42DCFC-1BC2-A01A-B27A-ACE57A5113D3}"/>
                      </a:ext>
                    </a:extLst>
                  </p:cNvPr>
                  <p:cNvSpPr/>
                  <p:nvPr userDrawn="1"/>
                </p:nvSpPr>
                <p:spPr>
                  <a:xfrm>
                    <a:off x="8297281" y="439843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43"/>
                          <a:pt x="42097" y="21037"/>
                        </a:cubicBezTo>
                        <a:close/>
                      </a:path>
                    </a:pathLst>
                  </a:custGeom>
                  <a:solidFill>
                    <a:srgbClr val="B1B8CC"/>
                  </a:solidFill>
                  <a:ln w="2339" cap="flat">
                    <a:noFill/>
                    <a:prstDash val="solid"/>
                    <a:miter/>
                  </a:ln>
                </p:spPr>
                <p:txBody>
                  <a:bodyPr rtlCol="0" anchor="ctr"/>
                  <a:lstStyle/>
                  <a:p>
                    <a:endParaRPr lang="en-US" sz="2400"/>
                  </a:p>
                </p:txBody>
              </p:sp>
              <p:sp>
                <p:nvSpPr>
                  <p:cNvPr id="29" name="Freeform: Shape 28">
                    <a:extLst>
                      <a:ext uri="{FF2B5EF4-FFF2-40B4-BE49-F238E27FC236}">
                        <a16:creationId xmlns:a16="http://schemas.microsoft.com/office/drawing/2014/main" id="{A63513B6-C4C7-5EBE-C4BF-DD48FBB60CBA}"/>
                      </a:ext>
                    </a:extLst>
                  </p:cNvPr>
                  <p:cNvSpPr/>
                  <p:nvPr userDrawn="1"/>
                </p:nvSpPr>
                <p:spPr>
                  <a:xfrm>
                    <a:off x="8296719" y="4398345"/>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B2B9CC"/>
                  </a:solidFill>
                  <a:ln w="2339" cap="flat">
                    <a:noFill/>
                    <a:prstDash val="solid"/>
                    <a:miter/>
                  </a:ln>
                </p:spPr>
                <p:txBody>
                  <a:bodyPr rtlCol="0" anchor="ctr"/>
                  <a:lstStyle/>
                  <a:p>
                    <a:endParaRPr lang="en-US" sz="2400"/>
                  </a:p>
                </p:txBody>
              </p:sp>
              <p:sp>
                <p:nvSpPr>
                  <p:cNvPr id="30" name="Freeform: Shape 29">
                    <a:extLst>
                      <a:ext uri="{FF2B5EF4-FFF2-40B4-BE49-F238E27FC236}">
                        <a16:creationId xmlns:a16="http://schemas.microsoft.com/office/drawing/2014/main" id="{4CF84CFB-1D22-CFE4-7D7A-48AB9F7B3C68}"/>
                      </a:ext>
                    </a:extLst>
                  </p:cNvPr>
                  <p:cNvSpPr/>
                  <p:nvPr userDrawn="1"/>
                </p:nvSpPr>
                <p:spPr>
                  <a:xfrm>
                    <a:off x="8296158" y="4398252"/>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2B9CD"/>
                  </a:solidFill>
                  <a:ln w="2339" cap="flat">
                    <a:noFill/>
                    <a:prstDash val="solid"/>
                    <a:miter/>
                  </a:ln>
                </p:spPr>
                <p:txBody>
                  <a:bodyPr rtlCol="0" anchor="ctr"/>
                  <a:lstStyle/>
                  <a:p>
                    <a:endParaRPr lang="en-US" sz="2400"/>
                  </a:p>
                </p:txBody>
              </p:sp>
              <p:sp>
                <p:nvSpPr>
                  <p:cNvPr id="31" name="Freeform: Shape 30">
                    <a:extLst>
                      <a:ext uri="{FF2B5EF4-FFF2-40B4-BE49-F238E27FC236}">
                        <a16:creationId xmlns:a16="http://schemas.microsoft.com/office/drawing/2014/main" id="{45B4B2F5-FCAE-3043-50EC-C8474809FDF3}"/>
                      </a:ext>
                    </a:extLst>
                  </p:cNvPr>
                  <p:cNvSpPr/>
                  <p:nvPr userDrawn="1"/>
                </p:nvSpPr>
                <p:spPr>
                  <a:xfrm>
                    <a:off x="8295596" y="439818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43"/>
                          <a:pt x="42097" y="21037"/>
                        </a:cubicBezTo>
                        <a:close/>
                      </a:path>
                    </a:pathLst>
                  </a:custGeom>
                  <a:solidFill>
                    <a:srgbClr val="B2B9CD"/>
                  </a:solidFill>
                  <a:ln w="2339" cap="flat">
                    <a:noFill/>
                    <a:prstDash val="solid"/>
                    <a:miter/>
                  </a:ln>
                </p:spPr>
                <p:txBody>
                  <a:bodyPr rtlCol="0" anchor="ctr"/>
                  <a:lstStyle/>
                  <a:p>
                    <a:endParaRPr lang="en-US" sz="2400"/>
                  </a:p>
                </p:txBody>
              </p:sp>
              <p:sp>
                <p:nvSpPr>
                  <p:cNvPr id="32" name="Freeform: Shape 31">
                    <a:extLst>
                      <a:ext uri="{FF2B5EF4-FFF2-40B4-BE49-F238E27FC236}">
                        <a16:creationId xmlns:a16="http://schemas.microsoft.com/office/drawing/2014/main" id="{80A44563-27AF-2AC1-56B2-91251AA0EBC0}"/>
                      </a:ext>
                    </a:extLst>
                  </p:cNvPr>
                  <p:cNvSpPr/>
                  <p:nvPr userDrawn="1"/>
                </p:nvSpPr>
                <p:spPr>
                  <a:xfrm>
                    <a:off x="8295034" y="4398088"/>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43"/>
                          <a:pt x="42097" y="21037"/>
                        </a:cubicBezTo>
                        <a:close/>
                      </a:path>
                    </a:pathLst>
                  </a:custGeom>
                  <a:solidFill>
                    <a:srgbClr val="B3B9CD"/>
                  </a:solidFill>
                  <a:ln w="2339" cap="flat">
                    <a:noFill/>
                    <a:prstDash val="solid"/>
                    <a:miter/>
                  </a:ln>
                </p:spPr>
                <p:txBody>
                  <a:bodyPr rtlCol="0" anchor="ctr"/>
                  <a:lstStyle/>
                  <a:p>
                    <a:endParaRPr lang="en-US" sz="2400"/>
                  </a:p>
                </p:txBody>
              </p:sp>
              <p:sp>
                <p:nvSpPr>
                  <p:cNvPr id="33" name="Freeform: Shape 32">
                    <a:extLst>
                      <a:ext uri="{FF2B5EF4-FFF2-40B4-BE49-F238E27FC236}">
                        <a16:creationId xmlns:a16="http://schemas.microsoft.com/office/drawing/2014/main" id="{9C655716-1BBC-7C8A-66B6-9F4CAE778342}"/>
                      </a:ext>
                    </a:extLst>
                  </p:cNvPr>
                  <p:cNvSpPr/>
                  <p:nvPr userDrawn="1"/>
                </p:nvSpPr>
                <p:spPr>
                  <a:xfrm>
                    <a:off x="8294449" y="4397994"/>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3BACD"/>
                  </a:solidFill>
                  <a:ln w="2339" cap="flat">
                    <a:noFill/>
                    <a:prstDash val="solid"/>
                    <a:miter/>
                  </a:ln>
                </p:spPr>
                <p:txBody>
                  <a:bodyPr rtlCol="0" anchor="ctr"/>
                  <a:lstStyle/>
                  <a:p>
                    <a:endParaRPr lang="en-US" sz="2400"/>
                  </a:p>
                </p:txBody>
              </p:sp>
              <p:sp>
                <p:nvSpPr>
                  <p:cNvPr id="34" name="Freeform: Shape 33">
                    <a:extLst>
                      <a:ext uri="{FF2B5EF4-FFF2-40B4-BE49-F238E27FC236}">
                        <a16:creationId xmlns:a16="http://schemas.microsoft.com/office/drawing/2014/main" id="{47A8CC21-2223-A1B9-4DC5-FC3B50B21D43}"/>
                      </a:ext>
                    </a:extLst>
                  </p:cNvPr>
                  <p:cNvSpPr/>
                  <p:nvPr userDrawn="1"/>
                </p:nvSpPr>
                <p:spPr>
                  <a:xfrm>
                    <a:off x="8293888" y="439790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3BACD"/>
                  </a:solidFill>
                  <a:ln w="2339" cap="flat">
                    <a:noFill/>
                    <a:prstDash val="solid"/>
                    <a:miter/>
                  </a:ln>
                </p:spPr>
                <p:txBody>
                  <a:bodyPr rtlCol="0" anchor="ctr"/>
                  <a:lstStyle/>
                  <a:p>
                    <a:endParaRPr lang="en-US" sz="2400"/>
                  </a:p>
                </p:txBody>
              </p:sp>
              <p:sp>
                <p:nvSpPr>
                  <p:cNvPr id="35" name="Freeform: Shape 34">
                    <a:extLst>
                      <a:ext uri="{FF2B5EF4-FFF2-40B4-BE49-F238E27FC236}">
                        <a16:creationId xmlns:a16="http://schemas.microsoft.com/office/drawing/2014/main" id="{042C32FA-1CA1-8506-E5E5-B486A7F5F6AE}"/>
                      </a:ext>
                    </a:extLst>
                  </p:cNvPr>
                  <p:cNvSpPr/>
                  <p:nvPr userDrawn="1"/>
                </p:nvSpPr>
                <p:spPr>
                  <a:xfrm>
                    <a:off x="8293326" y="4397807"/>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3BACE"/>
                  </a:solidFill>
                  <a:ln w="2339" cap="flat">
                    <a:noFill/>
                    <a:prstDash val="solid"/>
                    <a:miter/>
                  </a:ln>
                </p:spPr>
                <p:txBody>
                  <a:bodyPr rtlCol="0" anchor="ctr"/>
                  <a:lstStyle/>
                  <a:p>
                    <a:endParaRPr lang="en-US" sz="2400"/>
                  </a:p>
                </p:txBody>
              </p:sp>
              <p:sp>
                <p:nvSpPr>
                  <p:cNvPr id="36" name="Freeform: Shape 35">
                    <a:extLst>
                      <a:ext uri="{FF2B5EF4-FFF2-40B4-BE49-F238E27FC236}">
                        <a16:creationId xmlns:a16="http://schemas.microsoft.com/office/drawing/2014/main" id="{8F1B69FC-497F-C27D-8E64-B16EAA9C642C}"/>
                      </a:ext>
                    </a:extLst>
                  </p:cNvPr>
                  <p:cNvSpPr/>
                  <p:nvPr userDrawn="1"/>
                </p:nvSpPr>
                <p:spPr>
                  <a:xfrm>
                    <a:off x="8292764" y="4397713"/>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4BBCE"/>
                  </a:solidFill>
                  <a:ln w="2339" cap="flat">
                    <a:noFill/>
                    <a:prstDash val="solid"/>
                    <a:miter/>
                  </a:ln>
                </p:spPr>
                <p:txBody>
                  <a:bodyPr rtlCol="0" anchor="ctr"/>
                  <a:lstStyle/>
                  <a:p>
                    <a:endParaRPr lang="en-US" sz="2400"/>
                  </a:p>
                </p:txBody>
              </p:sp>
              <p:sp>
                <p:nvSpPr>
                  <p:cNvPr id="37" name="Freeform: Shape 36">
                    <a:extLst>
                      <a:ext uri="{FF2B5EF4-FFF2-40B4-BE49-F238E27FC236}">
                        <a16:creationId xmlns:a16="http://schemas.microsoft.com/office/drawing/2014/main" id="{B201881B-EE47-C37C-990E-183C3FB41AA8}"/>
                      </a:ext>
                    </a:extLst>
                  </p:cNvPr>
                  <p:cNvSpPr/>
                  <p:nvPr userDrawn="1"/>
                </p:nvSpPr>
                <p:spPr>
                  <a:xfrm>
                    <a:off x="8292203" y="439762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4BBCE"/>
                  </a:solidFill>
                  <a:ln w="2339" cap="flat">
                    <a:noFill/>
                    <a:prstDash val="solid"/>
                    <a:miter/>
                  </a:ln>
                </p:spPr>
                <p:txBody>
                  <a:bodyPr rtlCol="0" anchor="ctr"/>
                  <a:lstStyle/>
                  <a:p>
                    <a:endParaRPr lang="en-US" sz="2400"/>
                  </a:p>
                </p:txBody>
              </p:sp>
              <p:sp>
                <p:nvSpPr>
                  <p:cNvPr id="38" name="Freeform: Shape 37">
                    <a:extLst>
                      <a:ext uri="{FF2B5EF4-FFF2-40B4-BE49-F238E27FC236}">
                        <a16:creationId xmlns:a16="http://schemas.microsoft.com/office/drawing/2014/main" id="{7555418D-BCF3-113B-6424-F63F942B29A3}"/>
                      </a:ext>
                    </a:extLst>
                  </p:cNvPr>
                  <p:cNvSpPr/>
                  <p:nvPr userDrawn="1"/>
                </p:nvSpPr>
                <p:spPr>
                  <a:xfrm>
                    <a:off x="8291641" y="4397526"/>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43"/>
                          <a:pt x="42097" y="21037"/>
                        </a:cubicBezTo>
                        <a:close/>
                      </a:path>
                    </a:pathLst>
                  </a:custGeom>
                  <a:solidFill>
                    <a:srgbClr val="B4BBCE"/>
                  </a:solidFill>
                  <a:ln w="2339" cap="flat">
                    <a:noFill/>
                    <a:prstDash val="solid"/>
                    <a:miter/>
                  </a:ln>
                </p:spPr>
                <p:txBody>
                  <a:bodyPr rtlCol="0" anchor="ctr"/>
                  <a:lstStyle/>
                  <a:p>
                    <a:endParaRPr lang="en-US" sz="2400"/>
                  </a:p>
                </p:txBody>
              </p:sp>
              <p:sp>
                <p:nvSpPr>
                  <p:cNvPr id="39" name="Freeform: Shape 38">
                    <a:extLst>
                      <a:ext uri="{FF2B5EF4-FFF2-40B4-BE49-F238E27FC236}">
                        <a16:creationId xmlns:a16="http://schemas.microsoft.com/office/drawing/2014/main" id="{FEEA0CC4-E6DE-3107-36F8-F3943C4DCD4D}"/>
                      </a:ext>
                    </a:extLst>
                  </p:cNvPr>
                  <p:cNvSpPr/>
                  <p:nvPr userDrawn="1"/>
                </p:nvSpPr>
                <p:spPr>
                  <a:xfrm>
                    <a:off x="8291080" y="4397433"/>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43"/>
                          <a:pt x="42097" y="21037"/>
                        </a:cubicBezTo>
                        <a:close/>
                      </a:path>
                    </a:pathLst>
                  </a:custGeom>
                  <a:solidFill>
                    <a:srgbClr val="B5BBCE"/>
                  </a:solidFill>
                  <a:ln w="2339" cap="flat">
                    <a:noFill/>
                    <a:prstDash val="solid"/>
                    <a:miter/>
                  </a:ln>
                </p:spPr>
                <p:txBody>
                  <a:bodyPr rtlCol="0" anchor="ctr"/>
                  <a:lstStyle/>
                  <a:p>
                    <a:endParaRPr lang="en-US" sz="2400"/>
                  </a:p>
                </p:txBody>
              </p:sp>
              <p:sp>
                <p:nvSpPr>
                  <p:cNvPr id="40" name="Freeform: Shape 39">
                    <a:extLst>
                      <a:ext uri="{FF2B5EF4-FFF2-40B4-BE49-F238E27FC236}">
                        <a16:creationId xmlns:a16="http://schemas.microsoft.com/office/drawing/2014/main" id="{377C7ADB-EC11-0C0B-65CB-63BFB1118E50}"/>
                      </a:ext>
                    </a:extLst>
                  </p:cNvPr>
                  <p:cNvSpPr/>
                  <p:nvPr userDrawn="1"/>
                </p:nvSpPr>
                <p:spPr>
                  <a:xfrm>
                    <a:off x="8290518" y="4397316"/>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5BCCF"/>
                  </a:solidFill>
                  <a:ln w="2339" cap="flat">
                    <a:noFill/>
                    <a:prstDash val="solid"/>
                    <a:miter/>
                  </a:ln>
                </p:spPr>
                <p:txBody>
                  <a:bodyPr rtlCol="0" anchor="ctr"/>
                  <a:lstStyle/>
                  <a:p>
                    <a:endParaRPr lang="en-US" sz="2400"/>
                  </a:p>
                </p:txBody>
              </p:sp>
              <p:sp>
                <p:nvSpPr>
                  <p:cNvPr id="41" name="Freeform: Shape 40">
                    <a:extLst>
                      <a:ext uri="{FF2B5EF4-FFF2-40B4-BE49-F238E27FC236}">
                        <a16:creationId xmlns:a16="http://schemas.microsoft.com/office/drawing/2014/main" id="{B9D84B9A-DAB9-69A7-C045-994A3F9747C7}"/>
                      </a:ext>
                    </a:extLst>
                  </p:cNvPr>
                  <p:cNvSpPr/>
                  <p:nvPr userDrawn="1"/>
                </p:nvSpPr>
                <p:spPr>
                  <a:xfrm>
                    <a:off x="8289956" y="4397222"/>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5BCCF"/>
                  </a:solidFill>
                  <a:ln w="2339" cap="flat">
                    <a:noFill/>
                    <a:prstDash val="solid"/>
                    <a:miter/>
                  </a:ln>
                </p:spPr>
                <p:txBody>
                  <a:bodyPr rtlCol="0" anchor="ctr"/>
                  <a:lstStyle/>
                  <a:p>
                    <a:endParaRPr lang="en-US" sz="2400"/>
                  </a:p>
                </p:txBody>
              </p:sp>
              <p:sp>
                <p:nvSpPr>
                  <p:cNvPr id="42" name="Freeform: Shape 41">
                    <a:extLst>
                      <a:ext uri="{FF2B5EF4-FFF2-40B4-BE49-F238E27FC236}">
                        <a16:creationId xmlns:a16="http://schemas.microsoft.com/office/drawing/2014/main" id="{CCE84C10-F79F-860B-5BB8-25FBC4DF75F1}"/>
                      </a:ext>
                    </a:extLst>
                  </p:cNvPr>
                  <p:cNvSpPr/>
                  <p:nvPr userDrawn="1"/>
                </p:nvSpPr>
                <p:spPr>
                  <a:xfrm>
                    <a:off x="8289418" y="4397128"/>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43"/>
                          <a:pt x="42097" y="21037"/>
                        </a:cubicBezTo>
                        <a:close/>
                      </a:path>
                    </a:pathLst>
                  </a:custGeom>
                  <a:solidFill>
                    <a:srgbClr val="B6BCCF"/>
                  </a:solidFill>
                  <a:ln w="2339" cap="flat">
                    <a:noFill/>
                    <a:prstDash val="solid"/>
                    <a:miter/>
                  </a:ln>
                </p:spPr>
                <p:txBody>
                  <a:bodyPr rtlCol="0" anchor="ctr"/>
                  <a:lstStyle/>
                  <a:p>
                    <a:endParaRPr lang="en-US" sz="2400"/>
                  </a:p>
                </p:txBody>
              </p:sp>
              <p:sp>
                <p:nvSpPr>
                  <p:cNvPr id="43" name="Freeform: Shape 42">
                    <a:extLst>
                      <a:ext uri="{FF2B5EF4-FFF2-40B4-BE49-F238E27FC236}">
                        <a16:creationId xmlns:a16="http://schemas.microsoft.com/office/drawing/2014/main" id="{14903043-909C-E7C9-21D6-7C1165A3F017}"/>
                      </a:ext>
                    </a:extLst>
                  </p:cNvPr>
                  <p:cNvSpPr/>
                  <p:nvPr userDrawn="1"/>
                </p:nvSpPr>
                <p:spPr>
                  <a:xfrm>
                    <a:off x="8288857" y="439701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6BCCF"/>
                  </a:solidFill>
                  <a:ln w="2339" cap="flat">
                    <a:noFill/>
                    <a:prstDash val="solid"/>
                    <a:miter/>
                  </a:ln>
                </p:spPr>
                <p:txBody>
                  <a:bodyPr rtlCol="0" anchor="ctr"/>
                  <a:lstStyle/>
                  <a:p>
                    <a:endParaRPr lang="en-US" sz="2400"/>
                  </a:p>
                </p:txBody>
              </p:sp>
              <p:sp>
                <p:nvSpPr>
                  <p:cNvPr id="44" name="Freeform: Shape 43">
                    <a:extLst>
                      <a:ext uri="{FF2B5EF4-FFF2-40B4-BE49-F238E27FC236}">
                        <a16:creationId xmlns:a16="http://schemas.microsoft.com/office/drawing/2014/main" id="{DA651C90-9546-9D98-A594-E21D97C37190}"/>
                      </a:ext>
                    </a:extLst>
                  </p:cNvPr>
                  <p:cNvSpPr/>
                  <p:nvPr userDrawn="1"/>
                </p:nvSpPr>
                <p:spPr>
                  <a:xfrm>
                    <a:off x="8288295" y="4396918"/>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B6BDCF"/>
                  </a:solidFill>
                  <a:ln w="2339" cap="flat">
                    <a:noFill/>
                    <a:prstDash val="solid"/>
                    <a:miter/>
                  </a:ln>
                </p:spPr>
                <p:txBody>
                  <a:bodyPr rtlCol="0" anchor="ctr"/>
                  <a:lstStyle/>
                  <a:p>
                    <a:endParaRPr lang="en-US" sz="2400"/>
                  </a:p>
                </p:txBody>
              </p:sp>
              <p:sp>
                <p:nvSpPr>
                  <p:cNvPr id="45" name="Freeform: Shape 44">
                    <a:extLst>
                      <a:ext uri="{FF2B5EF4-FFF2-40B4-BE49-F238E27FC236}">
                        <a16:creationId xmlns:a16="http://schemas.microsoft.com/office/drawing/2014/main" id="{E8304E13-6A30-7F03-595C-F7502DEA472E}"/>
                      </a:ext>
                    </a:extLst>
                  </p:cNvPr>
                  <p:cNvSpPr/>
                  <p:nvPr userDrawn="1"/>
                </p:nvSpPr>
                <p:spPr>
                  <a:xfrm>
                    <a:off x="8287733" y="439680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7BDD0"/>
                  </a:solidFill>
                  <a:ln w="2339" cap="flat">
                    <a:noFill/>
                    <a:prstDash val="solid"/>
                    <a:miter/>
                  </a:ln>
                </p:spPr>
                <p:txBody>
                  <a:bodyPr rtlCol="0" anchor="ctr"/>
                  <a:lstStyle/>
                  <a:p>
                    <a:endParaRPr lang="en-US" sz="2400"/>
                  </a:p>
                </p:txBody>
              </p:sp>
              <p:sp>
                <p:nvSpPr>
                  <p:cNvPr id="46" name="Freeform: Shape 45">
                    <a:extLst>
                      <a:ext uri="{FF2B5EF4-FFF2-40B4-BE49-F238E27FC236}">
                        <a16:creationId xmlns:a16="http://schemas.microsoft.com/office/drawing/2014/main" id="{44B7C382-3543-A689-2AAA-128718743CAD}"/>
                      </a:ext>
                    </a:extLst>
                  </p:cNvPr>
                  <p:cNvSpPr/>
                  <p:nvPr userDrawn="1"/>
                </p:nvSpPr>
                <p:spPr>
                  <a:xfrm>
                    <a:off x="8287172" y="4396707"/>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43"/>
                          <a:pt x="42097" y="21037"/>
                        </a:cubicBezTo>
                        <a:close/>
                      </a:path>
                    </a:pathLst>
                  </a:custGeom>
                  <a:solidFill>
                    <a:srgbClr val="B7BDD0"/>
                  </a:solidFill>
                  <a:ln w="2339" cap="flat">
                    <a:noFill/>
                    <a:prstDash val="solid"/>
                    <a:miter/>
                  </a:ln>
                </p:spPr>
                <p:txBody>
                  <a:bodyPr rtlCol="0" anchor="ctr"/>
                  <a:lstStyle/>
                  <a:p>
                    <a:endParaRPr lang="en-US" sz="2400"/>
                  </a:p>
                </p:txBody>
              </p:sp>
              <p:sp>
                <p:nvSpPr>
                  <p:cNvPr id="47" name="Freeform: Shape 46">
                    <a:extLst>
                      <a:ext uri="{FF2B5EF4-FFF2-40B4-BE49-F238E27FC236}">
                        <a16:creationId xmlns:a16="http://schemas.microsoft.com/office/drawing/2014/main" id="{0635088B-1798-BD17-98EF-41FF8BB59472}"/>
                      </a:ext>
                    </a:extLst>
                  </p:cNvPr>
                  <p:cNvSpPr/>
                  <p:nvPr userDrawn="1"/>
                </p:nvSpPr>
                <p:spPr>
                  <a:xfrm>
                    <a:off x="8286634" y="439659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7BED0"/>
                  </a:solidFill>
                  <a:ln w="2339" cap="flat">
                    <a:noFill/>
                    <a:prstDash val="solid"/>
                    <a:miter/>
                  </a:ln>
                </p:spPr>
                <p:txBody>
                  <a:bodyPr rtlCol="0" anchor="ctr"/>
                  <a:lstStyle/>
                  <a:p>
                    <a:endParaRPr lang="en-US" sz="2400"/>
                  </a:p>
                </p:txBody>
              </p:sp>
              <p:sp>
                <p:nvSpPr>
                  <p:cNvPr id="48" name="Freeform: Shape 47">
                    <a:extLst>
                      <a:ext uri="{FF2B5EF4-FFF2-40B4-BE49-F238E27FC236}">
                        <a16:creationId xmlns:a16="http://schemas.microsoft.com/office/drawing/2014/main" id="{240147AE-E4A5-4A94-272E-F01E251CF294}"/>
                      </a:ext>
                    </a:extLst>
                  </p:cNvPr>
                  <p:cNvSpPr/>
                  <p:nvPr userDrawn="1"/>
                </p:nvSpPr>
                <p:spPr>
                  <a:xfrm>
                    <a:off x="8286072" y="4396473"/>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7BED0"/>
                  </a:solidFill>
                  <a:ln w="2339" cap="flat">
                    <a:noFill/>
                    <a:prstDash val="solid"/>
                    <a:miter/>
                  </a:ln>
                </p:spPr>
                <p:txBody>
                  <a:bodyPr rtlCol="0" anchor="ctr"/>
                  <a:lstStyle/>
                  <a:p>
                    <a:endParaRPr lang="en-US" sz="2400"/>
                  </a:p>
                </p:txBody>
              </p:sp>
              <p:sp>
                <p:nvSpPr>
                  <p:cNvPr id="49" name="Freeform: Shape 48">
                    <a:extLst>
                      <a:ext uri="{FF2B5EF4-FFF2-40B4-BE49-F238E27FC236}">
                        <a16:creationId xmlns:a16="http://schemas.microsoft.com/office/drawing/2014/main" id="{6853573F-7F95-7E98-D535-6A7BB652403C}"/>
                      </a:ext>
                    </a:extLst>
                  </p:cNvPr>
                  <p:cNvSpPr/>
                  <p:nvPr userDrawn="1"/>
                </p:nvSpPr>
                <p:spPr>
                  <a:xfrm>
                    <a:off x="8285510" y="439638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43"/>
                          <a:pt x="42097" y="21037"/>
                        </a:cubicBezTo>
                        <a:close/>
                      </a:path>
                    </a:pathLst>
                  </a:custGeom>
                  <a:solidFill>
                    <a:srgbClr val="B8BED0"/>
                  </a:solidFill>
                  <a:ln w="2339" cap="flat">
                    <a:noFill/>
                    <a:prstDash val="solid"/>
                    <a:miter/>
                  </a:ln>
                </p:spPr>
                <p:txBody>
                  <a:bodyPr rtlCol="0" anchor="ctr"/>
                  <a:lstStyle/>
                  <a:p>
                    <a:endParaRPr lang="en-US" sz="2400"/>
                  </a:p>
                </p:txBody>
              </p:sp>
              <p:sp>
                <p:nvSpPr>
                  <p:cNvPr id="50" name="Freeform: Shape 49">
                    <a:extLst>
                      <a:ext uri="{FF2B5EF4-FFF2-40B4-BE49-F238E27FC236}">
                        <a16:creationId xmlns:a16="http://schemas.microsoft.com/office/drawing/2014/main" id="{3C13D6E3-DF26-AC8D-34F6-0B21EDDD5A3B}"/>
                      </a:ext>
                    </a:extLst>
                  </p:cNvPr>
                  <p:cNvSpPr/>
                  <p:nvPr userDrawn="1"/>
                </p:nvSpPr>
                <p:spPr>
                  <a:xfrm>
                    <a:off x="8284972" y="4396263"/>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B8BED1"/>
                  </a:solidFill>
                  <a:ln w="2339" cap="flat">
                    <a:noFill/>
                    <a:prstDash val="solid"/>
                    <a:miter/>
                  </a:ln>
                </p:spPr>
                <p:txBody>
                  <a:bodyPr rtlCol="0" anchor="ctr"/>
                  <a:lstStyle/>
                  <a:p>
                    <a:endParaRPr lang="en-US" sz="2400"/>
                  </a:p>
                </p:txBody>
              </p:sp>
              <p:sp>
                <p:nvSpPr>
                  <p:cNvPr id="51" name="Freeform: Shape 50">
                    <a:extLst>
                      <a:ext uri="{FF2B5EF4-FFF2-40B4-BE49-F238E27FC236}">
                        <a16:creationId xmlns:a16="http://schemas.microsoft.com/office/drawing/2014/main" id="{75F1BAB0-AC7B-394A-2568-87A765642479}"/>
                      </a:ext>
                    </a:extLst>
                  </p:cNvPr>
                  <p:cNvSpPr/>
                  <p:nvPr userDrawn="1"/>
                </p:nvSpPr>
                <p:spPr>
                  <a:xfrm>
                    <a:off x="8284411" y="4396146"/>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8BFD1"/>
                  </a:solidFill>
                  <a:ln w="2339" cap="flat">
                    <a:noFill/>
                    <a:prstDash val="solid"/>
                    <a:miter/>
                  </a:ln>
                </p:spPr>
                <p:txBody>
                  <a:bodyPr rtlCol="0" anchor="ctr"/>
                  <a:lstStyle/>
                  <a:p>
                    <a:endParaRPr lang="en-US" sz="2400"/>
                  </a:p>
                </p:txBody>
              </p:sp>
              <p:sp>
                <p:nvSpPr>
                  <p:cNvPr id="52" name="Freeform: Shape 51">
                    <a:extLst>
                      <a:ext uri="{FF2B5EF4-FFF2-40B4-BE49-F238E27FC236}">
                        <a16:creationId xmlns:a16="http://schemas.microsoft.com/office/drawing/2014/main" id="{EA7FED37-08C5-27E2-D426-097F1FC55A57}"/>
                      </a:ext>
                    </a:extLst>
                  </p:cNvPr>
                  <p:cNvSpPr/>
                  <p:nvPr userDrawn="1"/>
                </p:nvSpPr>
                <p:spPr>
                  <a:xfrm>
                    <a:off x="8283849" y="439602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9BFD1"/>
                  </a:solidFill>
                  <a:ln w="2339" cap="flat">
                    <a:noFill/>
                    <a:prstDash val="solid"/>
                    <a:miter/>
                  </a:ln>
                </p:spPr>
                <p:txBody>
                  <a:bodyPr rtlCol="0" anchor="ctr"/>
                  <a:lstStyle/>
                  <a:p>
                    <a:endParaRPr lang="en-US" sz="2400"/>
                  </a:p>
                </p:txBody>
              </p:sp>
              <p:sp>
                <p:nvSpPr>
                  <p:cNvPr id="53" name="Freeform: Shape 52">
                    <a:extLst>
                      <a:ext uri="{FF2B5EF4-FFF2-40B4-BE49-F238E27FC236}">
                        <a16:creationId xmlns:a16="http://schemas.microsoft.com/office/drawing/2014/main" id="{C6FEAD57-EB2A-D7C4-39C4-ADCF9738C510}"/>
                      </a:ext>
                    </a:extLst>
                  </p:cNvPr>
                  <p:cNvSpPr/>
                  <p:nvPr userDrawn="1"/>
                </p:nvSpPr>
                <p:spPr>
                  <a:xfrm>
                    <a:off x="8283311" y="4395912"/>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9BFD1"/>
                  </a:solidFill>
                  <a:ln w="2339" cap="flat">
                    <a:noFill/>
                    <a:prstDash val="solid"/>
                    <a:miter/>
                  </a:ln>
                </p:spPr>
                <p:txBody>
                  <a:bodyPr rtlCol="0" anchor="ctr"/>
                  <a:lstStyle/>
                  <a:p>
                    <a:endParaRPr lang="en-US" sz="2400"/>
                  </a:p>
                </p:txBody>
              </p:sp>
              <p:sp>
                <p:nvSpPr>
                  <p:cNvPr id="54" name="Freeform: Shape 53">
                    <a:extLst>
                      <a:ext uri="{FF2B5EF4-FFF2-40B4-BE49-F238E27FC236}">
                        <a16:creationId xmlns:a16="http://schemas.microsoft.com/office/drawing/2014/main" id="{110F19B0-8E2E-790C-652B-49640C80EFC9}"/>
                      </a:ext>
                    </a:extLst>
                  </p:cNvPr>
                  <p:cNvSpPr/>
                  <p:nvPr userDrawn="1"/>
                </p:nvSpPr>
                <p:spPr>
                  <a:xfrm>
                    <a:off x="8282749" y="4395795"/>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9C0D1"/>
                  </a:solidFill>
                  <a:ln w="2339" cap="flat">
                    <a:noFill/>
                    <a:prstDash val="solid"/>
                    <a:miter/>
                  </a:ln>
                </p:spPr>
                <p:txBody>
                  <a:bodyPr rtlCol="0" anchor="ctr"/>
                  <a:lstStyle/>
                  <a:p>
                    <a:endParaRPr lang="en-US" sz="2400"/>
                  </a:p>
                </p:txBody>
              </p:sp>
              <p:sp>
                <p:nvSpPr>
                  <p:cNvPr id="55" name="Freeform: Shape 54">
                    <a:extLst>
                      <a:ext uri="{FF2B5EF4-FFF2-40B4-BE49-F238E27FC236}">
                        <a16:creationId xmlns:a16="http://schemas.microsoft.com/office/drawing/2014/main" id="{79CCB09A-9AF1-C4B6-4353-705004E92391}"/>
                      </a:ext>
                    </a:extLst>
                  </p:cNvPr>
                  <p:cNvSpPr/>
                  <p:nvPr userDrawn="1"/>
                </p:nvSpPr>
                <p:spPr>
                  <a:xfrm>
                    <a:off x="8282211" y="4395678"/>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AC0D2"/>
                  </a:solidFill>
                  <a:ln w="2339" cap="flat">
                    <a:noFill/>
                    <a:prstDash val="solid"/>
                    <a:miter/>
                  </a:ln>
                </p:spPr>
                <p:txBody>
                  <a:bodyPr rtlCol="0" anchor="ctr"/>
                  <a:lstStyle/>
                  <a:p>
                    <a:endParaRPr lang="en-US" sz="2400"/>
                  </a:p>
                </p:txBody>
              </p:sp>
              <p:sp>
                <p:nvSpPr>
                  <p:cNvPr id="56" name="Freeform: Shape 55">
                    <a:extLst>
                      <a:ext uri="{FF2B5EF4-FFF2-40B4-BE49-F238E27FC236}">
                        <a16:creationId xmlns:a16="http://schemas.microsoft.com/office/drawing/2014/main" id="{5B0DD83D-3F6D-33FA-9F6B-C77F13F2B825}"/>
                      </a:ext>
                    </a:extLst>
                  </p:cNvPr>
                  <p:cNvSpPr/>
                  <p:nvPr userDrawn="1"/>
                </p:nvSpPr>
                <p:spPr>
                  <a:xfrm>
                    <a:off x="8281649" y="439556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AC0D2"/>
                  </a:solidFill>
                  <a:ln w="2339" cap="flat">
                    <a:noFill/>
                    <a:prstDash val="solid"/>
                    <a:miter/>
                  </a:ln>
                </p:spPr>
                <p:txBody>
                  <a:bodyPr rtlCol="0" anchor="ctr"/>
                  <a:lstStyle/>
                  <a:p>
                    <a:endParaRPr lang="en-US" sz="2400"/>
                  </a:p>
                </p:txBody>
              </p:sp>
              <p:sp>
                <p:nvSpPr>
                  <p:cNvPr id="57" name="Freeform: Shape 56">
                    <a:extLst>
                      <a:ext uri="{FF2B5EF4-FFF2-40B4-BE49-F238E27FC236}">
                        <a16:creationId xmlns:a16="http://schemas.microsoft.com/office/drawing/2014/main" id="{73B83A36-011C-0F83-E5C8-D7A8D9D97550}"/>
                      </a:ext>
                    </a:extLst>
                  </p:cNvPr>
                  <p:cNvSpPr/>
                  <p:nvPr userDrawn="1"/>
                </p:nvSpPr>
                <p:spPr>
                  <a:xfrm>
                    <a:off x="8281111" y="4395444"/>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AC0D2"/>
                  </a:solidFill>
                  <a:ln w="2339" cap="flat">
                    <a:noFill/>
                    <a:prstDash val="solid"/>
                    <a:miter/>
                  </a:ln>
                </p:spPr>
                <p:txBody>
                  <a:bodyPr rtlCol="0" anchor="ctr"/>
                  <a:lstStyle/>
                  <a:p>
                    <a:endParaRPr lang="en-US" sz="2400"/>
                  </a:p>
                </p:txBody>
              </p:sp>
              <p:sp>
                <p:nvSpPr>
                  <p:cNvPr id="58" name="Freeform: Shape 57">
                    <a:extLst>
                      <a:ext uri="{FF2B5EF4-FFF2-40B4-BE49-F238E27FC236}">
                        <a16:creationId xmlns:a16="http://schemas.microsoft.com/office/drawing/2014/main" id="{E2BAB487-8EAF-2BFE-0EF2-27B540B1654F}"/>
                      </a:ext>
                    </a:extLst>
                  </p:cNvPr>
                  <p:cNvSpPr/>
                  <p:nvPr userDrawn="1"/>
                </p:nvSpPr>
                <p:spPr>
                  <a:xfrm>
                    <a:off x="8280550" y="4395327"/>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AC1D2"/>
                  </a:solidFill>
                  <a:ln w="2339" cap="flat">
                    <a:noFill/>
                    <a:prstDash val="solid"/>
                    <a:miter/>
                  </a:ln>
                </p:spPr>
                <p:txBody>
                  <a:bodyPr rtlCol="0" anchor="ctr"/>
                  <a:lstStyle/>
                  <a:p>
                    <a:endParaRPr lang="en-US" sz="2400"/>
                  </a:p>
                </p:txBody>
              </p:sp>
              <p:sp>
                <p:nvSpPr>
                  <p:cNvPr id="59" name="Freeform: Shape 58">
                    <a:extLst>
                      <a:ext uri="{FF2B5EF4-FFF2-40B4-BE49-F238E27FC236}">
                        <a16:creationId xmlns:a16="http://schemas.microsoft.com/office/drawing/2014/main" id="{33493F8B-E14E-BAE2-063E-2A633972C0F9}"/>
                      </a:ext>
                    </a:extLst>
                  </p:cNvPr>
                  <p:cNvSpPr/>
                  <p:nvPr userDrawn="1"/>
                </p:nvSpPr>
                <p:spPr>
                  <a:xfrm>
                    <a:off x="8280011" y="439521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43"/>
                          <a:pt x="42097" y="21037"/>
                        </a:cubicBezTo>
                        <a:close/>
                      </a:path>
                    </a:pathLst>
                  </a:custGeom>
                  <a:solidFill>
                    <a:srgbClr val="BBC1D2"/>
                  </a:solidFill>
                  <a:ln w="2339" cap="flat">
                    <a:noFill/>
                    <a:prstDash val="solid"/>
                    <a:miter/>
                  </a:ln>
                </p:spPr>
                <p:txBody>
                  <a:bodyPr rtlCol="0" anchor="ctr"/>
                  <a:lstStyle/>
                  <a:p>
                    <a:endParaRPr lang="en-US" sz="2400"/>
                  </a:p>
                </p:txBody>
              </p:sp>
              <p:sp>
                <p:nvSpPr>
                  <p:cNvPr id="60" name="Freeform: Shape 59">
                    <a:extLst>
                      <a:ext uri="{FF2B5EF4-FFF2-40B4-BE49-F238E27FC236}">
                        <a16:creationId xmlns:a16="http://schemas.microsoft.com/office/drawing/2014/main" id="{6A43FAD8-3BE2-526F-7F08-29B0CED643D1}"/>
                      </a:ext>
                    </a:extLst>
                  </p:cNvPr>
                  <p:cNvSpPr/>
                  <p:nvPr userDrawn="1"/>
                </p:nvSpPr>
                <p:spPr>
                  <a:xfrm>
                    <a:off x="8279473" y="439506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BC1D3"/>
                  </a:solidFill>
                  <a:ln w="2339" cap="flat">
                    <a:noFill/>
                    <a:prstDash val="solid"/>
                    <a:miter/>
                  </a:ln>
                </p:spPr>
                <p:txBody>
                  <a:bodyPr rtlCol="0" anchor="ctr"/>
                  <a:lstStyle/>
                  <a:p>
                    <a:endParaRPr lang="en-US" sz="2400"/>
                  </a:p>
                </p:txBody>
              </p:sp>
              <p:sp>
                <p:nvSpPr>
                  <p:cNvPr id="61" name="Freeform: Shape 60">
                    <a:extLst>
                      <a:ext uri="{FF2B5EF4-FFF2-40B4-BE49-F238E27FC236}">
                        <a16:creationId xmlns:a16="http://schemas.microsoft.com/office/drawing/2014/main" id="{6FF792E6-76F5-65D2-17D8-C77DCD9EEEAC}"/>
                      </a:ext>
                    </a:extLst>
                  </p:cNvPr>
                  <p:cNvSpPr/>
                  <p:nvPr userDrawn="1"/>
                </p:nvSpPr>
                <p:spPr>
                  <a:xfrm>
                    <a:off x="8278912" y="4394952"/>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BC1D3"/>
                  </a:solidFill>
                  <a:ln w="2339" cap="flat">
                    <a:noFill/>
                    <a:prstDash val="solid"/>
                    <a:miter/>
                  </a:ln>
                </p:spPr>
                <p:txBody>
                  <a:bodyPr rtlCol="0" anchor="ctr"/>
                  <a:lstStyle/>
                  <a:p>
                    <a:endParaRPr lang="en-US" sz="2400"/>
                  </a:p>
                </p:txBody>
              </p:sp>
              <p:sp>
                <p:nvSpPr>
                  <p:cNvPr id="62" name="Freeform: Shape 61">
                    <a:extLst>
                      <a:ext uri="{FF2B5EF4-FFF2-40B4-BE49-F238E27FC236}">
                        <a16:creationId xmlns:a16="http://schemas.microsoft.com/office/drawing/2014/main" id="{423FE69C-13D2-4228-0681-EF2E4554CD85}"/>
                      </a:ext>
                    </a:extLst>
                  </p:cNvPr>
                  <p:cNvSpPr/>
                  <p:nvPr userDrawn="1"/>
                </p:nvSpPr>
                <p:spPr>
                  <a:xfrm>
                    <a:off x="8278373" y="4394835"/>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BCC2D3"/>
                  </a:solidFill>
                  <a:ln w="2339" cap="flat">
                    <a:noFill/>
                    <a:prstDash val="solid"/>
                    <a:miter/>
                  </a:ln>
                </p:spPr>
                <p:txBody>
                  <a:bodyPr rtlCol="0" anchor="ctr"/>
                  <a:lstStyle/>
                  <a:p>
                    <a:endParaRPr lang="en-US" sz="2400"/>
                  </a:p>
                </p:txBody>
              </p:sp>
              <p:sp>
                <p:nvSpPr>
                  <p:cNvPr id="63" name="Freeform: Shape 62">
                    <a:extLst>
                      <a:ext uri="{FF2B5EF4-FFF2-40B4-BE49-F238E27FC236}">
                        <a16:creationId xmlns:a16="http://schemas.microsoft.com/office/drawing/2014/main" id="{5E5982F0-67C7-986F-7CEB-D702236A1E9A}"/>
                      </a:ext>
                    </a:extLst>
                  </p:cNvPr>
                  <p:cNvSpPr/>
                  <p:nvPr userDrawn="1"/>
                </p:nvSpPr>
                <p:spPr>
                  <a:xfrm>
                    <a:off x="8277835" y="4394695"/>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CC2D3"/>
                  </a:solidFill>
                  <a:ln w="2339" cap="flat">
                    <a:noFill/>
                    <a:prstDash val="solid"/>
                    <a:miter/>
                  </a:ln>
                </p:spPr>
                <p:txBody>
                  <a:bodyPr rtlCol="0" anchor="ctr"/>
                  <a:lstStyle/>
                  <a:p>
                    <a:endParaRPr lang="en-US" sz="2400"/>
                  </a:p>
                </p:txBody>
              </p:sp>
              <p:sp>
                <p:nvSpPr>
                  <p:cNvPr id="64" name="Freeform: Shape 63">
                    <a:extLst>
                      <a:ext uri="{FF2B5EF4-FFF2-40B4-BE49-F238E27FC236}">
                        <a16:creationId xmlns:a16="http://schemas.microsoft.com/office/drawing/2014/main" id="{FD859D96-7AFE-D9B0-3F4B-191023BF2A09}"/>
                      </a:ext>
                    </a:extLst>
                  </p:cNvPr>
                  <p:cNvSpPr/>
                  <p:nvPr userDrawn="1"/>
                </p:nvSpPr>
                <p:spPr>
                  <a:xfrm>
                    <a:off x="8277297" y="4394578"/>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BCC2D3"/>
                  </a:solidFill>
                  <a:ln w="2339" cap="flat">
                    <a:noFill/>
                    <a:prstDash val="solid"/>
                    <a:miter/>
                  </a:ln>
                </p:spPr>
                <p:txBody>
                  <a:bodyPr rtlCol="0" anchor="ctr"/>
                  <a:lstStyle/>
                  <a:p>
                    <a:endParaRPr lang="en-US" sz="2400"/>
                  </a:p>
                </p:txBody>
              </p:sp>
              <p:sp>
                <p:nvSpPr>
                  <p:cNvPr id="65" name="Freeform: Shape 64">
                    <a:extLst>
                      <a:ext uri="{FF2B5EF4-FFF2-40B4-BE49-F238E27FC236}">
                        <a16:creationId xmlns:a16="http://schemas.microsoft.com/office/drawing/2014/main" id="{1B070C48-0FAF-B794-610A-E4EE5388919A}"/>
                      </a:ext>
                    </a:extLst>
                  </p:cNvPr>
                  <p:cNvSpPr/>
                  <p:nvPr userDrawn="1"/>
                </p:nvSpPr>
                <p:spPr>
                  <a:xfrm>
                    <a:off x="8276759" y="4394437"/>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DC3D4"/>
                  </a:solidFill>
                  <a:ln w="2339" cap="flat">
                    <a:noFill/>
                    <a:prstDash val="solid"/>
                    <a:miter/>
                  </a:ln>
                </p:spPr>
                <p:txBody>
                  <a:bodyPr rtlCol="0" anchor="ctr"/>
                  <a:lstStyle/>
                  <a:p>
                    <a:endParaRPr lang="en-US" sz="2400"/>
                  </a:p>
                </p:txBody>
              </p:sp>
              <p:sp>
                <p:nvSpPr>
                  <p:cNvPr id="66" name="Freeform: Shape 65">
                    <a:extLst>
                      <a:ext uri="{FF2B5EF4-FFF2-40B4-BE49-F238E27FC236}">
                        <a16:creationId xmlns:a16="http://schemas.microsoft.com/office/drawing/2014/main" id="{D30B3E50-F0B6-67B0-D133-2397C9C40CFC}"/>
                      </a:ext>
                    </a:extLst>
                  </p:cNvPr>
                  <p:cNvSpPr/>
                  <p:nvPr userDrawn="1"/>
                </p:nvSpPr>
                <p:spPr>
                  <a:xfrm>
                    <a:off x="8276197" y="439432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43"/>
                          <a:pt x="42097" y="21037"/>
                        </a:cubicBezTo>
                        <a:close/>
                      </a:path>
                    </a:pathLst>
                  </a:custGeom>
                  <a:solidFill>
                    <a:srgbClr val="BDC3D4"/>
                  </a:solidFill>
                  <a:ln w="2339" cap="flat">
                    <a:noFill/>
                    <a:prstDash val="solid"/>
                    <a:miter/>
                  </a:ln>
                </p:spPr>
                <p:txBody>
                  <a:bodyPr rtlCol="0" anchor="ctr"/>
                  <a:lstStyle/>
                  <a:p>
                    <a:endParaRPr lang="en-US" sz="2400"/>
                  </a:p>
                </p:txBody>
              </p:sp>
              <p:sp>
                <p:nvSpPr>
                  <p:cNvPr id="67" name="Freeform: Shape 66">
                    <a:extLst>
                      <a:ext uri="{FF2B5EF4-FFF2-40B4-BE49-F238E27FC236}">
                        <a16:creationId xmlns:a16="http://schemas.microsoft.com/office/drawing/2014/main" id="{51D518F5-FB44-66CE-246B-C435BA075BF0}"/>
                      </a:ext>
                    </a:extLst>
                  </p:cNvPr>
                  <p:cNvSpPr/>
                  <p:nvPr userDrawn="1"/>
                </p:nvSpPr>
                <p:spPr>
                  <a:xfrm>
                    <a:off x="8275659" y="439418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DC3D4"/>
                  </a:solidFill>
                  <a:ln w="2339" cap="flat">
                    <a:noFill/>
                    <a:prstDash val="solid"/>
                    <a:miter/>
                  </a:ln>
                </p:spPr>
                <p:txBody>
                  <a:bodyPr rtlCol="0" anchor="ctr"/>
                  <a:lstStyle/>
                  <a:p>
                    <a:endParaRPr lang="en-US" sz="2400"/>
                  </a:p>
                </p:txBody>
              </p:sp>
              <p:sp>
                <p:nvSpPr>
                  <p:cNvPr id="68" name="Freeform: Shape 67">
                    <a:extLst>
                      <a:ext uri="{FF2B5EF4-FFF2-40B4-BE49-F238E27FC236}">
                        <a16:creationId xmlns:a16="http://schemas.microsoft.com/office/drawing/2014/main" id="{9F301C91-75BE-40E6-8559-9A6D5754169C}"/>
                      </a:ext>
                    </a:extLst>
                  </p:cNvPr>
                  <p:cNvSpPr/>
                  <p:nvPr userDrawn="1"/>
                </p:nvSpPr>
                <p:spPr>
                  <a:xfrm>
                    <a:off x="8275121" y="439404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EC3D4"/>
                  </a:solidFill>
                  <a:ln w="2339" cap="flat">
                    <a:noFill/>
                    <a:prstDash val="solid"/>
                    <a:miter/>
                  </a:ln>
                </p:spPr>
                <p:txBody>
                  <a:bodyPr rtlCol="0" anchor="ctr"/>
                  <a:lstStyle/>
                  <a:p>
                    <a:endParaRPr lang="en-US" sz="2400"/>
                  </a:p>
                </p:txBody>
              </p:sp>
              <p:sp>
                <p:nvSpPr>
                  <p:cNvPr id="69" name="Freeform: Shape 68">
                    <a:extLst>
                      <a:ext uri="{FF2B5EF4-FFF2-40B4-BE49-F238E27FC236}">
                        <a16:creationId xmlns:a16="http://schemas.microsoft.com/office/drawing/2014/main" id="{DF95538C-DE1B-0243-362B-215068410555}"/>
                      </a:ext>
                    </a:extLst>
                  </p:cNvPr>
                  <p:cNvSpPr/>
                  <p:nvPr userDrawn="1"/>
                </p:nvSpPr>
                <p:spPr>
                  <a:xfrm>
                    <a:off x="8274583" y="4393923"/>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43"/>
                          <a:pt x="42097" y="21037"/>
                        </a:cubicBezTo>
                        <a:close/>
                      </a:path>
                    </a:pathLst>
                  </a:custGeom>
                  <a:solidFill>
                    <a:srgbClr val="BEC4D4"/>
                  </a:solidFill>
                  <a:ln w="2339" cap="flat">
                    <a:noFill/>
                    <a:prstDash val="solid"/>
                    <a:miter/>
                  </a:ln>
                </p:spPr>
                <p:txBody>
                  <a:bodyPr rtlCol="0" anchor="ctr"/>
                  <a:lstStyle/>
                  <a:p>
                    <a:endParaRPr lang="en-US" sz="2400"/>
                  </a:p>
                </p:txBody>
              </p:sp>
              <p:sp>
                <p:nvSpPr>
                  <p:cNvPr id="70" name="Freeform: Shape 69">
                    <a:extLst>
                      <a:ext uri="{FF2B5EF4-FFF2-40B4-BE49-F238E27FC236}">
                        <a16:creationId xmlns:a16="http://schemas.microsoft.com/office/drawing/2014/main" id="{B1189488-3C3C-68EE-A863-EF7C47CFEADC}"/>
                      </a:ext>
                    </a:extLst>
                  </p:cNvPr>
                  <p:cNvSpPr/>
                  <p:nvPr userDrawn="1"/>
                </p:nvSpPr>
                <p:spPr>
                  <a:xfrm>
                    <a:off x="8274044" y="4393782"/>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EC4D5"/>
                  </a:solidFill>
                  <a:ln w="2339" cap="flat">
                    <a:noFill/>
                    <a:prstDash val="solid"/>
                    <a:miter/>
                  </a:ln>
                </p:spPr>
                <p:txBody>
                  <a:bodyPr rtlCol="0" anchor="ctr"/>
                  <a:lstStyle/>
                  <a:p>
                    <a:endParaRPr lang="en-US" sz="2400"/>
                  </a:p>
                </p:txBody>
              </p:sp>
              <p:sp>
                <p:nvSpPr>
                  <p:cNvPr id="71" name="Freeform: Shape 70">
                    <a:extLst>
                      <a:ext uri="{FF2B5EF4-FFF2-40B4-BE49-F238E27FC236}">
                        <a16:creationId xmlns:a16="http://schemas.microsoft.com/office/drawing/2014/main" id="{0C95FD9C-5BDB-801A-51BF-ADF7D808BF91}"/>
                      </a:ext>
                    </a:extLst>
                  </p:cNvPr>
                  <p:cNvSpPr/>
                  <p:nvPr userDrawn="1"/>
                </p:nvSpPr>
                <p:spPr>
                  <a:xfrm>
                    <a:off x="8273506" y="4393642"/>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EC4D5"/>
                  </a:solidFill>
                  <a:ln w="2339" cap="flat">
                    <a:noFill/>
                    <a:prstDash val="solid"/>
                    <a:miter/>
                  </a:ln>
                </p:spPr>
                <p:txBody>
                  <a:bodyPr rtlCol="0" anchor="ctr"/>
                  <a:lstStyle/>
                  <a:p>
                    <a:endParaRPr lang="en-US" sz="2400"/>
                  </a:p>
                </p:txBody>
              </p:sp>
              <p:sp>
                <p:nvSpPr>
                  <p:cNvPr id="72" name="Freeform: Shape 71">
                    <a:extLst>
                      <a:ext uri="{FF2B5EF4-FFF2-40B4-BE49-F238E27FC236}">
                        <a16:creationId xmlns:a16="http://schemas.microsoft.com/office/drawing/2014/main" id="{6DA12769-5C14-5315-F99A-CFE2375E3938}"/>
                      </a:ext>
                    </a:extLst>
                  </p:cNvPr>
                  <p:cNvSpPr/>
                  <p:nvPr userDrawn="1"/>
                </p:nvSpPr>
                <p:spPr>
                  <a:xfrm>
                    <a:off x="8272991" y="439350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FC5D5"/>
                  </a:solidFill>
                  <a:ln w="2339" cap="flat">
                    <a:noFill/>
                    <a:prstDash val="solid"/>
                    <a:miter/>
                  </a:ln>
                </p:spPr>
                <p:txBody>
                  <a:bodyPr rtlCol="0" anchor="ctr"/>
                  <a:lstStyle/>
                  <a:p>
                    <a:endParaRPr lang="en-US" sz="2400"/>
                  </a:p>
                </p:txBody>
              </p:sp>
              <p:sp>
                <p:nvSpPr>
                  <p:cNvPr id="73" name="Freeform: Shape 72">
                    <a:extLst>
                      <a:ext uri="{FF2B5EF4-FFF2-40B4-BE49-F238E27FC236}">
                        <a16:creationId xmlns:a16="http://schemas.microsoft.com/office/drawing/2014/main" id="{F79F2643-7724-7B3F-189D-0A89084A5480}"/>
                      </a:ext>
                    </a:extLst>
                  </p:cNvPr>
                  <p:cNvSpPr/>
                  <p:nvPr userDrawn="1"/>
                </p:nvSpPr>
                <p:spPr>
                  <a:xfrm>
                    <a:off x="8272453" y="439336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FC5D5"/>
                  </a:solidFill>
                  <a:ln w="2339" cap="flat">
                    <a:noFill/>
                    <a:prstDash val="solid"/>
                    <a:miter/>
                  </a:ln>
                </p:spPr>
                <p:txBody>
                  <a:bodyPr rtlCol="0" anchor="ctr"/>
                  <a:lstStyle/>
                  <a:p>
                    <a:endParaRPr lang="en-US" sz="2400"/>
                  </a:p>
                </p:txBody>
              </p:sp>
              <p:sp>
                <p:nvSpPr>
                  <p:cNvPr id="74" name="Freeform: Shape 73">
                    <a:extLst>
                      <a:ext uri="{FF2B5EF4-FFF2-40B4-BE49-F238E27FC236}">
                        <a16:creationId xmlns:a16="http://schemas.microsoft.com/office/drawing/2014/main" id="{10B4A79F-157F-D5BF-E856-5D3945A69380}"/>
                      </a:ext>
                    </a:extLst>
                  </p:cNvPr>
                  <p:cNvSpPr/>
                  <p:nvPr userDrawn="1"/>
                </p:nvSpPr>
                <p:spPr>
                  <a:xfrm>
                    <a:off x="8271915" y="439322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FC5D5"/>
                  </a:solidFill>
                  <a:ln w="2339" cap="flat">
                    <a:noFill/>
                    <a:prstDash val="solid"/>
                    <a:miter/>
                  </a:ln>
                </p:spPr>
                <p:txBody>
                  <a:bodyPr rtlCol="0" anchor="ctr"/>
                  <a:lstStyle/>
                  <a:p>
                    <a:endParaRPr lang="en-US" sz="2400"/>
                  </a:p>
                </p:txBody>
              </p:sp>
              <p:sp>
                <p:nvSpPr>
                  <p:cNvPr id="75" name="Freeform: Shape 74">
                    <a:extLst>
                      <a:ext uri="{FF2B5EF4-FFF2-40B4-BE49-F238E27FC236}">
                        <a16:creationId xmlns:a16="http://schemas.microsoft.com/office/drawing/2014/main" id="{369F2842-08D8-7323-0660-D046BA7329AF}"/>
                      </a:ext>
                    </a:extLst>
                  </p:cNvPr>
                  <p:cNvSpPr/>
                  <p:nvPr userDrawn="1"/>
                </p:nvSpPr>
                <p:spPr>
                  <a:xfrm>
                    <a:off x="8271377" y="439308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C0C5D6"/>
                  </a:solidFill>
                  <a:ln w="2339" cap="flat">
                    <a:noFill/>
                    <a:prstDash val="solid"/>
                    <a:miter/>
                  </a:ln>
                </p:spPr>
                <p:txBody>
                  <a:bodyPr rtlCol="0" anchor="ctr"/>
                  <a:lstStyle/>
                  <a:p>
                    <a:endParaRPr lang="en-US" sz="2400"/>
                  </a:p>
                </p:txBody>
              </p:sp>
              <p:sp>
                <p:nvSpPr>
                  <p:cNvPr id="76" name="Freeform: Shape 75">
                    <a:extLst>
                      <a:ext uri="{FF2B5EF4-FFF2-40B4-BE49-F238E27FC236}">
                        <a16:creationId xmlns:a16="http://schemas.microsoft.com/office/drawing/2014/main" id="{6EF84239-22A1-1C91-B6EE-C2C45BEA916C}"/>
                      </a:ext>
                    </a:extLst>
                  </p:cNvPr>
                  <p:cNvSpPr/>
                  <p:nvPr userDrawn="1"/>
                </p:nvSpPr>
                <p:spPr>
                  <a:xfrm>
                    <a:off x="8270862" y="439294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C0C6D6"/>
                  </a:solidFill>
                  <a:ln w="2339" cap="flat">
                    <a:noFill/>
                    <a:prstDash val="solid"/>
                    <a:miter/>
                  </a:ln>
                </p:spPr>
                <p:txBody>
                  <a:bodyPr rtlCol="0" anchor="ctr"/>
                  <a:lstStyle/>
                  <a:p>
                    <a:endParaRPr lang="en-US" sz="2400"/>
                  </a:p>
                </p:txBody>
              </p:sp>
              <p:sp>
                <p:nvSpPr>
                  <p:cNvPr id="77" name="Freeform: Shape 76">
                    <a:extLst>
                      <a:ext uri="{FF2B5EF4-FFF2-40B4-BE49-F238E27FC236}">
                        <a16:creationId xmlns:a16="http://schemas.microsoft.com/office/drawing/2014/main" id="{41059B14-5D18-A81C-AA2A-B759D4BDA850}"/>
                      </a:ext>
                    </a:extLst>
                  </p:cNvPr>
                  <p:cNvSpPr/>
                  <p:nvPr userDrawn="1"/>
                </p:nvSpPr>
                <p:spPr>
                  <a:xfrm>
                    <a:off x="8270324" y="439279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C0C6D6"/>
                  </a:solidFill>
                  <a:ln w="2339" cap="flat">
                    <a:noFill/>
                    <a:prstDash val="solid"/>
                    <a:miter/>
                  </a:ln>
                </p:spPr>
                <p:txBody>
                  <a:bodyPr rtlCol="0" anchor="ctr"/>
                  <a:lstStyle/>
                  <a:p>
                    <a:endParaRPr lang="en-US" sz="2400"/>
                  </a:p>
                </p:txBody>
              </p:sp>
              <p:sp>
                <p:nvSpPr>
                  <p:cNvPr id="78" name="Freeform: Shape 77">
                    <a:extLst>
                      <a:ext uri="{FF2B5EF4-FFF2-40B4-BE49-F238E27FC236}">
                        <a16:creationId xmlns:a16="http://schemas.microsoft.com/office/drawing/2014/main" id="{D15EDBEA-A775-2F54-AEE7-E32AD11474C6}"/>
                      </a:ext>
                    </a:extLst>
                  </p:cNvPr>
                  <p:cNvSpPr/>
                  <p:nvPr userDrawn="1"/>
                </p:nvSpPr>
                <p:spPr>
                  <a:xfrm>
                    <a:off x="8269786" y="439265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C1C6D6"/>
                  </a:solidFill>
                  <a:ln w="2339" cap="flat">
                    <a:noFill/>
                    <a:prstDash val="solid"/>
                    <a:miter/>
                  </a:ln>
                </p:spPr>
                <p:txBody>
                  <a:bodyPr rtlCol="0" anchor="ctr"/>
                  <a:lstStyle/>
                  <a:p>
                    <a:endParaRPr lang="en-US" sz="2400"/>
                  </a:p>
                </p:txBody>
              </p:sp>
              <p:sp>
                <p:nvSpPr>
                  <p:cNvPr id="79" name="Freeform: Shape 78">
                    <a:extLst>
                      <a:ext uri="{FF2B5EF4-FFF2-40B4-BE49-F238E27FC236}">
                        <a16:creationId xmlns:a16="http://schemas.microsoft.com/office/drawing/2014/main" id="{F829B9D4-B293-DFE3-0172-17D88A206225}"/>
                      </a:ext>
                    </a:extLst>
                  </p:cNvPr>
                  <p:cNvSpPr/>
                  <p:nvPr userDrawn="1"/>
                </p:nvSpPr>
                <p:spPr>
                  <a:xfrm>
                    <a:off x="8269271" y="439251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C1C6D6"/>
                  </a:solidFill>
                  <a:ln w="2339" cap="flat">
                    <a:noFill/>
                    <a:prstDash val="solid"/>
                    <a:miter/>
                  </a:ln>
                </p:spPr>
                <p:txBody>
                  <a:bodyPr rtlCol="0" anchor="ctr"/>
                  <a:lstStyle/>
                  <a:p>
                    <a:endParaRPr lang="en-US" sz="2400"/>
                  </a:p>
                </p:txBody>
              </p:sp>
              <p:sp>
                <p:nvSpPr>
                  <p:cNvPr id="80" name="Freeform: Shape 79">
                    <a:extLst>
                      <a:ext uri="{FF2B5EF4-FFF2-40B4-BE49-F238E27FC236}">
                        <a16:creationId xmlns:a16="http://schemas.microsoft.com/office/drawing/2014/main" id="{6849034D-102C-BBFF-3889-EA6DF18ED95B}"/>
                      </a:ext>
                    </a:extLst>
                  </p:cNvPr>
                  <p:cNvSpPr/>
                  <p:nvPr userDrawn="1"/>
                </p:nvSpPr>
                <p:spPr>
                  <a:xfrm>
                    <a:off x="8268733" y="4392378"/>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43"/>
                          <a:pt x="42097" y="21037"/>
                        </a:cubicBezTo>
                        <a:close/>
                      </a:path>
                    </a:pathLst>
                  </a:custGeom>
                  <a:solidFill>
                    <a:srgbClr val="C1C7D7"/>
                  </a:solidFill>
                  <a:ln w="2339" cap="flat">
                    <a:noFill/>
                    <a:prstDash val="solid"/>
                    <a:miter/>
                  </a:ln>
                </p:spPr>
                <p:txBody>
                  <a:bodyPr rtlCol="0" anchor="ctr"/>
                  <a:lstStyle/>
                  <a:p>
                    <a:endParaRPr lang="en-US" sz="2400"/>
                  </a:p>
                </p:txBody>
              </p:sp>
              <p:sp>
                <p:nvSpPr>
                  <p:cNvPr id="81" name="Freeform: Shape 80">
                    <a:extLst>
                      <a:ext uri="{FF2B5EF4-FFF2-40B4-BE49-F238E27FC236}">
                        <a16:creationId xmlns:a16="http://schemas.microsoft.com/office/drawing/2014/main" id="{402FF4B4-C6DE-55A2-90B3-E17057BDE2E5}"/>
                      </a:ext>
                    </a:extLst>
                  </p:cNvPr>
                  <p:cNvSpPr/>
                  <p:nvPr userDrawn="1"/>
                </p:nvSpPr>
                <p:spPr>
                  <a:xfrm>
                    <a:off x="8268218" y="4392214"/>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C2C7D7"/>
                  </a:solidFill>
                  <a:ln w="2339" cap="flat">
                    <a:noFill/>
                    <a:prstDash val="solid"/>
                    <a:miter/>
                  </a:ln>
                </p:spPr>
                <p:txBody>
                  <a:bodyPr rtlCol="0" anchor="ctr"/>
                  <a:lstStyle/>
                  <a:p>
                    <a:endParaRPr lang="en-US" sz="2400"/>
                  </a:p>
                </p:txBody>
              </p:sp>
              <p:sp>
                <p:nvSpPr>
                  <p:cNvPr id="82" name="Freeform: Shape 81">
                    <a:extLst>
                      <a:ext uri="{FF2B5EF4-FFF2-40B4-BE49-F238E27FC236}">
                        <a16:creationId xmlns:a16="http://schemas.microsoft.com/office/drawing/2014/main" id="{3B50DCAD-063F-24C7-8566-5F9FE4C5DFDF}"/>
                      </a:ext>
                    </a:extLst>
                  </p:cNvPr>
                  <p:cNvSpPr/>
                  <p:nvPr userDrawn="1"/>
                </p:nvSpPr>
                <p:spPr>
                  <a:xfrm>
                    <a:off x="8267680" y="4392074"/>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C2C7D7"/>
                  </a:solidFill>
                  <a:ln w="2339" cap="flat">
                    <a:noFill/>
                    <a:prstDash val="solid"/>
                    <a:miter/>
                  </a:ln>
                </p:spPr>
                <p:txBody>
                  <a:bodyPr rtlCol="0" anchor="ctr"/>
                  <a:lstStyle/>
                  <a:p>
                    <a:endParaRPr lang="en-US" sz="2400"/>
                  </a:p>
                </p:txBody>
              </p:sp>
              <p:sp>
                <p:nvSpPr>
                  <p:cNvPr id="83" name="Freeform: Shape 82">
                    <a:extLst>
                      <a:ext uri="{FF2B5EF4-FFF2-40B4-BE49-F238E27FC236}">
                        <a16:creationId xmlns:a16="http://schemas.microsoft.com/office/drawing/2014/main" id="{455D7766-8F28-03FF-2A5A-7FEDE7918F43}"/>
                      </a:ext>
                    </a:extLst>
                  </p:cNvPr>
                  <p:cNvSpPr/>
                  <p:nvPr userDrawn="1"/>
                </p:nvSpPr>
                <p:spPr>
                  <a:xfrm>
                    <a:off x="8267165" y="439191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C2C8D7"/>
                  </a:solidFill>
                  <a:ln w="2339" cap="flat">
                    <a:noFill/>
                    <a:prstDash val="solid"/>
                    <a:miter/>
                  </a:ln>
                </p:spPr>
                <p:txBody>
                  <a:bodyPr rtlCol="0" anchor="ctr"/>
                  <a:lstStyle/>
                  <a:p>
                    <a:endParaRPr lang="en-US" sz="2400"/>
                  </a:p>
                </p:txBody>
              </p:sp>
              <p:sp>
                <p:nvSpPr>
                  <p:cNvPr id="84" name="Freeform: Shape 83">
                    <a:extLst>
                      <a:ext uri="{FF2B5EF4-FFF2-40B4-BE49-F238E27FC236}">
                        <a16:creationId xmlns:a16="http://schemas.microsoft.com/office/drawing/2014/main" id="{7D1E659B-C3FC-FEA4-C003-FF201157437E}"/>
                      </a:ext>
                    </a:extLst>
                  </p:cNvPr>
                  <p:cNvSpPr/>
                  <p:nvPr userDrawn="1"/>
                </p:nvSpPr>
                <p:spPr>
                  <a:xfrm>
                    <a:off x="8266650" y="439177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C2C8D7"/>
                  </a:solidFill>
                  <a:ln w="2339" cap="flat">
                    <a:noFill/>
                    <a:prstDash val="solid"/>
                    <a:miter/>
                  </a:ln>
                </p:spPr>
                <p:txBody>
                  <a:bodyPr rtlCol="0" anchor="ctr"/>
                  <a:lstStyle/>
                  <a:p>
                    <a:endParaRPr lang="en-US" sz="2400"/>
                  </a:p>
                </p:txBody>
              </p:sp>
              <p:sp>
                <p:nvSpPr>
                  <p:cNvPr id="85" name="Freeform: Shape 84">
                    <a:extLst>
                      <a:ext uri="{FF2B5EF4-FFF2-40B4-BE49-F238E27FC236}">
                        <a16:creationId xmlns:a16="http://schemas.microsoft.com/office/drawing/2014/main" id="{81B30F5E-0A9D-E430-34D7-9E8119F931B5}"/>
                      </a:ext>
                    </a:extLst>
                  </p:cNvPr>
                  <p:cNvSpPr/>
                  <p:nvPr userDrawn="1"/>
                </p:nvSpPr>
                <p:spPr>
                  <a:xfrm>
                    <a:off x="8266112" y="439162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43"/>
                          <a:pt x="42097" y="21037"/>
                        </a:cubicBezTo>
                        <a:close/>
                      </a:path>
                    </a:pathLst>
                  </a:custGeom>
                  <a:solidFill>
                    <a:srgbClr val="C3C8D8"/>
                  </a:solidFill>
                  <a:ln w="2339" cap="flat">
                    <a:noFill/>
                    <a:prstDash val="solid"/>
                    <a:miter/>
                  </a:ln>
                </p:spPr>
                <p:txBody>
                  <a:bodyPr rtlCol="0" anchor="ctr"/>
                  <a:lstStyle/>
                  <a:p>
                    <a:endParaRPr lang="en-US" sz="2400"/>
                  </a:p>
                </p:txBody>
              </p:sp>
              <p:sp>
                <p:nvSpPr>
                  <p:cNvPr id="86" name="Freeform: Shape 85">
                    <a:extLst>
                      <a:ext uri="{FF2B5EF4-FFF2-40B4-BE49-F238E27FC236}">
                        <a16:creationId xmlns:a16="http://schemas.microsoft.com/office/drawing/2014/main" id="{2B2B6BA5-6C57-DBCA-34A6-2153CE2C659A}"/>
                      </a:ext>
                    </a:extLst>
                  </p:cNvPr>
                  <p:cNvSpPr/>
                  <p:nvPr userDrawn="1"/>
                </p:nvSpPr>
                <p:spPr>
                  <a:xfrm>
                    <a:off x="8265597" y="4391466"/>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C3C8D8"/>
                  </a:solidFill>
                  <a:ln w="2339" cap="flat">
                    <a:noFill/>
                    <a:prstDash val="solid"/>
                    <a:miter/>
                  </a:ln>
                </p:spPr>
                <p:txBody>
                  <a:bodyPr rtlCol="0" anchor="ctr"/>
                  <a:lstStyle/>
                  <a:p>
                    <a:endParaRPr lang="en-US" sz="2400"/>
                  </a:p>
                </p:txBody>
              </p:sp>
              <p:sp>
                <p:nvSpPr>
                  <p:cNvPr id="87" name="Freeform: Shape 86">
                    <a:extLst>
                      <a:ext uri="{FF2B5EF4-FFF2-40B4-BE49-F238E27FC236}">
                        <a16:creationId xmlns:a16="http://schemas.microsoft.com/office/drawing/2014/main" id="{EE056D1E-BBC7-CE0A-FBDD-D1F8E34BD9F2}"/>
                      </a:ext>
                    </a:extLst>
                  </p:cNvPr>
                  <p:cNvSpPr/>
                  <p:nvPr userDrawn="1"/>
                </p:nvSpPr>
                <p:spPr>
                  <a:xfrm>
                    <a:off x="8265082" y="4391302"/>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C3C9D8"/>
                  </a:solidFill>
                  <a:ln w="2339" cap="flat">
                    <a:noFill/>
                    <a:prstDash val="solid"/>
                    <a:miter/>
                  </a:ln>
                </p:spPr>
                <p:txBody>
                  <a:bodyPr rtlCol="0" anchor="ctr"/>
                  <a:lstStyle/>
                  <a:p>
                    <a:endParaRPr lang="en-US" sz="2400"/>
                  </a:p>
                </p:txBody>
              </p:sp>
              <p:sp>
                <p:nvSpPr>
                  <p:cNvPr id="88" name="Freeform: Shape 87">
                    <a:extLst>
                      <a:ext uri="{FF2B5EF4-FFF2-40B4-BE49-F238E27FC236}">
                        <a16:creationId xmlns:a16="http://schemas.microsoft.com/office/drawing/2014/main" id="{188700DB-EDC7-B2BB-EA0B-6AC2790ECA25}"/>
                      </a:ext>
                    </a:extLst>
                  </p:cNvPr>
                  <p:cNvSpPr/>
                  <p:nvPr userDrawn="1"/>
                </p:nvSpPr>
                <p:spPr>
                  <a:xfrm>
                    <a:off x="8264567" y="439116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C4C9D8"/>
                  </a:solidFill>
                  <a:ln w="2339" cap="flat">
                    <a:noFill/>
                    <a:prstDash val="solid"/>
                    <a:miter/>
                  </a:ln>
                </p:spPr>
                <p:txBody>
                  <a:bodyPr rtlCol="0" anchor="ctr"/>
                  <a:lstStyle/>
                  <a:p>
                    <a:endParaRPr lang="en-US" sz="2400"/>
                  </a:p>
                </p:txBody>
              </p:sp>
              <p:sp>
                <p:nvSpPr>
                  <p:cNvPr id="89" name="Freeform: Shape 88">
                    <a:extLst>
                      <a:ext uri="{FF2B5EF4-FFF2-40B4-BE49-F238E27FC236}">
                        <a16:creationId xmlns:a16="http://schemas.microsoft.com/office/drawing/2014/main" id="{9F1F3101-56C6-C2B3-D599-1608AE5BC983}"/>
                      </a:ext>
                    </a:extLst>
                  </p:cNvPr>
                  <p:cNvSpPr/>
                  <p:nvPr userDrawn="1"/>
                </p:nvSpPr>
                <p:spPr>
                  <a:xfrm>
                    <a:off x="8264052" y="4390998"/>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C4C9D8"/>
                  </a:solidFill>
                  <a:ln w="2339" cap="flat">
                    <a:noFill/>
                    <a:prstDash val="solid"/>
                    <a:miter/>
                  </a:ln>
                </p:spPr>
                <p:txBody>
                  <a:bodyPr rtlCol="0" anchor="ctr"/>
                  <a:lstStyle/>
                  <a:p>
                    <a:endParaRPr lang="en-US" sz="2400"/>
                  </a:p>
                </p:txBody>
              </p:sp>
              <p:sp>
                <p:nvSpPr>
                  <p:cNvPr id="90" name="Freeform: Shape 89">
                    <a:extLst>
                      <a:ext uri="{FF2B5EF4-FFF2-40B4-BE49-F238E27FC236}">
                        <a16:creationId xmlns:a16="http://schemas.microsoft.com/office/drawing/2014/main" id="{9636668D-E9CF-9742-27C3-501716595CB2}"/>
                      </a:ext>
                    </a:extLst>
                  </p:cNvPr>
                  <p:cNvSpPr/>
                  <p:nvPr userDrawn="1"/>
                </p:nvSpPr>
                <p:spPr>
                  <a:xfrm>
                    <a:off x="8263538" y="4390834"/>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C4CAD9"/>
                  </a:solidFill>
                  <a:ln w="2339" cap="flat">
                    <a:noFill/>
                    <a:prstDash val="solid"/>
                    <a:miter/>
                  </a:ln>
                </p:spPr>
                <p:txBody>
                  <a:bodyPr rtlCol="0" anchor="ctr"/>
                  <a:lstStyle/>
                  <a:p>
                    <a:endParaRPr lang="en-US" sz="2400"/>
                  </a:p>
                </p:txBody>
              </p:sp>
              <p:sp>
                <p:nvSpPr>
                  <p:cNvPr id="91" name="Freeform: Shape 90">
                    <a:extLst>
                      <a:ext uri="{FF2B5EF4-FFF2-40B4-BE49-F238E27FC236}">
                        <a16:creationId xmlns:a16="http://schemas.microsoft.com/office/drawing/2014/main" id="{8C45112E-9A19-5812-1D44-AF758C5C8791}"/>
                      </a:ext>
                    </a:extLst>
                  </p:cNvPr>
                  <p:cNvSpPr/>
                  <p:nvPr userDrawn="1"/>
                </p:nvSpPr>
                <p:spPr>
                  <a:xfrm>
                    <a:off x="8263023" y="4390693"/>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43"/>
                          <a:pt x="42097" y="21037"/>
                        </a:cubicBezTo>
                        <a:close/>
                      </a:path>
                    </a:pathLst>
                  </a:custGeom>
                  <a:solidFill>
                    <a:srgbClr val="C5CAD9"/>
                  </a:solidFill>
                  <a:ln w="2339" cap="flat">
                    <a:noFill/>
                    <a:prstDash val="solid"/>
                    <a:miter/>
                  </a:ln>
                </p:spPr>
                <p:txBody>
                  <a:bodyPr rtlCol="0" anchor="ctr"/>
                  <a:lstStyle/>
                  <a:p>
                    <a:endParaRPr lang="en-US" sz="2400"/>
                  </a:p>
                </p:txBody>
              </p:sp>
              <p:sp>
                <p:nvSpPr>
                  <p:cNvPr id="92" name="Freeform: Shape 91">
                    <a:extLst>
                      <a:ext uri="{FF2B5EF4-FFF2-40B4-BE49-F238E27FC236}">
                        <a16:creationId xmlns:a16="http://schemas.microsoft.com/office/drawing/2014/main" id="{553BAB46-1C04-5E6E-0858-55EC07464F02}"/>
                      </a:ext>
                    </a:extLst>
                  </p:cNvPr>
                  <p:cNvSpPr/>
                  <p:nvPr userDrawn="1"/>
                </p:nvSpPr>
                <p:spPr>
                  <a:xfrm>
                    <a:off x="8262508" y="439053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C5CAD9"/>
                  </a:solidFill>
                  <a:ln w="2339" cap="flat">
                    <a:noFill/>
                    <a:prstDash val="solid"/>
                    <a:miter/>
                  </a:ln>
                </p:spPr>
                <p:txBody>
                  <a:bodyPr rtlCol="0" anchor="ctr"/>
                  <a:lstStyle/>
                  <a:p>
                    <a:endParaRPr lang="en-US" sz="2400"/>
                  </a:p>
                </p:txBody>
              </p:sp>
              <p:sp>
                <p:nvSpPr>
                  <p:cNvPr id="93" name="Freeform: Shape 92">
                    <a:extLst>
                      <a:ext uri="{FF2B5EF4-FFF2-40B4-BE49-F238E27FC236}">
                        <a16:creationId xmlns:a16="http://schemas.microsoft.com/office/drawing/2014/main" id="{66B1D75C-BEFC-F70C-7378-D8850C92DC5D}"/>
                      </a:ext>
                    </a:extLst>
                  </p:cNvPr>
                  <p:cNvSpPr/>
                  <p:nvPr userDrawn="1"/>
                </p:nvSpPr>
                <p:spPr>
                  <a:xfrm>
                    <a:off x="8261993" y="439036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5CAD9"/>
                  </a:solidFill>
                  <a:ln w="2339" cap="flat">
                    <a:noFill/>
                    <a:prstDash val="solid"/>
                    <a:miter/>
                  </a:ln>
                </p:spPr>
                <p:txBody>
                  <a:bodyPr rtlCol="0" anchor="ctr"/>
                  <a:lstStyle/>
                  <a:p>
                    <a:endParaRPr lang="en-US" sz="2400"/>
                  </a:p>
                </p:txBody>
              </p:sp>
              <p:sp>
                <p:nvSpPr>
                  <p:cNvPr id="94" name="Freeform: Shape 93">
                    <a:extLst>
                      <a:ext uri="{FF2B5EF4-FFF2-40B4-BE49-F238E27FC236}">
                        <a16:creationId xmlns:a16="http://schemas.microsoft.com/office/drawing/2014/main" id="{3172E871-A650-A111-0D7A-F9E5B51317FD}"/>
                      </a:ext>
                    </a:extLst>
                  </p:cNvPr>
                  <p:cNvSpPr/>
                  <p:nvPr userDrawn="1"/>
                </p:nvSpPr>
                <p:spPr>
                  <a:xfrm>
                    <a:off x="8261478" y="439020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5CBD9"/>
                  </a:solidFill>
                  <a:ln w="2339" cap="flat">
                    <a:noFill/>
                    <a:prstDash val="solid"/>
                    <a:miter/>
                  </a:ln>
                </p:spPr>
                <p:txBody>
                  <a:bodyPr rtlCol="0" anchor="ctr"/>
                  <a:lstStyle/>
                  <a:p>
                    <a:endParaRPr lang="en-US" sz="2400"/>
                  </a:p>
                </p:txBody>
              </p:sp>
              <p:sp>
                <p:nvSpPr>
                  <p:cNvPr id="95" name="Freeform: Shape 94">
                    <a:extLst>
                      <a:ext uri="{FF2B5EF4-FFF2-40B4-BE49-F238E27FC236}">
                        <a16:creationId xmlns:a16="http://schemas.microsoft.com/office/drawing/2014/main" id="{5C7AF20C-E447-F17C-C73F-85B65C31A13F}"/>
                      </a:ext>
                    </a:extLst>
                  </p:cNvPr>
                  <p:cNvSpPr/>
                  <p:nvPr userDrawn="1"/>
                </p:nvSpPr>
                <p:spPr>
                  <a:xfrm>
                    <a:off x="8260964" y="439003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C6CBDA"/>
                  </a:solidFill>
                  <a:ln w="2339" cap="flat">
                    <a:noFill/>
                    <a:prstDash val="solid"/>
                    <a:miter/>
                  </a:ln>
                </p:spPr>
                <p:txBody>
                  <a:bodyPr rtlCol="0" anchor="ctr"/>
                  <a:lstStyle/>
                  <a:p>
                    <a:endParaRPr lang="en-US" sz="2400"/>
                  </a:p>
                </p:txBody>
              </p:sp>
              <p:sp>
                <p:nvSpPr>
                  <p:cNvPr id="96" name="Freeform: Shape 95">
                    <a:extLst>
                      <a:ext uri="{FF2B5EF4-FFF2-40B4-BE49-F238E27FC236}">
                        <a16:creationId xmlns:a16="http://schemas.microsoft.com/office/drawing/2014/main" id="{7E1495C9-DB5B-061E-868E-0FE1CEC3C89E}"/>
                      </a:ext>
                    </a:extLst>
                  </p:cNvPr>
                  <p:cNvSpPr/>
                  <p:nvPr userDrawn="1"/>
                </p:nvSpPr>
                <p:spPr>
                  <a:xfrm>
                    <a:off x="8260472" y="438987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6CBDA"/>
                  </a:solidFill>
                  <a:ln w="2339" cap="flat">
                    <a:noFill/>
                    <a:prstDash val="solid"/>
                    <a:miter/>
                  </a:ln>
                </p:spPr>
                <p:txBody>
                  <a:bodyPr rtlCol="0" anchor="ctr"/>
                  <a:lstStyle/>
                  <a:p>
                    <a:endParaRPr lang="en-US" sz="2400"/>
                  </a:p>
                </p:txBody>
              </p:sp>
              <p:sp>
                <p:nvSpPr>
                  <p:cNvPr id="97" name="Freeform: Shape 96">
                    <a:extLst>
                      <a:ext uri="{FF2B5EF4-FFF2-40B4-BE49-F238E27FC236}">
                        <a16:creationId xmlns:a16="http://schemas.microsoft.com/office/drawing/2014/main" id="{9DBB5C34-6BDF-EDB5-703F-5EA3B3529C09}"/>
                      </a:ext>
                    </a:extLst>
                  </p:cNvPr>
                  <p:cNvSpPr/>
                  <p:nvPr userDrawn="1"/>
                </p:nvSpPr>
                <p:spPr>
                  <a:xfrm>
                    <a:off x="8259957" y="438971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6CBDA"/>
                  </a:solidFill>
                  <a:ln w="2339" cap="flat">
                    <a:noFill/>
                    <a:prstDash val="solid"/>
                    <a:miter/>
                  </a:ln>
                </p:spPr>
                <p:txBody>
                  <a:bodyPr rtlCol="0" anchor="ctr"/>
                  <a:lstStyle/>
                  <a:p>
                    <a:endParaRPr lang="en-US" sz="2400"/>
                  </a:p>
                </p:txBody>
              </p:sp>
              <p:sp>
                <p:nvSpPr>
                  <p:cNvPr id="98" name="Freeform: Shape 97">
                    <a:extLst>
                      <a:ext uri="{FF2B5EF4-FFF2-40B4-BE49-F238E27FC236}">
                        <a16:creationId xmlns:a16="http://schemas.microsoft.com/office/drawing/2014/main" id="{E06ED34C-9879-A40F-EF6A-577C9281E385}"/>
                      </a:ext>
                    </a:extLst>
                  </p:cNvPr>
                  <p:cNvSpPr/>
                  <p:nvPr userDrawn="1"/>
                </p:nvSpPr>
                <p:spPr>
                  <a:xfrm>
                    <a:off x="8259443" y="438954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C7CCDA"/>
                  </a:solidFill>
                  <a:ln w="2339" cap="flat">
                    <a:noFill/>
                    <a:prstDash val="solid"/>
                    <a:miter/>
                  </a:ln>
                </p:spPr>
                <p:txBody>
                  <a:bodyPr rtlCol="0" anchor="ctr"/>
                  <a:lstStyle/>
                  <a:p>
                    <a:endParaRPr lang="en-US" sz="2400"/>
                  </a:p>
                </p:txBody>
              </p:sp>
              <p:sp>
                <p:nvSpPr>
                  <p:cNvPr id="99" name="Freeform: Shape 98">
                    <a:extLst>
                      <a:ext uri="{FF2B5EF4-FFF2-40B4-BE49-F238E27FC236}">
                        <a16:creationId xmlns:a16="http://schemas.microsoft.com/office/drawing/2014/main" id="{E3D1304D-726C-F70F-7EA2-6EBF7429C477}"/>
                      </a:ext>
                    </a:extLst>
                  </p:cNvPr>
                  <p:cNvSpPr/>
                  <p:nvPr userDrawn="1"/>
                </p:nvSpPr>
                <p:spPr>
                  <a:xfrm>
                    <a:off x="8258951" y="438938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7CCDA"/>
                  </a:solidFill>
                  <a:ln w="2339" cap="flat">
                    <a:noFill/>
                    <a:prstDash val="solid"/>
                    <a:miter/>
                  </a:ln>
                </p:spPr>
                <p:txBody>
                  <a:bodyPr rtlCol="0" anchor="ctr"/>
                  <a:lstStyle/>
                  <a:p>
                    <a:endParaRPr lang="en-US" sz="2400"/>
                  </a:p>
                </p:txBody>
              </p:sp>
              <p:sp>
                <p:nvSpPr>
                  <p:cNvPr id="100" name="Freeform: Shape 99">
                    <a:extLst>
                      <a:ext uri="{FF2B5EF4-FFF2-40B4-BE49-F238E27FC236}">
                        <a16:creationId xmlns:a16="http://schemas.microsoft.com/office/drawing/2014/main" id="{FF54C1F2-633F-9569-BDFE-3F9BF1F95A6A}"/>
                      </a:ext>
                    </a:extLst>
                  </p:cNvPr>
                  <p:cNvSpPr/>
                  <p:nvPr userDrawn="1"/>
                </p:nvSpPr>
                <p:spPr>
                  <a:xfrm>
                    <a:off x="8258436" y="438921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C7CCDB"/>
                  </a:solidFill>
                  <a:ln w="2339" cap="flat">
                    <a:noFill/>
                    <a:prstDash val="solid"/>
                    <a:miter/>
                  </a:ln>
                </p:spPr>
                <p:txBody>
                  <a:bodyPr rtlCol="0" anchor="ctr"/>
                  <a:lstStyle/>
                  <a:p>
                    <a:endParaRPr lang="en-US" sz="2400"/>
                  </a:p>
                </p:txBody>
              </p:sp>
              <p:sp>
                <p:nvSpPr>
                  <p:cNvPr id="101" name="Freeform: Shape 100">
                    <a:extLst>
                      <a:ext uri="{FF2B5EF4-FFF2-40B4-BE49-F238E27FC236}">
                        <a16:creationId xmlns:a16="http://schemas.microsoft.com/office/drawing/2014/main" id="{89FF5A25-9475-E936-0401-4598B6F2ED60}"/>
                      </a:ext>
                    </a:extLst>
                  </p:cNvPr>
                  <p:cNvSpPr/>
                  <p:nvPr userDrawn="1"/>
                </p:nvSpPr>
                <p:spPr>
                  <a:xfrm>
                    <a:off x="8257945" y="438903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8CDDB"/>
                  </a:solidFill>
                  <a:ln w="2339" cap="flat">
                    <a:noFill/>
                    <a:prstDash val="solid"/>
                    <a:miter/>
                  </a:ln>
                </p:spPr>
                <p:txBody>
                  <a:bodyPr rtlCol="0" anchor="ctr"/>
                  <a:lstStyle/>
                  <a:p>
                    <a:endParaRPr lang="en-US" sz="2400"/>
                  </a:p>
                </p:txBody>
              </p:sp>
              <p:sp>
                <p:nvSpPr>
                  <p:cNvPr id="102" name="Freeform: Shape 101">
                    <a:extLst>
                      <a:ext uri="{FF2B5EF4-FFF2-40B4-BE49-F238E27FC236}">
                        <a16:creationId xmlns:a16="http://schemas.microsoft.com/office/drawing/2014/main" id="{534156AE-9CC4-A0BB-29E6-FF8F7EF8438B}"/>
                      </a:ext>
                    </a:extLst>
                  </p:cNvPr>
                  <p:cNvSpPr/>
                  <p:nvPr userDrawn="1"/>
                </p:nvSpPr>
                <p:spPr>
                  <a:xfrm>
                    <a:off x="8257430" y="438886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C8CDDB"/>
                  </a:solidFill>
                  <a:ln w="2339" cap="flat">
                    <a:noFill/>
                    <a:prstDash val="solid"/>
                    <a:miter/>
                  </a:ln>
                </p:spPr>
                <p:txBody>
                  <a:bodyPr rtlCol="0" anchor="ctr"/>
                  <a:lstStyle/>
                  <a:p>
                    <a:endParaRPr lang="en-US" sz="2400"/>
                  </a:p>
                </p:txBody>
              </p:sp>
              <p:sp>
                <p:nvSpPr>
                  <p:cNvPr id="103" name="Freeform: Shape 102">
                    <a:extLst>
                      <a:ext uri="{FF2B5EF4-FFF2-40B4-BE49-F238E27FC236}">
                        <a16:creationId xmlns:a16="http://schemas.microsoft.com/office/drawing/2014/main" id="{B591BB52-0EB7-AEA1-3CB2-CA6EF608CF63}"/>
                      </a:ext>
                    </a:extLst>
                  </p:cNvPr>
                  <p:cNvSpPr/>
                  <p:nvPr userDrawn="1"/>
                </p:nvSpPr>
                <p:spPr>
                  <a:xfrm>
                    <a:off x="8256939" y="438870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8CDDB"/>
                  </a:solidFill>
                  <a:ln w="2339" cap="flat">
                    <a:noFill/>
                    <a:prstDash val="solid"/>
                    <a:miter/>
                  </a:ln>
                </p:spPr>
                <p:txBody>
                  <a:bodyPr rtlCol="0" anchor="ctr"/>
                  <a:lstStyle/>
                  <a:p>
                    <a:endParaRPr lang="en-US" sz="2400"/>
                  </a:p>
                </p:txBody>
              </p:sp>
              <p:sp>
                <p:nvSpPr>
                  <p:cNvPr id="104" name="Freeform: Shape 103">
                    <a:extLst>
                      <a:ext uri="{FF2B5EF4-FFF2-40B4-BE49-F238E27FC236}">
                        <a16:creationId xmlns:a16="http://schemas.microsoft.com/office/drawing/2014/main" id="{8F15B7D0-4202-E5A9-D6D1-84C26373E4C3}"/>
                      </a:ext>
                    </a:extLst>
                  </p:cNvPr>
                  <p:cNvSpPr/>
                  <p:nvPr userDrawn="1"/>
                </p:nvSpPr>
                <p:spPr>
                  <a:xfrm>
                    <a:off x="8256447" y="438851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9CDDB"/>
                  </a:solidFill>
                  <a:ln w="2339" cap="flat">
                    <a:noFill/>
                    <a:prstDash val="solid"/>
                    <a:miter/>
                  </a:ln>
                </p:spPr>
                <p:txBody>
                  <a:bodyPr rtlCol="0" anchor="ctr"/>
                  <a:lstStyle/>
                  <a:p>
                    <a:endParaRPr lang="en-US" sz="2400"/>
                  </a:p>
                </p:txBody>
              </p:sp>
              <p:sp>
                <p:nvSpPr>
                  <p:cNvPr id="105" name="Freeform: Shape 104">
                    <a:extLst>
                      <a:ext uri="{FF2B5EF4-FFF2-40B4-BE49-F238E27FC236}">
                        <a16:creationId xmlns:a16="http://schemas.microsoft.com/office/drawing/2014/main" id="{B1C4A633-80F2-AD5D-E202-EE36B7FB4E3E}"/>
                      </a:ext>
                    </a:extLst>
                  </p:cNvPr>
                  <p:cNvSpPr/>
                  <p:nvPr userDrawn="1"/>
                </p:nvSpPr>
                <p:spPr>
                  <a:xfrm>
                    <a:off x="8255956" y="438835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9CEDC"/>
                  </a:solidFill>
                  <a:ln w="2339" cap="flat">
                    <a:noFill/>
                    <a:prstDash val="solid"/>
                    <a:miter/>
                  </a:ln>
                </p:spPr>
                <p:txBody>
                  <a:bodyPr rtlCol="0" anchor="ctr"/>
                  <a:lstStyle/>
                  <a:p>
                    <a:endParaRPr lang="en-US" sz="2400"/>
                  </a:p>
                </p:txBody>
              </p:sp>
              <p:sp>
                <p:nvSpPr>
                  <p:cNvPr id="106" name="Freeform: Shape 105">
                    <a:extLst>
                      <a:ext uri="{FF2B5EF4-FFF2-40B4-BE49-F238E27FC236}">
                        <a16:creationId xmlns:a16="http://schemas.microsoft.com/office/drawing/2014/main" id="{4DC88251-B9B4-EFFD-0EBB-CB09296CECBC}"/>
                      </a:ext>
                    </a:extLst>
                  </p:cNvPr>
                  <p:cNvSpPr/>
                  <p:nvPr userDrawn="1"/>
                </p:nvSpPr>
                <p:spPr>
                  <a:xfrm>
                    <a:off x="8255465" y="438816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9CEDC"/>
                  </a:solidFill>
                  <a:ln w="2339" cap="flat">
                    <a:noFill/>
                    <a:prstDash val="solid"/>
                    <a:miter/>
                  </a:ln>
                </p:spPr>
                <p:txBody>
                  <a:bodyPr rtlCol="0" anchor="ctr"/>
                  <a:lstStyle/>
                  <a:p>
                    <a:endParaRPr lang="en-US" sz="2400"/>
                  </a:p>
                </p:txBody>
              </p:sp>
              <p:sp>
                <p:nvSpPr>
                  <p:cNvPr id="107" name="Freeform: Shape 106">
                    <a:extLst>
                      <a:ext uri="{FF2B5EF4-FFF2-40B4-BE49-F238E27FC236}">
                        <a16:creationId xmlns:a16="http://schemas.microsoft.com/office/drawing/2014/main" id="{7DD8E78E-526B-E91C-6381-24D579B3807F}"/>
                      </a:ext>
                    </a:extLst>
                  </p:cNvPr>
                  <p:cNvSpPr/>
                  <p:nvPr userDrawn="1"/>
                </p:nvSpPr>
                <p:spPr>
                  <a:xfrm>
                    <a:off x="8254950" y="438800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C9CEDC"/>
                  </a:solidFill>
                  <a:ln w="2339" cap="flat">
                    <a:noFill/>
                    <a:prstDash val="solid"/>
                    <a:miter/>
                  </a:ln>
                </p:spPr>
                <p:txBody>
                  <a:bodyPr rtlCol="0" anchor="ctr"/>
                  <a:lstStyle/>
                  <a:p>
                    <a:endParaRPr lang="en-US" sz="2400"/>
                  </a:p>
                </p:txBody>
              </p:sp>
              <p:sp>
                <p:nvSpPr>
                  <p:cNvPr id="108" name="Freeform: Shape 107">
                    <a:extLst>
                      <a:ext uri="{FF2B5EF4-FFF2-40B4-BE49-F238E27FC236}">
                        <a16:creationId xmlns:a16="http://schemas.microsoft.com/office/drawing/2014/main" id="{ADA26229-E89E-6513-A8E8-0726D80E8FB3}"/>
                      </a:ext>
                    </a:extLst>
                  </p:cNvPr>
                  <p:cNvSpPr/>
                  <p:nvPr userDrawn="1"/>
                </p:nvSpPr>
                <p:spPr>
                  <a:xfrm>
                    <a:off x="8254458" y="438781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CACFDC"/>
                  </a:solidFill>
                  <a:ln w="2339" cap="flat">
                    <a:noFill/>
                    <a:prstDash val="solid"/>
                    <a:miter/>
                  </a:ln>
                </p:spPr>
                <p:txBody>
                  <a:bodyPr rtlCol="0" anchor="ctr"/>
                  <a:lstStyle/>
                  <a:p>
                    <a:endParaRPr lang="en-US" sz="2400"/>
                  </a:p>
                </p:txBody>
              </p:sp>
              <p:sp>
                <p:nvSpPr>
                  <p:cNvPr id="109" name="Freeform: Shape 108">
                    <a:extLst>
                      <a:ext uri="{FF2B5EF4-FFF2-40B4-BE49-F238E27FC236}">
                        <a16:creationId xmlns:a16="http://schemas.microsoft.com/office/drawing/2014/main" id="{E19F32E2-F0A4-CF5B-A6AD-6AFC967A98E7}"/>
                      </a:ext>
                    </a:extLst>
                  </p:cNvPr>
                  <p:cNvSpPr/>
                  <p:nvPr userDrawn="1"/>
                </p:nvSpPr>
                <p:spPr>
                  <a:xfrm>
                    <a:off x="8253967" y="438765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CACFDC"/>
                  </a:solidFill>
                  <a:ln w="2339" cap="flat">
                    <a:noFill/>
                    <a:prstDash val="solid"/>
                    <a:miter/>
                  </a:ln>
                </p:spPr>
                <p:txBody>
                  <a:bodyPr rtlCol="0" anchor="ctr"/>
                  <a:lstStyle/>
                  <a:p>
                    <a:endParaRPr lang="en-US" sz="2400"/>
                  </a:p>
                </p:txBody>
              </p:sp>
              <p:sp>
                <p:nvSpPr>
                  <p:cNvPr id="110" name="Freeform: Shape 109">
                    <a:extLst>
                      <a:ext uri="{FF2B5EF4-FFF2-40B4-BE49-F238E27FC236}">
                        <a16:creationId xmlns:a16="http://schemas.microsoft.com/office/drawing/2014/main" id="{52FE1E2C-68AC-657F-5E67-326E4C9C064E}"/>
                      </a:ext>
                    </a:extLst>
                  </p:cNvPr>
                  <p:cNvSpPr/>
                  <p:nvPr userDrawn="1"/>
                </p:nvSpPr>
                <p:spPr>
                  <a:xfrm>
                    <a:off x="8253499" y="438746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ACFDD"/>
                  </a:solidFill>
                  <a:ln w="2339" cap="flat">
                    <a:noFill/>
                    <a:prstDash val="solid"/>
                    <a:miter/>
                  </a:ln>
                </p:spPr>
                <p:txBody>
                  <a:bodyPr rtlCol="0" anchor="ctr"/>
                  <a:lstStyle/>
                  <a:p>
                    <a:endParaRPr lang="en-US" sz="2400"/>
                  </a:p>
                </p:txBody>
              </p:sp>
              <p:sp>
                <p:nvSpPr>
                  <p:cNvPr id="111" name="Freeform: Shape 110">
                    <a:extLst>
                      <a:ext uri="{FF2B5EF4-FFF2-40B4-BE49-F238E27FC236}">
                        <a16:creationId xmlns:a16="http://schemas.microsoft.com/office/drawing/2014/main" id="{C9C3E0E9-1AA4-5F17-75AE-D7864AFC73F2}"/>
                      </a:ext>
                    </a:extLst>
                  </p:cNvPr>
                  <p:cNvSpPr/>
                  <p:nvPr userDrawn="1"/>
                </p:nvSpPr>
                <p:spPr>
                  <a:xfrm>
                    <a:off x="8253008" y="438730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CBCFDD"/>
                  </a:solidFill>
                  <a:ln w="2339" cap="flat">
                    <a:noFill/>
                    <a:prstDash val="solid"/>
                    <a:miter/>
                  </a:ln>
                </p:spPr>
                <p:txBody>
                  <a:bodyPr rtlCol="0" anchor="ctr"/>
                  <a:lstStyle/>
                  <a:p>
                    <a:endParaRPr lang="en-US" sz="2400"/>
                  </a:p>
                </p:txBody>
              </p:sp>
              <p:sp>
                <p:nvSpPr>
                  <p:cNvPr id="112" name="Freeform: Shape 111">
                    <a:extLst>
                      <a:ext uri="{FF2B5EF4-FFF2-40B4-BE49-F238E27FC236}">
                        <a16:creationId xmlns:a16="http://schemas.microsoft.com/office/drawing/2014/main" id="{DA3DA573-A534-EFF2-D1B3-FBBEFEA9118E}"/>
                      </a:ext>
                    </a:extLst>
                  </p:cNvPr>
                  <p:cNvSpPr/>
                  <p:nvPr userDrawn="1"/>
                </p:nvSpPr>
                <p:spPr>
                  <a:xfrm>
                    <a:off x="8252516" y="438711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BD0DD"/>
                  </a:solidFill>
                  <a:ln w="2339" cap="flat">
                    <a:noFill/>
                    <a:prstDash val="solid"/>
                    <a:miter/>
                  </a:ln>
                </p:spPr>
                <p:txBody>
                  <a:bodyPr rtlCol="0" anchor="ctr"/>
                  <a:lstStyle/>
                  <a:p>
                    <a:endParaRPr lang="en-US" sz="2400"/>
                  </a:p>
                </p:txBody>
              </p:sp>
              <p:sp>
                <p:nvSpPr>
                  <p:cNvPr id="113" name="Freeform: Shape 112">
                    <a:extLst>
                      <a:ext uri="{FF2B5EF4-FFF2-40B4-BE49-F238E27FC236}">
                        <a16:creationId xmlns:a16="http://schemas.microsoft.com/office/drawing/2014/main" id="{D3620381-EC2E-F258-AE41-1258CBDEA4E8}"/>
                      </a:ext>
                    </a:extLst>
                  </p:cNvPr>
                  <p:cNvSpPr/>
                  <p:nvPr userDrawn="1"/>
                </p:nvSpPr>
                <p:spPr>
                  <a:xfrm>
                    <a:off x="8252025" y="438692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CBD0DD"/>
                  </a:solidFill>
                  <a:ln w="2339" cap="flat">
                    <a:noFill/>
                    <a:prstDash val="solid"/>
                    <a:miter/>
                  </a:ln>
                </p:spPr>
                <p:txBody>
                  <a:bodyPr rtlCol="0" anchor="ctr"/>
                  <a:lstStyle/>
                  <a:p>
                    <a:endParaRPr lang="en-US" sz="2400"/>
                  </a:p>
                </p:txBody>
              </p:sp>
              <p:sp>
                <p:nvSpPr>
                  <p:cNvPr id="114" name="Freeform: Shape 113">
                    <a:extLst>
                      <a:ext uri="{FF2B5EF4-FFF2-40B4-BE49-F238E27FC236}">
                        <a16:creationId xmlns:a16="http://schemas.microsoft.com/office/drawing/2014/main" id="{2B8E2D03-A592-4BF0-1E38-A90A93AEFEC1}"/>
                      </a:ext>
                    </a:extLst>
                  </p:cNvPr>
                  <p:cNvSpPr/>
                  <p:nvPr userDrawn="1"/>
                </p:nvSpPr>
                <p:spPr>
                  <a:xfrm>
                    <a:off x="8251557" y="438673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CD0DD"/>
                  </a:solidFill>
                  <a:ln w="2339" cap="flat">
                    <a:noFill/>
                    <a:prstDash val="solid"/>
                    <a:miter/>
                  </a:ln>
                </p:spPr>
                <p:txBody>
                  <a:bodyPr rtlCol="0" anchor="ctr"/>
                  <a:lstStyle/>
                  <a:p>
                    <a:endParaRPr lang="en-US" sz="2400"/>
                  </a:p>
                </p:txBody>
              </p:sp>
              <p:sp>
                <p:nvSpPr>
                  <p:cNvPr id="115" name="Freeform: Shape 114">
                    <a:extLst>
                      <a:ext uri="{FF2B5EF4-FFF2-40B4-BE49-F238E27FC236}">
                        <a16:creationId xmlns:a16="http://schemas.microsoft.com/office/drawing/2014/main" id="{B395B38F-36B3-621A-128F-72C1AF190DFD}"/>
                      </a:ext>
                    </a:extLst>
                  </p:cNvPr>
                  <p:cNvSpPr/>
                  <p:nvPr userDrawn="1"/>
                </p:nvSpPr>
                <p:spPr>
                  <a:xfrm>
                    <a:off x="8251065" y="438655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CD0DE"/>
                  </a:solidFill>
                  <a:ln w="2339" cap="flat">
                    <a:noFill/>
                    <a:prstDash val="solid"/>
                    <a:miter/>
                  </a:ln>
                </p:spPr>
                <p:txBody>
                  <a:bodyPr rtlCol="0" anchor="ctr"/>
                  <a:lstStyle/>
                  <a:p>
                    <a:endParaRPr lang="en-US" sz="2400"/>
                  </a:p>
                </p:txBody>
              </p:sp>
              <p:sp>
                <p:nvSpPr>
                  <p:cNvPr id="116" name="Freeform: Shape 115">
                    <a:extLst>
                      <a:ext uri="{FF2B5EF4-FFF2-40B4-BE49-F238E27FC236}">
                        <a16:creationId xmlns:a16="http://schemas.microsoft.com/office/drawing/2014/main" id="{6D5F45F9-4B00-6D8D-5E86-C16921CDD972}"/>
                      </a:ext>
                    </a:extLst>
                  </p:cNvPr>
                  <p:cNvSpPr/>
                  <p:nvPr userDrawn="1"/>
                </p:nvSpPr>
                <p:spPr>
                  <a:xfrm>
                    <a:off x="8250574" y="438638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CCD1DE"/>
                  </a:solidFill>
                  <a:ln w="2339" cap="flat">
                    <a:noFill/>
                    <a:prstDash val="solid"/>
                    <a:miter/>
                  </a:ln>
                </p:spPr>
                <p:txBody>
                  <a:bodyPr rtlCol="0" anchor="ctr"/>
                  <a:lstStyle/>
                  <a:p>
                    <a:endParaRPr lang="en-US" sz="2400"/>
                  </a:p>
                </p:txBody>
              </p:sp>
              <p:sp>
                <p:nvSpPr>
                  <p:cNvPr id="117" name="Freeform: Shape 116">
                    <a:extLst>
                      <a:ext uri="{FF2B5EF4-FFF2-40B4-BE49-F238E27FC236}">
                        <a16:creationId xmlns:a16="http://schemas.microsoft.com/office/drawing/2014/main" id="{7D43D512-3EE2-ADB5-F34C-23E811FFC186}"/>
                      </a:ext>
                    </a:extLst>
                  </p:cNvPr>
                  <p:cNvSpPr/>
                  <p:nvPr userDrawn="1"/>
                </p:nvSpPr>
                <p:spPr>
                  <a:xfrm>
                    <a:off x="8250106" y="438620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CDD1DE"/>
                  </a:solidFill>
                  <a:ln w="2339" cap="flat">
                    <a:noFill/>
                    <a:prstDash val="solid"/>
                    <a:miter/>
                  </a:ln>
                </p:spPr>
                <p:txBody>
                  <a:bodyPr rtlCol="0" anchor="ctr"/>
                  <a:lstStyle/>
                  <a:p>
                    <a:endParaRPr lang="en-US" sz="2400"/>
                  </a:p>
                </p:txBody>
              </p:sp>
              <p:sp>
                <p:nvSpPr>
                  <p:cNvPr id="118" name="Freeform: Shape 117">
                    <a:extLst>
                      <a:ext uri="{FF2B5EF4-FFF2-40B4-BE49-F238E27FC236}">
                        <a16:creationId xmlns:a16="http://schemas.microsoft.com/office/drawing/2014/main" id="{88B83B20-7320-3890-BB35-C0208A563498}"/>
                      </a:ext>
                    </a:extLst>
                  </p:cNvPr>
                  <p:cNvSpPr/>
                  <p:nvPr userDrawn="1"/>
                </p:nvSpPr>
                <p:spPr>
                  <a:xfrm>
                    <a:off x="8249638" y="438601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CDD1DE"/>
                  </a:solidFill>
                  <a:ln w="2339" cap="flat">
                    <a:noFill/>
                    <a:prstDash val="solid"/>
                    <a:miter/>
                  </a:ln>
                </p:spPr>
                <p:txBody>
                  <a:bodyPr rtlCol="0" anchor="ctr"/>
                  <a:lstStyle/>
                  <a:p>
                    <a:endParaRPr lang="en-US" sz="2400"/>
                  </a:p>
                </p:txBody>
              </p:sp>
              <p:sp>
                <p:nvSpPr>
                  <p:cNvPr id="119" name="Freeform: Shape 118">
                    <a:extLst>
                      <a:ext uri="{FF2B5EF4-FFF2-40B4-BE49-F238E27FC236}">
                        <a16:creationId xmlns:a16="http://schemas.microsoft.com/office/drawing/2014/main" id="{4C34CC4E-DFE6-EE8A-F33F-D209F8EA17AB}"/>
                      </a:ext>
                    </a:extLst>
                  </p:cNvPr>
                  <p:cNvSpPr/>
                  <p:nvPr userDrawn="1"/>
                </p:nvSpPr>
                <p:spPr>
                  <a:xfrm>
                    <a:off x="8249147" y="438582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CDD2DE"/>
                  </a:solidFill>
                  <a:ln w="2339" cap="flat">
                    <a:noFill/>
                    <a:prstDash val="solid"/>
                    <a:miter/>
                  </a:ln>
                </p:spPr>
                <p:txBody>
                  <a:bodyPr rtlCol="0" anchor="ctr"/>
                  <a:lstStyle/>
                  <a:p>
                    <a:endParaRPr lang="en-US" sz="2400"/>
                  </a:p>
                </p:txBody>
              </p:sp>
              <p:sp>
                <p:nvSpPr>
                  <p:cNvPr id="120" name="Freeform: Shape 119">
                    <a:extLst>
                      <a:ext uri="{FF2B5EF4-FFF2-40B4-BE49-F238E27FC236}">
                        <a16:creationId xmlns:a16="http://schemas.microsoft.com/office/drawing/2014/main" id="{2BEBE90C-35D5-FCC7-A352-C82A8DFC9790}"/>
                      </a:ext>
                    </a:extLst>
                  </p:cNvPr>
                  <p:cNvSpPr/>
                  <p:nvPr userDrawn="1"/>
                </p:nvSpPr>
                <p:spPr>
                  <a:xfrm>
                    <a:off x="8248679" y="438563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CDD2DF"/>
                  </a:solidFill>
                  <a:ln w="2339" cap="flat">
                    <a:noFill/>
                    <a:prstDash val="solid"/>
                    <a:miter/>
                  </a:ln>
                </p:spPr>
                <p:txBody>
                  <a:bodyPr rtlCol="0" anchor="ctr"/>
                  <a:lstStyle/>
                  <a:p>
                    <a:endParaRPr lang="en-US" sz="2400"/>
                  </a:p>
                </p:txBody>
              </p:sp>
              <p:sp>
                <p:nvSpPr>
                  <p:cNvPr id="121" name="Freeform: Shape 120">
                    <a:extLst>
                      <a:ext uri="{FF2B5EF4-FFF2-40B4-BE49-F238E27FC236}">
                        <a16:creationId xmlns:a16="http://schemas.microsoft.com/office/drawing/2014/main" id="{439E64F6-E32E-4F1B-38FA-7C610158E70E}"/>
                      </a:ext>
                    </a:extLst>
                  </p:cNvPr>
                  <p:cNvSpPr/>
                  <p:nvPr userDrawn="1"/>
                </p:nvSpPr>
                <p:spPr>
                  <a:xfrm>
                    <a:off x="8248211" y="438542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ED2DF"/>
                  </a:solidFill>
                  <a:ln w="2339" cap="flat">
                    <a:noFill/>
                    <a:prstDash val="solid"/>
                    <a:miter/>
                  </a:ln>
                </p:spPr>
                <p:txBody>
                  <a:bodyPr rtlCol="0" anchor="ctr"/>
                  <a:lstStyle/>
                  <a:p>
                    <a:endParaRPr lang="en-US" sz="2400"/>
                  </a:p>
                </p:txBody>
              </p:sp>
              <p:sp>
                <p:nvSpPr>
                  <p:cNvPr id="122" name="Freeform: Shape 121">
                    <a:extLst>
                      <a:ext uri="{FF2B5EF4-FFF2-40B4-BE49-F238E27FC236}">
                        <a16:creationId xmlns:a16="http://schemas.microsoft.com/office/drawing/2014/main" id="{8CE1AF12-98B4-E5E6-20F2-0C2F40E9A42B}"/>
                      </a:ext>
                    </a:extLst>
                  </p:cNvPr>
                  <p:cNvSpPr/>
                  <p:nvPr userDrawn="1"/>
                </p:nvSpPr>
                <p:spPr>
                  <a:xfrm>
                    <a:off x="8247743" y="438524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ED2DF"/>
                  </a:solidFill>
                  <a:ln w="2339" cap="flat">
                    <a:noFill/>
                    <a:prstDash val="solid"/>
                    <a:miter/>
                  </a:ln>
                </p:spPr>
                <p:txBody>
                  <a:bodyPr rtlCol="0" anchor="ctr"/>
                  <a:lstStyle/>
                  <a:p>
                    <a:endParaRPr lang="en-US" sz="2400"/>
                  </a:p>
                </p:txBody>
              </p:sp>
              <p:sp>
                <p:nvSpPr>
                  <p:cNvPr id="123" name="Freeform: Shape 122">
                    <a:extLst>
                      <a:ext uri="{FF2B5EF4-FFF2-40B4-BE49-F238E27FC236}">
                        <a16:creationId xmlns:a16="http://schemas.microsoft.com/office/drawing/2014/main" id="{A752A530-54F0-DB07-6FF6-5D7BF59D4D7F}"/>
                      </a:ext>
                    </a:extLst>
                  </p:cNvPr>
                  <p:cNvSpPr/>
                  <p:nvPr userDrawn="1"/>
                </p:nvSpPr>
                <p:spPr>
                  <a:xfrm>
                    <a:off x="8247275" y="438505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ED3DF"/>
                  </a:solidFill>
                  <a:ln w="2339" cap="flat">
                    <a:noFill/>
                    <a:prstDash val="solid"/>
                    <a:miter/>
                  </a:ln>
                </p:spPr>
                <p:txBody>
                  <a:bodyPr rtlCol="0" anchor="ctr"/>
                  <a:lstStyle/>
                  <a:p>
                    <a:endParaRPr lang="en-US" sz="2400"/>
                  </a:p>
                </p:txBody>
              </p:sp>
              <p:sp>
                <p:nvSpPr>
                  <p:cNvPr id="124" name="Freeform: Shape 123">
                    <a:extLst>
                      <a:ext uri="{FF2B5EF4-FFF2-40B4-BE49-F238E27FC236}">
                        <a16:creationId xmlns:a16="http://schemas.microsoft.com/office/drawing/2014/main" id="{B996F33B-2B09-EA54-3885-AC4187A682AD}"/>
                      </a:ext>
                    </a:extLst>
                  </p:cNvPr>
                  <p:cNvSpPr/>
                  <p:nvPr userDrawn="1"/>
                </p:nvSpPr>
                <p:spPr>
                  <a:xfrm>
                    <a:off x="8246807" y="438486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FD3DF"/>
                  </a:solidFill>
                  <a:ln w="2339" cap="flat">
                    <a:noFill/>
                    <a:prstDash val="solid"/>
                    <a:miter/>
                  </a:ln>
                </p:spPr>
                <p:txBody>
                  <a:bodyPr rtlCol="0" anchor="ctr"/>
                  <a:lstStyle/>
                  <a:p>
                    <a:endParaRPr lang="en-US" sz="2400"/>
                  </a:p>
                </p:txBody>
              </p:sp>
              <p:sp>
                <p:nvSpPr>
                  <p:cNvPr id="125" name="Freeform: Shape 124">
                    <a:extLst>
                      <a:ext uri="{FF2B5EF4-FFF2-40B4-BE49-F238E27FC236}">
                        <a16:creationId xmlns:a16="http://schemas.microsoft.com/office/drawing/2014/main" id="{1B202053-9904-90D5-E4AE-F77B50D647E3}"/>
                      </a:ext>
                    </a:extLst>
                  </p:cNvPr>
                  <p:cNvSpPr/>
                  <p:nvPr userDrawn="1"/>
                </p:nvSpPr>
                <p:spPr>
                  <a:xfrm>
                    <a:off x="8246339" y="438468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CFD3E0"/>
                  </a:solidFill>
                  <a:ln w="2339" cap="flat">
                    <a:noFill/>
                    <a:prstDash val="solid"/>
                    <a:miter/>
                  </a:ln>
                </p:spPr>
                <p:txBody>
                  <a:bodyPr rtlCol="0" anchor="ctr"/>
                  <a:lstStyle/>
                  <a:p>
                    <a:endParaRPr lang="en-US" sz="2400"/>
                  </a:p>
                </p:txBody>
              </p:sp>
              <p:sp>
                <p:nvSpPr>
                  <p:cNvPr id="126" name="Freeform: Shape 125">
                    <a:extLst>
                      <a:ext uri="{FF2B5EF4-FFF2-40B4-BE49-F238E27FC236}">
                        <a16:creationId xmlns:a16="http://schemas.microsoft.com/office/drawing/2014/main" id="{2FC585E9-4BCC-9EAB-444A-3256CF155865}"/>
                      </a:ext>
                    </a:extLst>
                  </p:cNvPr>
                  <p:cNvSpPr/>
                  <p:nvPr userDrawn="1"/>
                </p:nvSpPr>
                <p:spPr>
                  <a:xfrm>
                    <a:off x="8245871" y="438446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FD4E0"/>
                  </a:solidFill>
                  <a:ln w="2339" cap="flat">
                    <a:noFill/>
                    <a:prstDash val="solid"/>
                    <a:miter/>
                  </a:ln>
                </p:spPr>
                <p:txBody>
                  <a:bodyPr rtlCol="0" anchor="ctr"/>
                  <a:lstStyle/>
                  <a:p>
                    <a:endParaRPr lang="en-US" sz="2400"/>
                  </a:p>
                </p:txBody>
              </p:sp>
              <p:sp>
                <p:nvSpPr>
                  <p:cNvPr id="127" name="Freeform: Shape 126">
                    <a:extLst>
                      <a:ext uri="{FF2B5EF4-FFF2-40B4-BE49-F238E27FC236}">
                        <a16:creationId xmlns:a16="http://schemas.microsoft.com/office/drawing/2014/main" id="{D4D95733-D1CC-8A60-2AAD-AED90FF1DAB0}"/>
                      </a:ext>
                    </a:extLst>
                  </p:cNvPr>
                  <p:cNvSpPr/>
                  <p:nvPr userDrawn="1"/>
                </p:nvSpPr>
                <p:spPr>
                  <a:xfrm>
                    <a:off x="8245403" y="438428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0D4E0"/>
                  </a:solidFill>
                  <a:ln w="2339" cap="flat">
                    <a:noFill/>
                    <a:prstDash val="solid"/>
                    <a:miter/>
                  </a:ln>
                </p:spPr>
                <p:txBody>
                  <a:bodyPr rtlCol="0" anchor="ctr"/>
                  <a:lstStyle/>
                  <a:p>
                    <a:endParaRPr lang="en-US" sz="2400"/>
                  </a:p>
                </p:txBody>
              </p:sp>
              <p:sp>
                <p:nvSpPr>
                  <p:cNvPr id="128" name="Freeform: Shape 127">
                    <a:extLst>
                      <a:ext uri="{FF2B5EF4-FFF2-40B4-BE49-F238E27FC236}">
                        <a16:creationId xmlns:a16="http://schemas.microsoft.com/office/drawing/2014/main" id="{777683B3-DC6D-61C2-7B8B-6179356A7383}"/>
                      </a:ext>
                    </a:extLst>
                  </p:cNvPr>
                  <p:cNvSpPr/>
                  <p:nvPr userDrawn="1"/>
                </p:nvSpPr>
                <p:spPr>
                  <a:xfrm>
                    <a:off x="8244935" y="438409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D0D4E0"/>
                  </a:solidFill>
                  <a:ln w="2339" cap="flat">
                    <a:noFill/>
                    <a:prstDash val="solid"/>
                    <a:miter/>
                  </a:ln>
                </p:spPr>
                <p:txBody>
                  <a:bodyPr rtlCol="0" anchor="ctr"/>
                  <a:lstStyle/>
                  <a:p>
                    <a:endParaRPr lang="en-US" sz="2400"/>
                  </a:p>
                </p:txBody>
              </p:sp>
              <p:sp>
                <p:nvSpPr>
                  <p:cNvPr id="129" name="Freeform: Shape 128">
                    <a:extLst>
                      <a:ext uri="{FF2B5EF4-FFF2-40B4-BE49-F238E27FC236}">
                        <a16:creationId xmlns:a16="http://schemas.microsoft.com/office/drawing/2014/main" id="{6EE9522D-1FA3-D256-0297-A4B2DEBCCF9E}"/>
                      </a:ext>
                    </a:extLst>
                  </p:cNvPr>
                  <p:cNvSpPr/>
                  <p:nvPr userDrawn="1"/>
                </p:nvSpPr>
                <p:spPr>
                  <a:xfrm>
                    <a:off x="8244490" y="438388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0D4E0"/>
                  </a:solidFill>
                  <a:ln w="2339" cap="flat">
                    <a:noFill/>
                    <a:prstDash val="solid"/>
                    <a:miter/>
                  </a:ln>
                </p:spPr>
                <p:txBody>
                  <a:bodyPr rtlCol="0" anchor="ctr"/>
                  <a:lstStyle/>
                  <a:p>
                    <a:endParaRPr lang="en-US" sz="2400"/>
                  </a:p>
                </p:txBody>
              </p:sp>
              <p:sp>
                <p:nvSpPr>
                  <p:cNvPr id="130" name="Freeform: Shape 129">
                    <a:extLst>
                      <a:ext uri="{FF2B5EF4-FFF2-40B4-BE49-F238E27FC236}">
                        <a16:creationId xmlns:a16="http://schemas.microsoft.com/office/drawing/2014/main" id="{4E8E1E33-6B67-5482-3108-8945AD1D0D9D}"/>
                      </a:ext>
                    </a:extLst>
                  </p:cNvPr>
                  <p:cNvSpPr/>
                  <p:nvPr userDrawn="1"/>
                </p:nvSpPr>
                <p:spPr>
                  <a:xfrm>
                    <a:off x="8244022" y="438369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D1D5E1"/>
                  </a:solidFill>
                  <a:ln w="2339" cap="flat">
                    <a:noFill/>
                    <a:prstDash val="solid"/>
                    <a:miter/>
                  </a:ln>
                </p:spPr>
                <p:txBody>
                  <a:bodyPr rtlCol="0" anchor="ctr"/>
                  <a:lstStyle/>
                  <a:p>
                    <a:endParaRPr lang="en-US" sz="2400"/>
                  </a:p>
                </p:txBody>
              </p:sp>
              <p:sp>
                <p:nvSpPr>
                  <p:cNvPr id="131" name="Freeform: Shape 130">
                    <a:extLst>
                      <a:ext uri="{FF2B5EF4-FFF2-40B4-BE49-F238E27FC236}">
                        <a16:creationId xmlns:a16="http://schemas.microsoft.com/office/drawing/2014/main" id="{F2CA6D24-78AF-C896-741F-94D568F4FDD6}"/>
                      </a:ext>
                    </a:extLst>
                  </p:cNvPr>
                  <p:cNvSpPr/>
                  <p:nvPr userDrawn="1"/>
                </p:nvSpPr>
                <p:spPr>
                  <a:xfrm>
                    <a:off x="8243577" y="438348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1D5E1"/>
                  </a:solidFill>
                  <a:ln w="2339" cap="flat">
                    <a:noFill/>
                    <a:prstDash val="solid"/>
                    <a:miter/>
                  </a:ln>
                </p:spPr>
                <p:txBody>
                  <a:bodyPr rtlCol="0" anchor="ctr"/>
                  <a:lstStyle/>
                  <a:p>
                    <a:endParaRPr lang="en-US" sz="2400"/>
                  </a:p>
                </p:txBody>
              </p:sp>
              <p:sp>
                <p:nvSpPr>
                  <p:cNvPr id="132" name="Freeform: Shape 131">
                    <a:extLst>
                      <a:ext uri="{FF2B5EF4-FFF2-40B4-BE49-F238E27FC236}">
                        <a16:creationId xmlns:a16="http://schemas.microsoft.com/office/drawing/2014/main" id="{620A47D3-00B8-8945-4DBA-472F87631E2B}"/>
                      </a:ext>
                    </a:extLst>
                  </p:cNvPr>
                  <p:cNvSpPr/>
                  <p:nvPr userDrawn="1"/>
                </p:nvSpPr>
                <p:spPr>
                  <a:xfrm>
                    <a:off x="8243109" y="438329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D1D5E1"/>
                  </a:solidFill>
                  <a:ln w="2339" cap="flat">
                    <a:noFill/>
                    <a:prstDash val="solid"/>
                    <a:miter/>
                  </a:ln>
                </p:spPr>
                <p:txBody>
                  <a:bodyPr rtlCol="0" anchor="ctr"/>
                  <a:lstStyle/>
                  <a:p>
                    <a:endParaRPr lang="en-US" sz="2400"/>
                  </a:p>
                </p:txBody>
              </p:sp>
              <p:sp>
                <p:nvSpPr>
                  <p:cNvPr id="133" name="Freeform: Shape 132">
                    <a:extLst>
                      <a:ext uri="{FF2B5EF4-FFF2-40B4-BE49-F238E27FC236}">
                        <a16:creationId xmlns:a16="http://schemas.microsoft.com/office/drawing/2014/main" id="{0E1AAE15-2A0F-EACE-A547-D30DED052214}"/>
                      </a:ext>
                    </a:extLst>
                  </p:cNvPr>
                  <p:cNvSpPr/>
                  <p:nvPr userDrawn="1"/>
                </p:nvSpPr>
                <p:spPr>
                  <a:xfrm>
                    <a:off x="8242665" y="438308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1D6E1"/>
                  </a:solidFill>
                  <a:ln w="2339" cap="flat">
                    <a:noFill/>
                    <a:prstDash val="solid"/>
                    <a:miter/>
                  </a:ln>
                </p:spPr>
                <p:txBody>
                  <a:bodyPr rtlCol="0" anchor="ctr"/>
                  <a:lstStyle/>
                  <a:p>
                    <a:endParaRPr lang="en-US" sz="2400"/>
                  </a:p>
                </p:txBody>
              </p:sp>
              <p:sp>
                <p:nvSpPr>
                  <p:cNvPr id="134" name="Freeform: Shape 133">
                    <a:extLst>
                      <a:ext uri="{FF2B5EF4-FFF2-40B4-BE49-F238E27FC236}">
                        <a16:creationId xmlns:a16="http://schemas.microsoft.com/office/drawing/2014/main" id="{A5001617-2A5F-68ED-80E3-FF38020640A8}"/>
                      </a:ext>
                    </a:extLst>
                  </p:cNvPr>
                  <p:cNvSpPr/>
                  <p:nvPr userDrawn="1"/>
                </p:nvSpPr>
                <p:spPr>
                  <a:xfrm>
                    <a:off x="8242220" y="438287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2D6E1"/>
                  </a:solidFill>
                  <a:ln w="2339" cap="flat">
                    <a:noFill/>
                    <a:prstDash val="solid"/>
                    <a:miter/>
                  </a:ln>
                </p:spPr>
                <p:txBody>
                  <a:bodyPr rtlCol="0" anchor="ctr"/>
                  <a:lstStyle/>
                  <a:p>
                    <a:endParaRPr lang="en-US" sz="2400"/>
                  </a:p>
                </p:txBody>
              </p:sp>
              <p:sp>
                <p:nvSpPr>
                  <p:cNvPr id="135" name="Freeform: Shape 134">
                    <a:extLst>
                      <a:ext uri="{FF2B5EF4-FFF2-40B4-BE49-F238E27FC236}">
                        <a16:creationId xmlns:a16="http://schemas.microsoft.com/office/drawing/2014/main" id="{AE5E9859-CCE2-D799-7EA6-D9D7BBFFEEAD}"/>
                      </a:ext>
                    </a:extLst>
                  </p:cNvPr>
                  <p:cNvSpPr/>
                  <p:nvPr userDrawn="1"/>
                </p:nvSpPr>
                <p:spPr>
                  <a:xfrm>
                    <a:off x="8241776" y="438269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D2D6E2"/>
                  </a:solidFill>
                  <a:ln w="2339" cap="flat">
                    <a:noFill/>
                    <a:prstDash val="solid"/>
                    <a:miter/>
                  </a:ln>
                </p:spPr>
                <p:txBody>
                  <a:bodyPr rtlCol="0" anchor="ctr"/>
                  <a:lstStyle/>
                  <a:p>
                    <a:endParaRPr lang="en-US" sz="2400"/>
                  </a:p>
                </p:txBody>
              </p:sp>
              <p:sp>
                <p:nvSpPr>
                  <p:cNvPr id="136" name="Freeform: Shape 135">
                    <a:extLst>
                      <a:ext uri="{FF2B5EF4-FFF2-40B4-BE49-F238E27FC236}">
                        <a16:creationId xmlns:a16="http://schemas.microsoft.com/office/drawing/2014/main" id="{23D8204E-C59A-18F4-C702-D7BB5D929FC4}"/>
                      </a:ext>
                    </a:extLst>
                  </p:cNvPr>
                  <p:cNvSpPr/>
                  <p:nvPr userDrawn="1"/>
                </p:nvSpPr>
                <p:spPr>
                  <a:xfrm>
                    <a:off x="8241308" y="438248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D2D6E2"/>
                  </a:solidFill>
                  <a:ln w="2339" cap="flat">
                    <a:noFill/>
                    <a:prstDash val="solid"/>
                    <a:miter/>
                  </a:ln>
                </p:spPr>
                <p:txBody>
                  <a:bodyPr rtlCol="0" anchor="ctr"/>
                  <a:lstStyle/>
                  <a:p>
                    <a:endParaRPr lang="en-US" sz="2400"/>
                  </a:p>
                </p:txBody>
              </p:sp>
              <p:sp>
                <p:nvSpPr>
                  <p:cNvPr id="137" name="Freeform: Shape 136">
                    <a:extLst>
                      <a:ext uri="{FF2B5EF4-FFF2-40B4-BE49-F238E27FC236}">
                        <a16:creationId xmlns:a16="http://schemas.microsoft.com/office/drawing/2014/main" id="{82F76516-44F3-249D-D8B4-DD56DC93B769}"/>
                      </a:ext>
                    </a:extLst>
                  </p:cNvPr>
                  <p:cNvSpPr/>
                  <p:nvPr userDrawn="1"/>
                </p:nvSpPr>
                <p:spPr>
                  <a:xfrm>
                    <a:off x="8240863" y="438226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3D7E2"/>
                  </a:solidFill>
                  <a:ln w="2339" cap="flat">
                    <a:noFill/>
                    <a:prstDash val="solid"/>
                    <a:miter/>
                  </a:ln>
                </p:spPr>
                <p:txBody>
                  <a:bodyPr rtlCol="0" anchor="ctr"/>
                  <a:lstStyle/>
                  <a:p>
                    <a:endParaRPr lang="en-US" sz="2400"/>
                  </a:p>
                </p:txBody>
              </p:sp>
              <p:sp>
                <p:nvSpPr>
                  <p:cNvPr id="138" name="Freeform: Shape 137">
                    <a:extLst>
                      <a:ext uri="{FF2B5EF4-FFF2-40B4-BE49-F238E27FC236}">
                        <a16:creationId xmlns:a16="http://schemas.microsoft.com/office/drawing/2014/main" id="{6CA2FA66-4AE0-9F5E-1EB6-ED1B1915F11F}"/>
                      </a:ext>
                    </a:extLst>
                  </p:cNvPr>
                  <p:cNvSpPr/>
                  <p:nvPr userDrawn="1"/>
                </p:nvSpPr>
                <p:spPr>
                  <a:xfrm>
                    <a:off x="8240418" y="438205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3D7E2"/>
                  </a:solidFill>
                  <a:ln w="2339" cap="flat">
                    <a:noFill/>
                    <a:prstDash val="solid"/>
                    <a:miter/>
                  </a:ln>
                </p:spPr>
                <p:txBody>
                  <a:bodyPr rtlCol="0" anchor="ctr"/>
                  <a:lstStyle/>
                  <a:p>
                    <a:endParaRPr lang="en-US" sz="2400"/>
                  </a:p>
                </p:txBody>
              </p:sp>
              <p:sp>
                <p:nvSpPr>
                  <p:cNvPr id="139" name="Freeform: Shape 138">
                    <a:extLst>
                      <a:ext uri="{FF2B5EF4-FFF2-40B4-BE49-F238E27FC236}">
                        <a16:creationId xmlns:a16="http://schemas.microsoft.com/office/drawing/2014/main" id="{5877F0AF-54E4-70C2-AC61-A29DAF051328}"/>
                      </a:ext>
                    </a:extLst>
                  </p:cNvPr>
                  <p:cNvSpPr/>
                  <p:nvPr userDrawn="1"/>
                </p:nvSpPr>
                <p:spPr>
                  <a:xfrm>
                    <a:off x="8239997" y="438184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3D7E2"/>
                  </a:solidFill>
                  <a:ln w="2339" cap="flat">
                    <a:noFill/>
                    <a:prstDash val="solid"/>
                    <a:miter/>
                  </a:ln>
                </p:spPr>
                <p:txBody>
                  <a:bodyPr rtlCol="0" anchor="ctr"/>
                  <a:lstStyle/>
                  <a:p>
                    <a:endParaRPr lang="en-US" sz="2400"/>
                  </a:p>
                </p:txBody>
              </p:sp>
              <p:sp>
                <p:nvSpPr>
                  <p:cNvPr id="140" name="Freeform: Shape 139">
                    <a:extLst>
                      <a:ext uri="{FF2B5EF4-FFF2-40B4-BE49-F238E27FC236}">
                        <a16:creationId xmlns:a16="http://schemas.microsoft.com/office/drawing/2014/main" id="{06F0436B-A1AC-8BB0-B44D-4625D97487F9}"/>
                      </a:ext>
                    </a:extLst>
                  </p:cNvPr>
                  <p:cNvSpPr/>
                  <p:nvPr userDrawn="1"/>
                </p:nvSpPr>
                <p:spPr>
                  <a:xfrm>
                    <a:off x="8239552" y="438166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D4D7E3"/>
                  </a:solidFill>
                  <a:ln w="2339" cap="flat">
                    <a:noFill/>
                    <a:prstDash val="solid"/>
                    <a:miter/>
                  </a:ln>
                </p:spPr>
                <p:txBody>
                  <a:bodyPr rtlCol="0" anchor="ctr"/>
                  <a:lstStyle/>
                  <a:p>
                    <a:endParaRPr lang="en-US" sz="2400"/>
                  </a:p>
                </p:txBody>
              </p:sp>
              <p:sp>
                <p:nvSpPr>
                  <p:cNvPr id="141" name="Freeform: Shape 140">
                    <a:extLst>
                      <a:ext uri="{FF2B5EF4-FFF2-40B4-BE49-F238E27FC236}">
                        <a16:creationId xmlns:a16="http://schemas.microsoft.com/office/drawing/2014/main" id="{0D150B3B-78E2-B2FE-FDB0-4E6D2C8ADA4F}"/>
                      </a:ext>
                    </a:extLst>
                  </p:cNvPr>
                  <p:cNvSpPr/>
                  <p:nvPr userDrawn="1"/>
                </p:nvSpPr>
                <p:spPr>
                  <a:xfrm>
                    <a:off x="8239108" y="438145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4D8E3"/>
                  </a:solidFill>
                  <a:ln w="2339" cap="flat">
                    <a:noFill/>
                    <a:prstDash val="solid"/>
                    <a:miter/>
                  </a:ln>
                </p:spPr>
                <p:txBody>
                  <a:bodyPr rtlCol="0" anchor="ctr"/>
                  <a:lstStyle/>
                  <a:p>
                    <a:endParaRPr lang="en-US" sz="2400"/>
                  </a:p>
                </p:txBody>
              </p:sp>
              <p:sp>
                <p:nvSpPr>
                  <p:cNvPr id="142" name="Freeform: Shape 141">
                    <a:extLst>
                      <a:ext uri="{FF2B5EF4-FFF2-40B4-BE49-F238E27FC236}">
                        <a16:creationId xmlns:a16="http://schemas.microsoft.com/office/drawing/2014/main" id="{419BEA29-D264-B79B-B5E6-956EA7DC5538}"/>
                      </a:ext>
                    </a:extLst>
                  </p:cNvPr>
                  <p:cNvSpPr/>
                  <p:nvPr userDrawn="1"/>
                </p:nvSpPr>
                <p:spPr>
                  <a:xfrm>
                    <a:off x="8238663" y="438124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D4D8E3"/>
                  </a:solidFill>
                  <a:ln w="2339" cap="flat">
                    <a:noFill/>
                    <a:prstDash val="solid"/>
                    <a:miter/>
                  </a:ln>
                </p:spPr>
                <p:txBody>
                  <a:bodyPr rtlCol="0" anchor="ctr"/>
                  <a:lstStyle/>
                  <a:p>
                    <a:endParaRPr lang="en-US" sz="2400"/>
                  </a:p>
                </p:txBody>
              </p:sp>
              <p:sp>
                <p:nvSpPr>
                  <p:cNvPr id="143" name="Freeform: Shape 142">
                    <a:extLst>
                      <a:ext uri="{FF2B5EF4-FFF2-40B4-BE49-F238E27FC236}">
                        <a16:creationId xmlns:a16="http://schemas.microsoft.com/office/drawing/2014/main" id="{A44BAA69-4A7A-45E9-7C1E-5B97C6CCC6B5}"/>
                      </a:ext>
                    </a:extLst>
                  </p:cNvPr>
                  <p:cNvSpPr/>
                  <p:nvPr userDrawn="1"/>
                </p:nvSpPr>
                <p:spPr>
                  <a:xfrm>
                    <a:off x="8238242" y="438102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4D8E3"/>
                  </a:solidFill>
                  <a:ln w="2339" cap="flat">
                    <a:noFill/>
                    <a:prstDash val="solid"/>
                    <a:miter/>
                  </a:ln>
                </p:spPr>
                <p:txBody>
                  <a:bodyPr rtlCol="0" anchor="ctr"/>
                  <a:lstStyle/>
                  <a:p>
                    <a:endParaRPr lang="en-US" sz="2400"/>
                  </a:p>
                </p:txBody>
              </p:sp>
              <p:sp>
                <p:nvSpPr>
                  <p:cNvPr id="144" name="Freeform: Shape 143">
                    <a:extLst>
                      <a:ext uri="{FF2B5EF4-FFF2-40B4-BE49-F238E27FC236}">
                        <a16:creationId xmlns:a16="http://schemas.microsoft.com/office/drawing/2014/main" id="{B0D670CD-BCDA-62AB-81ED-8F91C179F774}"/>
                      </a:ext>
                    </a:extLst>
                  </p:cNvPr>
                  <p:cNvSpPr/>
                  <p:nvPr userDrawn="1"/>
                </p:nvSpPr>
                <p:spPr>
                  <a:xfrm>
                    <a:off x="8237797" y="438081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D5D9E3"/>
                  </a:solidFill>
                  <a:ln w="2339" cap="flat">
                    <a:noFill/>
                    <a:prstDash val="solid"/>
                    <a:miter/>
                  </a:ln>
                </p:spPr>
                <p:txBody>
                  <a:bodyPr rtlCol="0" anchor="ctr"/>
                  <a:lstStyle/>
                  <a:p>
                    <a:endParaRPr lang="en-US" sz="2400"/>
                  </a:p>
                </p:txBody>
              </p:sp>
              <p:sp>
                <p:nvSpPr>
                  <p:cNvPr id="145" name="Freeform: Shape 144">
                    <a:extLst>
                      <a:ext uri="{FF2B5EF4-FFF2-40B4-BE49-F238E27FC236}">
                        <a16:creationId xmlns:a16="http://schemas.microsoft.com/office/drawing/2014/main" id="{C77FA1BB-2879-858A-A156-216DD2544C97}"/>
                      </a:ext>
                    </a:extLst>
                  </p:cNvPr>
                  <p:cNvSpPr/>
                  <p:nvPr userDrawn="1"/>
                </p:nvSpPr>
                <p:spPr>
                  <a:xfrm>
                    <a:off x="8237376" y="438060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D5D9E4"/>
                  </a:solidFill>
                  <a:ln w="2339" cap="flat">
                    <a:noFill/>
                    <a:prstDash val="solid"/>
                    <a:miter/>
                  </a:ln>
                </p:spPr>
                <p:txBody>
                  <a:bodyPr rtlCol="0" anchor="ctr"/>
                  <a:lstStyle/>
                  <a:p>
                    <a:endParaRPr lang="en-US" sz="2400"/>
                  </a:p>
                </p:txBody>
              </p:sp>
              <p:sp>
                <p:nvSpPr>
                  <p:cNvPr id="146" name="Freeform: Shape 145">
                    <a:extLst>
                      <a:ext uri="{FF2B5EF4-FFF2-40B4-BE49-F238E27FC236}">
                        <a16:creationId xmlns:a16="http://schemas.microsoft.com/office/drawing/2014/main" id="{BD769A55-FC8A-F50F-29E0-7635893564A5}"/>
                      </a:ext>
                    </a:extLst>
                  </p:cNvPr>
                  <p:cNvSpPr/>
                  <p:nvPr userDrawn="1"/>
                </p:nvSpPr>
                <p:spPr>
                  <a:xfrm>
                    <a:off x="8236932" y="438037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5D9E4"/>
                  </a:solidFill>
                  <a:ln w="2339" cap="flat">
                    <a:noFill/>
                    <a:prstDash val="solid"/>
                    <a:miter/>
                  </a:ln>
                </p:spPr>
                <p:txBody>
                  <a:bodyPr rtlCol="0" anchor="ctr"/>
                  <a:lstStyle/>
                  <a:p>
                    <a:endParaRPr lang="en-US" sz="2400"/>
                  </a:p>
                </p:txBody>
              </p:sp>
              <p:sp>
                <p:nvSpPr>
                  <p:cNvPr id="147" name="Freeform: Shape 146">
                    <a:extLst>
                      <a:ext uri="{FF2B5EF4-FFF2-40B4-BE49-F238E27FC236}">
                        <a16:creationId xmlns:a16="http://schemas.microsoft.com/office/drawing/2014/main" id="{7515514C-C7E4-8829-416A-0848F599CF3E}"/>
                      </a:ext>
                    </a:extLst>
                  </p:cNvPr>
                  <p:cNvSpPr/>
                  <p:nvPr userDrawn="1"/>
                </p:nvSpPr>
                <p:spPr>
                  <a:xfrm>
                    <a:off x="8236510" y="438016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6D9E4"/>
                  </a:solidFill>
                  <a:ln w="2339" cap="flat">
                    <a:noFill/>
                    <a:prstDash val="solid"/>
                    <a:miter/>
                  </a:ln>
                </p:spPr>
                <p:txBody>
                  <a:bodyPr rtlCol="0" anchor="ctr"/>
                  <a:lstStyle/>
                  <a:p>
                    <a:endParaRPr lang="en-US" sz="2400"/>
                  </a:p>
                </p:txBody>
              </p:sp>
              <p:sp>
                <p:nvSpPr>
                  <p:cNvPr id="148" name="Freeform: Shape 147">
                    <a:extLst>
                      <a:ext uri="{FF2B5EF4-FFF2-40B4-BE49-F238E27FC236}">
                        <a16:creationId xmlns:a16="http://schemas.microsoft.com/office/drawing/2014/main" id="{495819BC-B58B-0677-CEA2-4DD85CB0C24C}"/>
                      </a:ext>
                    </a:extLst>
                  </p:cNvPr>
                  <p:cNvSpPr/>
                  <p:nvPr userDrawn="1"/>
                </p:nvSpPr>
                <p:spPr>
                  <a:xfrm>
                    <a:off x="8236089" y="437995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6DAE4"/>
                  </a:solidFill>
                  <a:ln w="2339" cap="flat">
                    <a:noFill/>
                    <a:prstDash val="solid"/>
                    <a:miter/>
                  </a:ln>
                </p:spPr>
                <p:txBody>
                  <a:bodyPr rtlCol="0" anchor="ctr"/>
                  <a:lstStyle/>
                  <a:p>
                    <a:endParaRPr lang="en-US" sz="2400"/>
                  </a:p>
                </p:txBody>
              </p:sp>
              <p:sp>
                <p:nvSpPr>
                  <p:cNvPr id="149" name="Freeform: Shape 148">
                    <a:extLst>
                      <a:ext uri="{FF2B5EF4-FFF2-40B4-BE49-F238E27FC236}">
                        <a16:creationId xmlns:a16="http://schemas.microsoft.com/office/drawing/2014/main" id="{87784435-C46D-7227-C85A-ECC41D0C582C}"/>
                      </a:ext>
                    </a:extLst>
                  </p:cNvPr>
                  <p:cNvSpPr/>
                  <p:nvPr userDrawn="1"/>
                </p:nvSpPr>
                <p:spPr>
                  <a:xfrm>
                    <a:off x="8235668" y="437974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6DAE4"/>
                  </a:solidFill>
                  <a:ln w="2339" cap="flat">
                    <a:noFill/>
                    <a:prstDash val="solid"/>
                    <a:miter/>
                  </a:ln>
                </p:spPr>
                <p:txBody>
                  <a:bodyPr rtlCol="0" anchor="ctr"/>
                  <a:lstStyle/>
                  <a:p>
                    <a:endParaRPr lang="en-US" sz="2400"/>
                  </a:p>
                </p:txBody>
              </p:sp>
              <p:sp>
                <p:nvSpPr>
                  <p:cNvPr id="150" name="Freeform: Shape 149">
                    <a:extLst>
                      <a:ext uri="{FF2B5EF4-FFF2-40B4-BE49-F238E27FC236}">
                        <a16:creationId xmlns:a16="http://schemas.microsoft.com/office/drawing/2014/main" id="{67F594C7-6829-1693-5E71-866989326841}"/>
                      </a:ext>
                    </a:extLst>
                  </p:cNvPr>
                  <p:cNvSpPr/>
                  <p:nvPr userDrawn="1"/>
                </p:nvSpPr>
                <p:spPr>
                  <a:xfrm>
                    <a:off x="8235247" y="437953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D7DAE5"/>
                  </a:solidFill>
                  <a:ln w="2339" cap="flat">
                    <a:noFill/>
                    <a:prstDash val="solid"/>
                    <a:miter/>
                  </a:ln>
                </p:spPr>
                <p:txBody>
                  <a:bodyPr rtlCol="0" anchor="ctr"/>
                  <a:lstStyle/>
                  <a:p>
                    <a:endParaRPr lang="en-US" sz="2400"/>
                  </a:p>
                </p:txBody>
              </p:sp>
              <p:sp>
                <p:nvSpPr>
                  <p:cNvPr id="151" name="Freeform: Shape 150">
                    <a:extLst>
                      <a:ext uri="{FF2B5EF4-FFF2-40B4-BE49-F238E27FC236}">
                        <a16:creationId xmlns:a16="http://schemas.microsoft.com/office/drawing/2014/main" id="{D17BA0A2-9006-F78B-F5C2-0319B68183A9}"/>
                      </a:ext>
                    </a:extLst>
                  </p:cNvPr>
                  <p:cNvSpPr/>
                  <p:nvPr userDrawn="1"/>
                </p:nvSpPr>
                <p:spPr>
                  <a:xfrm>
                    <a:off x="8234826" y="437929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7DBE5"/>
                  </a:solidFill>
                  <a:ln w="2339" cap="flat">
                    <a:noFill/>
                    <a:prstDash val="solid"/>
                    <a:miter/>
                  </a:ln>
                </p:spPr>
                <p:txBody>
                  <a:bodyPr rtlCol="0" anchor="ctr"/>
                  <a:lstStyle/>
                  <a:p>
                    <a:endParaRPr lang="en-US" sz="2400"/>
                  </a:p>
                </p:txBody>
              </p:sp>
              <p:sp>
                <p:nvSpPr>
                  <p:cNvPr id="152" name="Freeform: Shape 151">
                    <a:extLst>
                      <a:ext uri="{FF2B5EF4-FFF2-40B4-BE49-F238E27FC236}">
                        <a16:creationId xmlns:a16="http://schemas.microsoft.com/office/drawing/2014/main" id="{500C0FE3-DD2E-EA35-80AB-EF60480DBB15}"/>
                      </a:ext>
                    </a:extLst>
                  </p:cNvPr>
                  <p:cNvSpPr/>
                  <p:nvPr userDrawn="1"/>
                </p:nvSpPr>
                <p:spPr>
                  <a:xfrm>
                    <a:off x="8234404" y="437908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7DBE5"/>
                  </a:solidFill>
                  <a:ln w="2339" cap="flat">
                    <a:noFill/>
                    <a:prstDash val="solid"/>
                    <a:miter/>
                  </a:ln>
                </p:spPr>
                <p:txBody>
                  <a:bodyPr rtlCol="0" anchor="ctr"/>
                  <a:lstStyle/>
                  <a:p>
                    <a:endParaRPr lang="en-US" sz="2400"/>
                  </a:p>
                </p:txBody>
              </p:sp>
              <p:sp>
                <p:nvSpPr>
                  <p:cNvPr id="153" name="Freeform: Shape 152">
                    <a:extLst>
                      <a:ext uri="{FF2B5EF4-FFF2-40B4-BE49-F238E27FC236}">
                        <a16:creationId xmlns:a16="http://schemas.microsoft.com/office/drawing/2014/main" id="{808D7DB1-F591-3542-7C46-05CA0C769351}"/>
                      </a:ext>
                    </a:extLst>
                  </p:cNvPr>
                  <p:cNvSpPr/>
                  <p:nvPr userDrawn="1"/>
                </p:nvSpPr>
                <p:spPr>
                  <a:xfrm>
                    <a:off x="8233983" y="437887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D8DBE5"/>
                  </a:solidFill>
                  <a:ln w="2339" cap="flat">
                    <a:noFill/>
                    <a:prstDash val="solid"/>
                    <a:miter/>
                  </a:ln>
                </p:spPr>
                <p:txBody>
                  <a:bodyPr rtlCol="0" anchor="ctr"/>
                  <a:lstStyle/>
                  <a:p>
                    <a:endParaRPr lang="en-US" sz="2400"/>
                  </a:p>
                </p:txBody>
              </p:sp>
              <p:sp>
                <p:nvSpPr>
                  <p:cNvPr id="154" name="Freeform: Shape 153">
                    <a:extLst>
                      <a:ext uri="{FF2B5EF4-FFF2-40B4-BE49-F238E27FC236}">
                        <a16:creationId xmlns:a16="http://schemas.microsoft.com/office/drawing/2014/main" id="{3CB1170E-E1B6-3760-2873-648163861A50}"/>
                      </a:ext>
                    </a:extLst>
                  </p:cNvPr>
                  <p:cNvSpPr/>
                  <p:nvPr userDrawn="1"/>
                </p:nvSpPr>
                <p:spPr>
                  <a:xfrm>
                    <a:off x="8233585" y="437864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8DBE5"/>
                  </a:solidFill>
                  <a:ln w="2339" cap="flat">
                    <a:noFill/>
                    <a:prstDash val="solid"/>
                    <a:miter/>
                  </a:ln>
                </p:spPr>
                <p:txBody>
                  <a:bodyPr rtlCol="0" anchor="ctr"/>
                  <a:lstStyle/>
                  <a:p>
                    <a:endParaRPr lang="en-US" sz="2400"/>
                  </a:p>
                </p:txBody>
              </p:sp>
              <p:sp>
                <p:nvSpPr>
                  <p:cNvPr id="155" name="Freeform: Shape 154">
                    <a:extLst>
                      <a:ext uri="{FF2B5EF4-FFF2-40B4-BE49-F238E27FC236}">
                        <a16:creationId xmlns:a16="http://schemas.microsoft.com/office/drawing/2014/main" id="{8480305D-FE5F-12F0-A5BC-1F44071DB6E3}"/>
                      </a:ext>
                    </a:extLst>
                  </p:cNvPr>
                  <p:cNvSpPr/>
                  <p:nvPr userDrawn="1"/>
                </p:nvSpPr>
                <p:spPr>
                  <a:xfrm>
                    <a:off x="8233164" y="437843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D8DCE6"/>
                  </a:solidFill>
                  <a:ln w="2339" cap="flat">
                    <a:noFill/>
                    <a:prstDash val="solid"/>
                    <a:miter/>
                  </a:ln>
                </p:spPr>
                <p:txBody>
                  <a:bodyPr rtlCol="0" anchor="ctr"/>
                  <a:lstStyle/>
                  <a:p>
                    <a:endParaRPr lang="en-US" sz="2400"/>
                  </a:p>
                </p:txBody>
              </p:sp>
              <p:sp>
                <p:nvSpPr>
                  <p:cNvPr id="156" name="Freeform: Shape 155">
                    <a:extLst>
                      <a:ext uri="{FF2B5EF4-FFF2-40B4-BE49-F238E27FC236}">
                        <a16:creationId xmlns:a16="http://schemas.microsoft.com/office/drawing/2014/main" id="{BDEF1486-2565-0B8F-E281-784B980A14F0}"/>
                      </a:ext>
                    </a:extLst>
                  </p:cNvPr>
                  <p:cNvSpPr/>
                  <p:nvPr userDrawn="1"/>
                </p:nvSpPr>
                <p:spPr>
                  <a:xfrm>
                    <a:off x="8232766" y="437819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8DCE6"/>
                  </a:solidFill>
                  <a:ln w="2339" cap="flat">
                    <a:noFill/>
                    <a:prstDash val="solid"/>
                    <a:miter/>
                  </a:ln>
                </p:spPr>
                <p:txBody>
                  <a:bodyPr rtlCol="0" anchor="ctr"/>
                  <a:lstStyle/>
                  <a:p>
                    <a:endParaRPr lang="en-US" sz="2400"/>
                  </a:p>
                </p:txBody>
              </p:sp>
              <p:sp>
                <p:nvSpPr>
                  <p:cNvPr id="157" name="Freeform: Shape 156">
                    <a:extLst>
                      <a:ext uri="{FF2B5EF4-FFF2-40B4-BE49-F238E27FC236}">
                        <a16:creationId xmlns:a16="http://schemas.microsoft.com/office/drawing/2014/main" id="{CE207E22-82EA-ED77-04B8-C4885FC677A1}"/>
                      </a:ext>
                    </a:extLst>
                  </p:cNvPr>
                  <p:cNvSpPr/>
                  <p:nvPr userDrawn="1"/>
                </p:nvSpPr>
                <p:spPr>
                  <a:xfrm>
                    <a:off x="8232345" y="437798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D9DCE6"/>
                  </a:solidFill>
                  <a:ln w="2339" cap="flat">
                    <a:noFill/>
                    <a:prstDash val="solid"/>
                    <a:miter/>
                  </a:ln>
                </p:spPr>
                <p:txBody>
                  <a:bodyPr rtlCol="0" anchor="ctr"/>
                  <a:lstStyle/>
                  <a:p>
                    <a:endParaRPr lang="en-US" sz="2400"/>
                  </a:p>
                </p:txBody>
              </p:sp>
              <p:sp>
                <p:nvSpPr>
                  <p:cNvPr id="158" name="Freeform: Shape 157">
                    <a:extLst>
                      <a:ext uri="{FF2B5EF4-FFF2-40B4-BE49-F238E27FC236}">
                        <a16:creationId xmlns:a16="http://schemas.microsoft.com/office/drawing/2014/main" id="{C41EA700-35E1-0D7D-86DD-A48E27EBDDE4}"/>
                      </a:ext>
                    </a:extLst>
                  </p:cNvPr>
                  <p:cNvSpPr/>
                  <p:nvPr userDrawn="1"/>
                </p:nvSpPr>
                <p:spPr>
                  <a:xfrm>
                    <a:off x="8231947" y="437775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9DCE6"/>
                  </a:solidFill>
                  <a:ln w="2339" cap="flat">
                    <a:noFill/>
                    <a:prstDash val="solid"/>
                    <a:miter/>
                  </a:ln>
                </p:spPr>
                <p:txBody>
                  <a:bodyPr rtlCol="0" anchor="ctr"/>
                  <a:lstStyle/>
                  <a:p>
                    <a:endParaRPr lang="en-US" sz="2400"/>
                  </a:p>
                </p:txBody>
              </p:sp>
              <p:sp>
                <p:nvSpPr>
                  <p:cNvPr id="159" name="Freeform: Shape 158">
                    <a:extLst>
                      <a:ext uri="{FF2B5EF4-FFF2-40B4-BE49-F238E27FC236}">
                        <a16:creationId xmlns:a16="http://schemas.microsoft.com/office/drawing/2014/main" id="{FEA4C86F-776E-F10B-830A-84F68885E1A0}"/>
                      </a:ext>
                    </a:extLst>
                  </p:cNvPr>
                  <p:cNvSpPr/>
                  <p:nvPr userDrawn="1"/>
                </p:nvSpPr>
                <p:spPr>
                  <a:xfrm>
                    <a:off x="8231550" y="437751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9DDE6"/>
                  </a:solidFill>
                  <a:ln w="2339" cap="flat">
                    <a:noFill/>
                    <a:prstDash val="solid"/>
                    <a:miter/>
                  </a:ln>
                </p:spPr>
                <p:txBody>
                  <a:bodyPr rtlCol="0" anchor="ctr"/>
                  <a:lstStyle/>
                  <a:p>
                    <a:endParaRPr lang="en-US" sz="2400"/>
                  </a:p>
                </p:txBody>
              </p:sp>
              <p:sp>
                <p:nvSpPr>
                  <p:cNvPr id="160" name="Freeform: Shape 159">
                    <a:extLst>
                      <a:ext uri="{FF2B5EF4-FFF2-40B4-BE49-F238E27FC236}">
                        <a16:creationId xmlns:a16="http://schemas.microsoft.com/office/drawing/2014/main" id="{98151E9C-021E-FA4E-0EC1-B9233B7763B2}"/>
                      </a:ext>
                    </a:extLst>
                  </p:cNvPr>
                  <p:cNvSpPr/>
                  <p:nvPr userDrawn="1"/>
                </p:nvSpPr>
                <p:spPr>
                  <a:xfrm>
                    <a:off x="8231152" y="437730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ADDE7"/>
                  </a:solidFill>
                  <a:ln w="2339" cap="flat">
                    <a:noFill/>
                    <a:prstDash val="solid"/>
                    <a:miter/>
                  </a:ln>
                </p:spPr>
                <p:txBody>
                  <a:bodyPr rtlCol="0" anchor="ctr"/>
                  <a:lstStyle/>
                  <a:p>
                    <a:endParaRPr lang="en-US" sz="2400"/>
                  </a:p>
                </p:txBody>
              </p:sp>
              <p:sp>
                <p:nvSpPr>
                  <p:cNvPr id="161" name="Freeform: Shape 160">
                    <a:extLst>
                      <a:ext uri="{FF2B5EF4-FFF2-40B4-BE49-F238E27FC236}">
                        <a16:creationId xmlns:a16="http://schemas.microsoft.com/office/drawing/2014/main" id="{6CA67D08-5F86-D5A9-6B78-BC2A5D3B8036}"/>
                      </a:ext>
                    </a:extLst>
                  </p:cNvPr>
                  <p:cNvSpPr/>
                  <p:nvPr userDrawn="1"/>
                </p:nvSpPr>
                <p:spPr>
                  <a:xfrm>
                    <a:off x="8230731" y="437707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ADDE7"/>
                  </a:solidFill>
                  <a:ln w="2339" cap="flat">
                    <a:noFill/>
                    <a:prstDash val="solid"/>
                    <a:miter/>
                  </a:ln>
                </p:spPr>
                <p:txBody>
                  <a:bodyPr rtlCol="0" anchor="ctr"/>
                  <a:lstStyle/>
                  <a:p>
                    <a:endParaRPr lang="en-US" sz="2400"/>
                  </a:p>
                </p:txBody>
              </p:sp>
              <p:sp>
                <p:nvSpPr>
                  <p:cNvPr id="162" name="Freeform: Shape 161">
                    <a:extLst>
                      <a:ext uri="{FF2B5EF4-FFF2-40B4-BE49-F238E27FC236}">
                        <a16:creationId xmlns:a16="http://schemas.microsoft.com/office/drawing/2014/main" id="{81063E14-E4F3-D809-0231-DE75BCE6D21A}"/>
                      </a:ext>
                    </a:extLst>
                  </p:cNvPr>
                  <p:cNvSpPr/>
                  <p:nvPr userDrawn="1"/>
                </p:nvSpPr>
                <p:spPr>
                  <a:xfrm>
                    <a:off x="8230333" y="437684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ADEE7"/>
                  </a:solidFill>
                  <a:ln w="2339" cap="flat">
                    <a:noFill/>
                    <a:prstDash val="solid"/>
                    <a:miter/>
                  </a:ln>
                </p:spPr>
                <p:txBody>
                  <a:bodyPr rtlCol="0" anchor="ctr"/>
                  <a:lstStyle/>
                  <a:p>
                    <a:endParaRPr lang="en-US" sz="2400"/>
                  </a:p>
                </p:txBody>
              </p:sp>
              <p:sp>
                <p:nvSpPr>
                  <p:cNvPr id="163" name="Freeform: Shape 162">
                    <a:extLst>
                      <a:ext uri="{FF2B5EF4-FFF2-40B4-BE49-F238E27FC236}">
                        <a16:creationId xmlns:a16="http://schemas.microsoft.com/office/drawing/2014/main" id="{0F507248-E028-64F6-13A3-BA06DD8D3E4F}"/>
                      </a:ext>
                    </a:extLst>
                  </p:cNvPr>
                  <p:cNvSpPr/>
                  <p:nvPr userDrawn="1"/>
                </p:nvSpPr>
                <p:spPr>
                  <a:xfrm>
                    <a:off x="8229958" y="437663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DBDEE7"/>
                  </a:solidFill>
                  <a:ln w="2339" cap="flat">
                    <a:noFill/>
                    <a:prstDash val="solid"/>
                    <a:miter/>
                  </a:ln>
                </p:spPr>
                <p:txBody>
                  <a:bodyPr rtlCol="0" anchor="ctr"/>
                  <a:lstStyle/>
                  <a:p>
                    <a:endParaRPr lang="en-US" sz="2400"/>
                  </a:p>
                </p:txBody>
              </p:sp>
              <p:sp>
                <p:nvSpPr>
                  <p:cNvPr id="164" name="Freeform: Shape 163">
                    <a:extLst>
                      <a:ext uri="{FF2B5EF4-FFF2-40B4-BE49-F238E27FC236}">
                        <a16:creationId xmlns:a16="http://schemas.microsoft.com/office/drawing/2014/main" id="{D19C53DF-0AC2-C406-B017-C0FF7352C6A4}"/>
                      </a:ext>
                    </a:extLst>
                  </p:cNvPr>
                  <p:cNvSpPr/>
                  <p:nvPr userDrawn="1"/>
                </p:nvSpPr>
                <p:spPr>
                  <a:xfrm>
                    <a:off x="8229561" y="437639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BDEE7"/>
                  </a:solidFill>
                  <a:ln w="2339" cap="flat">
                    <a:noFill/>
                    <a:prstDash val="solid"/>
                    <a:miter/>
                  </a:ln>
                </p:spPr>
                <p:txBody>
                  <a:bodyPr rtlCol="0" anchor="ctr"/>
                  <a:lstStyle/>
                  <a:p>
                    <a:endParaRPr lang="en-US" sz="2400"/>
                  </a:p>
                </p:txBody>
              </p:sp>
              <p:sp>
                <p:nvSpPr>
                  <p:cNvPr id="165" name="Freeform: Shape 164">
                    <a:extLst>
                      <a:ext uri="{FF2B5EF4-FFF2-40B4-BE49-F238E27FC236}">
                        <a16:creationId xmlns:a16="http://schemas.microsoft.com/office/drawing/2014/main" id="{3BA99382-6C7E-0B4E-EDA8-F0DBEF3232E8}"/>
                      </a:ext>
                    </a:extLst>
                  </p:cNvPr>
                  <p:cNvSpPr/>
                  <p:nvPr userDrawn="1"/>
                </p:nvSpPr>
                <p:spPr>
                  <a:xfrm>
                    <a:off x="8229163" y="437616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BDEE8"/>
                  </a:solidFill>
                  <a:ln w="2339" cap="flat">
                    <a:noFill/>
                    <a:prstDash val="solid"/>
                    <a:miter/>
                  </a:ln>
                </p:spPr>
                <p:txBody>
                  <a:bodyPr rtlCol="0" anchor="ctr"/>
                  <a:lstStyle/>
                  <a:p>
                    <a:endParaRPr lang="en-US" sz="2400"/>
                  </a:p>
                </p:txBody>
              </p:sp>
              <p:sp>
                <p:nvSpPr>
                  <p:cNvPr id="166" name="Freeform: Shape 165">
                    <a:extLst>
                      <a:ext uri="{FF2B5EF4-FFF2-40B4-BE49-F238E27FC236}">
                        <a16:creationId xmlns:a16="http://schemas.microsoft.com/office/drawing/2014/main" id="{7A5EEC98-A485-9DB4-0CCE-E7B4A1247DFA}"/>
                      </a:ext>
                    </a:extLst>
                  </p:cNvPr>
                  <p:cNvSpPr/>
                  <p:nvPr userDrawn="1"/>
                </p:nvSpPr>
                <p:spPr>
                  <a:xfrm>
                    <a:off x="8228765" y="437592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CDFE8"/>
                  </a:solidFill>
                  <a:ln w="2339" cap="flat">
                    <a:noFill/>
                    <a:prstDash val="solid"/>
                    <a:miter/>
                  </a:ln>
                </p:spPr>
                <p:txBody>
                  <a:bodyPr rtlCol="0" anchor="ctr"/>
                  <a:lstStyle/>
                  <a:p>
                    <a:endParaRPr lang="en-US" sz="2400"/>
                  </a:p>
                </p:txBody>
              </p:sp>
              <p:sp>
                <p:nvSpPr>
                  <p:cNvPr id="167" name="Freeform: Shape 166">
                    <a:extLst>
                      <a:ext uri="{FF2B5EF4-FFF2-40B4-BE49-F238E27FC236}">
                        <a16:creationId xmlns:a16="http://schemas.microsoft.com/office/drawing/2014/main" id="{40F31ED3-CFBE-2814-633B-1C9C21D7F067}"/>
                      </a:ext>
                    </a:extLst>
                  </p:cNvPr>
                  <p:cNvSpPr/>
                  <p:nvPr userDrawn="1"/>
                </p:nvSpPr>
                <p:spPr>
                  <a:xfrm>
                    <a:off x="8228391" y="437569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CDFE8"/>
                  </a:solidFill>
                  <a:ln w="2339" cap="flat">
                    <a:noFill/>
                    <a:prstDash val="solid"/>
                    <a:miter/>
                  </a:ln>
                </p:spPr>
                <p:txBody>
                  <a:bodyPr rtlCol="0" anchor="ctr"/>
                  <a:lstStyle/>
                  <a:p>
                    <a:endParaRPr lang="en-US" sz="2400"/>
                  </a:p>
                </p:txBody>
              </p:sp>
              <p:sp>
                <p:nvSpPr>
                  <p:cNvPr id="168" name="Freeform: Shape 167">
                    <a:extLst>
                      <a:ext uri="{FF2B5EF4-FFF2-40B4-BE49-F238E27FC236}">
                        <a16:creationId xmlns:a16="http://schemas.microsoft.com/office/drawing/2014/main" id="{844BC83D-5F4B-CF30-DDB3-2D83B30C4423}"/>
                      </a:ext>
                    </a:extLst>
                  </p:cNvPr>
                  <p:cNvSpPr/>
                  <p:nvPr userDrawn="1"/>
                </p:nvSpPr>
                <p:spPr>
                  <a:xfrm>
                    <a:off x="8227993" y="437546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CDFE8"/>
                  </a:solidFill>
                  <a:ln w="2339" cap="flat">
                    <a:noFill/>
                    <a:prstDash val="solid"/>
                    <a:miter/>
                  </a:ln>
                </p:spPr>
                <p:txBody>
                  <a:bodyPr rtlCol="0" anchor="ctr"/>
                  <a:lstStyle/>
                  <a:p>
                    <a:endParaRPr lang="en-US" sz="2400"/>
                  </a:p>
                </p:txBody>
              </p:sp>
              <p:sp>
                <p:nvSpPr>
                  <p:cNvPr id="169" name="Freeform: Shape 168">
                    <a:extLst>
                      <a:ext uri="{FF2B5EF4-FFF2-40B4-BE49-F238E27FC236}">
                        <a16:creationId xmlns:a16="http://schemas.microsoft.com/office/drawing/2014/main" id="{C4003866-A337-63A8-65EB-FBD807EC2472}"/>
                      </a:ext>
                    </a:extLst>
                  </p:cNvPr>
                  <p:cNvSpPr/>
                  <p:nvPr userDrawn="1"/>
                </p:nvSpPr>
                <p:spPr>
                  <a:xfrm>
                    <a:off x="8227618" y="437522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CE0E8"/>
                  </a:solidFill>
                  <a:ln w="2339" cap="flat">
                    <a:noFill/>
                    <a:prstDash val="solid"/>
                    <a:miter/>
                  </a:ln>
                </p:spPr>
                <p:txBody>
                  <a:bodyPr rtlCol="0" anchor="ctr"/>
                  <a:lstStyle/>
                  <a:p>
                    <a:endParaRPr lang="en-US" sz="2400"/>
                  </a:p>
                </p:txBody>
              </p:sp>
              <p:sp>
                <p:nvSpPr>
                  <p:cNvPr id="170" name="Freeform: Shape 169">
                    <a:extLst>
                      <a:ext uri="{FF2B5EF4-FFF2-40B4-BE49-F238E27FC236}">
                        <a16:creationId xmlns:a16="http://schemas.microsoft.com/office/drawing/2014/main" id="{1F41DB75-7D85-2863-8B24-0D00C15DAA68}"/>
                      </a:ext>
                    </a:extLst>
                  </p:cNvPr>
                  <p:cNvSpPr/>
                  <p:nvPr userDrawn="1"/>
                </p:nvSpPr>
                <p:spPr>
                  <a:xfrm>
                    <a:off x="8227244" y="437499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DE0E9"/>
                  </a:solidFill>
                  <a:ln w="2339" cap="flat">
                    <a:noFill/>
                    <a:prstDash val="solid"/>
                    <a:miter/>
                  </a:ln>
                </p:spPr>
                <p:txBody>
                  <a:bodyPr rtlCol="0" anchor="ctr"/>
                  <a:lstStyle/>
                  <a:p>
                    <a:endParaRPr lang="en-US" sz="2400"/>
                  </a:p>
                </p:txBody>
              </p:sp>
              <p:sp>
                <p:nvSpPr>
                  <p:cNvPr id="171" name="Freeform: Shape 170">
                    <a:extLst>
                      <a:ext uri="{FF2B5EF4-FFF2-40B4-BE49-F238E27FC236}">
                        <a16:creationId xmlns:a16="http://schemas.microsoft.com/office/drawing/2014/main" id="{A20D138F-CB75-673E-C0C1-AC4D78C17C14}"/>
                      </a:ext>
                    </a:extLst>
                  </p:cNvPr>
                  <p:cNvSpPr/>
                  <p:nvPr userDrawn="1"/>
                </p:nvSpPr>
                <p:spPr>
                  <a:xfrm>
                    <a:off x="8226870" y="437475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DE0E9"/>
                  </a:solidFill>
                  <a:ln w="2339" cap="flat">
                    <a:noFill/>
                    <a:prstDash val="solid"/>
                    <a:miter/>
                  </a:ln>
                </p:spPr>
                <p:txBody>
                  <a:bodyPr rtlCol="0" anchor="ctr"/>
                  <a:lstStyle/>
                  <a:p>
                    <a:endParaRPr lang="en-US" sz="2400"/>
                  </a:p>
                </p:txBody>
              </p:sp>
              <p:sp>
                <p:nvSpPr>
                  <p:cNvPr id="172" name="Freeform: Shape 171">
                    <a:extLst>
                      <a:ext uri="{FF2B5EF4-FFF2-40B4-BE49-F238E27FC236}">
                        <a16:creationId xmlns:a16="http://schemas.microsoft.com/office/drawing/2014/main" id="{9670DE8B-A8F9-ED5F-2B7B-BC430AD1DA9C}"/>
                      </a:ext>
                    </a:extLst>
                  </p:cNvPr>
                  <p:cNvSpPr/>
                  <p:nvPr userDrawn="1"/>
                </p:nvSpPr>
                <p:spPr>
                  <a:xfrm>
                    <a:off x="8226495" y="437452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DE0E9"/>
                  </a:solidFill>
                  <a:ln w="2339" cap="flat">
                    <a:noFill/>
                    <a:prstDash val="solid"/>
                    <a:miter/>
                  </a:ln>
                </p:spPr>
                <p:txBody>
                  <a:bodyPr rtlCol="0" anchor="ctr"/>
                  <a:lstStyle/>
                  <a:p>
                    <a:endParaRPr lang="en-US" sz="2400"/>
                  </a:p>
                </p:txBody>
              </p:sp>
              <p:sp>
                <p:nvSpPr>
                  <p:cNvPr id="173" name="Freeform: Shape 172">
                    <a:extLst>
                      <a:ext uri="{FF2B5EF4-FFF2-40B4-BE49-F238E27FC236}">
                        <a16:creationId xmlns:a16="http://schemas.microsoft.com/office/drawing/2014/main" id="{3ABF72E1-B8BC-572A-E5CE-CBDC6B3D1A0C}"/>
                      </a:ext>
                    </a:extLst>
                  </p:cNvPr>
                  <p:cNvSpPr/>
                  <p:nvPr userDrawn="1"/>
                </p:nvSpPr>
                <p:spPr>
                  <a:xfrm>
                    <a:off x="8226121" y="437429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EE1E9"/>
                  </a:solidFill>
                  <a:ln w="2339" cap="flat">
                    <a:noFill/>
                    <a:prstDash val="solid"/>
                    <a:miter/>
                  </a:ln>
                </p:spPr>
                <p:txBody>
                  <a:bodyPr rtlCol="0" anchor="ctr"/>
                  <a:lstStyle/>
                  <a:p>
                    <a:endParaRPr lang="en-US" sz="2400"/>
                  </a:p>
                </p:txBody>
              </p:sp>
              <p:sp>
                <p:nvSpPr>
                  <p:cNvPr id="174" name="Freeform: Shape 173">
                    <a:extLst>
                      <a:ext uri="{FF2B5EF4-FFF2-40B4-BE49-F238E27FC236}">
                        <a16:creationId xmlns:a16="http://schemas.microsoft.com/office/drawing/2014/main" id="{987319E8-0B85-479A-AFA0-4DC818AEE7EF}"/>
                      </a:ext>
                    </a:extLst>
                  </p:cNvPr>
                  <p:cNvSpPr/>
                  <p:nvPr userDrawn="1"/>
                </p:nvSpPr>
                <p:spPr>
                  <a:xfrm>
                    <a:off x="8225746" y="437405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EE1E9"/>
                  </a:solidFill>
                  <a:ln w="2339" cap="flat">
                    <a:noFill/>
                    <a:prstDash val="solid"/>
                    <a:miter/>
                  </a:ln>
                </p:spPr>
                <p:txBody>
                  <a:bodyPr rtlCol="0" anchor="ctr"/>
                  <a:lstStyle/>
                  <a:p>
                    <a:endParaRPr lang="en-US" sz="2400"/>
                  </a:p>
                </p:txBody>
              </p:sp>
              <p:sp>
                <p:nvSpPr>
                  <p:cNvPr id="175" name="Freeform: Shape 174">
                    <a:extLst>
                      <a:ext uri="{FF2B5EF4-FFF2-40B4-BE49-F238E27FC236}">
                        <a16:creationId xmlns:a16="http://schemas.microsoft.com/office/drawing/2014/main" id="{83AB330C-F48F-82A7-473B-A84887B6C780}"/>
                      </a:ext>
                    </a:extLst>
                  </p:cNvPr>
                  <p:cNvSpPr/>
                  <p:nvPr userDrawn="1"/>
                </p:nvSpPr>
                <p:spPr>
                  <a:xfrm>
                    <a:off x="8225372" y="437382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DEE1EA"/>
                  </a:solidFill>
                  <a:ln w="2339" cap="flat">
                    <a:noFill/>
                    <a:prstDash val="solid"/>
                    <a:miter/>
                  </a:ln>
                </p:spPr>
                <p:txBody>
                  <a:bodyPr rtlCol="0" anchor="ctr"/>
                  <a:lstStyle/>
                  <a:p>
                    <a:endParaRPr lang="en-US" sz="2400"/>
                  </a:p>
                </p:txBody>
              </p:sp>
              <p:sp>
                <p:nvSpPr>
                  <p:cNvPr id="176" name="Freeform: Shape 175">
                    <a:extLst>
                      <a:ext uri="{FF2B5EF4-FFF2-40B4-BE49-F238E27FC236}">
                        <a16:creationId xmlns:a16="http://schemas.microsoft.com/office/drawing/2014/main" id="{84D913E4-D106-D7B9-FD5A-446AA3E9582C}"/>
                      </a:ext>
                    </a:extLst>
                  </p:cNvPr>
                  <p:cNvSpPr/>
                  <p:nvPr userDrawn="1"/>
                </p:nvSpPr>
                <p:spPr>
                  <a:xfrm>
                    <a:off x="8224998" y="437356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FE1EA"/>
                  </a:solidFill>
                  <a:ln w="2339" cap="flat">
                    <a:noFill/>
                    <a:prstDash val="solid"/>
                    <a:miter/>
                  </a:ln>
                </p:spPr>
                <p:txBody>
                  <a:bodyPr rtlCol="0" anchor="ctr"/>
                  <a:lstStyle/>
                  <a:p>
                    <a:endParaRPr lang="en-US" sz="2400"/>
                  </a:p>
                </p:txBody>
              </p:sp>
              <p:sp>
                <p:nvSpPr>
                  <p:cNvPr id="177" name="Freeform: Shape 176">
                    <a:extLst>
                      <a:ext uri="{FF2B5EF4-FFF2-40B4-BE49-F238E27FC236}">
                        <a16:creationId xmlns:a16="http://schemas.microsoft.com/office/drawing/2014/main" id="{1C3436EB-F631-080D-AE60-97C34CF1D292}"/>
                      </a:ext>
                    </a:extLst>
                  </p:cNvPr>
                  <p:cNvSpPr/>
                  <p:nvPr userDrawn="1"/>
                </p:nvSpPr>
                <p:spPr>
                  <a:xfrm>
                    <a:off x="8224647" y="437333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FE2EA"/>
                  </a:solidFill>
                  <a:ln w="2339" cap="flat">
                    <a:noFill/>
                    <a:prstDash val="solid"/>
                    <a:miter/>
                  </a:ln>
                </p:spPr>
                <p:txBody>
                  <a:bodyPr rtlCol="0" anchor="ctr"/>
                  <a:lstStyle/>
                  <a:p>
                    <a:endParaRPr lang="en-US" sz="2400"/>
                  </a:p>
                </p:txBody>
              </p:sp>
              <p:sp>
                <p:nvSpPr>
                  <p:cNvPr id="178" name="Freeform: Shape 177">
                    <a:extLst>
                      <a:ext uri="{FF2B5EF4-FFF2-40B4-BE49-F238E27FC236}">
                        <a16:creationId xmlns:a16="http://schemas.microsoft.com/office/drawing/2014/main" id="{9035355C-2440-3976-9064-54B88D4AFA4A}"/>
                      </a:ext>
                    </a:extLst>
                  </p:cNvPr>
                  <p:cNvSpPr/>
                  <p:nvPr userDrawn="1"/>
                </p:nvSpPr>
                <p:spPr>
                  <a:xfrm>
                    <a:off x="8224272" y="437309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DFE2EA"/>
                  </a:solidFill>
                  <a:ln w="2339" cap="flat">
                    <a:noFill/>
                    <a:prstDash val="solid"/>
                    <a:miter/>
                  </a:ln>
                </p:spPr>
                <p:txBody>
                  <a:bodyPr rtlCol="0" anchor="ctr"/>
                  <a:lstStyle/>
                  <a:p>
                    <a:endParaRPr lang="en-US" sz="2400"/>
                  </a:p>
                </p:txBody>
              </p:sp>
              <p:sp>
                <p:nvSpPr>
                  <p:cNvPr id="179" name="Freeform: Shape 178">
                    <a:extLst>
                      <a:ext uri="{FF2B5EF4-FFF2-40B4-BE49-F238E27FC236}">
                        <a16:creationId xmlns:a16="http://schemas.microsoft.com/office/drawing/2014/main" id="{5C1BFD18-292B-9ADA-8F5E-CAA8EF07B031}"/>
                      </a:ext>
                    </a:extLst>
                  </p:cNvPr>
                  <p:cNvSpPr/>
                  <p:nvPr userDrawn="1"/>
                </p:nvSpPr>
                <p:spPr>
                  <a:xfrm>
                    <a:off x="8223921" y="437283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FE2EA"/>
                  </a:solidFill>
                  <a:ln w="2339" cap="flat">
                    <a:noFill/>
                    <a:prstDash val="solid"/>
                    <a:miter/>
                  </a:ln>
                </p:spPr>
                <p:txBody>
                  <a:bodyPr rtlCol="0" anchor="ctr"/>
                  <a:lstStyle/>
                  <a:p>
                    <a:endParaRPr lang="en-US" sz="2400"/>
                  </a:p>
                </p:txBody>
              </p:sp>
              <p:sp>
                <p:nvSpPr>
                  <p:cNvPr id="180" name="Freeform: Shape 179">
                    <a:extLst>
                      <a:ext uri="{FF2B5EF4-FFF2-40B4-BE49-F238E27FC236}">
                        <a16:creationId xmlns:a16="http://schemas.microsoft.com/office/drawing/2014/main" id="{FE87D75E-9617-9D98-91C0-D86317E5A35A}"/>
                      </a:ext>
                    </a:extLst>
                  </p:cNvPr>
                  <p:cNvSpPr/>
                  <p:nvPr userDrawn="1"/>
                </p:nvSpPr>
                <p:spPr>
                  <a:xfrm>
                    <a:off x="8223570" y="437260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0E3EB"/>
                  </a:solidFill>
                  <a:ln w="2339" cap="flat">
                    <a:noFill/>
                    <a:prstDash val="solid"/>
                    <a:miter/>
                  </a:ln>
                </p:spPr>
                <p:txBody>
                  <a:bodyPr rtlCol="0" anchor="ctr"/>
                  <a:lstStyle/>
                  <a:p>
                    <a:endParaRPr lang="en-US" sz="2400"/>
                  </a:p>
                </p:txBody>
              </p:sp>
              <p:sp>
                <p:nvSpPr>
                  <p:cNvPr id="181" name="Freeform: Shape 180">
                    <a:extLst>
                      <a:ext uri="{FF2B5EF4-FFF2-40B4-BE49-F238E27FC236}">
                        <a16:creationId xmlns:a16="http://schemas.microsoft.com/office/drawing/2014/main" id="{3F7ABC2D-5EF3-443A-0BD1-70659F64919A}"/>
                      </a:ext>
                    </a:extLst>
                  </p:cNvPr>
                  <p:cNvSpPr/>
                  <p:nvPr userDrawn="1"/>
                </p:nvSpPr>
                <p:spPr>
                  <a:xfrm>
                    <a:off x="8223196" y="437237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0E3EB"/>
                  </a:solidFill>
                  <a:ln w="2339" cap="flat">
                    <a:noFill/>
                    <a:prstDash val="solid"/>
                    <a:miter/>
                  </a:ln>
                </p:spPr>
                <p:txBody>
                  <a:bodyPr rtlCol="0" anchor="ctr"/>
                  <a:lstStyle/>
                  <a:p>
                    <a:endParaRPr lang="en-US" sz="2400"/>
                  </a:p>
                </p:txBody>
              </p:sp>
              <p:sp>
                <p:nvSpPr>
                  <p:cNvPr id="182" name="Freeform: Shape 181">
                    <a:extLst>
                      <a:ext uri="{FF2B5EF4-FFF2-40B4-BE49-F238E27FC236}">
                        <a16:creationId xmlns:a16="http://schemas.microsoft.com/office/drawing/2014/main" id="{96E23D1C-29E4-CE9E-DE65-3DAB5D9616EC}"/>
                      </a:ext>
                    </a:extLst>
                  </p:cNvPr>
                  <p:cNvSpPr/>
                  <p:nvPr userDrawn="1"/>
                </p:nvSpPr>
                <p:spPr>
                  <a:xfrm>
                    <a:off x="8222845" y="437211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0E3EB"/>
                  </a:solidFill>
                  <a:ln w="2339" cap="flat">
                    <a:noFill/>
                    <a:prstDash val="solid"/>
                    <a:miter/>
                  </a:ln>
                </p:spPr>
                <p:txBody>
                  <a:bodyPr rtlCol="0" anchor="ctr"/>
                  <a:lstStyle/>
                  <a:p>
                    <a:endParaRPr lang="en-US" sz="2400"/>
                  </a:p>
                </p:txBody>
              </p:sp>
              <p:sp>
                <p:nvSpPr>
                  <p:cNvPr id="183" name="Freeform: Shape 182">
                    <a:extLst>
                      <a:ext uri="{FF2B5EF4-FFF2-40B4-BE49-F238E27FC236}">
                        <a16:creationId xmlns:a16="http://schemas.microsoft.com/office/drawing/2014/main" id="{F0AA9324-1A9E-1338-739C-BE4D78515728}"/>
                      </a:ext>
                    </a:extLst>
                  </p:cNvPr>
                  <p:cNvSpPr/>
                  <p:nvPr userDrawn="1"/>
                </p:nvSpPr>
                <p:spPr>
                  <a:xfrm>
                    <a:off x="8222494" y="437188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1E3EB"/>
                  </a:solidFill>
                  <a:ln w="2339" cap="flat">
                    <a:noFill/>
                    <a:prstDash val="solid"/>
                    <a:miter/>
                  </a:ln>
                </p:spPr>
                <p:txBody>
                  <a:bodyPr rtlCol="0" anchor="ctr"/>
                  <a:lstStyle/>
                  <a:p>
                    <a:endParaRPr lang="en-US" sz="2400"/>
                  </a:p>
                </p:txBody>
              </p:sp>
              <p:sp>
                <p:nvSpPr>
                  <p:cNvPr id="184" name="Freeform: Shape 183">
                    <a:extLst>
                      <a:ext uri="{FF2B5EF4-FFF2-40B4-BE49-F238E27FC236}">
                        <a16:creationId xmlns:a16="http://schemas.microsoft.com/office/drawing/2014/main" id="{B863D5E8-335B-BD6E-8204-311169B21058}"/>
                      </a:ext>
                    </a:extLst>
                  </p:cNvPr>
                  <p:cNvSpPr/>
                  <p:nvPr userDrawn="1"/>
                </p:nvSpPr>
                <p:spPr>
                  <a:xfrm>
                    <a:off x="8222166" y="437162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1E4EB"/>
                  </a:solidFill>
                  <a:ln w="2339" cap="flat">
                    <a:noFill/>
                    <a:prstDash val="solid"/>
                    <a:miter/>
                  </a:ln>
                </p:spPr>
                <p:txBody>
                  <a:bodyPr rtlCol="0" anchor="ctr"/>
                  <a:lstStyle/>
                  <a:p>
                    <a:endParaRPr lang="en-US" sz="2400"/>
                  </a:p>
                </p:txBody>
              </p:sp>
              <p:sp>
                <p:nvSpPr>
                  <p:cNvPr id="185" name="Freeform: Shape 184">
                    <a:extLst>
                      <a:ext uri="{FF2B5EF4-FFF2-40B4-BE49-F238E27FC236}">
                        <a16:creationId xmlns:a16="http://schemas.microsoft.com/office/drawing/2014/main" id="{71D338DC-9071-0D71-3F25-A5B7AB1DDB30}"/>
                      </a:ext>
                    </a:extLst>
                  </p:cNvPr>
                  <p:cNvSpPr/>
                  <p:nvPr userDrawn="1"/>
                </p:nvSpPr>
                <p:spPr>
                  <a:xfrm>
                    <a:off x="8221815" y="437138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E1E4EC"/>
                  </a:solidFill>
                  <a:ln w="2339" cap="flat">
                    <a:noFill/>
                    <a:prstDash val="solid"/>
                    <a:miter/>
                  </a:ln>
                </p:spPr>
                <p:txBody>
                  <a:bodyPr rtlCol="0" anchor="ctr"/>
                  <a:lstStyle/>
                  <a:p>
                    <a:endParaRPr lang="en-US" sz="2400"/>
                  </a:p>
                </p:txBody>
              </p:sp>
              <p:sp>
                <p:nvSpPr>
                  <p:cNvPr id="186" name="Freeform: Shape 185">
                    <a:extLst>
                      <a:ext uri="{FF2B5EF4-FFF2-40B4-BE49-F238E27FC236}">
                        <a16:creationId xmlns:a16="http://schemas.microsoft.com/office/drawing/2014/main" id="{92707191-62AE-AD21-971C-DC8CA385992D}"/>
                      </a:ext>
                    </a:extLst>
                  </p:cNvPr>
                  <p:cNvSpPr/>
                  <p:nvPr userDrawn="1"/>
                </p:nvSpPr>
                <p:spPr>
                  <a:xfrm>
                    <a:off x="8221464" y="437113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2E4EC"/>
                  </a:solidFill>
                  <a:ln w="2339" cap="flat">
                    <a:noFill/>
                    <a:prstDash val="solid"/>
                    <a:miter/>
                  </a:ln>
                </p:spPr>
                <p:txBody>
                  <a:bodyPr rtlCol="0" anchor="ctr"/>
                  <a:lstStyle/>
                  <a:p>
                    <a:endParaRPr lang="en-US" sz="2400"/>
                  </a:p>
                </p:txBody>
              </p:sp>
              <p:sp>
                <p:nvSpPr>
                  <p:cNvPr id="187" name="Freeform: Shape 186">
                    <a:extLst>
                      <a:ext uri="{FF2B5EF4-FFF2-40B4-BE49-F238E27FC236}">
                        <a16:creationId xmlns:a16="http://schemas.microsoft.com/office/drawing/2014/main" id="{1B617B35-FF8C-E300-0116-356310A7E4EA}"/>
                      </a:ext>
                    </a:extLst>
                  </p:cNvPr>
                  <p:cNvSpPr/>
                  <p:nvPr userDrawn="1"/>
                </p:nvSpPr>
                <p:spPr>
                  <a:xfrm>
                    <a:off x="8221113" y="437087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2E5EC"/>
                  </a:solidFill>
                  <a:ln w="2339" cap="flat">
                    <a:noFill/>
                    <a:prstDash val="solid"/>
                    <a:miter/>
                  </a:ln>
                </p:spPr>
                <p:txBody>
                  <a:bodyPr rtlCol="0" anchor="ctr"/>
                  <a:lstStyle/>
                  <a:p>
                    <a:endParaRPr lang="en-US" sz="2400"/>
                  </a:p>
                </p:txBody>
              </p:sp>
              <p:sp>
                <p:nvSpPr>
                  <p:cNvPr id="188" name="Freeform: Shape 187">
                    <a:extLst>
                      <a:ext uri="{FF2B5EF4-FFF2-40B4-BE49-F238E27FC236}">
                        <a16:creationId xmlns:a16="http://schemas.microsoft.com/office/drawing/2014/main" id="{9BFE5C7C-AC67-92BB-EEAD-640798643463}"/>
                      </a:ext>
                    </a:extLst>
                  </p:cNvPr>
                  <p:cNvSpPr/>
                  <p:nvPr userDrawn="1"/>
                </p:nvSpPr>
                <p:spPr>
                  <a:xfrm>
                    <a:off x="8220786" y="437063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E2E5EC"/>
                  </a:solidFill>
                  <a:ln w="2339" cap="flat">
                    <a:noFill/>
                    <a:prstDash val="solid"/>
                    <a:miter/>
                  </a:ln>
                </p:spPr>
                <p:txBody>
                  <a:bodyPr rtlCol="0" anchor="ctr"/>
                  <a:lstStyle/>
                  <a:p>
                    <a:endParaRPr lang="en-US" sz="2400"/>
                  </a:p>
                </p:txBody>
              </p:sp>
              <p:sp>
                <p:nvSpPr>
                  <p:cNvPr id="189" name="Freeform: Shape 188">
                    <a:extLst>
                      <a:ext uri="{FF2B5EF4-FFF2-40B4-BE49-F238E27FC236}">
                        <a16:creationId xmlns:a16="http://schemas.microsoft.com/office/drawing/2014/main" id="{9783952E-BEEF-34D0-924D-A711F48C425B}"/>
                      </a:ext>
                    </a:extLst>
                  </p:cNvPr>
                  <p:cNvSpPr/>
                  <p:nvPr userDrawn="1"/>
                </p:nvSpPr>
                <p:spPr>
                  <a:xfrm>
                    <a:off x="8220458" y="437038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3E5EC"/>
                  </a:solidFill>
                  <a:ln w="2339" cap="flat">
                    <a:noFill/>
                    <a:prstDash val="solid"/>
                    <a:miter/>
                  </a:ln>
                </p:spPr>
                <p:txBody>
                  <a:bodyPr rtlCol="0" anchor="ctr"/>
                  <a:lstStyle/>
                  <a:p>
                    <a:endParaRPr lang="en-US" sz="2400"/>
                  </a:p>
                </p:txBody>
              </p:sp>
              <p:sp>
                <p:nvSpPr>
                  <p:cNvPr id="190" name="Freeform: Shape 189">
                    <a:extLst>
                      <a:ext uri="{FF2B5EF4-FFF2-40B4-BE49-F238E27FC236}">
                        <a16:creationId xmlns:a16="http://schemas.microsoft.com/office/drawing/2014/main" id="{B5145C2A-3054-EB61-55D6-DD6C794CDB5E}"/>
                      </a:ext>
                    </a:extLst>
                  </p:cNvPr>
                  <p:cNvSpPr/>
                  <p:nvPr userDrawn="1"/>
                </p:nvSpPr>
                <p:spPr>
                  <a:xfrm>
                    <a:off x="8220107" y="437012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3E5ED"/>
                  </a:solidFill>
                  <a:ln w="2339" cap="flat">
                    <a:noFill/>
                    <a:prstDash val="solid"/>
                    <a:miter/>
                  </a:ln>
                </p:spPr>
                <p:txBody>
                  <a:bodyPr rtlCol="0" anchor="ctr"/>
                  <a:lstStyle/>
                  <a:p>
                    <a:endParaRPr lang="en-US" sz="2400"/>
                  </a:p>
                </p:txBody>
              </p:sp>
              <p:sp>
                <p:nvSpPr>
                  <p:cNvPr id="191" name="Freeform: Shape 190">
                    <a:extLst>
                      <a:ext uri="{FF2B5EF4-FFF2-40B4-BE49-F238E27FC236}">
                        <a16:creationId xmlns:a16="http://schemas.microsoft.com/office/drawing/2014/main" id="{311582B4-5621-E96E-E2DE-B0F8F6B75660}"/>
                      </a:ext>
                    </a:extLst>
                  </p:cNvPr>
                  <p:cNvSpPr/>
                  <p:nvPr userDrawn="1"/>
                </p:nvSpPr>
                <p:spPr>
                  <a:xfrm>
                    <a:off x="8219779" y="436989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3E6ED"/>
                  </a:solidFill>
                  <a:ln w="2339" cap="flat">
                    <a:noFill/>
                    <a:prstDash val="solid"/>
                    <a:miter/>
                  </a:ln>
                </p:spPr>
                <p:txBody>
                  <a:bodyPr rtlCol="0" anchor="ctr"/>
                  <a:lstStyle/>
                  <a:p>
                    <a:endParaRPr lang="en-US" sz="2400"/>
                  </a:p>
                </p:txBody>
              </p:sp>
              <p:sp>
                <p:nvSpPr>
                  <p:cNvPr id="192" name="Freeform: Shape 191">
                    <a:extLst>
                      <a:ext uri="{FF2B5EF4-FFF2-40B4-BE49-F238E27FC236}">
                        <a16:creationId xmlns:a16="http://schemas.microsoft.com/office/drawing/2014/main" id="{907EEBB1-0D59-5398-9AB0-BD7DFE3D83B8}"/>
                      </a:ext>
                    </a:extLst>
                  </p:cNvPr>
                  <p:cNvSpPr/>
                  <p:nvPr userDrawn="1"/>
                </p:nvSpPr>
                <p:spPr>
                  <a:xfrm>
                    <a:off x="8219452" y="436963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3E6ED"/>
                  </a:solidFill>
                  <a:ln w="2339" cap="flat">
                    <a:noFill/>
                    <a:prstDash val="solid"/>
                    <a:miter/>
                  </a:ln>
                </p:spPr>
                <p:txBody>
                  <a:bodyPr rtlCol="0" anchor="ctr"/>
                  <a:lstStyle/>
                  <a:p>
                    <a:endParaRPr lang="en-US" sz="2400"/>
                  </a:p>
                </p:txBody>
              </p:sp>
              <p:sp>
                <p:nvSpPr>
                  <p:cNvPr id="193" name="Freeform: Shape 192">
                    <a:extLst>
                      <a:ext uri="{FF2B5EF4-FFF2-40B4-BE49-F238E27FC236}">
                        <a16:creationId xmlns:a16="http://schemas.microsoft.com/office/drawing/2014/main" id="{2D7898C0-09D8-CB01-B5EE-85CA003A096C}"/>
                      </a:ext>
                    </a:extLst>
                  </p:cNvPr>
                  <p:cNvSpPr/>
                  <p:nvPr userDrawn="1"/>
                </p:nvSpPr>
                <p:spPr>
                  <a:xfrm>
                    <a:off x="8219124" y="436937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4E6ED"/>
                  </a:solidFill>
                  <a:ln w="2339" cap="flat">
                    <a:noFill/>
                    <a:prstDash val="solid"/>
                    <a:miter/>
                  </a:ln>
                </p:spPr>
                <p:txBody>
                  <a:bodyPr rtlCol="0" anchor="ctr"/>
                  <a:lstStyle/>
                  <a:p>
                    <a:endParaRPr lang="en-US" sz="2400"/>
                  </a:p>
                </p:txBody>
              </p:sp>
              <p:sp>
                <p:nvSpPr>
                  <p:cNvPr id="194" name="Freeform: Shape 193">
                    <a:extLst>
                      <a:ext uri="{FF2B5EF4-FFF2-40B4-BE49-F238E27FC236}">
                        <a16:creationId xmlns:a16="http://schemas.microsoft.com/office/drawing/2014/main" id="{97C8B81D-CD63-28E2-F270-1500C80B9E12}"/>
                      </a:ext>
                    </a:extLst>
                  </p:cNvPr>
                  <p:cNvSpPr/>
                  <p:nvPr userDrawn="1"/>
                </p:nvSpPr>
                <p:spPr>
                  <a:xfrm>
                    <a:off x="8218797" y="436911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4E6ED"/>
                  </a:solidFill>
                  <a:ln w="2339" cap="flat">
                    <a:noFill/>
                    <a:prstDash val="solid"/>
                    <a:miter/>
                  </a:ln>
                </p:spPr>
                <p:txBody>
                  <a:bodyPr rtlCol="0" anchor="ctr"/>
                  <a:lstStyle/>
                  <a:p>
                    <a:endParaRPr lang="en-US" sz="2400"/>
                  </a:p>
                </p:txBody>
              </p:sp>
              <p:sp>
                <p:nvSpPr>
                  <p:cNvPr id="195" name="Freeform: Shape 194">
                    <a:extLst>
                      <a:ext uri="{FF2B5EF4-FFF2-40B4-BE49-F238E27FC236}">
                        <a16:creationId xmlns:a16="http://schemas.microsoft.com/office/drawing/2014/main" id="{30F52B53-F890-D934-237C-6D95E719F5BB}"/>
                      </a:ext>
                    </a:extLst>
                  </p:cNvPr>
                  <p:cNvSpPr/>
                  <p:nvPr userDrawn="1"/>
                </p:nvSpPr>
                <p:spPr>
                  <a:xfrm>
                    <a:off x="8218492" y="436886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4E7EE"/>
                  </a:solidFill>
                  <a:ln w="2339" cap="flat">
                    <a:noFill/>
                    <a:prstDash val="solid"/>
                    <a:miter/>
                  </a:ln>
                </p:spPr>
                <p:txBody>
                  <a:bodyPr rtlCol="0" anchor="ctr"/>
                  <a:lstStyle/>
                  <a:p>
                    <a:endParaRPr lang="en-US" sz="2400"/>
                  </a:p>
                </p:txBody>
              </p:sp>
              <p:sp>
                <p:nvSpPr>
                  <p:cNvPr id="196" name="Freeform: Shape 195">
                    <a:extLst>
                      <a:ext uri="{FF2B5EF4-FFF2-40B4-BE49-F238E27FC236}">
                        <a16:creationId xmlns:a16="http://schemas.microsoft.com/office/drawing/2014/main" id="{CC37D068-731E-9857-D164-3799FD2B3DCD}"/>
                      </a:ext>
                    </a:extLst>
                  </p:cNvPr>
                  <p:cNvSpPr/>
                  <p:nvPr userDrawn="1"/>
                </p:nvSpPr>
                <p:spPr>
                  <a:xfrm>
                    <a:off x="8218165" y="436860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5E7EE"/>
                  </a:solidFill>
                  <a:ln w="2339" cap="flat">
                    <a:noFill/>
                    <a:prstDash val="solid"/>
                    <a:miter/>
                  </a:ln>
                </p:spPr>
                <p:txBody>
                  <a:bodyPr rtlCol="0" anchor="ctr"/>
                  <a:lstStyle/>
                  <a:p>
                    <a:endParaRPr lang="en-US" sz="2400"/>
                  </a:p>
                </p:txBody>
              </p:sp>
              <p:sp>
                <p:nvSpPr>
                  <p:cNvPr id="197" name="Freeform: Shape 196">
                    <a:extLst>
                      <a:ext uri="{FF2B5EF4-FFF2-40B4-BE49-F238E27FC236}">
                        <a16:creationId xmlns:a16="http://schemas.microsoft.com/office/drawing/2014/main" id="{0E76261B-9291-19B5-7514-B566106761EE}"/>
                      </a:ext>
                    </a:extLst>
                  </p:cNvPr>
                  <p:cNvSpPr/>
                  <p:nvPr userDrawn="1"/>
                </p:nvSpPr>
                <p:spPr>
                  <a:xfrm>
                    <a:off x="8217837" y="436837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E5E7EE"/>
                  </a:solidFill>
                  <a:ln w="2339" cap="flat">
                    <a:noFill/>
                    <a:prstDash val="solid"/>
                    <a:miter/>
                  </a:ln>
                </p:spPr>
                <p:txBody>
                  <a:bodyPr rtlCol="0" anchor="ctr"/>
                  <a:lstStyle/>
                  <a:p>
                    <a:endParaRPr lang="en-US" sz="2400"/>
                  </a:p>
                </p:txBody>
              </p:sp>
              <p:sp>
                <p:nvSpPr>
                  <p:cNvPr id="198" name="Freeform: Shape 197">
                    <a:extLst>
                      <a:ext uri="{FF2B5EF4-FFF2-40B4-BE49-F238E27FC236}">
                        <a16:creationId xmlns:a16="http://schemas.microsoft.com/office/drawing/2014/main" id="{8A2E7B2E-F920-ED98-481A-5783630473E3}"/>
                      </a:ext>
                    </a:extLst>
                  </p:cNvPr>
                  <p:cNvSpPr/>
                  <p:nvPr userDrawn="1"/>
                </p:nvSpPr>
                <p:spPr>
                  <a:xfrm>
                    <a:off x="8217533" y="436811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E5E8EE"/>
                  </a:solidFill>
                  <a:ln w="2339" cap="flat">
                    <a:noFill/>
                    <a:prstDash val="solid"/>
                    <a:miter/>
                  </a:ln>
                </p:spPr>
                <p:txBody>
                  <a:bodyPr rtlCol="0" anchor="ctr"/>
                  <a:lstStyle/>
                  <a:p>
                    <a:endParaRPr lang="en-US" sz="2400"/>
                  </a:p>
                </p:txBody>
              </p:sp>
              <p:sp>
                <p:nvSpPr>
                  <p:cNvPr id="199" name="Freeform: Shape 198">
                    <a:extLst>
                      <a:ext uri="{FF2B5EF4-FFF2-40B4-BE49-F238E27FC236}">
                        <a16:creationId xmlns:a16="http://schemas.microsoft.com/office/drawing/2014/main" id="{A8FC33E9-2605-F156-4141-EFF7F3FF7095}"/>
                      </a:ext>
                    </a:extLst>
                  </p:cNvPr>
                  <p:cNvSpPr/>
                  <p:nvPr userDrawn="1"/>
                </p:nvSpPr>
                <p:spPr>
                  <a:xfrm>
                    <a:off x="8217112" y="436776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6E8EE"/>
                  </a:solidFill>
                  <a:ln w="2339" cap="flat">
                    <a:noFill/>
                    <a:prstDash val="solid"/>
                    <a:miter/>
                  </a:ln>
                </p:spPr>
                <p:txBody>
                  <a:bodyPr rtlCol="0" anchor="ctr"/>
                  <a:lstStyle/>
                  <a:p>
                    <a:endParaRPr lang="en-US" sz="2400"/>
                  </a:p>
                </p:txBody>
              </p:sp>
              <p:sp>
                <p:nvSpPr>
                  <p:cNvPr id="200" name="Freeform: Shape 199">
                    <a:extLst>
                      <a:ext uri="{FF2B5EF4-FFF2-40B4-BE49-F238E27FC236}">
                        <a16:creationId xmlns:a16="http://schemas.microsoft.com/office/drawing/2014/main" id="{C90425BA-76EE-7357-6C76-8175D43282A2}"/>
                      </a:ext>
                    </a:extLst>
                  </p:cNvPr>
                  <p:cNvSpPr/>
                  <p:nvPr userDrawn="1"/>
                </p:nvSpPr>
                <p:spPr>
                  <a:xfrm>
                    <a:off x="8216620" y="436736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6E8EF"/>
                  </a:solidFill>
                  <a:ln w="2339" cap="flat">
                    <a:noFill/>
                    <a:prstDash val="solid"/>
                    <a:miter/>
                  </a:ln>
                </p:spPr>
                <p:txBody>
                  <a:bodyPr rtlCol="0" anchor="ctr"/>
                  <a:lstStyle/>
                  <a:p>
                    <a:endParaRPr lang="en-US" sz="2400"/>
                  </a:p>
                </p:txBody>
              </p:sp>
              <p:sp>
                <p:nvSpPr>
                  <p:cNvPr id="201" name="Freeform: Shape 200">
                    <a:extLst>
                      <a:ext uri="{FF2B5EF4-FFF2-40B4-BE49-F238E27FC236}">
                        <a16:creationId xmlns:a16="http://schemas.microsoft.com/office/drawing/2014/main" id="{297D6FC5-F4A7-539B-3EDB-48260EE2C718}"/>
                      </a:ext>
                    </a:extLst>
                  </p:cNvPr>
                  <p:cNvSpPr/>
                  <p:nvPr userDrawn="1"/>
                </p:nvSpPr>
                <p:spPr>
                  <a:xfrm>
                    <a:off x="8216152" y="436694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6E8EF"/>
                  </a:solidFill>
                  <a:ln w="2339" cap="flat">
                    <a:noFill/>
                    <a:prstDash val="solid"/>
                    <a:miter/>
                  </a:ln>
                </p:spPr>
                <p:txBody>
                  <a:bodyPr rtlCol="0" anchor="ctr"/>
                  <a:lstStyle/>
                  <a:p>
                    <a:endParaRPr lang="en-US" sz="2400"/>
                  </a:p>
                </p:txBody>
              </p:sp>
              <p:sp>
                <p:nvSpPr>
                  <p:cNvPr id="202" name="Freeform: Shape 201">
                    <a:extLst>
                      <a:ext uri="{FF2B5EF4-FFF2-40B4-BE49-F238E27FC236}">
                        <a16:creationId xmlns:a16="http://schemas.microsoft.com/office/drawing/2014/main" id="{584BECDA-2CC1-91F0-9B86-2C201C247E0E}"/>
                      </a:ext>
                    </a:extLst>
                  </p:cNvPr>
                  <p:cNvSpPr/>
                  <p:nvPr userDrawn="1"/>
                </p:nvSpPr>
                <p:spPr>
                  <a:xfrm>
                    <a:off x="8215684" y="436654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E7E9EF"/>
                  </a:solidFill>
                  <a:ln w="2339" cap="flat">
                    <a:noFill/>
                    <a:prstDash val="solid"/>
                    <a:miter/>
                  </a:ln>
                </p:spPr>
                <p:txBody>
                  <a:bodyPr rtlCol="0" anchor="ctr"/>
                  <a:lstStyle/>
                  <a:p>
                    <a:endParaRPr lang="en-US" sz="2400"/>
                  </a:p>
                </p:txBody>
              </p:sp>
              <p:sp>
                <p:nvSpPr>
                  <p:cNvPr id="203" name="Freeform: Shape 202">
                    <a:extLst>
                      <a:ext uri="{FF2B5EF4-FFF2-40B4-BE49-F238E27FC236}">
                        <a16:creationId xmlns:a16="http://schemas.microsoft.com/office/drawing/2014/main" id="{A03BC760-34FF-049E-E103-EA744CCC3F0D}"/>
                      </a:ext>
                    </a:extLst>
                  </p:cNvPr>
                  <p:cNvSpPr/>
                  <p:nvPr userDrawn="1"/>
                </p:nvSpPr>
                <p:spPr>
                  <a:xfrm>
                    <a:off x="8215193" y="436612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7E9EF"/>
                  </a:solidFill>
                  <a:ln w="2339" cap="flat">
                    <a:noFill/>
                    <a:prstDash val="solid"/>
                    <a:miter/>
                  </a:ln>
                </p:spPr>
                <p:txBody>
                  <a:bodyPr rtlCol="0" anchor="ctr"/>
                  <a:lstStyle/>
                  <a:p>
                    <a:endParaRPr lang="en-US" sz="2400"/>
                  </a:p>
                </p:txBody>
              </p:sp>
              <p:sp>
                <p:nvSpPr>
                  <p:cNvPr id="204" name="Freeform: Shape 203">
                    <a:extLst>
                      <a:ext uri="{FF2B5EF4-FFF2-40B4-BE49-F238E27FC236}">
                        <a16:creationId xmlns:a16="http://schemas.microsoft.com/office/drawing/2014/main" id="{9A773DAB-E4C4-25F6-7C2A-DE7F8D72F018}"/>
                      </a:ext>
                    </a:extLst>
                  </p:cNvPr>
                  <p:cNvSpPr/>
                  <p:nvPr userDrawn="1"/>
                </p:nvSpPr>
                <p:spPr>
                  <a:xfrm>
                    <a:off x="8214725" y="436572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7E9EF"/>
                  </a:solidFill>
                  <a:ln w="2339" cap="flat">
                    <a:noFill/>
                    <a:prstDash val="solid"/>
                    <a:miter/>
                  </a:ln>
                </p:spPr>
                <p:txBody>
                  <a:bodyPr rtlCol="0" anchor="ctr"/>
                  <a:lstStyle/>
                  <a:p>
                    <a:endParaRPr lang="en-US" sz="2400"/>
                  </a:p>
                </p:txBody>
              </p:sp>
              <p:sp>
                <p:nvSpPr>
                  <p:cNvPr id="205" name="Freeform: Shape 204">
                    <a:extLst>
                      <a:ext uri="{FF2B5EF4-FFF2-40B4-BE49-F238E27FC236}">
                        <a16:creationId xmlns:a16="http://schemas.microsoft.com/office/drawing/2014/main" id="{0F8EEB04-AAC2-8EC8-940F-B9975ED1E89A}"/>
                      </a:ext>
                    </a:extLst>
                  </p:cNvPr>
                  <p:cNvSpPr/>
                  <p:nvPr userDrawn="1"/>
                </p:nvSpPr>
                <p:spPr>
                  <a:xfrm>
                    <a:off x="8214280" y="436530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7EAF0"/>
                  </a:solidFill>
                  <a:ln w="2339" cap="flat">
                    <a:noFill/>
                    <a:prstDash val="solid"/>
                    <a:miter/>
                  </a:ln>
                </p:spPr>
                <p:txBody>
                  <a:bodyPr rtlCol="0" anchor="ctr"/>
                  <a:lstStyle/>
                  <a:p>
                    <a:endParaRPr lang="en-US" sz="2400"/>
                  </a:p>
                </p:txBody>
              </p:sp>
              <p:sp>
                <p:nvSpPr>
                  <p:cNvPr id="206" name="Freeform: Shape 205">
                    <a:extLst>
                      <a:ext uri="{FF2B5EF4-FFF2-40B4-BE49-F238E27FC236}">
                        <a16:creationId xmlns:a16="http://schemas.microsoft.com/office/drawing/2014/main" id="{5DB8C716-8C4B-1781-E6EB-47D3BAE63BF2}"/>
                      </a:ext>
                    </a:extLst>
                  </p:cNvPr>
                  <p:cNvSpPr/>
                  <p:nvPr userDrawn="1"/>
                </p:nvSpPr>
                <p:spPr>
                  <a:xfrm>
                    <a:off x="8213812" y="436490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8EAF0"/>
                  </a:solidFill>
                  <a:ln w="2339" cap="flat">
                    <a:noFill/>
                    <a:prstDash val="solid"/>
                    <a:miter/>
                  </a:ln>
                </p:spPr>
                <p:txBody>
                  <a:bodyPr rtlCol="0" anchor="ctr"/>
                  <a:lstStyle/>
                  <a:p>
                    <a:endParaRPr lang="en-US" sz="2400"/>
                  </a:p>
                </p:txBody>
              </p:sp>
              <p:sp>
                <p:nvSpPr>
                  <p:cNvPr id="207" name="Freeform: Shape 206">
                    <a:extLst>
                      <a:ext uri="{FF2B5EF4-FFF2-40B4-BE49-F238E27FC236}">
                        <a16:creationId xmlns:a16="http://schemas.microsoft.com/office/drawing/2014/main" id="{FA496C79-8547-3397-0EF3-4A4C2DB044B9}"/>
                      </a:ext>
                    </a:extLst>
                  </p:cNvPr>
                  <p:cNvSpPr/>
                  <p:nvPr userDrawn="1"/>
                </p:nvSpPr>
                <p:spPr>
                  <a:xfrm>
                    <a:off x="8213368" y="436448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8EAF0"/>
                  </a:solidFill>
                  <a:ln w="2339" cap="flat">
                    <a:noFill/>
                    <a:prstDash val="solid"/>
                    <a:miter/>
                  </a:ln>
                </p:spPr>
                <p:txBody>
                  <a:bodyPr rtlCol="0" anchor="ctr"/>
                  <a:lstStyle/>
                  <a:p>
                    <a:endParaRPr lang="en-US" sz="2400"/>
                  </a:p>
                </p:txBody>
              </p:sp>
              <p:sp>
                <p:nvSpPr>
                  <p:cNvPr id="208" name="Freeform: Shape 207">
                    <a:extLst>
                      <a:ext uri="{FF2B5EF4-FFF2-40B4-BE49-F238E27FC236}">
                        <a16:creationId xmlns:a16="http://schemas.microsoft.com/office/drawing/2014/main" id="{4027AAA9-BDBA-27C1-6096-785756C7C144}"/>
                      </a:ext>
                    </a:extLst>
                  </p:cNvPr>
                  <p:cNvSpPr/>
                  <p:nvPr userDrawn="1"/>
                </p:nvSpPr>
                <p:spPr>
                  <a:xfrm>
                    <a:off x="8212923" y="436406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8EAF0"/>
                  </a:solidFill>
                  <a:ln w="2339" cap="flat">
                    <a:noFill/>
                    <a:prstDash val="solid"/>
                    <a:miter/>
                  </a:ln>
                </p:spPr>
                <p:txBody>
                  <a:bodyPr rtlCol="0" anchor="ctr"/>
                  <a:lstStyle/>
                  <a:p>
                    <a:endParaRPr lang="en-US" sz="2400"/>
                  </a:p>
                </p:txBody>
              </p:sp>
              <p:sp>
                <p:nvSpPr>
                  <p:cNvPr id="209" name="Freeform: Shape 208">
                    <a:extLst>
                      <a:ext uri="{FF2B5EF4-FFF2-40B4-BE49-F238E27FC236}">
                        <a16:creationId xmlns:a16="http://schemas.microsoft.com/office/drawing/2014/main" id="{512E5A57-4A86-D215-76BE-10D131F50540}"/>
                      </a:ext>
                    </a:extLst>
                  </p:cNvPr>
                  <p:cNvSpPr/>
                  <p:nvPr userDrawn="1"/>
                </p:nvSpPr>
                <p:spPr>
                  <a:xfrm>
                    <a:off x="8212478" y="436366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9EBF0"/>
                  </a:solidFill>
                  <a:ln w="2339" cap="flat">
                    <a:noFill/>
                    <a:prstDash val="solid"/>
                    <a:miter/>
                  </a:ln>
                </p:spPr>
                <p:txBody>
                  <a:bodyPr rtlCol="0" anchor="ctr"/>
                  <a:lstStyle/>
                  <a:p>
                    <a:endParaRPr lang="en-US" sz="2400"/>
                  </a:p>
                </p:txBody>
              </p:sp>
              <p:sp>
                <p:nvSpPr>
                  <p:cNvPr id="210" name="Freeform: Shape 209">
                    <a:extLst>
                      <a:ext uri="{FF2B5EF4-FFF2-40B4-BE49-F238E27FC236}">
                        <a16:creationId xmlns:a16="http://schemas.microsoft.com/office/drawing/2014/main" id="{2F392DD5-17CA-4438-8C44-30B9B6E0FDE2}"/>
                      </a:ext>
                    </a:extLst>
                  </p:cNvPr>
                  <p:cNvSpPr/>
                  <p:nvPr userDrawn="1"/>
                </p:nvSpPr>
                <p:spPr>
                  <a:xfrm>
                    <a:off x="8212057" y="436324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9EBF1"/>
                  </a:solidFill>
                  <a:ln w="2339" cap="flat">
                    <a:noFill/>
                    <a:prstDash val="solid"/>
                    <a:miter/>
                  </a:ln>
                </p:spPr>
                <p:txBody>
                  <a:bodyPr rtlCol="0" anchor="ctr"/>
                  <a:lstStyle/>
                  <a:p>
                    <a:endParaRPr lang="en-US" sz="2400"/>
                  </a:p>
                </p:txBody>
              </p:sp>
              <p:sp>
                <p:nvSpPr>
                  <p:cNvPr id="211" name="Freeform: Shape 210">
                    <a:extLst>
                      <a:ext uri="{FF2B5EF4-FFF2-40B4-BE49-F238E27FC236}">
                        <a16:creationId xmlns:a16="http://schemas.microsoft.com/office/drawing/2014/main" id="{40B3C471-F804-75D2-5298-0D54AA29D113}"/>
                      </a:ext>
                    </a:extLst>
                  </p:cNvPr>
                  <p:cNvSpPr/>
                  <p:nvPr userDrawn="1"/>
                </p:nvSpPr>
                <p:spPr>
                  <a:xfrm>
                    <a:off x="8211613" y="436282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9EBF1"/>
                  </a:solidFill>
                  <a:ln w="2339" cap="flat">
                    <a:noFill/>
                    <a:prstDash val="solid"/>
                    <a:miter/>
                  </a:ln>
                </p:spPr>
                <p:txBody>
                  <a:bodyPr rtlCol="0" anchor="ctr"/>
                  <a:lstStyle/>
                  <a:p>
                    <a:endParaRPr lang="en-US" sz="2400"/>
                  </a:p>
                </p:txBody>
              </p:sp>
              <p:sp>
                <p:nvSpPr>
                  <p:cNvPr id="212" name="Freeform: Shape 211">
                    <a:extLst>
                      <a:ext uri="{FF2B5EF4-FFF2-40B4-BE49-F238E27FC236}">
                        <a16:creationId xmlns:a16="http://schemas.microsoft.com/office/drawing/2014/main" id="{C47EC5E4-7842-ED96-627B-6206BB0E0631}"/>
                      </a:ext>
                    </a:extLst>
                  </p:cNvPr>
                  <p:cNvSpPr/>
                  <p:nvPr userDrawn="1"/>
                </p:nvSpPr>
                <p:spPr>
                  <a:xfrm>
                    <a:off x="8211191" y="436242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AECF1"/>
                  </a:solidFill>
                  <a:ln w="2339" cap="flat">
                    <a:noFill/>
                    <a:prstDash val="solid"/>
                    <a:miter/>
                  </a:ln>
                </p:spPr>
                <p:txBody>
                  <a:bodyPr rtlCol="0" anchor="ctr"/>
                  <a:lstStyle/>
                  <a:p>
                    <a:endParaRPr lang="en-US" sz="2400"/>
                  </a:p>
                </p:txBody>
              </p:sp>
              <p:sp>
                <p:nvSpPr>
                  <p:cNvPr id="213" name="Freeform: Shape 212">
                    <a:extLst>
                      <a:ext uri="{FF2B5EF4-FFF2-40B4-BE49-F238E27FC236}">
                        <a16:creationId xmlns:a16="http://schemas.microsoft.com/office/drawing/2014/main" id="{79000186-2802-51FF-516F-3B5BFC3A9396}"/>
                      </a:ext>
                    </a:extLst>
                  </p:cNvPr>
                  <p:cNvSpPr/>
                  <p:nvPr userDrawn="1"/>
                </p:nvSpPr>
                <p:spPr>
                  <a:xfrm>
                    <a:off x="8210770" y="436200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AECF1"/>
                  </a:solidFill>
                  <a:ln w="2339" cap="flat">
                    <a:noFill/>
                    <a:prstDash val="solid"/>
                    <a:miter/>
                  </a:ln>
                </p:spPr>
                <p:txBody>
                  <a:bodyPr rtlCol="0" anchor="ctr"/>
                  <a:lstStyle/>
                  <a:p>
                    <a:endParaRPr lang="en-US" sz="2400"/>
                  </a:p>
                </p:txBody>
              </p:sp>
              <p:sp>
                <p:nvSpPr>
                  <p:cNvPr id="214" name="Freeform: Shape 213">
                    <a:extLst>
                      <a:ext uri="{FF2B5EF4-FFF2-40B4-BE49-F238E27FC236}">
                        <a16:creationId xmlns:a16="http://schemas.microsoft.com/office/drawing/2014/main" id="{89630B95-28DF-129F-07A2-E2CACDA26C9F}"/>
                      </a:ext>
                    </a:extLst>
                  </p:cNvPr>
                  <p:cNvSpPr/>
                  <p:nvPr userDrawn="1"/>
                </p:nvSpPr>
                <p:spPr>
                  <a:xfrm>
                    <a:off x="8210372" y="436158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AECF1"/>
                  </a:solidFill>
                  <a:ln w="2339" cap="flat">
                    <a:noFill/>
                    <a:prstDash val="solid"/>
                    <a:miter/>
                  </a:ln>
                </p:spPr>
                <p:txBody>
                  <a:bodyPr rtlCol="0" anchor="ctr"/>
                  <a:lstStyle/>
                  <a:p>
                    <a:endParaRPr lang="en-US" sz="2400"/>
                  </a:p>
                </p:txBody>
              </p:sp>
              <p:sp>
                <p:nvSpPr>
                  <p:cNvPr id="215" name="Freeform: Shape 214">
                    <a:extLst>
                      <a:ext uri="{FF2B5EF4-FFF2-40B4-BE49-F238E27FC236}">
                        <a16:creationId xmlns:a16="http://schemas.microsoft.com/office/drawing/2014/main" id="{53D4FBAE-846A-C453-41B0-A5E21033C9AC}"/>
                      </a:ext>
                    </a:extLst>
                  </p:cNvPr>
                  <p:cNvSpPr/>
                  <p:nvPr userDrawn="1"/>
                </p:nvSpPr>
                <p:spPr>
                  <a:xfrm>
                    <a:off x="8209951" y="436118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BECF2"/>
                  </a:solidFill>
                  <a:ln w="2339" cap="flat">
                    <a:noFill/>
                    <a:prstDash val="solid"/>
                    <a:miter/>
                  </a:ln>
                </p:spPr>
                <p:txBody>
                  <a:bodyPr rtlCol="0" anchor="ctr"/>
                  <a:lstStyle/>
                  <a:p>
                    <a:endParaRPr lang="en-US" sz="2400"/>
                  </a:p>
                </p:txBody>
              </p:sp>
              <p:sp>
                <p:nvSpPr>
                  <p:cNvPr id="216" name="Freeform: Shape 215">
                    <a:extLst>
                      <a:ext uri="{FF2B5EF4-FFF2-40B4-BE49-F238E27FC236}">
                        <a16:creationId xmlns:a16="http://schemas.microsoft.com/office/drawing/2014/main" id="{632DE907-3EC4-6A47-E6E6-370AF0FFDF30}"/>
                      </a:ext>
                    </a:extLst>
                  </p:cNvPr>
                  <p:cNvSpPr/>
                  <p:nvPr userDrawn="1"/>
                </p:nvSpPr>
                <p:spPr>
                  <a:xfrm>
                    <a:off x="8209553" y="436076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BEDF2"/>
                  </a:solidFill>
                  <a:ln w="2339" cap="flat">
                    <a:noFill/>
                    <a:prstDash val="solid"/>
                    <a:miter/>
                  </a:ln>
                </p:spPr>
                <p:txBody>
                  <a:bodyPr rtlCol="0" anchor="ctr"/>
                  <a:lstStyle/>
                  <a:p>
                    <a:endParaRPr lang="en-US" sz="2400"/>
                  </a:p>
                </p:txBody>
              </p:sp>
              <p:sp>
                <p:nvSpPr>
                  <p:cNvPr id="217" name="Freeform: Shape 216">
                    <a:extLst>
                      <a:ext uri="{FF2B5EF4-FFF2-40B4-BE49-F238E27FC236}">
                        <a16:creationId xmlns:a16="http://schemas.microsoft.com/office/drawing/2014/main" id="{6F757FDE-78D8-8973-99A9-85801E8DB22B}"/>
                      </a:ext>
                    </a:extLst>
                  </p:cNvPr>
                  <p:cNvSpPr/>
                  <p:nvPr userDrawn="1"/>
                </p:nvSpPr>
                <p:spPr>
                  <a:xfrm>
                    <a:off x="8209156" y="436034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BEDF2"/>
                  </a:solidFill>
                  <a:ln w="2339" cap="flat">
                    <a:noFill/>
                    <a:prstDash val="solid"/>
                    <a:miter/>
                  </a:ln>
                </p:spPr>
                <p:txBody>
                  <a:bodyPr rtlCol="0" anchor="ctr"/>
                  <a:lstStyle/>
                  <a:p>
                    <a:endParaRPr lang="en-US" sz="2400"/>
                  </a:p>
                </p:txBody>
              </p:sp>
              <p:sp>
                <p:nvSpPr>
                  <p:cNvPr id="218" name="Freeform: Shape 217">
                    <a:extLst>
                      <a:ext uri="{FF2B5EF4-FFF2-40B4-BE49-F238E27FC236}">
                        <a16:creationId xmlns:a16="http://schemas.microsoft.com/office/drawing/2014/main" id="{FA7941B0-917A-02E3-243B-F2049D2920EF}"/>
                      </a:ext>
                    </a:extLst>
                  </p:cNvPr>
                  <p:cNvSpPr/>
                  <p:nvPr userDrawn="1"/>
                </p:nvSpPr>
                <p:spPr>
                  <a:xfrm>
                    <a:off x="8208758" y="435992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BEDF2"/>
                  </a:solidFill>
                  <a:ln w="2339" cap="flat">
                    <a:noFill/>
                    <a:prstDash val="solid"/>
                    <a:miter/>
                  </a:ln>
                </p:spPr>
                <p:txBody>
                  <a:bodyPr rtlCol="0" anchor="ctr"/>
                  <a:lstStyle/>
                  <a:p>
                    <a:endParaRPr lang="en-US" sz="2400"/>
                  </a:p>
                </p:txBody>
              </p:sp>
              <p:sp>
                <p:nvSpPr>
                  <p:cNvPr id="219" name="Freeform: Shape 218">
                    <a:extLst>
                      <a:ext uri="{FF2B5EF4-FFF2-40B4-BE49-F238E27FC236}">
                        <a16:creationId xmlns:a16="http://schemas.microsoft.com/office/drawing/2014/main" id="{39E03FA3-FFF5-F8F0-8084-AD4A7DAB8661}"/>
                      </a:ext>
                    </a:extLst>
                  </p:cNvPr>
                  <p:cNvSpPr/>
                  <p:nvPr userDrawn="1"/>
                </p:nvSpPr>
                <p:spPr>
                  <a:xfrm>
                    <a:off x="8208383" y="435950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CEDF2"/>
                  </a:solidFill>
                  <a:ln w="2339" cap="flat">
                    <a:noFill/>
                    <a:prstDash val="solid"/>
                    <a:miter/>
                  </a:ln>
                </p:spPr>
                <p:txBody>
                  <a:bodyPr rtlCol="0" anchor="ctr"/>
                  <a:lstStyle/>
                  <a:p>
                    <a:endParaRPr lang="en-US" sz="2400"/>
                  </a:p>
                </p:txBody>
              </p:sp>
              <p:sp>
                <p:nvSpPr>
                  <p:cNvPr id="220" name="Freeform: Shape 219">
                    <a:extLst>
                      <a:ext uri="{FF2B5EF4-FFF2-40B4-BE49-F238E27FC236}">
                        <a16:creationId xmlns:a16="http://schemas.microsoft.com/office/drawing/2014/main" id="{3D6FD4D8-9016-2E9C-EB72-B0C35B9B074C}"/>
                      </a:ext>
                    </a:extLst>
                  </p:cNvPr>
                  <p:cNvSpPr/>
                  <p:nvPr userDrawn="1"/>
                </p:nvSpPr>
                <p:spPr>
                  <a:xfrm>
                    <a:off x="8207986" y="435910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CEEF3"/>
                  </a:solidFill>
                  <a:ln w="2339" cap="flat">
                    <a:noFill/>
                    <a:prstDash val="solid"/>
                    <a:miter/>
                  </a:ln>
                </p:spPr>
                <p:txBody>
                  <a:bodyPr rtlCol="0" anchor="ctr"/>
                  <a:lstStyle/>
                  <a:p>
                    <a:endParaRPr lang="en-US" sz="2400"/>
                  </a:p>
                </p:txBody>
              </p:sp>
              <p:sp>
                <p:nvSpPr>
                  <p:cNvPr id="221" name="Freeform: Shape 220">
                    <a:extLst>
                      <a:ext uri="{FF2B5EF4-FFF2-40B4-BE49-F238E27FC236}">
                        <a16:creationId xmlns:a16="http://schemas.microsoft.com/office/drawing/2014/main" id="{C4B3CB2E-6447-ACA4-2E16-246A0D7DF0CF}"/>
                      </a:ext>
                    </a:extLst>
                  </p:cNvPr>
                  <p:cNvSpPr/>
                  <p:nvPr userDrawn="1"/>
                </p:nvSpPr>
                <p:spPr>
                  <a:xfrm>
                    <a:off x="8207611" y="435868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CEEF3"/>
                  </a:solidFill>
                  <a:ln w="2339" cap="flat">
                    <a:noFill/>
                    <a:prstDash val="solid"/>
                    <a:miter/>
                  </a:ln>
                </p:spPr>
                <p:txBody>
                  <a:bodyPr rtlCol="0" anchor="ctr"/>
                  <a:lstStyle/>
                  <a:p>
                    <a:endParaRPr lang="en-US" sz="2400"/>
                  </a:p>
                </p:txBody>
              </p:sp>
              <p:sp>
                <p:nvSpPr>
                  <p:cNvPr id="222" name="Freeform: Shape 221">
                    <a:extLst>
                      <a:ext uri="{FF2B5EF4-FFF2-40B4-BE49-F238E27FC236}">
                        <a16:creationId xmlns:a16="http://schemas.microsoft.com/office/drawing/2014/main" id="{C6632025-BD52-FD35-8077-C3EE8951FC60}"/>
                      </a:ext>
                    </a:extLst>
                  </p:cNvPr>
                  <p:cNvSpPr/>
                  <p:nvPr userDrawn="1"/>
                </p:nvSpPr>
                <p:spPr>
                  <a:xfrm>
                    <a:off x="8207237" y="435826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DEEF3"/>
                  </a:solidFill>
                  <a:ln w="2339" cap="flat">
                    <a:noFill/>
                    <a:prstDash val="solid"/>
                    <a:miter/>
                  </a:ln>
                </p:spPr>
                <p:txBody>
                  <a:bodyPr rtlCol="0" anchor="ctr"/>
                  <a:lstStyle/>
                  <a:p>
                    <a:endParaRPr lang="en-US" sz="2400"/>
                  </a:p>
                </p:txBody>
              </p:sp>
              <p:sp>
                <p:nvSpPr>
                  <p:cNvPr id="223" name="Freeform: Shape 222">
                    <a:extLst>
                      <a:ext uri="{FF2B5EF4-FFF2-40B4-BE49-F238E27FC236}">
                        <a16:creationId xmlns:a16="http://schemas.microsoft.com/office/drawing/2014/main" id="{41EDDA1B-D83D-C5BD-12C9-CE720754D3CA}"/>
                      </a:ext>
                    </a:extLst>
                  </p:cNvPr>
                  <p:cNvSpPr/>
                  <p:nvPr userDrawn="1"/>
                </p:nvSpPr>
                <p:spPr>
                  <a:xfrm>
                    <a:off x="8206886" y="435784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DEFF3"/>
                  </a:solidFill>
                  <a:ln w="2339" cap="flat">
                    <a:noFill/>
                    <a:prstDash val="solid"/>
                    <a:miter/>
                  </a:ln>
                </p:spPr>
                <p:txBody>
                  <a:bodyPr rtlCol="0" anchor="ctr"/>
                  <a:lstStyle/>
                  <a:p>
                    <a:endParaRPr lang="en-US" sz="2400"/>
                  </a:p>
                </p:txBody>
              </p:sp>
              <p:sp>
                <p:nvSpPr>
                  <p:cNvPr id="224" name="Freeform: Shape 223">
                    <a:extLst>
                      <a:ext uri="{FF2B5EF4-FFF2-40B4-BE49-F238E27FC236}">
                        <a16:creationId xmlns:a16="http://schemas.microsoft.com/office/drawing/2014/main" id="{28AA38E2-87DD-66CB-ED8F-2E462E1050C6}"/>
                      </a:ext>
                    </a:extLst>
                  </p:cNvPr>
                  <p:cNvSpPr/>
                  <p:nvPr userDrawn="1"/>
                </p:nvSpPr>
                <p:spPr>
                  <a:xfrm>
                    <a:off x="8206511" y="435741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DEFF3"/>
                  </a:solidFill>
                  <a:ln w="2339" cap="flat">
                    <a:noFill/>
                    <a:prstDash val="solid"/>
                    <a:miter/>
                  </a:ln>
                </p:spPr>
                <p:txBody>
                  <a:bodyPr rtlCol="0" anchor="ctr"/>
                  <a:lstStyle/>
                  <a:p>
                    <a:endParaRPr lang="en-US" sz="2400"/>
                  </a:p>
                </p:txBody>
              </p:sp>
              <p:sp>
                <p:nvSpPr>
                  <p:cNvPr id="225" name="Freeform: Shape 224">
                    <a:extLst>
                      <a:ext uri="{FF2B5EF4-FFF2-40B4-BE49-F238E27FC236}">
                        <a16:creationId xmlns:a16="http://schemas.microsoft.com/office/drawing/2014/main" id="{9A83A45A-2B1C-9250-7E46-47F5233691EB}"/>
                      </a:ext>
                    </a:extLst>
                  </p:cNvPr>
                  <p:cNvSpPr/>
                  <p:nvPr userDrawn="1"/>
                </p:nvSpPr>
                <p:spPr>
                  <a:xfrm>
                    <a:off x="8206160" y="435699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EEFF4"/>
                  </a:solidFill>
                  <a:ln w="2339" cap="flat">
                    <a:noFill/>
                    <a:prstDash val="solid"/>
                    <a:miter/>
                  </a:ln>
                </p:spPr>
                <p:txBody>
                  <a:bodyPr rtlCol="0" anchor="ctr"/>
                  <a:lstStyle/>
                  <a:p>
                    <a:endParaRPr lang="en-US" sz="2400"/>
                  </a:p>
                </p:txBody>
              </p:sp>
              <p:sp>
                <p:nvSpPr>
                  <p:cNvPr id="226" name="Freeform: Shape 225">
                    <a:extLst>
                      <a:ext uri="{FF2B5EF4-FFF2-40B4-BE49-F238E27FC236}">
                        <a16:creationId xmlns:a16="http://schemas.microsoft.com/office/drawing/2014/main" id="{14FB0618-7593-9A71-0A49-4F211D42A201}"/>
                      </a:ext>
                    </a:extLst>
                  </p:cNvPr>
                  <p:cNvSpPr/>
                  <p:nvPr userDrawn="1"/>
                </p:nvSpPr>
                <p:spPr>
                  <a:xfrm>
                    <a:off x="8205809" y="435657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EEFF4"/>
                  </a:solidFill>
                  <a:ln w="2339" cap="flat">
                    <a:noFill/>
                    <a:prstDash val="solid"/>
                    <a:miter/>
                  </a:ln>
                </p:spPr>
                <p:txBody>
                  <a:bodyPr rtlCol="0" anchor="ctr"/>
                  <a:lstStyle/>
                  <a:p>
                    <a:endParaRPr lang="en-US" sz="2400"/>
                  </a:p>
                </p:txBody>
              </p:sp>
              <p:sp>
                <p:nvSpPr>
                  <p:cNvPr id="227" name="Freeform: Shape 226">
                    <a:extLst>
                      <a:ext uri="{FF2B5EF4-FFF2-40B4-BE49-F238E27FC236}">
                        <a16:creationId xmlns:a16="http://schemas.microsoft.com/office/drawing/2014/main" id="{807BDEA3-19FD-2D27-F0E0-3C4586788802}"/>
                      </a:ext>
                    </a:extLst>
                  </p:cNvPr>
                  <p:cNvSpPr/>
                  <p:nvPr userDrawn="1"/>
                </p:nvSpPr>
                <p:spPr>
                  <a:xfrm>
                    <a:off x="8205458" y="435617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EF0F4"/>
                  </a:solidFill>
                  <a:ln w="2339" cap="flat">
                    <a:noFill/>
                    <a:prstDash val="solid"/>
                    <a:miter/>
                  </a:ln>
                </p:spPr>
                <p:txBody>
                  <a:bodyPr rtlCol="0" anchor="ctr"/>
                  <a:lstStyle/>
                  <a:p>
                    <a:endParaRPr lang="en-US" sz="2400"/>
                  </a:p>
                </p:txBody>
              </p:sp>
              <p:sp>
                <p:nvSpPr>
                  <p:cNvPr id="228" name="Freeform: Shape 227">
                    <a:extLst>
                      <a:ext uri="{FF2B5EF4-FFF2-40B4-BE49-F238E27FC236}">
                        <a16:creationId xmlns:a16="http://schemas.microsoft.com/office/drawing/2014/main" id="{C85191A9-829C-4957-0426-7615ADD28D1E}"/>
                      </a:ext>
                    </a:extLst>
                  </p:cNvPr>
                  <p:cNvSpPr/>
                  <p:nvPr userDrawn="1"/>
                </p:nvSpPr>
                <p:spPr>
                  <a:xfrm>
                    <a:off x="8205131" y="435575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EEF0F4"/>
                  </a:solidFill>
                  <a:ln w="2339" cap="flat">
                    <a:noFill/>
                    <a:prstDash val="solid"/>
                    <a:miter/>
                  </a:ln>
                </p:spPr>
                <p:txBody>
                  <a:bodyPr rtlCol="0" anchor="ctr"/>
                  <a:lstStyle/>
                  <a:p>
                    <a:endParaRPr lang="en-US" sz="2400"/>
                  </a:p>
                </p:txBody>
              </p:sp>
              <p:sp>
                <p:nvSpPr>
                  <p:cNvPr id="229" name="Freeform: Shape 228">
                    <a:extLst>
                      <a:ext uri="{FF2B5EF4-FFF2-40B4-BE49-F238E27FC236}">
                        <a16:creationId xmlns:a16="http://schemas.microsoft.com/office/drawing/2014/main" id="{11D8A396-7953-702A-C43F-3A90C8185F61}"/>
                      </a:ext>
                    </a:extLst>
                  </p:cNvPr>
                  <p:cNvSpPr/>
                  <p:nvPr userDrawn="1"/>
                </p:nvSpPr>
                <p:spPr>
                  <a:xfrm>
                    <a:off x="8204803" y="435533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EFF0F4"/>
                  </a:solidFill>
                  <a:ln w="2339" cap="flat">
                    <a:noFill/>
                    <a:prstDash val="solid"/>
                    <a:miter/>
                  </a:ln>
                </p:spPr>
                <p:txBody>
                  <a:bodyPr rtlCol="0" anchor="ctr"/>
                  <a:lstStyle/>
                  <a:p>
                    <a:endParaRPr lang="en-US" sz="2400"/>
                  </a:p>
                </p:txBody>
              </p:sp>
              <p:sp>
                <p:nvSpPr>
                  <p:cNvPr id="230" name="Freeform: Shape 229">
                    <a:extLst>
                      <a:ext uri="{FF2B5EF4-FFF2-40B4-BE49-F238E27FC236}">
                        <a16:creationId xmlns:a16="http://schemas.microsoft.com/office/drawing/2014/main" id="{B4740FEA-873F-1EB3-BA15-5A09995D7192}"/>
                      </a:ext>
                    </a:extLst>
                  </p:cNvPr>
                  <p:cNvSpPr/>
                  <p:nvPr userDrawn="1"/>
                </p:nvSpPr>
                <p:spPr>
                  <a:xfrm>
                    <a:off x="8204476" y="435491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EFF1F5"/>
                  </a:solidFill>
                  <a:ln w="2339" cap="flat">
                    <a:noFill/>
                    <a:prstDash val="solid"/>
                    <a:miter/>
                  </a:ln>
                </p:spPr>
                <p:txBody>
                  <a:bodyPr rtlCol="0" anchor="ctr"/>
                  <a:lstStyle/>
                  <a:p>
                    <a:endParaRPr lang="en-US" sz="2400"/>
                  </a:p>
                </p:txBody>
              </p:sp>
              <p:sp>
                <p:nvSpPr>
                  <p:cNvPr id="231" name="Freeform: Shape 230">
                    <a:extLst>
                      <a:ext uri="{FF2B5EF4-FFF2-40B4-BE49-F238E27FC236}">
                        <a16:creationId xmlns:a16="http://schemas.microsoft.com/office/drawing/2014/main" id="{E952A3B0-207D-DDA7-CC7F-44387D54912D}"/>
                      </a:ext>
                    </a:extLst>
                  </p:cNvPr>
                  <p:cNvSpPr/>
                  <p:nvPr userDrawn="1"/>
                </p:nvSpPr>
                <p:spPr>
                  <a:xfrm>
                    <a:off x="8204148" y="435449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FF1F5"/>
                  </a:solidFill>
                  <a:ln w="2339" cap="flat">
                    <a:noFill/>
                    <a:prstDash val="solid"/>
                    <a:miter/>
                  </a:ln>
                </p:spPr>
                <p:txBody>
                  <a:bodyPr rtlCol="0" anchor="ctr"/>
                  <a:lstStyle/>
                  <a:p>
                    <a:endParaRPr lang="en-US" sz="2400"/>
                  </a:p>
                </p:txBody>
              </p:sp>
              <p:sp>
                <p:nvSpPr>
                  <p:cNvPr id="232" name="Freeform: Shape 231">
                    <a:extLst>
                      <a:ext uri="{FF2B5EF4-FFF2-40B4-BE49-F238E27FC236}">
                        <a16:creationId xmlns:a16="http://schemas.microsoft.com/office/drawing/2014/main" id="{9642865E-2FB1-DBF8-1A13-A8D344B94458}"/>
                      </a:ext>
                    </a:extLst>
                  </p:cNvPr>
                  <p:cNvSpPr/>
                  <p:nvPr userDrawn="1"/>
                </p:nvSpPr>
                <p:spPr>
                  <a:xfrm>
                    <a:off x="8203820" y="435407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F0F1F5"/>
                  </a:solidFill>
                  <a:ln w="2339" cap="flat">
                    <a:noFill/>
                    <a:prstDash val="solid"/>
                    <a:miter/>
                  </a:ln>
                </p:spPr>
                <p:txBody>
                  <a:bodyPr rtlCol="0" anchor="ctr"/>
                  <a:lstStyle/>
                  <a:p>
                    <a:endParaRPr lang="en-US" sz="2400"/>
                  </a:p>
                </p:txBody>
              </p:sp>
              <p:sp>
                <p:nvSpPr>
                  <p:cNvPr id="233" name="Freeform: Shape 232">
                    <a:extLst>
                      <a:ext uri="{FF2B5EF4-FFF2-40B4-BE49-F238E27FC236}">
                        <a16:creationId xmlns:a16="http://schemas.microsoft.com/office/drawing/2014/main" id="{54F61961-47E0-908B-A234-E4872D5E3DA7}"/>
                      </a:ext>
                    </a:extLst>
                  </p:cNvPr>
                  <p:cNvSpPr/>
                  <p:nvPr userDrawn="1"/>
                </p:nvSpPr>
                <p:spPr>
                  <a:xfrm>
                    <a:off x="8203516" y="435365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F0F1F5"/>
                  </a:solidFill>
                  <a:ln w="2339" cap="flat">
                    <a:noFill/>
                    <a:prstDash val="solid"/>
                    <a:miter/>
                  </a:ln>
                </p:spPr>
                <p:txBody>
                  <a:bodyPr rtlCol="0" anchor="ctr"/>
                  <a:lstStyle/>
                  <a:p>
                    <a:endParaRPr lang="en-US" sz="2400"/>
                  </a:p>
                </p:txBody>
              </p:sp>
              <p:sp>
                <p:nvSpPr>
                  <p:cNvPr id="234" name="Freeform: Shape 233">
                    <a:extLst>
                      <a:ext uri="{FF2B5EF4-FFF2-40B4-BE49-F238E27FC236}">
                        <a16:creationId xmlns:a16="http://schemas.microsoft.com/office/drawing/2014/main" id="{AAA1C27A-859E-792F-D2FD-29D3DA0BCFDE}"/>
                      </a:ext>
                    </a:extLst>
                  </p:cNvPr>
                  <p:cNvSpPr/>
                  <p:nvPr userDrawn="1"/>
                </p:nvSpPr>
                <p:spPr>
                  <a:xfrm>
                    <a:off x="8203212" y="435323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F0F2F5"/>
                  </a:solidFill>
                  <a:ln w="2339" cap="flat">
                    <a:noFill/>
                    <a:prstDash val="solid"/>
                    <a:miter/>
                  </a:ln>
                </p:spPr>
                <p:txBody>
                  <a:bodyPr rtlCol="0" anchor="ctr"/>
                  <a:lstStyle/>
                  <a:p>
                    <a:endParaRPr lang="en-US" sz="2400"/>
                  </a:p>
                </p:txBody>
              </p:sp>
              <p:sp>
                <p:nvSpPr>
                  <p:cNvPr id="235" name="Freeform: Shape 234">
                    <a:extLst>
                      <a:ext uri="{FF2B5EF4-FFF2-40B4-BE49-F238E27FC236}">
                        <a16:creationId xmlns:a16="http://schemas.microsoft.com/office/drawing/2014/main" id="{3A86E0FA-7EF6-1454-9478-7622E69F6B45}"/>
                      </a:ext>
                    </a:extLst>
                  </p:cNvPr>
                  <p:cNvSpPr/>
                  <p:nvPr userDrawn="1"/>
                </p:nvSpPr>
                <p:spPr>
                  <a:xfrm>
                    <a:off x="8202908" y="435280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F1F2F6"/>
                  </a:solidFill>
                  <a:ln w="2339" cap="flat">
                    <a:noFill/>
                    <a:prstDash val="solid"/>
                    <a:miter/>
                  </a:ln>
                </p:spPr>
                <p:txBody>
                  <a:bodyPr rtlCol="0" anchor="ctr"/>
                  <a:lstStyle/>
                  <a:p>
                    <a:endParaRPr lang="en-US" sz="2400"/>
                  </a:p>
                </p:txBody>
              </p:sp>
              <p:sp>
                <p:nvSpPr>
                  <p:cNvPr id="236" name="Freeform: Shape 235">
                    <a:extLst>
                      <a:ext uri="{FF2B5EF4-FFF2-40B4-BE49-F238E27FC236}">
                        <a16:creationId xmlns:a16="http://schemas.microsoft.com/office/drawing/2014/main" id="{6DB267B9-79BA-4E72-205A-EA0D4414F342}"/>
                      </a:ext>
                    </a:extLst>
                  </p:cNvPr>
                  <p:cNvSpPr/>
                  <p:nvPr userDrawn="1"/>
                </p:nvSpPr>
                <p:spPr>
                  <a:xfrm>
                    <a:off x="8202604" y="435238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F1F2F6"/>
                  </a:solidFill>
                  <a:ln w="2339" cap="flat">
                    <a:noFill/>
                    <a:prstDash val="solid"/>
                    <a:miter/>
                  </a:ln>
                </p:spPr>
                <p:txBody>
                  <a:bodyPr rtlCol="0" anchor="ctr"/>
                  <a:lstStyle/>
                  <a:p>
                    <a:endParaRPr lang="en-US" sz="2400"/>
                  </a:p>
                </p:txBody>
              </p:sp>
              <p:sp>
                <p:nvSpPr>
                  <p:cNvPr id="237" name="Freeform: Shape 236">
                    <a:extLst>
                      <a:ext uri="{FF2B5EF4-FFF2-40B4-BE49-F238E27FC236}">
                        <a16:creationId xmlns:a16="http://schemas.microsoft.com/office/drawing/2014/main" id="{4B1826F7-5DD8-5DDD-2BC1-2DCD690567C3}"/>
                      </a:ext>
                    </a:extLst>
                  </p:cNvPr>
                  <p:cNvSpPr/>
                  <p:nvPr userDrawn="1"/>
                </p:nvSpPr>
                <p:spPr>
                  <a:xfrm>
                    <a:off x="8202323" y="435196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F1F2F6"/>
                  </a:solidFill>
                  <a:ln w="2339" cap="flat">
                    <a:noFill/>
                    <a:prstDash val="solid"/>
                    <a:miter/>
                  </a:ln>
                </p:spPr>
                <p:txBody>
                  <a:bodyPr rtlCol="0" anchor="ctr"/>
                  <a:lstStyle/>
                  <a:p>
                    <a:endParaRPr lang="en-US" sz="2400"/>
                  </a:p>
                </p:txBody>
              </p:sp>
              <p:sp>
                <p:nvSpPr>
                  <p:cNvPr id="238" name="Freeform: Shape 237">
                    <a:extLst>
                      <a:ext uri="{FF2B5EF4-FFF2-40B4-BE49-F238E27FC236}">
                        <a16:creationId xmlns:a16="http://schemas.microsoft.com/office/drawing/2014/main" id="{010EE647-FE59-3BAF-C5B4-15DA25357DE5}"/>
                      </a:ext>
                    </a:extLst>
                  </p:cNvPr>
                  <p:cNvSpPr/>
                  <p:nvPr userDrawn="1"/>
                </p:nvSpPr>
                <p:spPr>
                  <a:xfrm>
                    <a:off x="8202042" y="435154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F2F3F6"/>
                  </a:solidFill>
                  <a:ln w="2339" cap="flat">
                    <a:noFill/>
                    <a:prstDash val="solid"/>
                    <a:miter/>
                  </a:ln>
                </p:spPr>
                <p:txBody>
                  <a:bodyPr rtlCol="0" anchor="ctr"/>
                  <a:lstStyle/>
                  <a:p>
                    <a:endParaRPr lang="en-US" sz="2400"/>
                  </a:p>
                </p:txBody>
              </p:sp>
              <p:sp>
                <p:nvSpPr>
                  <p:cNvPr id="239" name="Freeform: Shape 238">
                    <a:extLst>
                      <a:ext uri="{FF2B5EF4-FFF2-40B4-BE49-F238E27FC236}">
                        <a16:creationId xmlns:a16="http://schemas.microsoft.com/office/drawing/2014/main" id="{2631769D-5AE2-54DC-E855-94107678B1C2}"/>
                      </a:ext>
                    </a:extLst>
                  </p:cNvPr>
                  <p:cNvSpPr/>
                  <p:nvPr userDrawn="1"/>
                </p:nvSpPr>
                <p:spPr>
                  <a:xfrm>
                    <a:off x="8201761" y="435112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F2F3F6"/>
                  </a:solidFill>
                  <a:ln w="2339" cap="flat">
                    <a:noFill/>
                    <a:prstDash val="solid"/>
                    <a:miter/>
                  </a:ln>
                </p:spPr>
                <p:txBody>
                  <a:bodyPr rtlCol="0" anchor="ctr"/>
                  <a:lstStyle/>
                  <a:p>
                    <a:endParaRPr lang="en-US" sz="2400"/>
                  </a:p>
                </p:txBody>
              </p:sp>
              <p:sp>
                <p:nvSpPr>
                  <p:cNvPr id="240" name="Freeform: Shape 239">
                    <a:extLst>
                      <a:ext uri="{FF2B5EF4-FFF2-40B4-BE49-F238E27FC236}">
                        <a16:creationId xmlns:a16="http://schemas.microsoft.com/office/drawing/2014/main" id="{77788780-55EE-3E26-821B-05DBFC7B4A72}"/>
                      </a:ext>
                    </a:extLst>
                  </p:cNvPr>
                  <p:cNvSpPr/>
                  <p:nvPr userDrawn="1"/>
                </p:nvSpPr>
                <p:spPr>
                  <a:xfrm>
                    <a:off x="8201480" y="435070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F2F3F7"/>
                  </a:solidFill>
                  <a:ln w="2339" cap="flat">
                    <a:noFill/>
                    <a:prstDash val="solid"/>
                    <a:miter/>
                  </a:ln>
                </p:spPr>
                <p:txBody>
                  <a:bodyPr rtlCol="0" anchor="ctr"/>
                  <a:lstStyle/>
                  <a:p>
                    <a:endParaRPr lang="en-US" sz="2400"/>
                  </a:p>
                </p:txBody>
              </p:sp>
              <p:sp>
                <p:nvSpPr>
                  <p:cNvPr id="241" name="Freeform: Shape 240">
                    <a:extLst>
                      <a:ext uri="{FF2B5EF4-FFF2-40B4-BE49-F238E27FC236}">
                        <a16:creationId xmlns:a16="http://schemas.microsoft.com/office/drawing/2014/main" id="{0AED1328-53C2-67D3-D288-45C63E07903A}"/>
                      </a:ext>
                    </a:extLst>
                  </p:cNvPr>
                  <p:cNvSpPr/>
                  <p:nvPr userDrawn="1"/>
                </p:nvSpPr>
                <p:spPr>
                  <a:xfrm>
                    <a:off x="8201223" y="435028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F2F4F7"/>
                  </a:solidFill>
                  <a:ln w="2339" cap="flat">
                    <a:noFill/>
                    <a:prstDash val="solid"/>
                    <a:miter/>
                  </a:ln>
                </p:spPr>
                <p:txBody>
                  <a:bodyPr rtlCol="0" anchor="ctr"/>
                  <a:lstStyle/>
                  <a:p>
                    <a:endParaRPr lang="en-US" sz="2400"/>
                  </a:p>
                </p:txBody>
              </p:sp>
              <p:sp>
                <p:nvSpPr>
                  <p:cNvPr id="242" name="Freeform: Shape 241">
                    <a:extLst>
                      <a:ext uri="{FF2B5EF4-FFF2-40B4-BE49-F238E27FC236}">
                        <a16:creationId xmlns:a16="http://schemas.microsoft.com/office/drawing/2014/main" id="{1DAEF082-46B4-AE1B-199E-1D600E4EF175}"/>
                      </a:ext>
                    </a:extLst>
                  </p:cNvPr>
                  <p:cNvSpPr/>
                  <p:nvPr userDrawn="1"/>
                </p:nvSpPr>
                <p:spPr>
                  <a:xfrm>
                    <a:off x="8200966" y="4349860"/>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3F4F7"/>
                  </a:solidFill>
                  <a:ln w="2339" cap="flat">
                    <a:noFill/>
                    <a:prstDash val="solid"/>
                    <a:miter/>
                  </a:ln>
                </p:spPr>
                <p:txBody>
                  <a:bodyPr rtlCol="0" anchor="ctr"/>
                  <a:lstStyle/>
                  <a:p>
                    <a:endParaRPr lang="en-US" sz="2400"/>
                  </a:p>
                </p:txBody>
              </p:sp>
              <p:sp>
                <p:nvSpPr>
                  <p:cNvPr id="243" name="Freeform: Shape 242">
                    <a:extLst>
                      <a:ext uri="{FF2B5EF4-FFF2-40B4-BE49-F238E27FC236}">
                        <a16:creationId xmlns:a16="http://schemas.microsoft.com/office/drawing/2014/main" id="{1EC83FBE-9C47-DB1F-23F5-5EABC4399715}"/>
                      </a:ext>
                    </a:extLst>
                  </p:cNvPr>
                  <p:cNvSpPr/>
                  <p:nvPr userDrawn="1"/>
                </p:nvSpPr>
                <p:spPr>
                  <a:xfrm>
                    <a:off x="8200708" y="4349439"/>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3F4F7"/>
                  </a:solidFill>
                  <a:ln w="2339" cap="flat">
                    <a:noFill/>
                    <a:prstDash val="solid"/>
                    <a:miter/>
                  </a:ln>
                </p:spPr>
                <p:txBody>
                  <a:bodyPr rtlCol="0" anchor="ctr"/>
                  <a:lstStyle/>
                  <a:p>
                    <a:endParaRPr lang="en-US" sz="2400"/>
                  </a:p>
                </p:txBody>
              </p:sp>
              <p:sp>
                <p:nvSpPr>
                  <p:cNvPr id="244" name="Freeform: Shape 243">
                    <a:extLst>
                      <a:ext uri="{FF2B5EF4-FFF2-40B4-BE49-F238E27FC236}">
                        <a16:creationId xmlns:a16="http://schemas.microsoft.com/office/drawing/2014/main" id="{CB0E754A-4C7A-FDFC-B37D-0D6B59C3A6E3}"/>
                      </a:ext>
                    </a:extLst>
                  </p:cNvPr>
                  <p:cNvSpPr/>
                  <p:nvPr userDrawn="1"/>
                </p:nvSpPr>
                <p:spPr>
                  <a:xfrm>
                    <a:off x="8200474" y="4349018"/>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3F4F7"/>
                  </a:solidFill>
                  <a:ln w="2339" cap="flat">
                    <a:noFill/>
                    <a:prstDash val="solid"/>
                    <a:miter/>
                  </a:ln>
                </p:spPr>
                <p:txBody>
                  <a:bodyPr rtlCol="0" anchor="ctr"/>
                  <a:lstStyle/>
                  <a:p>
                    <a:endParaRPr lang="en-US" sz="2400"/>
                  </a:p>
                </p:txBody>
              </p:sp>
              <p:sp>
                <p:nvSpPr>
                  <p:cNvPr id="245" name="Freeform: Shape 244">
                    <a:extLst>
                      <a:ext uri="{FF2B5EF4-FFF2-40B4-BE49-F238E27FC236}">
                        <a16:creationId xmlns:a16="http://schemas.microsoft.com/office/drawing/2014/main" id="{BD81FC2F-043D-DC83-1360-9687EE87C326}"/>
                      </a:ext>
                    </a:extLst>
                  </p:cNvPr>
                  <p:cNvSpPr/>
                  <p:nvPr userDrawn="1"/>
                </p:nvSpPr>
                <p:spPr>
                  <a:xfrm>
                    <a:off x="8200217" y="4348597"/>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4F5F8"/>
                  </a:solidFill>
                  <a:ln w="2339" cap="flat">
                    <a:noFill/>
                    <a:prstDash val="solid"/>
                    <a:miter/>
                  </a:ln>
                </p:spPr>
                <p:txBody>
                  <a:bodyPr rtlCol="0" anchor="ctr"/>
                  <a:lstStyle/>
                  <a:p>
                    <a:endParaRPr lang="en-US" sz="2400"/>
                  </a:p>
                </p:txBody>
              </p:sp>
              <p:sp>
                <p:nvSpPr>
                  <p:cNvPr id="246" name="Freeform: Shape 245">
                    <a:extLst>
                      <a:ext uri="{FF2B5EF4-FFF2-40B4-BE49-F238E27FC236}">
                        <a16:creationId xmlns:a16="http://schemas.microsoft.com/office/drawing/2014/main" id="{CCD4F35B-2C25-024F-6B9B-E8E315A45AD7}"/>
                      </a:ext>
                    </a:extLst>
                  </p:cNvPr>
                  <p:cNvSpPr/>
                  <p:nvPr userDrawn="1"/>
                </p:nvSpPr>
                <p:spPr>
                  <a:xfrm>
                    <a:off x="8199983" y="4348175"/>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4F5F8"/>
                  </a:solidFill>
                  <a:ln w="2339" cap="flat">
                    <a:noFill/>
                    <a:prstDash val="solid"/>
                    <a:miter/>
                  </a:ln>
                </p:spPr>
                <p:txBody>
                  <a:bodyPr rtlCol="0" anchor="ctr"/>
                  <a:lstStyle/>
                  <a:p>
                    <a:endParaRPr lang="en-US" sz="2400"/>
                  </a:p>
                </p:txBody>
              </p:sp>
              <p:sp>
                <p:nvSpPr>
                  <p:cNvPr id="247" name="Freeform: Shape 246">
                    <a:extLst>
                      <a:ext uri="{FF2B5EF4-FFF2-40B4-BE49-F238E27FC236}">
                        <a16:creationId xmlns:a16="http://schemas.microsoft.com/office/drawing/2014/main" id="{B968BCFA-437E-D4CD-CF5C-FDD73F023781}"/>
                      </a:ext>
                    </a:extLst>
                  </p:cNvPr>
                  <p:cNvSpPr/>
                  <p:nvPr userDrawn="1"/>
                </p:nvSpPr>
                <p:spPr>
                  <a:xfrm>
                    <a:off x="8199749" y="4347754"/>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4F5F8"/>
                  </a:solidFill>
                  <a:ln w="2339" cap="flat">
                    <a:noFill/>
                    <a:prstDash val="solid"/>
                    <a:miter/>
                  </a:ln>
                </p:spPr>
                <p:txBody>
                  <a:bodyPr rtlCol="0" anchor="ctr"/>
                  <a:lstStyle/>
                  <a:p>
                    <a:endParaRPr lang="en-US" sz="2400"/>
                  </a:p>
                </p:txBody>
              </p:sp>
              <p:sp>
                <p:nvSpPr>
                  <p:cNvPr id="248" name="Freeform: Shape 247">
                    <a:extLst>
                      <a:ext uri="{FF2B5EF4-FFF2-40B4-BE49-F238E27FC236}">
                        <a16:creationId xmlns:a16="http://schemas.microsoft.com/office/drawing/2014/main" id="{805978F9-417A-E28D-DAD3-C5EADA76697A}"/>
                      </a:ext>
                    </a:extLst>
                  </p:cNvPr>
                  <p:cNvSpPr/>
                  <p:nvPr userDrawn="1"/>
                </p:nvSpPr>
                <p:spPr>
                  <a:xfrm>
                    <a:off x="8199515" y="4347356"/>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5F6F8"/>
                  </a:solidFill>
                  <a:ln w="2339" cap="flat">
                    <a:noFill/>
                    <a:prstDash val="solid"/>
                    <a:miter/>
                  </a:ln>
                </p:spPr>
                <p:txBody>
                  <a:bodyPr rtlCol="0" anchor="ctr"/>
                  <a:lstStyle/>
                  <a:p>
                    <a:endParaRPr lang="en-US" sz="2400"/>
                  </a:p>
                </p:txBody>
              </p:sp>
              <p:sp>
                <p:nvSpPr>
                  <p:cNvPr id="249" name="Freeform: Shape 248">
                    <a:extLst>
                      <a:ext uri="{FF2B5EF4-FFF2-40B4-BE49-F238E27FC236}">
                        <a16:creationId xmlns:a16="http://schemas.microsoft.com/office/drawing/2014/main" id="{DF054F90-9004-F945-286A-FD126AE367AA}"/>
                      </a:ext>
                    </a:extLst>
                  </p:cNvPr>
                  <p:cNvSpPr/>
                  <p:nvPr userDrawn="1"/>
                </p:nvSpPr>
                <p:spPr>
                  <a:xfrm>
                    <a:off x="8199281" y="4346935"/>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74"/>
                          <a:pt x="42074" y="32667"/>
                          <a:pt x="42074" y="21037"/>
                        </a:cubicBezTo>
                        <a:close/>
                      </a:path>
                    </a:pathLst>
                  </a:custGeom>
                  <a:solidFill>
                    <a:srgbClr val="F5F6F8"/>
                  </a:solidFill>
                  <a:ln w="2339" cap="flat">
                    <a:noFill/>
                    <a:prstDash val="solid"/>
                    <a:miter/>
                  </a:ln>
                </p:spPr>
                <p:txBody>
                  <a:bodyPr rtlCol="0" anchor="ctr"/>
                  <a:lstStyle/>
                  <a:p>
                    <a:endParaRPr lang="en-US" sz="2400"/>
                  </a:p>
                </p:txBody>
              </p:sp>
              <p:sp>
                <p:nvSpPr>
                  <p:cNvPr id="250" name="Freeform: Shape 249">
                    <a:extLst>
                      <a:ext uri="{FF2B5EF4-FFF2-40B4-BE49-F238E27FC236}">
                        <a16:creationId xmlns:a16="http://schemas.microsoft.com/office/drawing/2014/main" id="{1143852B-E3EB-E1D4-4C15-D4195AB6B301}"/>
                      </a:ext>
                    </a:extLst>
                  </p:cNvPr>
                  <p:cNvSpPr/>
                  <p:nvPr userDrawn="1"/>
                </p:nvSpPr>
                <p:spPr>
                  <a:xfrm>
                    <a:off x="8199070" y="4346514"/>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5F6F9"/>
                  </a:solidFill>
                  <a:ln w="2339" cap="flat">
                    <a:noFill/>
                    <a:prstDash val="solid"/>
                    <a:miter/>
                  </a:ln>
                </p:spPr>
                <p:txBody>
                  <a:bodyPr rtlCol="0" anchor="ctr"/>
                  <a:lstStyle/>
                  <a:p>
                    <a:endParaRPr lang="en-US" sz="2400"/>
                  </a:p>
                </p:txBody>
              </p:sp>
              <p:sp>
                <p:nvSpPr>
                  <p:cNvPr id="251" name="Freeform: Shape 250">
                    <a:extLst>
                      <a:ext uri="{FF2B5EF4-FFF2-40B4-BE49-F238E27FC236}">
                        <a16:creationId xmlns:a16="http://schemas.microsoft.com/office/drawing/2014/main" id="{33B04E21-B2D9-7DCF-B37D-2C5AD78F1C24}"/>
                      </a:ext>
                    </a:extLst>
                  </p:cNvPr>
                  <p:cNvSpPr/>
                  <p:nvPr userDrawn="1"/>
                </p:nvSpPr>
                <p:spPr>
                  <a:xfrm>
                    <a:off x="8198860" y="4346093"/>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6F6F9"/>
                  </a:solidFill>
                  <a:ln w="2339" cap="flat">
                    <a:noFill/>
                    <a:prstDash val="solid"/>
                    <a:miter/>
                  </a:ln>
                </p:spPr>
                <p:txBody>
                  <a:bodyPr rtlCol="0" anchor="ctr"/>
                  <a:lstStyle/>
                  <a:p>
                    <a:endParaRPr lang="en-US" sz="2400"/>
                  </a:p>
                </p:txBody>
              </p:sp>
              <p:sp>
                <p:nvSpPr>
                  <p:cNvPr id="252" name="Freeform: Shape 251">
                    <a:extLst>
                      <a:ext uri="{FF2B5EF4-FFF2-40B4-BE49-F238E27FC236}">
                        <a16:creationId xmlns:a16="http://schemas.microsoft.com/office/drawing/2014/main" id="{02EA62B5-52EA-20D1-6DA1-809524EE9A41}"/>
                      </a:ext>
                    </a:extLst>
                  </p:cNvPr>
                  <p:cNvSpPr/>
                  <p:nvPr userDrawn="1"/>
                </p:nvSpPr>
                <p:spPr>
                  <a:xfrm>
                    <a:off x="8198649" y="4345671"/>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6F7F9"/>
                  </a:solidFill>
                  <a:ln w="2339" cap="flat">
                    <a:noFill/>
                    <a:prstDash val="solid"/>
                    <a:miter/>
                  </a:ln>
                </p:spPr>
                <p:txBody>
                  <a:bodyPr rtlCol="0" anchor="ctr"/>
                  <a:lstStyle/>
                  <a:p>
                    <a:endParaRPr lang="en-US" sz="2400"/>
                  </a:p>
                </p:txBody>
              </p:sp>
              <p:sp>
                <p:nvSpPr>
                  <p:cNvPr id="253" name="Freeform: Shape 252">
                    <a:extLst>
                      <a:ext uri="{FF2B5EF4-FFF2-40B4-BE49-F238E27FC236}">
                        <a16:creationId xmlns:a16="http://schemas.microsoft.com/office/drawing/2014/main" id="{C1674430-4CF7-6AA0-AB65-7B3AB942FD23}"/>
                      </a:ext>
                    </a:extLst>
                  </p:cNvPr>
                  <p:cNvSpPr/>
                  <p:nvPr userDrawn="1"/>
                </p:nvSpPr>
                <p:spPr>
                  <a:xfrm>
                    <a:off x="8198438" y="4345250"/>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6F7F9"/>
                  </a:solidFill>
                  <a:ln w="2339" cap="flat">
                    <a:noFill/>
                    <a:prstDash val="solid"/>
                    <a:miter/>
                  </a:ln>
                </p:spPr>
                <p:txBody>
                  <a:bodyPr rtlCol="0" anchor="ctr"/>
                  <a:lstStyle/>
                  <a:p>
                    <a:endParaRPr lang="en-US" sz="2400"/>
                  </a:p>
                </p:txBody>
              </p:sp>
              <p:sp>
                <p:nvSpPr>
                  <p:cNvPr id="254" name="Freeform: Shape 253">
                    <a:extLst>
                      <a:ext uri="{FF2B5EF4-FFF2-40B4-BE49-F238E27FC236}">
                        <a16:creationId xmlns:a16="http://schemas.microsoft.com/office/drawing/2014/main" id="{EFE846FB-C562-0B02-3187-A7EA8B2944C5}"/>
                      </a:ext>
                    </a:extLst>
                  </p:cNvPr>
                  <p:cNvSpPr/>
                  <p:nvPr userDrawn="1"/>
                </p:nvSpPr>
                <p:spPr>
                  <a:xfrm>
                    <a:off x="8198251" y="4344829"/>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6F7F9"/>
                  </a:solidFill>
                  <a:ln w="2339" cap="flat">
                    <a:noFill/>
                    <a:prstDash val="solid"/>
                    <a:miter/>
                  </a:ln>
                </p:spPr>
                <p:txBody>
                  <a:bodyPr rtlCol="0" anchor="ctr"/>
                  <a:lstStyle/>
                  <a:p>
                    <a:endParaRPr lang="en-US" sz="2400"/>
                  </a:p>
                </p:txBody>
              </p:sp>
              <p:sp>
                <p:nvSpPr>
                  <p:cNvPr id="255" name="Freeform: Shape 254">
                    <a:extLst>
                      <a:ext uri="{FF2B5EF4-FFF2-40B4-BE49-F238E27FC236}">
                        <a16:creationId xmlns:a16="http://schemas.microsoft.com/office/drawing/2014/main" id="{05D606C2-8759-B074-F21E-8333172A619A}"/>
                      </a:ext>
                    </a:extLst>
                  </p:cNvPr>
                  <p:cNvSpPr/>
                  <p:nvPr userDrawn="1"/>
                </p:nvSpPr>
                <p:spPr>
                  <a:xfrm>
                    <a:off x="8198064" y="4344408"/>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7F7FA"/>
                  </a:solidFill>
                  <a:ln w="2339" cap="flat">
                    <a:noFill/>
                    <a:prstDash val="solid"/>
                    <a:miter/>
                  </a:ln>
                </p:spPr>
                <p:txBody>
                  <a:bodyPr rtlCol="0" anchor="ctr"/>
                  <a:lstStyle/>
                  <a:p>
                    <a:endParaRPr lang="en-US" sz="2400"/>
                  </a:p>
                </p:txBody>
              </p:sp>
              <p:sp>
                <p:nvSpPr>
                  <p:cNvPr id="256" name="Freeform: Shape 255">
                    <a:extLst>
                      <a:ext uri="{FF2B5EF4-FFF2-40B4-BE49-F238E27FC236}">
                        <a16:creationId xmlns:a16="http://schemas.microsoft.com/office/drawing/2014/main" id="{4227ABE0-21E9-A5CF-F95F-3CF513FC9A3D}"/>
                      </a:ext>
                    </a:extLst>
                  </p:cNvPr>
                  <p:cNvSpPr/>
                  <p:nvPr userDrawn="1"/>
                </p:nvSpPr>
                <p:spPr>
                  <a:xfrm>
                    <a:off x="8197877" y="4343987"/>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7F8FA"/>
                  </a:solidFill>
                  <a:ln w="2339" cap="flat">
                    <a:noFill/>
                    <a:prstDash val="solid"/>
                    <a:miter/>
                  </a:ln>
                </p:spPr>
                <p:txBody>
                  <a:bodyPr rtlCol="0" anchor="ctr"/>
                  <a:lstStyle/>
                  <a:p>
                    <a:endParaRPr lang="en-US" sz="2400"/>
                  </a:p>
                </p:txBody>
              </p:sp>
              <p:sp>
                <p:nvSpPr>
                  <p:cNvPr id="257" name="Freeform: Shape 256">
                    <a:extLst>
                      <a:ext uri="{FF2B5EF4-FFF2-40B4-BE49-F238E27FC236}">
                        <a16:creationId xmlns:a16="http://schemas.microsoft.com/office/drawing/2014/main" id="{93D289CC-C8BC-3EE0-1B24-57BD23F62A12}"/>
                      </a:ext>
                    </a:extLst>
                  </p:cNvPr>
                  <p:cNvSpPr/>
                  <p:nvPr userDrawn="1"/>
                </p:nvSpPr>
                <p:spPr>
                  <a:xfrm>
                    <a:off x="8197690" y="4343565"/>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7F8FA"/>
                  </a:solidFill>
                  <a:ln w="2339" cap="flat">
                    <a:noFill/>
                    <a:prstDash val="solid"/>
                    <a:miter/>
                  </a:ln>
                </p:spPr>
                <p:txBody>
                  <a:bodyPr rtlCol="0" anchor="ctr"/>
                  <a:lstStyle/>
                  <a:p>
                    <a:endParaRPr lang="en-US" sz="2400"/>
                  </a:p>
                </p:txBody>
              </p:sp>
              <p:sp>
                <p:nvSpPr>
                  <p:cNvPr id="258" name="Freeform: Shape 257">
                    <a:extLst>
                      <a:ext uri="{FF2B5EF4-FFF2-40B4-BE49-F238E27FC236}">
                        <a16:creationId xmlns:a16="http://schemas.microsoft.com/office/drawing/2014/main" id="{0DD0CEDF-41A7-4EA0-A311-D47D86F924CE}"/>
                      </a:ext>
                    </a:extLst>
                  </p:cNvPr>
                  <p:cNvSpPr/>
                  <p:nvPr userDrawn="1"/>
                </p:nvSpPr>
                <p:spPr>
                  <a:xfrm>
                    <a:off x="8197526" y="4343144"/>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8F8FA"/>
                  </a:solidFill>
                  <a:ln w="2339" cap="flat">
                    <a:noFill/>
                    <a:prstDash val="solid"/>
                    <a:miter/>
                  </a:ln>
                </p:spPr>
                <p:txBody>
                  <a:bodyPr rtlCol="0" anchor="ctr"/>
                  <a:lstStyle/>
                  <a:p>
                    <a:endParaRPr lang="en-US" sz="2400"/>
                  </a:p>
                </p:txBody>
              </p:sp>
              <p:sp>
                <p:nvSpPr>
                  <p:cNvPr id="259" name="Freeform: Shape 258">
                    <a:extLst>
                      <a:ext uri="{FF2B5EF4-FFF2-40B4-BE49-F238E27FC236}">
                        <a16:creationId xmlns:a16="http://schemas.microsoft.com/office/drawing/2014/main" id="{B834FF05-5F71-1317-5AE4-105D1C39123C}"/>
                      </a:ext>
                    </a:extLst>
                  </p:cNvPr>
                  <p:cNvSpPr/>
                  <p:nvPr userDrawn="1"/>
                </p:nvSpPr>
                <p:spPr>
                  <a:xfrm>
                    <a:off x="8197362" y="4342723"/>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90"/>
                          <a:pt x="42074" y="21037"/>
                        </a:cubicBezTo>
                        <a:close/>
                      </a:path>
                    </a:pathLst>
                  </a:custGeom>
                  <a:solidFill>
                    <a:srgbClr val="F8F9FA"/>
                  </a:solidFill>
                  <a:ln w="2339" cap="flat">
                    <a:noFill/>
                    <a:prstDash val="solid"/>
                    <a:miter/>
                  </a:ln>
                </p:spPr>
                <p:txBody>
                  <a:bodyPr rtlCol="0" anchor="ctr"/>
                  <a:lstStyle/>
                  <a:p>
                    <a:endParaRPr lang="en-US" sz="2400"/>
                  </a:p>
                </p:txBody>
              </p:sp>
              <p:sp>
                <p:nvSpPr>
                  <p:cNvPr id="260" name="Freeform: Shape 259">
                    <a:extLst>
                      <a:ext uri="{FF2B5EF4-FFF2-40B4-BE49-F238E27FC236}">
                        <a16:creationId xmlns:a16="http://schemas.microsoft.com/office/drawing/2014/main" id="{B3CA0CF5-176D-1E7F-4F7C-E0FCA0791F0D}"/>
                      </a:ext>
                    </a:extLst>
                  </p:cNvPr>
                  <p:cNvSpPr/>
                  <p:nvPr userDrawn="1"/>
                </p:nvSpPr>
                <p:spPr>
                  <a:xfrm>
                    <a:off x="8197198" y="4342325"/>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8F9FB"/>
                  </a:solidFill>
                  <a:ln w="2339" cap="flat">
                    <a:noFill/>
                    <a:prstDash val="solid"/>
                    <a:miter/>
                  </a:ln>
                </p:spPr>
                <p:txBody>
                  <a:bodyPr rtlCol="0" anchor="ctr"/>
                  <a:lstStyle/>
                  <a:p>
                    <a:endParaRPr lang="en-US" sz="2400"/>
                  </a:p>
                </p:txBody>
              </p:sp>
              <p:sp>
                <p:nvSpPr>
                  <p:cNvPr id="261" name="Freeform: Shape 260">
                    <a:extLst>
                      <a:ext uri="{FF2B5EF4-FFF2-40B4-BE49-F238E27FC236}">
                        <a16:creationId xmlns:a16="http://schemas.microsoft.com/office/drawing/2014/main" id="{B3A090FC-4D13-4729-C4F4-C8641E7DB2E5}"/>
                      </a:ext>
                    </a:extLst>
                  </p:cNvPr>
                  <p:cNvSpPr/>
                  <p:nvPr userDrawn="1"/>
                </p:nvSpPr>
                <p:spPr>
                  <a:xfrm>
                    <a:off x="8197034" y="4341904"/>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9F9FB"/>
                  </a:solidFill>
                  <a:ln w="2339" cap="flat">
                    <a:noFill/>
                    <a:prstDash val="solid"/>
                    <a:miter/>
                  </a:ln>
                </p:spPr>
                <p:txBody>
                  <a:bodyPr rtlCol="0" anchor="ctr"/>
                  <a:lstStyle/>
                  <a:p>
                    <a:endParaRPr lang="en-US" sz="2400"/>
                  </a:p>
                </p:txBody>
              </p:sp>
              <p:sp>
                <p:nvSpPr>
                  <p:cNvPr id="262" name="Freeform: Shape 261">
                    <a:extLst>
                      <a:ext uri="{FF2B5EF4-FFF2-40B4-BE49-F238E27FC236}">
                        <a16:creationId xmlns:a16="http://schemas.microsoft.com/office/drawing/2014/main" id="{879171E9-17BF-EBD5-067B-E21A9B097118}"/>
                      </a:ext>
                    </a:extLst>
                  </p:cNvPr>
                  <p:cNvSpPr/>
                  <p:nvPr userDrawn="1"/>
                </p:nvSpPr>
                <p:spPr>
                  <a:xfrm>
                    <a:off x="8196871" y="4341483"/>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9F9FB"/>
                  </a:solidFill>
                  <a:ln w="2339" cap="flat">
                    <a:noFill/>
                    <a:prstDash val="solid"/>
                    <a:miter/>
                  </a:ln>
                </p:spPr>
                <p:txBody>
                  <a:bodyPr rtlCol="0" anchor="ctr"/>
                  <a:lstStyle/>
                  <a:p>
                    <a:endParaRPr lang="en-US" sz="2400"/>
                  </a:p>
                </p:txBody>
              </p:sp>
              <p:sp>
                <p:nvSpPr>
                  <p:cNvPr id="263" name="Freeform: Shape 262">
                    <a:extLst>
                      <a:ext uri="{FF2B5EF4-FFF2-40B4-BE49-F238E27FC236}">
                        <a16:creationId xmlns:a16="http://schemas.microsoft.com/office/drawing/2014/main" id="{5F29C9B3-5747-4339-02DA-F0064B83C22B}"/>
                      </a:ext>
                    </a:extLst>
                  </p:cNvPr>
                  <p:cNvSpPr/>
                  <p:nvPr userDrawn="1"/>
                </p:nvSpPr>
                <p:spPr>
                  <a:xfrm>
                    <a:off x="8196730" y="4341062"/>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9FAFB"/>
                  </a:solidFill>
                  <a:ln w="2339" cap="flat">
                    <a:noFill/>
                    <a:prstDash val="solid"/>
                    <a:miter/>
                  </a:ln>
                </p:spPr>
                <p:txBody>
                  <a:bodyPr rtlCol="0" anchor="ctr"/>
                  <a:lstStyle/>
                  <a:p>
                    <a:endParaRPr lang="en-US" sz="2400"/>
                  </a:p>
                </p:txBody>
              </p:sp>
              <p:sp>
                <p:nvSpPr>
                  <p:cNvPr id="264" name="Freeform: Shape 263">
                    <a:extLst>
                      <a:ext uri="{FF2B5EF4-FFF2-40B4-BE49-F238E27FC236}">
                        <a16:creationId xmlns:a16="http://schemas.microsoft.com/office/drawing/2014/main" id="{86652CBE-7ACB-AE46-D71E-46B11AA52BDA}"/>
                      </a:ext>
                    </a:extLst>
                  </p:cNvPr>
                  <p:cNvSpPr/>
                  <p:nvPr userDrawn="1"/>
                </p:nvSpPr>
                <p:spPr>
                  <a:xfrm>
                    <a:off x="8196590" y="4340640"/>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9FAFB"/>
                  </a:solidFill>
                  <a:ln w="2339" cap="flat">
                    <a:noFill/>
                    <a:prstDash val="solid"/>
                    <a:miter/>
                  </a:ln>
                </p:spPr>
                <p:txBody>
                  <a:bodyPr rtlCol="0" anchor="ctr"/>
                  <a:lstStyle/>
                  <a:p>
                    <a:endParaRPr lang="en-US" sz="2400"/>
                  </a:p>
                </p:txBody>
              </p:sp>
              <p:sp>
                <p:nvSpPr>
                  <p:cNvPr id="265" name="Freeform: Shape 264">
                    <a:extLst>
                      <a:ext uri="{FF2B5EF4-FFF2-40B4-BE49-F238E27FC236}">
                        <a16:creationId xmlns:a16="http://schemas.microsoft.com/office/drawing/2014/main" id="{5DCA820A-2C22-DB9A-D97A-D576023D8F1D}"/>
                      </a:ext>
                    </a:extLst>
                  </p:cNvPr>
                  <p:cNvSpPr/>
                  <p:nvPr userDrawn="1"/>
                </p:nvSpPr>
                <p:spPr>
                  <a:xfrm>
                    <a:off x="8196449" y="4340243"/>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74"/>
                          <a:pt x="42074" y="32667"/>
                          <a:pt x="42074" y="21037"/>
                        </a:cubicBezTo>
                        <a:close/>
                      </a:path>
                    </a:pathLst>
                  </a:custGeom>
                  <a:solidFill>
                    <a:srgbClr val="FAFAFC"/>
                  </a:solidFill>
                  <a:ln w="2339" cap="flat">
                    <a:noFill/>
                    <a:prstDash val="solid"/>
                    <a:miter/>
                  </a:ln>
                </p:spPr>
                <p:txBody>
                  <a:bodyPr rtlCol="0" anchor="ctr"/>
                  <a:lstStyle/>
                  <a:p>
                    <a:endParaRPr lang="en-US" sz="2400"/>
                  </a:p>
                </p:txBody>
              </p:sp>
              <p:sp>
                <p:nvSpPr>
                  <p:cNvPr id="266" name="Freeform: Shape 265">
                    <a:extLst>
                      <a:ext uri="{FF2B5EF4-FFF2-40B4-BE49-F238E27FC236}">
                        <a16:creationId xmlns:a16="http://schemas.microsoft.com/office/drawing/2014/main" id="{60A84E2B-9C2A-CB1D-F492-A37930B5978D}"/>
                      </a:ext>
                    </a:extLst>
                  </p:cNvPr>
                  <p:cNvSpPr/>
                  <p:nvPr userDrawn="1"/>
                </p:nvSpPr>
                <p:spPr>
                  <a:xfrm>
                    <a:off x="8196332" y="4339821"/>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AFBFC"/>
                  </a:solidFill>
                  <a:ln w="2339" cap="flat">
                    <a:noFill/>
                    <a:prstDash val="solid"/>
                    <a:miter/>
                  </a:ln>
                </p:spPr>
                <p:txBody>
                  <a:bodyPr rtlCol="0" anchor="ctr"/>
                  <a:lstStyle/>
                  <a:p>
                    <a:endParaRPr lang="en-US" sz="2400"/>
                  </a:p>
                </p:txBody>
              </p:sp>
              <p:sp>
                <p:nvSpPr>
                  <p:cNvPr id="267" name="Freeform: Shape 266">
                    <a:extLst>
                      <a:ext uri="{FF2B5EF4-FFF2-40B4-BE49-F238E27FC236}">
                        <a16:creationId xmlns:a16="http://schemas.microsoft.com/office/drawing/2014/main" id="{F919F7CE-4550-2031-5DE2-21624437F66B}"/>
                      </a:ext>
                    </a:extLst>
                  </p:cNvPr>
                  <p:cNvSpPr/>
                  <p:nvPr userDrawn="1"/>
                </p:nvSpPr>
                <p:spPr>
                  <a:xfrm>
                    <a:off x="8196215" y="4339400"/>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AFBFC"/>
                  </a:solidFill>
                  <a:ln w="2339" cap="flat">
                    <a:noFill/>
                    <a:prstDash val="solid"/>
                    <a:miter/>
                  </a:ln>
                </p:spPr>
                <p:txBody>
                  <a:bodyPr rtlCol="0" anchor="ctr"/>
                  <a:lstStyle/>
                  <a:p>
                    <a:endParaRPr lang="en-US" sz="2400"/>
                  </a:p>
                </p:txBody>
              </p:sp>
              <p:sp>
                <p:nvSpPr>
                  <p:cNvPr id="268" name="Freeform: Shape 267">
                    <a:extLst>
                      <a:ext uri="{FF2B5EF4-FFF2-40B4-BE49-F238E27FC236}">
                        <a16:creationId xmlns:a16="http://schemas.microsoft.com/office/drawing/2014/main" id="{72212B73-74F2-59A9-EBA9-B07FC11FA9E3}"/>
                      </a:ext>
                    </a:extLst>
                  </p:cNvPr>
                  <p:cNvSpPr/>
                  <p:nvPr userDrawn="1"/>
                </p:nvSpPr>
                <p:spPr>
                  <a:xfrm>
                    <a:off x="8196098" y="4338979"/>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BFBFC"/>
                  </a:solidFill>
                  <a:ln w="2339" cap="flat">
                    <a:noFill/>
                    <a:prstDash val="solid"/>
                    <a:miter/>
                  </a:ln>
                </p:spPr>
                <p:txBody>
                  <a:bodyPr rtlCol="0" anchor="ctr"/>
                  <a:lstStyle/>
                  <a:p>
                    <a:endParaRPr lang="en-US" sz="2400"/>
                  </a:p>
                </p:txBody>
              </p:sp>
              <p:sp>
                <p:nvSpPr>
                  <p:cNvPr id="269" name="Freeform: Shape 268">
                    <a:extLst>
                      <a:ext uri="{FF2B5EF4-FFF2-40B4-BE49-F238E27FC236}">
                        <a16:creationId xmlns:a16="http://schemas.microsoft.com/office/drawing/2014/main" id="{6A3672C8-9F7E-20E7-45A3-A1F2BEFCEA71}"/>
                      </a:ext>
                    </a:extLst>
                  </p:cNvPr>
                  <p:cNvSpPr/>
                  <p:nvPr userDrawn="1"/>
                </p:nvSpPr>
                <p:spPr>
                  <a:xfrm>
                    <a:off x="8195981" y="4338581"/>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BFBFC"/>
                  </a:solidFill>
                  <a:ln w="2339" cap="flat">
                    <a:noFill/>
                    <a:prstDash val="solid"/>
                    <a:miter/>
                  </a:ln>
                </p:spPr>
                <p:txBody>
                  <a:bodyPr rtlCol="0" anchor="ctr"/>
                  <a:lstStyle/>
                  <a:p>
                    <a:endParaRPr lang="en-US" sz="2400"/>
                  </a:p>
                </p:txBody>
              </p:sp>
              <p:sp>
                <p:nvSpPr>
                  <p:cNvPr id="270" name="Freeform: Shape 269">
                    <a:extLst>
                      <a:ext uri="{FF2B5EF4-FFF2-40B4-BE49-F238E27FC236}">
                        <a16:creationId xmlns:a16="http://schemas.microsoft.com/office/drawing/2014/main" id="{71489268-5EF8-692C-4518-4E7DECCD5419}"/>
                      </a:ext>
                    </a:extLst>
                  </p:cNvPr>
                  <p:cNvSpPr/>
                  <p:nvPr userDrawn="1"/>
                </p:nvSpPr>
                <p:spPr>
                  <a:xfrm>
                    <a:off x="8195864" y="4338160"/>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BFCFD"/>
                  </a:solidFill>
                  <a:ln w="2339" cap="flat">
                    <a:noFill/>
                    <a:prstDash val="solid"/>
                    <a:miter/>
                  </a:ln>
                </p:spPr>
                <p:txBody>
                  <a:bodyPr rtlCol="0" anchor="ctr"/>
                  <a:lstStyle/>
                  <a:p>
                    <a:endParaRPr lang="en-US" sz="2400"/>
                  </a:p>
                </p:txBody>
              </p:sp>
              <p:sp>
                <p:nvSpPr>
                  <p:cNvPr id="271" name="Freeform: Shape 270">
                    <a:extLst>
                      <a:ext uri="{FF2B5EF4-FFF2-40B4-BE49-F238E27FC236}">
                        <a16:creationId xmlns:a16="http://schemas.microsoft.com/office/drawing/2014/main" id="{E8BBA3EC-571D-D368-325F-B87E56B1504F}"/>
                      </a:ext>
                    </a:extLst>
                  </p:cNvPr>
                  <p:cNvSpPr/>
                  <p:nvPr userDrawn="1"/>
                </p:nvSpPr>
                <p:spPr>
                  <a:xfrm>
                    <a:off x="8195771" y="4337739"/>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CFCFD"/>
                  </a:solidFill>
                  <a:ln w="2339" cap="flat">
                    <a:noFill/>
                    <a:prstDash val="solid"/>
                    <a:miter/>
                  </a:ln>
                </p:spPr>
                <p:txBody>
                  <a:bodyPr rtlCol="0" anchor="ctr"/>
                  <a:lstStyle/>
                  <a:p>
                    <a:endParaRPr lang="en-US" sz="2400"/>
                  </a:p>
                </p:txBody>
              </p:sp>
              <p:sp>
                <p:nvSpPr>
                  <p:cNvPr id="272" name="Freeform: Shape 271">
                    <a:extLst>
                      <a:ext uri="{FF2B5EF4-FFF2-40B4-BE49-F238E27FC236}">
                        <a16:creationId xmlns:a16="http://schemas.microsoft.com/office/drawing/2014/main" id="{F95CA3AC-281D-F499-EDD3-0CED97345081}"/>
                      </a:ext>
                    </a:extLst>
                  </p:cNvPr>
                  <p:cNvSpPr/>
                  <p:nvPr userDrawn="1"/>
                </p:nvSpPr>
                <p:spPr>
                  <a:xfrm>
                    <a:off x="8195677" y="4337341"/>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CFCFD"/>
                  </a:solidFill>
                  <a:ln w="2339" cap="flat">
                    <a:noFill/>
                    <a:prstDash val="solid"/>
                    <a:miter/>
                  </a:ln>
                </p:spPr>
                <p:txBody>
                  <a:bodyPr rtlCol="0" anchor="ctr"/>
                  <a:lstStyle/>
                  <a:p>
                    <a:endParaRPr lang="en-US" sz="2400"/>
                  </a:p>
                </p:txBody>
              </p:sp>
              <p:sp>
                <p:nvSpPr>
                  <p:cNvPr id="273" name="Freeform: Shape 272">
                    <a:extLst>
                      <a:ext uri="{FF2B5EF4-FFF2-40B4-BE49-F238E27FC236}">
                        <a16:creationId xmlns:a16="http://schemas.microsoft.com/office/drawing/2014/main" id="{13315A20-9445-5503-05A1-7E81CE34491A}"/>
                      </a:ext>
                    </a:extLst>
                  </p:cNvPr>
                  <p:cNvSpPr/>
                  <p:nvPr userDrawn="1"/>
                </p:nvSpPr>
                <p:spPr>
                  <a:xfrm>
                    <a:off x="8195584" y="4336920"/>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CFCFD"/>
                  </a:solidFill>
                  <a:ln w="2339" cap="flat">
                    <a:noFill/>
                    <a:prstDash val="solid"/>
                    <a:miter/>
                  </a:ln>
                </p:spPr>
                <p:txBody>
                  <a:bodyPr rtlCol="0" anchor="ctr"/>
                  <a:lstStyle/>
                  <a:p>
                    <a:endParaRPr lang="en-US" sz="2400"/>
                  </a:p>
                </p:txBody>
              </p:sp>
              <p:sp>
                <p:nvSpPr>
                  <p:cNvPr id="274" name="Freeform: Shape 273">
                    <a:extLst>
                      <a:ext uri="{FF2B5EF4-FFF2-40B4-BE49-F238E27FC236}">
                        <a16:creationId xmlns:a16="http://schemas.microsoft.com/office/drawing/2014/main" id="{7AC2FB25-7CBB-1BB8-041B-EC0795882B84}"/>
                      </a:ext>
                    </a:extLst>
                  </p:cNvPr>
                  <p:cNvSpPr/>
                  <p:nvPr userDrawn="1"/>
                </p:nvSpPr>
                <p:spPr>
                  <a:xfrm>
                    <a:off x="8195490" y="4336499"/>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DFDFD"/>
                  </a:solidFill>
                  <a:ln w="2339" cap="flat">
                    <a:noFill/>
                    <a:prstDash val="solid"/>
                    <a:miter/>
                  </a:ln>
                </p:spPr>
                <p:txBody>
                  <a:bodyPr rtlCol="0" anchor="ctr"/>
                  <a:lstStyle/>
                  <a:p>
                    <a:endParaRPr lang="en-US" sz="2400"/>
                  </a:p>
                </p:txBody>
              </p:sp>
              <p:sp>
                <p:nvSpPr>
                  <p:cNvPr id="275" name="Freeform: Shape 274">
                    <a:extLst>
                      <a:ext uri="{FF2B5EF4-FFF2-40B4-BE49-F238E27FC236}">
                        <a16:creationId xmlns:a16="http://schemas.microsoft.com/office/drawing/2014/main" id="{BFB5427D-BEA7-6E90-D85C-7CE4588176A3}"/>
                      </a:ext>
                    </a:extLst>
                  </p:cNvPr>
                  <p:cNvSpPr/>
                  <p:nvPr userDrawn="1"/>
                </p:nvSpPr>
                <p:spPr>
                  <a:xfrm>
                    <a:off x="8195420" y="4336101"/>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74"/>
                          <a:pt x="42074" y="32667"/>
                          <a:pt x="42074" y="21037"/>
                        </a:cubicBezTo>
                        <a:close/>
                      </a:path>
                    </a:pathLst>
                  </a:custGeom>
                  <a:solidFill>
                    <a:srgbClr val="FDFDFE"/>
                  </a:solidFill>
                  <a:ln w="2339" cap="flat">
                    <a:noFill/>
                    <a:prstDash val="solid"/>
                    <a:miter/>
                  </a:ln>
                </p:spPr>
                <p:txBody>
                  <a:bodyPr rtlCol="0" anchor="ctr"/>
                  <a:lstStyle/>
                  <a:p>
                    <a:endParaRPr lang="en-US" sz="2400"/>
                  </a:p>
                </p:txBody>
              </p:sp>
              <p:sp>
                <p:nvSpPr>
                  <p:cNvPr id="276" name="Freeform: Shape 275">
                    <a:extLst>
                      <a:ext uri="{FF2B5EF4-FFF2-40B4-BE49-F238E27FC236}">
                        <a16:creationId xmlns:a16="http://schemas.microsoft.com/office/drawing/2014/main" id="{7AA5D70E-45CA-0ECF-5059-584875FC178B}"/>
                      </a:ext>
                    </a:extLst>
                  </p:cNvPr>
                  <p:cNvSpPr/>
                  <p:nvPr userDrawn="1"/>
                </p:nvSpPr>
                <p:spPr>
                  <a:xfrm>
                    <a:off x="8195350" y="4335680"/>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DFDFE"/>
                  </a:solidFill>
                  <a:ln w="2339" cap="flat">
                    <a:noFill/>
                    <a:prstDash val="solid"/>
                    <a:miter/>
                  </a:ln>
                </p:spPr>
                <p:txBody>
                  <a:bodyPr rtlCol="0" anchor="ctr"/>
                  <a:lstStyle/>
                  <a:p>
                    <a:endParaRPr lang="en-US" sz="2400"/>
                  </a:p>
                </p:txBody>
              </p:sp>
              <p:sp>
                <p:nvSpPr>
                  <p:cNvPr id="277" name="Freeform: Shape 276">
                    <a:extLst>
                      <a:ext uri="{FF2B5EF4-FFF2-40B4-BE49-F238E27FC236}">
                        <a16:creationId xmlns:a16="http://schemas.microsoft.com/office/drawing/2014/main" id="{068E562C-610C-3532-7EA5-9EC4041ACE66}"/>
                      </a:ext>
                    </a:extLst>
                  </p:cNvPr>
                  <p:cNvSpPr/>
                  <p:nvPr userDrawn="1"/>
                </p:nvSpPr>
                <p:spPr>
                  <a:xfrm>
                    <a:off x="8195279" y="4335282"/>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74"/>
                          <a:pt x="42074" y="32667"/>
                          <a:pt x="42074" y="21037"/>
                        </a:cubicBezTo>
                        <a:close/>
                      </a:path>
                    </a:pathLst>
                  </a:custGeom>
                  <a:solidFill>
                    <a:srgbClr val="FDFEFE"/>
                  </a:solidFill>
                  <a:ln w="2339" cap="flat">
                    <a:noFill/>
                    <a:prstDash val="solid"/>
                    <a:miter/>
                  </a:ln>
                </p:spPr>
                <p:txBody>
                  <a:bodyPr rtlCol="0" anchor="ctr"/>
                  <a:lstStyle/>
                  <a:p>
                    <a:endParaRPr lang="en-US" sz="2400"/>
                  </a:p>
                </p:txBody>
              </p:sp>
              <p:sp>
                <p:nvSpPr>
                  <p:cNvPr id="278" name="Freeform: Shape 277">
                    <a:extLst>
                      <a:ext uri="{FF2B5EF4-FFF2-40B4-BE49-F238E27FC236}">
                        <a16:creationId xmlns:a16="http://schemas.microsoft.com/office/drawing/2014/main" id="{1E2BEF22-909C-736B-94B2-1F83D5F6EAB5}"/>
                      </a:ext>
                    </a:extLst>
                  </p:cNvPr>
                  <p:cNvSpPr/>
                  <p:nvPr userDrawn="1"/>
                </p:nvSpPr>
                <p:spPr>
                  <a:xfrm>
                    <a:off x="8195233" y="4334861"/>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EFEFE"/>
                  </a:solidFill>
                  <a:ln w="2339" cap="flat">
                    <a:noFill/>
                    <a:prstDash val="solid"/>
                    <a:miter/>
                  </a:ln>
                </p:spPr>
                <p:txBody>
                  <a:bodyPr rtlCol="0" anchor="ctr"/>
                  <a:lstStyle/>
                  <a:p>
                    <a:endParaRPr lang="en-US" sz="2400"/>
                  </a:p>
                </p:txBody>
              </p:sp>
              <p:sp>
                <p:nvSpPr>
                  <p:cNvPr id="279" name="Freeform: Shape 278">
                    <a:extLst>
                      <a:ext uri="{FF2B5EF4-FFF2-40B4-BE49-F238E27FC236}">
                        <a16:creationId xmlns:a16="http://schemas.microsoft.com/office/drawing/2014/main" id="{FB4A7BB1-8D6A-EE1B-F046-8B7055F4F3A2}"/>
                      </a:ext>
                    </a:extLst>
                  </p:cNvPr>
                  <p:cNvSpPr/>
                  <p:nvPr userDrawn="1"/>
                </p:nvSpPr>
                <p:spPr>
                  <a:xfrm>
                    <a:off x="8195162" y="4334463"/>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74"/>
                          <a:pt x="42074" y="32667"/>
                          <a:pt x="42074" y="21037"/>
                        </a:cubicBezTo>
                        <a:close/>
                      </a:path>
                    </a:pathLst>
                  </a:custGeom>
                  <a:solidFill>
                    <a:srgbClr val="FEFEFE"/>
                  </a:solidFill>
                  <a:ln w="2339" cap="flat">
                    <a:noFill/>
                    <a:prstDash val="solid"/>
                    <a:miter/>
                  </a:ln>
                </p:spPr>
                <p:txBody>
                  <a:bodyPr rtlCol="0" anchor="ctr"/>
                  <a:lstStyle/>
                  <a:p>
                    <a:endParaRPr lang="en-US" sz="2400"/>
                  </a:p>
                </p:txBody>
              </p:sp>
              <p:sp>
                <p:nvSpPr>
                  <p:cNvPr id="280" name="Freeform: Shape 279">
                    <a:extLst>
                      <a:ext uri="{FF2B5EF4-FFF2-40B4-BE49-F238E27FC236}">
                        <a16:creationId xmlns:a16="http://schemas.microsoft.com/office/drawing/2014/main" id="{9CB41E50-B55A-5EEA-51AC-B46AF42B8767}"/>
                      </a:ext>
                    </a:extLst>
                  </p:cNvPr>
                  <p:cNvSpPr/>
                  <p:nvPr userDrawn="1"/>
                </p:nvSpPr>
                <p:spPr>
                  <a:xfrm>
                    <a:off x="8195116" y="4334042"/>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EFEFF"/>
                  </a:solidFill>
                  <a:ln w="2339" cap="flat">
                    <a:noFill/>
                    <a:prstDash val="solid"/>
                    <a:miter/>
                  </a:ln>
                </p:spPr>
                <p:txBody>
                  <a:bodyPr rtlCol="0" anchor="ctr"/>
                  <a:lstStyle/>
                  <a:p>
                    <a:endParaRPr lang="en-US" sz="2400"/>
                  </a:p>
                </p:txBody>
              </p:sp>
              <p:sp>
                <p:nvSpPr>
                  <p:cNvPr id="281" name="Freeform: Shape 280">
                    <a:extLst>
                      <a:ext uri="{FF2B5EF4-FFF2-40B4-BE49-F238E27FC236}">
                        <a16:creationId xmlns:a16="http://schemas.microsoft.com/office/drawing/2014/main" id="{2A7B4462-BC98-934B-8CAE-C5C5655BB824}"/>
                      </a:ext>
                    </a:extLst>
                  </p:cNvPr>
                  <p:cNvSpPr/>
                  <p:nvPr userDrawn="1"/>
                </p:nvSpPr>
                <p:spPr>
                  <a:xfrm>
                    <a:off x="8195069" y="4333644"/>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74"/>
                          <a:pt x="42074" y="32667"/>
                          <a:pt x="42074" y="21037"/>
                        </a:cubicBezTo>
                        <a:close/>
                      </a:path>
                    </a:pathLst>
                  </a:custGeom>
                  <a:solidFill>
                    <a:srgbClr val="FFFFFF"/>
                  </a:solidFill>
                  <a:ln w="2339" cap="flat">
                    <a:noFill/>
                    <a:prstDash val="solid"/>
                    <a:miter/>
                  </a:ln>
                </p:spPr>
                <p:txBody>
                  <a:bodyPr rtlCol="0" anchor="ctr"/>
                  <a:lstStyle/>
                  <a:p>
                    <a:endParaRPr lang="en-US" sz="2400"/>
                  </a:p>
                </p:txBody>
              </p:sp>
              <p:sp>
                <p:nvSpPr>
                  <p:cNvPr id="282" name="Freeform: Shape 281">
                    <a:extLst>
                      <a:ext uri="{FF2B5EF4-FFF2-40B4-BE49-F238E27FC236}">
                        <a16:creationId xmlns:a16="http://schemas.microsoft.com/office/drawing/2014/main" id="{F59EC5E6-E91C-C4B1-88F1-82697EB3233D}"/>
                      </a:ext>
                    </a:extLst>
                  </p:cNvPr>
                  <p:cNvSpPr/>
                  <p:nvPr userDrawn="1"/>
                </p:nvSpPr>
                <p:spPr>
                  <a:xfrm>
                    <a:off x="8195045" y="4333223"/>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FFFFF"/>
                  </a:solidFill>
                  <a:ln w="2339" cap="flat">
                    <a:noFill/>
                    <a:prstDash val="solid"/>
                    <a:miter/>
                  </a:ln>
                </p:spPr>
                <p:txBody>
                  <a:bodyPr rtlCol="0" anchor="ctr"/>
                  <a:lstStyle/>
                  <a:p>
                    <a:endParaRPr lang="en-US" sz="2400"/>
                  </a:p>
                </p:txBody>
              </p:sp>
            </p:grpSp>
            <p:grpSp>
              <p:nvGrpSpPr>
                <p:cNvPr id="283" name="Graphic 4">
                  <a:extLst>
                    <a:ext uri="{FF2B5EF4-FFF2-40B4-BE49-F238E27FC236}">
                      <a16:creationId xmlns:a16="http://schemas.microsoft.com/office/drawing/2014/main" id="{B85C0367-B953-932B-189B-15278C301AD0}"/>
                    </a:ext>
                  </a:extLst>
                </p:cNvPr>
                <p:cNvGrpSpPr/>
                <p:nvPr userDrawn="1"/>
              </p:nvGrpSpPr>
              <p:grpSpPr>
                <a:xfrm>
                  <a:off x="8382317" y="4333223"/>
                  <a:ext cx="144917" cy="107360"/>
                  <a:chOff x="8382317" y="4333223"/>
                  <a:chExt cx="144917" cy="107359"/>
                </a:xfrm>
              </p:grpSpPr>
              <p:sp>
                <p:nvSpPr>
                  <p:cNvPr id="284" name="Freeform: Shape 283">
                    <a:extLst>
                      <a:ext uri="{FF2B5EF4-FFF2-40B4-BE49-F238E27FC236}">
                        <a16:creationId xmlns:a16="http://schemas.microsoft.com/office/drawing/2014/main" id="{59C558CF-6F7C-6A62-B850-55D22DE95BE1}"/>
                      </a:ext>
                    </a:extLst>
                  </p:cNvPr>
                  <p:cNvSpPr/>
                  <p:nvPr userDrawn="1"/>
                </p:nvSpPr>
                <p:spPr>
                  <a:xfrm>
                    <a:off x="8382317" y="439850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1B8CC"/>
                  </a:solidFill>
                  <a:ln w="2339" cap="flat">
                    <a:noFill/>
                    <a:prstDash val="solid"/>
                    <a:miter/>
                  </a:ln>
                </p:spPr>
                <p:txBody>
                  <a:bodyPr rtlCol="0" anchor="ctr"/>
                  <a:lstStyle/>
                  <a:p>
                    <a:endParaRPr lang="en-US" sz="2400"/>
                  </a:p>
                </p:txBody>
              </p:sp>
              <p:sp>
                <p:nvSpPr>
                  <p:cNvPr id="285" name="Freeform: Shape 284">
                    <a:extLst>
                      <a:ext uri="{FF2B5EF4-FFF2-40B4-BE49-F238E27FC236}">
                        <a16:creationId xmlns:a16="http://schemas.microsoft.com/office/drawing/2014/main" id="{E8CE9AF9-43BB-BB8F-59F4-487BA072C3E8}"/>
                      </a:ext>
                    </a:extLst>
                  </p:cNvPr>
                  <p:cNvSpPr/>
                  <p:nvPr userDrawn="1"/>
                </p:nvSpPr>
                <p:spPr>
                  <a:xfrm>
                    <a:off x="8382902" y="439843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74"/>
                          <a:pt x="0" y="32643"/>
                          <a:pt x="0" y="21037"/>
                        </a:cubicBezTo>
                        <a:close/>
                      </a:path>
                    </a:pathLst>
                  </a:custGeom>
                  <a:solidFill>
                    <a:srgbClr val="B1B8CC"/>
                  </a:solidFill>
                  <a:ln w="2339" cap="flat">
                    <a:noFill/>
                    <a:prstDash val="solid"/>
                    <a:miter/>
                  </a:ln>
                </p:spPr>
                <p:txBody>
                  <a:bodyPr rtlCol="0" anchor="ctr"/>
                  <a:lstStyle/>
                  <a:p>
                    <a:endParaRPr lang="en-US" sz="2400"/>
                  </a:p>
                </p:txBody>
              </p:sp>
              <p:sp>
                <p:nvSpPr>
                  <p:cNvPr id="286" name="Freeform: Shape 285">
                    <a:extLst>
                      <a:ext uri="{FF2B5EF4-FFF2-40B4-BE49-F238E27FC236}">
                        <a16:creationId xmlns:a16="http://schemas.microsoft.com/office/drawing/2014/main" id="{D38BD378-E4C9-102F-E881-43DD1B0A50CD}"/>
                      </a:ext>
                    </a:extLst>
                  </p:cNvPr>
                  <p:cNvSpPr/>
                  <p:nvPr userDrawn="1"/>
                </p:nvSpPr>
                <p:spPr>
                  <a:xfrm>
                    <a:off x="8383464" y="4398345"/>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74"/>
                          <a:pt x="0" y="32667"/>
                          <a:pt x="0" y="21037"/>
                        </a:cubicBezTo>
                        <a:close/>
                      </a:path>
                    </a:pathLst>
                  </a:custGeom>
                  <a:solidFill>
                    <a:srgbClr val="B2B9CC"/>
                  </a:solidFill>
                  <a:ln w="2339" cap="flat">
                    <a:noFill/>
                    <a:prstDash val="solid"/>
                    <a:miter/>
                  </a:ln>
                </p:spPr>
                <p:txBody>
                  <a:bodyPr rtlCol="0" anchor="ctr"/>
                  <a:lstStyle/>
                  <a:p>
                    <a:endParaRPr lang="en-US" sz="2400"/>
                  </a:p>
                </p:txBody>
              </p:sp>
              <p:sp>
                <p:nvSpPr>
                  <p:cNvPr id="287" name="Freeform: Shape 286">
                    <a:extLst>
                      <a:ext uri="{FF2B5EF4-FFF2-40B4-BE49-F238E27FC236}">
                        <a16:creationId xmlns:a16="http://schemas.microsoft.com/office/drawing/2014/main" id="{41782DF0-C4B6-5766-B20A-C1BF64125B59}"/>
                      </a:ext>
                    </a:extLst>
                  </p:cNvPr>
                  <p:cNvSpPr/>
                  <p:nvPr userDrawn="1"/>
                </p:nvSpPr>
                <p:spPr>
                  <a:xfrm>
                    <a:off x="8384025" y="4398252"/>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2B9CD"/>
                  </a:solidFill>
                  <a:ln w="2339" cap="flat">
                    <a:noFill/>
                    <a:prstDash val="solid"/>
                    <a:miter/>
                  </a:ln>
                </p:spPr>
                <p:txBody>
                  <a:bodyPr rtlCol="0" anchor="ctr"/>
                  <a:lstStyle/>
                  <a:p>
                    <a:endParaRPr lang="en-US" sz="2400"/>
                  </a:p>
                </p:txBody>
              </p:sp>
              <p:sp>
                <p:nvSpPr>
                  <p:cNvPr id="288" name="Freeform: Shape 287">
                    <a:extLst>
                      <a:ext uri="{FF2B5EF4-FFF2-40B4-BE49-F238E27FC236}">
                        <a16:creationId xmlns:a16="http://schemas.microsoft.com/office/drawing/2014/main" id="{B8B49F8F-7B45-BA22-553B-4ABD5881CE12}"/>
                      </a:ext>
                    </a:extLst>
                  </p:cNvPr>
                  <p:cNvSpPr/>
                  <p:nvPr userDrawn="1"/>
                </p:nvSpPr>
                <p:spPr>
                  <a:xfrm>
                    <a:off x="8384587" y="439818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2B9CD"/>
                  </a:solidFill>
                  <a:ln w="2339" cap="flat">
                    <a:noFill/>
                    <a:prstDash val="solid"/>
                    <a:miter/>
                  </a:ln>
                </p:spPr>
                <p:txBody>
                  <a:bodyPr rtlCol="0" anchor="ctr"/>
                  <a:lstStyle/>
                  <a:p>
                    <a:endParaRPr lang="en-US" sz="2400"/>
                  </a:p>
                </p:txBody>
              </p:sp>
              <p:sp>
                <p:nvSpPr>
                  <p:cNvPr id="289" name="Freeform: Shape 288">
                    <a:extLst>
                      <a:ext uri="{FF2B5EF4-FFF2-40B4-BE49-F238E27FC236}">
                        <a16:creationId xmlns:a16="http://schemas.microsoft.com/office/drawing/2014/main" id="{F3AB1B7D-DE3A-CB5E-7BAD-37F21DEE17F1}"/>
                      </a:ext>
                    </a:extLst>
                  </p:cNvPr>
                  <p:cNvSpPr/>
                  <p:nvPr userDrawn="1"/>
                </p:nvSpPr>
                <p:spPr>
                  <a:xfrm>
                    <a:off x="8385148" y="4398088"/>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3B9CD"/>
                  </a:solidFill>
                  <a:ln w="2339" cap="flat">
                    <a:noFill/>
                    <a:prstDash val="solid"/>
                    <a:miter/>
                  </a:ln>
                </p:spPr>
                <p:txBody>
                  <a:bodyPr rtlCol="0" anchor="ctr"/>
                  <a:lstStyle/>
                  <a:p>
                    <a:endParaRPr lang="en-US" sz="2400"/>
                  </a:p>
                </p:txBody>
              </p:sp>
              <p:sp>
                <p:nvSpPr>
                  <p:cNvPr id="290" name="Freeform: Shape 289">
                    <a:extLst>
                      <a:ext uri="{FF2B5EF4-FFF2-40B4-BE49-F238E27FC236}">
                        <a16:creationId xmlns:a16="http://schemas.microsoft.com/office/drawing/2014/main" id="{9DAF8641-969C-7C39-1C26-BECBFD3DAFDF}"/>
                      </a:ext>
                    </a:extLst>
                  </p:cNvPr>
                  <p:cNvSpPr/>
                  <p:nvPr userDrawn="1"/>
                </p:nvSpPr>
                <p:spPr>
                  <a:xfrm>
                    <a:off x="8385710" y="4397994"/>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3BACD"/>
                  </a:solidFill>
                  <a:ln w="2339" cap="flat">
                    <a:noFill/>
                    <a:prstDash val="solid"/>
                    <a:miter/>
                  </a:ln>
                </p:spPr>
                <p:txBody>
                  <a:bodyPr rtlCol="0" anchor="ctr"/>
                  <a:lstStyle/>
                  <a:p>
                    <a:endParaRPr lang="en-US" sz="2400"/>
                  </a:p>
                </p:txBody>
              </p:sp>
              <p:sp>
                <p:nvSpPr>
                  <p:cNvPr id="291" name="Freeform: Shape 290">
                    <a:extLst>
                      <a:ext uri="{FF2B5EF4-FFF2-40B4-BE49-F238E27FC236}">
                        <a16:creationId xmlns:a16="http://schemas.microsoft.com/office/drawing/2014/main" id="{39D51C1B-DF4F-1C56-BD42-7ACF58D80C2C}"/>
                      </a:ext>
                    </a:extLst>
                  </p:cNvPr>
                  <p:cNvSpPr/>
                  <p:nvPr userDrawn="1"/>
                </p:nvSpPr>
                <p:spPr>
                  <a:xfrm>
                    <a:off x="8386272" y="439790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3BACD"/>
                  </a:solidFill>
                  <a:ln w="2339" cap="flat">
                    <a:noFill/>
                    <a:prstDash val="solid"/>
                    <a:miter/>
                  </a:ln>
                </p:spPr>
                <p:txBody>
                  <a:bodyPr rtlCol="0" anchor="ctr"/>
                  <a:lstStyle/>
                  <a:p>
                    <a:endParaRPr lang="en-US" sz="2400"/>
                  </a:p>
                </p:txBody>
              </p:sp>
              <p:sp>
                <p:nvSpPr>
                  <p:cNvPr id="292" name="Freeform: Shape 291">
                    <a:extLst>
                      <a:ext uri="{FF2B5EF4-FFF2-40B4-BE49-F238E27FC236}">
                        <a16:creationId xmlns:a16="http://schemas.microsoft.com/office/drawing/2014/main" id="{CEB1BD3A-1C40-C857-8663-3EBE05B6870C}"/>
                      </a:ext>
                    </a:extLst>
                  </p:cNvPr>
                  <p:cNvSpPr/>
                  <p:nvPr userDrawn="1"/>
                </p:nvSpPr>
                <p:spPr>
                  <a:xfrm>
                    <a:off x="8386833" y="4397807"/>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3BACE"/>
                  </a:solidFill>
                  <a:ln w="2339" cap="flat">
                    <a:noFill/>
                    <a:prstDash val="solid"/>
                    <a:miter/>
                  </a:ln>
                </p:spPr>
                <p:txBody>
                  <a:bodyPr rtlCol="0" anchor="ctr"/>
                  <a:lstStyle/>
                  <a:p>
                    <a:endParaRPr lang="en-US" sz="2400"/>
                  </a:p>
                </p:txBody>
              </p:sp>
              <p:sp>
                <p:nvSpPr>
                  <p:cNvPr id="293" name="Freeform: Shape 292">
                    <a:extLst>
                      <a:ext uri="{FF2B5EF4-FFF2-40B4-BE49-F238E27FC236}">
                        <a16:creationId xmlns:a16="http://schemas.microsoft.com/office/drawing/2014/main" id="{DFFB522F-0600-AED8-AE62-C16AB58C0B04}"/>
                      </a:ext>
                    </a:extLst>
                  </p:cNvPr>
                  <p:cNvSpPr/>
                  <p:nvPr userDrawn="1"/>
                </p:nvSpPr>
                <p:spPr>
                  <a:xfrm>
                    <a:off x="8387395" y="4397713"/>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4BBCE"/>
                  </a:solidFill>
                  <a:ln w="2339" cap="flat">
                    <a:noFill/>
                    <a:prstDash val="solid"/>
                    <a:miter/>
                  </a:ln>
                </p:spPr>
                <p:txBody>
                  <a:bodyPr rtlCol="0" anchor="ctr"/>
                  <a:lstStyle/>
                  <a:p>
                    <a:endParaRPr lang="en-US" sz="2400"/>
                  </a:p>
                </p:txBody>
              </p:sp>
              <p:sp>
                <p:nvSpPr>
                  <p:cNvPr id="294" name="Freeform: Shape 293">
                    <a:extLst>
                      <a:ext uri="{FF2B5EF4-FFF2-40B4-BE49-F238E27FC236}">
                        <a16:creationId xmlns:a16="http://schemas.microsoft.com/office/drawing/2014/main" id="{28BEC592-FF48-4D60-7DE1-3924FB3E9C96}"/>
                      </a:ext>
                    </a:extLst>
                  </p:cNvPr>
                  <p:cNvSpPr/>
                  <p:nvPr userDrawn="1"/>
                </p:nvSpPr>
                <p:spPr>
                  <a:xfrm>
                    <a:off x="8387956" y="439762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4BBCE"/>
                  </a:solidFill>
                  <a:ln w="2339" cap="flat">
                    <a:noFill/>
                    <a:prstDash val="solid"/>
                    <a:miter/>
                  </a:ln>
                </p:spPr>
                <p:txBody>
                  <a:bodyPr rtlCol="0" anchor="ctr"/>
                  <a:lstStyle/>
                  <a:p>
                    <a:endParaRPr lang="en-US" sz="2400"/>
                  </a:p>
                </p:txBody>
              </p:sp>
              <p:sp>
                <p:nvSpPr>
                  <p:cNvPr id="295" name="Freeform: Shape 294">
                    <a:extLst>
                      <a:ext uri="{FF2B5EF4-FFF2-40B4-BE49-F238E27FC236}">
                        <a16:creationId xmlns:a16="http://schemas.microsoft.com/office/drawing/2014/main" id="{DCC07CA6-02A3-FF6A-D951-534901303A33}"/>
                      </a:ext>
                    </a:extLst>
                  </p:cNvPr>
                  <p:cNvSpPr/>
                  <p:nvPr userDrawn="1"/>
                </p:nvSpPr>
                <p:spPr>
                  <a:xfrm>
                    <a:off x="8388518" y="4397526"/>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4BBCE"/>
                  </a:solidFill>
                  <a:ln w="2339" cap="flat">
                    <a:noFill/>
                    <a:prstDash val="solid"/>
                    <a:miter/>
                  </a:ln>
                </p:spPr>
                <p:txBody>
                  <a:bodyPr rtlCol="0" anchor="ctr"/>
                  <a:lstStyle/>
                  <a:p>
                    <a:endParaRPr lang="en-US" sz="2400"/>
                  </a:p>
                </p:txBody>
              </p:sp>
              <p:sp>
                <p:nvSpPr>
                  <p:cNvPr id="296" name="Freeform: Shape 295">
                    <a:extLst>
                      <a:ext uri="{FF2B5EF4-FFF2-40B4-BE49-F238E27FC236}">
                        <a16:creationId xmlns:a16="http://schemas.microsoft.com/office/drawing/2014/main" id="{35C931B7-8431-35FB-7130-9C496C9B568E}"/>
                      </a:ext>
                    </a:extLst>
                  </p:cNvPr>
                  <p:cNvSpPr/>
                  <p:nvPr userDrawn="1"/>
                </p:nvSpPr>
                <p:spPr>
                  <a:xfrm>
                    <a:off x="8389080" y="4397433"/>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5BBCE"/>
                  </a:solidFill>
                  <a:ln w="2339" cap="flat">
                    <a:noFill/>
                    <a:prstDash val="solid"/>
                    <a:miter/>
                  </a:ln>
                </p:spPr>
                <p:txBody>
                  <a:bodyPr rtlCol="0" anchor="ctr"/>
                  <a:lstStyle/>
                  <a:p>
                    <a:endParaRPr lang="en-US" sz="2400"/>
                  </a:p>
                </p:txBody>
              </p:sp>
              <p:sp>
                <p:nvSpPr>
                  <p:cNvPr id="297" name="Freeform: Shape 296">
                    <a:extLst>
                      <a:ext uri="{FF2B5EF4-FFF2-40B4-BE49-F238E27FC236}">
                        <a16:creationId xmlns:a16="http://schemas.microsoft.com/office/drawing/2014/main" id="{3534FEE9-AD4A-ACFA-3A9B-C893E0443D30}"/>
                      </a:ext>
                    </a:extLst>
                  </p:cNvPr>
                  <p:cNvSpPr/>
                  <p:nvPr userDrawn="1"/>
                </p:nvSpPr>
                <p:spPr>
                  <a:xfrm>
                    <a:off x="8389641" y="4397316"/>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5BCCF"/>
                  </a:solidFill>
                  <a:ln w="2339" cap="flat">
                    <a:noFill/>
                    <a:prstDash val="solid"/>
                    <a:miter/>
                  </a:ln>
                </p:spPr>
                <p:txBody>
                  <a:bodyPr rtlCol="0" anchor="ctr"/>
                  <a:lstStyle/>
                  <a:p>
                    <a:endParaRPr lang="en-US" sz="2400"/>
                  </a:p>
                </p:txBody>
              </p:sp>
              <p:sp>
                <p:nvSpPr>
                  <p:cNvPr id="298" name="Freeform: Shape 297">
                    <a:extLst>
                      <a:ext uri="{FF2B5EF4-FFF2-40B4-BE49-F238E27FC236}">
                        <a16:creationId xmlns:a16="http://schemas.microsoft.com/office/drawing/2014/main" id="{EE1E83C5-DFBF-5630-C341-60781762E260}"/>
                      </a:ext>
                    </a:extLst>
                  </p:cNvPr>
                  <p:cNvSpPr/>
                  <p:nvPr userDrawn="1"/>
                </p:nvSpPr>
                <p:spPr>
                  <a:xfrm>
                    <a:off x="8390203" y="4397222"/>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5BCCF"/>
                  </a:solidFill>
                  <a:ln w="2339" cap="flat">
                    <a:noFill/>
                    <a:prstDash val="solid"/>
                    <a:miter/>
                  </a:ln>
                </p:spPr>
                <p:txBody>
                  <a:bodyPr rtlCol="0" anchor="ctr"/>
                  <a:lstStyle/>
                  <a:p>
                    <a:endParaRPr lang="en-US" sz="2400"/>
                  </a:p>
                </p:txBody>
              </p:sp>
              <p:sp>
                <p:nvSpPr>
                  <p:cNvPr id="299" name="Freeform: Shape 298">
                    <a:extLst>
                      <a:ext uri="{FF2B5EF4-FFF2-40B4-BE49-F238E27FC236}">
                        <a16:creationId xmlns:a16="http://schemas.microsoft.com/office/drawing/2014/main" id="{6742C993-3B0B-DF7C-AF40-B1542C341CA0}"/>
                      </a:ext>
                    </a:extLst>
                  </p:cNvPr>
                  <p:cNvSpPr/>
                  <p:nvPr userDrawn="1"/>
                </p:nvSpPr>
                <p:spPr>
                  <a:xfrm>
                    <a:off x="8390764" y="4397128"/>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6BCCF"/>
                  </a:solidFill>
                  <a:ln w="2339" cap="flat">
                    <a:noFill/>
                    <a:prstDash val="solid"/>
                    <a:miter/>
                  </a:ln>
                </p:spPr>
                <p:txBody>
                  <a:bodyPr rtlCol="0" anchor="ctr"/>
                  <a:lstStyle/>
                  <a:p>
                    <a:endParaRPr lang="en-US" sz="2400"/>
                  </a:p>
                </p:txBody>
              </p:sp>
              <p:sp>
                <p:nvSpPr>
                  <p:cNvPr id="300" name="Freeform: Shape 299">
                    <a:extLst>
                      <a:ext uri="{FF2B5EF4-FFF2-40B4-BE49-F238E27FC236}">
                        <a16:creationId xmlns:a16="http://schemas.microsoft.com/office/drawing/2014/main" id="{9FCE8BEC-C445-2865-28EC-D7C14A0849EC}"/>
                      </a:ext>
                    </a:extLst>
                  </p:cNvPr>
                  <p:cNvSpPr/>
                  <p:nvPr userDrawn="1"/>
                </p:nvSpPr>
                <p:spPr>
                  <a:xfrm>
                    <a:off x="8391326" y="439701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6BCCF"/>
                  </a:solidFill>
                  <a:ln w="2339" cap="flat">
                    <a:noFill/>
                    <a:prstDash val="solid"/>
                    <a:miter/>
                  </a:ln>
                </p:spPr>
                <p:txBody>
                  <a:bodyPr rtlCol="0" anchor="ctr"/>
                  <a:lstStyle/>
                  <a:p>
                    <a:endParaRPr lang="en-US" sz="2400"/>
                  </a:p>
                </p:txBody>
              </p:sp>
              <p:sp>
                <p:nvSpPr>
                  <p:cNvPr id="301" name="Freeform: Shape 300">
                    <a:extLst>
                      <a:ext uri="{FF2B5EF4-FFF2-40B4-BE49-F238E27FC236}">
                        <a16:creationId xmlns:a16="http://schemas.microsoft.com/office/drawing/2014/main" id="{556146A0-BE39-8D4D-82B7-DB45080F30D4}"/>
                      </a:ext>
                    </a:extLst>
                  </p:cNvPr>
                  <p:cNvSpPr/>
                  <p:nvPr userDrawn="1"/>
                </p:nvSpPr>
                <p:spPr>
                  <a:xfrm>
                    <a:off x="8391888" y="4396918"/>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74"/>
                          <a:pt x="0" y="32667"/>
                          <a:pt x="0" y="21037"/>
                        </a:cubicBezTo>
                        <a:close/>
                      </a:path>
                    </a:pathLst>
                  </a:custGeom>
                  <a:solidFill>
                    <a:srgbClr val="B6BDCF"/>
                  </a:solidFill>
                  <a:ln w="2339" cap="flat">
                    <a:noFill/>
                    <a:prstDash val="solid"/>
                    <a:miter/>
                  </a:ln>
                </p:spPr>
                <p:txBody>
                  <a:bodyPr rtlCol="0" anchor="ctr"/>
                  <a:lstStyle/>
                  <a:p>
                    <a:endParaRPr lang="en-US" sz="2400"/>
                  </a:p>
                </p:txBody>
              </p:sp>
              <p:sp>
                <p:nvSpPr>
                  <p:cNvPr id="302" name="Freeform: Shape 301">
                    <a:extLst>
                      <a:ext uri="{FF2B5EF4-FFF2-40B4-BE49-F238E27FC236}">
                        <a16:creationId xmlns:a16="http://schemas.microsoft.com/office/drawing/2014/main" id="{1C851EE6-3565-BC07-C89F-20C434EE83DF}"/>
                      </a:ext>
                    </a:extLst>
                  </p:cNvPr>
                  <p:cNvSpPr/>
                  <p:nvPr userDrawn="1"/>
                </p:nvSpPr>
                <p:spPr>
                  <a:xfrm>
                    <a:off x="8392449" y="439680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97"/>
                          <a:pt x="0" y="32667"/>
                          <a:pt x="0" y="21037"/>
                        </a:cubicBezTo>
                        <a:close/>
                      </a:path>
                    </a:pathLst>
                  </a:custGeom>
                  <a:solidFill>
                    <a:srgbClr val="B7BDD0"/>
                  </a:solidFill>
                  <a:ln w="2339" cap="flat">
                    <a:noFill/>
                    <a:prstDash val="solid"/>
                    <a:miter/>
                  </a:ln>
                </p:spPr>
                <p:txBody>
                  <a:bodyPr rtlCol="0" anchor="ctr"/>
                  <a:lstStyle/>
                  <a:p>
                    <a:endParaRPr lang="en-US" sz="2400"/>
                  </a:p>
                </p:txBody>
              </p:sp>
              <p:sp>
                <p:nvSpPr>
                  <p:cNvPr id="303" name="Freeform: Shape 302">
                    <a:extLst>
                      <a:ext uri="{FF2B5EF4-FFF2-40B4-BE49-F238E27FC236}">
                        <a16:creationId xmlns:a16="http://schemas.microsoft.com/office/drawing/2014/main" id="{DDCFC538-364C-C92B-FC87-663143564EDB}"/>
                      </a:ext>
                    </a:extLst>
                  </p:cNvPr>
                  <p:cNvSpPr/>
                  <p:nvPr userDrawn="1"/>
                </p:nvSpPr>
                <p:spPr>
                  <a:xfrm>
                    <a:off x="8392987" y="4396707"/>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7BDD0"/>
                  </a:solidFill>
                  <a:ln w="2339" cap="flat">
                    <a:noFill/>
                    <a:prstDash val="solid"/>
                    <a:miter/>
                  </a:ln>
                </p:spPr>
                <p:txBody>
                  <a:bodyPr rtlCol="0" anchor="ctr"/>
                  <a:lstStyle/>
                  <a:p>
                    <a:endParaRPr lang="en-US" sz="2400"/>
                  </a:p>
                </p:txBody>
              </p:sp>
              <p:sp>
                <p:nvSpPr>
                  <p:cNvPr id="304" name="Freeform: Shape 303">
                    <a:extLst>
                      <a:ext uri="{FF2B5EF4-FFF2-40B4-BE49-F238E27FC236}">
                        <a16:creationId xmlns:a16="http://schemas.microsoft.com/office/drawing/2014/main" id="{69E9B8ED-22A4-27FE-7373-713620B6E445}"/>
                      </a:ext>
                    </a:extLst>
                  </p:cNvPr>
                  <p:cNvSpPr/>
                  <p:nvPr userDrawn="1"/>
                </p:nvSpPr>
                <p:spPr>
                  <a:xfrm>
                    <a:off x="8393549" y="439659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7BED0"/>
                  </a:solidFill>
                  <a:ln w="2339" cap="flat">
                    <a:noFill/>
                    <a:prstDash val="solid"/>
                    <a:miter/>
                  </a:ln>
                </p:spPr>
                <p:txBody>
                  <a:bodyPr rtlCol="0" anchor="ctr"/>
                  <a:lstStyle/>
                  <a:p>
                    <a:endParaRPr lang="en-US" sz="2400"/>
                  </a:p>
                </p:txBody>
              </p:sp>
              <p:sp>
                <p:nvSpPr>
                  <p:cNvPr id="305" name="Freeform: Shape 304">
                    <a:extLst>
                      <a:ext uri="{FF2B5EF4-FFF2-40B4-BE49-F238E27FC236}">
                        <a16:creationId xmlns:a16="http://schemas.microsoft.com/office/drawing/2014/main" id="{3BDAEBD6-5FE5-A928-8F40-37BB73A5E0B9}"/>
                      </a:ext>
                    </a:extLst>
                  </p:cNvPr>
                  <p:cNvSpPr/>
                  <p:nvPr userDrawn="1"/>
                </p:nvSpPr>
                <p:spPr>
                  <a:xfrm>
                    <a:off x="8394111" y="4396473"/>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7BED0"/>
                  </a:solidFill>
                  <a:ln w="2339" cap="flat">
                    <a:noFill/>
                    <a:prstDash val="solid"/>
                    <a:miter/>
                  </a:ln>
                </p:spPr>
                <p:txBody>
                  <a:bodyPr rtlCol="0" anchor="ctr"/>
                  <a:lstStyle/>
                  <a:p>
                    <a:endParaRPr lang="en-US" sz="2400"/>
                  </a:p>
                </p:txBody>
              </p:sp>
              <p:sp>
                <p:nvSpPr>
                  <p:cNvPr id="306" name="Freeform: Shape 305">
                    <a:extLst>
                      <a:ext uri="{FF2B5EF4-FFF2-40B4-BE49-F238E27FC236}">
                        <a16:creationId xmlns:a16="http://schemas.microsoft.com/office/drawing/2014/main" id="{67AC3052-5D7C-A9A8-C035-A31C7CCD3F40}"/>
                      </a:ext>
                    </a:extLst>
                  </p:cNvPr>
                  <p:cNvSpPr/>
                  <p:nvPr userDrawn="1"/>
                </p:nvSpPr>
                <p:spPr>
                  <a:xfrm>
                    <a:off x="8394672" y="439638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74"/>
                          <a:pt x="0" y="32643"/>
                          <a:pt x="0" y="21037"/>
                        </a:cubicBezTo>
                        <a:close/>
                      </a:path>
                    </a:pathLst>
                  </a:custGeom>
                  <a:solidFill>
                    <a:srgbClr val="B8BED0"/>
                  </a:solidFill>
                  <a:ln w="2339" cap="flat">
                    <a:noFill/>
                    <a:prstDash val="solid"/>
                    <a:miter/>
                  </a:ln>
                </p:spPr>
                <p:txBody>
                  <a:bodyPr rtlCol="0" anchor="ctr"/>
                  <a:lstStyle/>
                  <a:p>
                    <a:endParaRPr lang="en-US" sz="2400"/>
                  </a:p>
                </p:txBody>
              </p:sp>
              <p:sp>
                <p:nvSpPr>
                  <p:cNvPr id="307" name="Freeform: Shape 306">
                    <a:extLst>
                      <a:ext uri="{FF2B5EF4-FFF2-40B4-BE49-F238E27FC236}">
                        <a16:creationId xmlns:a16="http://schemas.microsoft.com/office/drawing/2014/main" id="{96F05156-CC63-E7AE-5D1F-A8166A088464}"/>
                      </a:ext>
                    </a:extLst>
                  </p:cNvPr>
                  <p:cNvSpPr/>
                  <p:nvPr userDrawn="1"/>
                </p:nvSpPr>
                <p:spPr>
                  <a:xfrm>
                    <a:off x="8395210" y="4396263"/>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8BED1"/>
                  </a:solidFill>
                  <a:ln w="2339" cap="flat">
                    <a:noFill/>
                    <a:prstDash val="solid"/>
                    <a:miter/>
                  </a:ln>
                </p:spPr>
                <p:txBody>
                  <a:bodyPr rtlCol="0" anchor="ctr"/>
                  <a:lstStyle/>
                  <a:p>
                    <a:endParaRPr lang="en-US" sz="2400"/>
                  </a:p>
                </p:txBody>
              </p:sp>
              <p:sp>
                <p:nvSpPr>
                  <p:cNvPr id="308" name="Freeform: Shape 307">
                    <a:extLst>
                      <a:ext uri="{FF2B5EF4-FFF2-40B4-BE49-F238E27FC236}">
                        <a16:creationId xmlns:a16="http://schemas.microsoft.com/office/drawing/2014/main" id="{DE248BF9-A088-0C45-229A-C9BE2D394BF4}"/>
                      </a:ext>
                    </a:extLst>
                  </p:cNvPr>
                  <p:cNvSpPr/>
                  <p:nvPr userDrawn="1"/>
                </p:nvSpPr>
                <p:spPr>
                  <a:xfrm>
                    <a:off x="8395772" y="4396146"/>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8BFD1"/>
                  </a:solidFill>
                  <a:ln w="2339" cap="flat">
                    <a:noFill/>
                    <a:prstDash val="solid"/>
                    <a:miter/>
                  </a:ln>
                </p:spPr>
                <p:txBody>
                  <a:bodyPr rtlCol="0" anchor="ctr"/>
                  <a:lstStyle/>
                  <a:p>
                    <a:endParaRPr lang="en-US" sz="2400"/>
                  </a:p>
                </p:txBody>
              </p:sp>
              <p:sp>
                <p:nvSpPr>
                  <p:cNvPr id="309" name="Freeform: Shape 308">
                    <a:extLst>
                      <a:ext uri="{FF2B5EF4-FFF2-40B4-BE49-F238E27FC236}">
                        <a16:creationId xmlns:a16="http://schemas.microsoft.com/office/drawing/2014/main" id="{A260C83D-4F3C-F1FC-CCE2-5AA5F27F131E}"/>
                      </a:ext>
                    </a:extLst>
                  </p:cNvPr>
                  <p:cNvSpPr/>
                  <p:nvPr userDrawn="1"/>
                </p:nvSpPr>
                <p:spPr>
                  <a:xfrm>
                    <a:off x="8396310" y="439602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9BFD1"/>
                  </a:solidFill>
                  <a:ln w="2339" cap="flat">
                    <a:noFill/>
                    <a:prstDash val="solid"/>
                    <a:miter/>
                  </a:ln>
                </p:spPr>
                <p:txBody>
                  <a:bodyPr rtlCol="0" anchor="ctr"/>
                  <a:lstStyle/>
                  <a:p>
                    <a:endParaRPr lang="en-US" sz="2400"/>
                  </a:p>
                </p:txBody>
              </p:sp>
              <p:sp>
                <p:nvSpPr>
                  <p:cNvPr id="310" name="Freeform: Shape 309">
                    <a:extLst>
                      <a:ext uri="{FF2B5EF4-FFF2-40B4-BE49-F238E27FC236}">
                        <a16:creationId xmlns:a16="http://schemas.microsoft.com/office/drawing/2014/main" id="{9939232B-C94F-58F4-12F0-88CA333A4466}"/>
                      </a:ext>
                    </a:extLst>
                  </p:cNvPr>
                  <p:cNvSpPr/>
                  <p:nvPr userDrawn="1"/>
                </p:nvSpPr>
                <p:spPr>
                  <a:xfrm>
                    <a:off x="8396872" y="4395912"/>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9BFD1"/>
                  </a:solidFill>
                  <a:ln w="2339" cap="flat">
                    <a:noFill/>
                    <a:prstDash val="solid"/>
                    <a:miter/>
                  </a:ln>
                </p:spPr>
                <p:txBody>
                  <a:bodyPr rtlCol="0" anchor="ctr"/>
                  <a:lstStyle/>
                  <a:p>
                    <a:endParaRPr lang="en-US" sz="2400"/>
                  </a:p>
                </p:txBody>
              </p:sp>
              <p:sp>
                <p:nvSpPr>
                  <p:cNvPr id="311" name="Freeform: Shape 310">
                    <a:extLst>
                      <a:ext uri="{FF2B5EF4-FFF2-40B4-BE49-F238E27FC236}">
                        <a16:creationId xmlns:a16="http://schemas.microsoft.com/office/drawing/2014/main" id="{AFCA68CF-A6A6-674E-C1B8-F1F0E34972B5}"/>
                      </a:ext>
                    </a:extLst>
                  </p:cNvPr>
                  <p:cNvSpPr/>
                  <p:nvPr userDrawn="1"/>
                </p:nvSpPr>
                <p:spPr>
                  <a:xfrm>
                    <a:off x="8397433" y="4395795"/>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97"/>
                          <a:pt x="0" y="32667"/>
                          <a:pt x="0" y="21037"/>
                        </a:cubicBezTo>
                        <a:close/>
                      </a:path>
                    </a:pathLst>
                  </a:custGeom>
                  <a:solidFill>
                    <a:srgbClr val="B9C0D1"/>
                  </a:solidFill>
                  <a:ln w="2339" cap="flat">
                    <a:noFill/>
                    <a:prstDash val="solid"/>
                    <a:miter/>
                  </a:ln>
                </p:spPr>
                <p:txBody>
                  <a:bodyPr rtlCol="0" anchor="ctr"/>
                  <a:lstStyle/>
                  <a:p>
                    <a:endParaRPr lang="en-US" sz="2400"/>
                  </a:p>
                </p:txBody>
              </p:sp>
              <p:sp>
                <p:nvSpPr>
                  <p:cNvPr id="312" name="Freeform: Shape 311">
                    <a:extLst>
                      <a:ext uri="{FF2B5EF4-FFF2-40B4-BE49-F238E27FC236}">
                        <a16:creationId xmlns:a16="http://schemas.microsoft.com/office/drawing/2014/main" id="{B3AE7595-A535-6BFB-7361-8EFADFD17B4A}"/>
                      </a:ext>
                    </a:extLst>
                  </p:cNvPr>
                  <p:cNvSpPr/>
                  <p:nvPr userDrawn="1"/>
                </p:nvSpPr>
                <p:spPr>
                  <a:xfrm>
                    <a:off x="8397972" y="4395678"/>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AC0D2"/>
                  </a:solidFill>
                  <a:ln w="2339" cap="flat">
                    <a:noFill/>
                    <a:prstDash val="solid"/>
                    <a:miter/>
                  </a:ln>
                </p:spPr>
                <p:txBody>
                  <a:bodyPr rtlCol="0" anchor="ctr"/>
                  <a:lstStyle/>
                  <a:p>
                    <a:endParaRPr lang="en-US" sz="2400"/>
                  </a:p>
                </p:txBody>
              </p:sp>
              <p:sp>
                <p:nvSpPr>
                  <p:cNvPr id="313" name="Freeform: Shape 312">
                    <a:extLst>
                      <a:ext uri="{FF2B5EF4-FFF2-40B4-BE49-F238E27FC236}">
                        <a16:creationId xmlns:a16="http://schemas.microsoft.com/office/drawing/2014/main" id="{2C94D8FC-CFF4-A285-7BEF-9D7328D0F9D0}"/>
                      </a:ext>
                    </a:extLst>
                  </p:cNvPr>
                  <p:cNvSpPr/>
                  <p:nvPr userDrawn="1"/>
                </p:nvSpPr>
                <p:spPr>
                  <a:xfrm>
                    <a:off x="8398510" y="439556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AC0D2"/>
                  </a:solidFill>
                  <a:ln w="2339" cap="flat">
                    <a:noFill/>
                    <a:prstDash val="solid"/>
                    <a:miter/>
                  </a:ln>
                </p:spPr>
                <p:txBody>
                  <a:bodyPr rtlCol="0" anchor="ctr"/>
                  <a:lstStyle/>
                  <a:p>
                    <a:endParaRPr lang="en-US" sz="2400"/>
                  </a:p>
                </p:txBody>
              </p:sp>
              <p:sp>
                <p:nvSpPr>
                  <p:cNvPr id="314" name="Freeform: Shape 313">
                    <a:extLst>
                      <a:ext uri="{FF2B5EF4-FFF2-40B4-BE49-F238E27FC236}">
                        <a16:creationId xmlns:a16="http://schemas.microsoft.com/office/drawing/2014/main" id="{97AFC678-9209-B912-72A5-9B58D7A2E216}"/>
                      </a:ext>
                    </a:extLst>
                  </p:cNvPr>
                  <p:cNvSpPr/>
                  <p:nvPr userDrawn="1"/>
                </p:nvSpPr>
                <p:spPr>
                  <a:xfrm>
                    <a:off x="8399071" y="4395444"/>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AC0D2"/>
                  </a:solidFill>
                  <a:ln w="2339" cap="flat">
                    <a:noFill/>
                    <a:prstDash val="solid"/>
                    <a:miter/>
                  </a:ln>
                </p:spPr>
                <p:txBody>
                  <a:bodyPr rtlCol="0" anchor="ctr"/>
                  <a:lstStyle/>
                  <a:p>
                    <a:endParaRPr lang="en-US" sz="2400"/>
                  </a:p>
                </p:txBody>
              </p:sp>
              <p:sp>
                <p:nvSpPr>
                  <p:cNvPr id="315" name="Freeform: Shape 314">
                    <a:extLst>
                      <a:ext uri="{FF2B5EF4-FFF2-40B4-BE49-F238E27FC236}">
                        <a16:creationId xmlns:a16="http://schemas.microsoft.com/office/drawing/2014/main" id="{69E1E69B-1612-36DC-3431-70D8D2D872B7}"/>
                      </a:ext>
                    </a:extLst>
                  </p:cNvPr>
                  <p:cNvSpPr/>
                  <p:nvPr userDrawn="1"/>
                </p:nvSpPr>
                <p:spPr>
                  <a:xfrm>
                    <a:off x="8399610" y="4395327"/>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AC1D2"/>
                  </a:solidFill>
                  <a:ln w="2339" cap="flat">
                    <a:noFill/>
                    <a:prstDash val="solid"/>
                    <a:miter/>
                  </a:ln>
                </p:spPr>
                <p:txBody>
                  <a:bodyPr rtlCol="0" anchor="ctr"/>
                  <a:lstStyle/>
                  <a:p>
                    <a:endParaRPr lang="en-US" sz="2400"/>
                  </a:p>
                </p:txBody>
              </p:sp>
              <p:sp>
                <p:nvSpPr>
                  <p:cNvPr id="316" name="Freeform: Shape 315">
                    <a:extLst>
                      <a:ext uri="{FF2B5EF4-FFF2-40B4-BE49-F238E27FC236}">
                        <a16:creationId xmlns:a16="http://schemas.microsoft.com/office/drawing/2014/main" id="{4A724DC5-1D71-6CF3-984A-74AD93E5AA47}"/>
                      </a:ext>
                    </a:extLst>
                  </p:cNvPr>
                  <p:cNvSpPr/>
                  <p:nvPr userDrawn="1"/>
                </p:nvSpPr>
                <p:spPr>
                  <a:xfrm>
                    <a:off x="8400171" y="439521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74"/>
                          <a:pt x="0" y="32643"/>
                          <a:pt x="0" y="21037"/>
                        </a:cubicBezTo>
                        <a:close/>
                      </a:path>
                    </a:pathLst>
                  </a:custGeom>
                  <a:solidFill>
                    <a:srgbClr val="BBC1D2"/>
                  </a:solidFill>
                  <a:ln w="2339" cap="flat">
                    <a:noFill/>
                    <a:prstDash val="solid"/>
                    <a:miter/>
                  </a:ln>
                </p:spPr>
                <p:txBody>
                  <a:bodyPr rtlCol="0" anchor="ctr"/>
                  <a:lstStyle/>
                  <a:p>
                    <a:endParaRPr lang="en-US" sz="2400"/>
                  </a:p>
                </p:txBody>
              </p:sp>
              <p:sp>
                <p:nvSpPr>
                  <p:cNvPr id="317" name="Freeform: Shape 316">
                    <a:extLst>
                      <a:ext uri="{FF2B5EF4-FFF2-40B4-BE49-F238E27FC236}">
                        <a16:creationId xmlns:a16="http://schemas.microsoft.com/office/drawing/2014/main" id="{B1CE94A7-5DC0-4C75-25F2-AB496C20F173}"/>
                      </a:ext>
                    </a:extLst>
                  </p:cNvPr>
                  <p:cNvSpPr/>
                  <p:nvPr userDrawn="1"/>
                </p:nvSpPr>
                <p:spPr>
                  <a:xfrm>
                    <a:off x="8400710" y="439506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BC1D3"/>
                  </a:solidFill>
                  <a:ln w="2339" cap="flat">
                    <a:noFill/>
                    <a:prstDash val="solid"/>
                    <a:miter/>
                  </a:ln>
                </p:spPr>
                <p:txBody>
                  <a:bodyPr rtlCol="0" anchor="ctr"/>
                  <a:lstStyle/>
                  <a:p>
                    <a:endParaRPr lang="en-US" sz="2400"/>
                  </a:p>
                </p:txBody>
              </p:sp>
              <p:sp>
                <p:nvSpPr>
                  <p:cNvPr id="318" name="Freeform: Shape 317">
                    <a:extLst>
                      <a:ext uri="{FF2B5EF4-FFF2-40B4-BE49-F238E27FC236}">
                        <a16:creationId xmlns:a16="http://schemas.microsoft.com/office/drawing/2014/main" id="{2D9E30FC-AB4A-4DA7-371B-714B3F57A275}"/>
                      </a:ext>
                    </a:extLst>
                  </p:cNvPr>
                  <p:cNvSpPr/>
                  <p:nvPr userDrawn="1"/>
                </p:nvSpPr>
                <p:spPr>
                  <a:xfrm>
                    <a:off x="8401248" y="4394952"/>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BC1D3"/>
                  </a:solidFill>
                  <a:ln w="2339" cap="flat">
                    <a:noFill/>
                    <a:prstDash val="solid"/>
                    <a:miter/>
                  </a:ln>
                </p:spPr>
                <p:txBody>
                  <a:bodyPr rtlCol="0" anchor="ctr"/>
                  <a:lstStyle/>
                  <a:p>
                    <a:endParaRPr lang="en-US" sz="2400"/>
                  </a:p>
                </p:txBody>
              </p:sp>
              <p:sp>
                <p:nvSpPr>
                  <p:cNvPr id="319" name="Freeform: Shape 318">
                    <a:extLst>
                      <a:ext uri="{FF2B5EF4-FFF2-40B4-BE49-F238E27FC236}">
                        <a16:creationId xmlns:a16="http://schemas.microsoft.com/office/drawing/2014/main" id="{32A4B276-6F73-2757-ABF7-09B28C2CBD74}"/>
                      </a:ext>
                    </a:extLst>
                  </p:cNvPr>
                  <p:cNvSpPr/>
                  <p:nvPr userDrawn="1"/>
                </p:nvSpPr>
                <p:spPr>
                  <a:xfrm>
                    <a:off x="8401809" y="4394835"/>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74"/>
                          <a:pt x="0" y="32667"/>
                          <a:pt x="0" y="21037"/>
                        </a:cubicBezTo>
                        <a:close/>
                      </a:path>
                    </a:pathLst>
                  </a:custGeom>
                  <a:solidFill>
                    <a:srgbClr val="BCC2D3"/>
                  </a:solidFill>
                  <a:ln w="2339" cap="flat">
                    <a:noFill/>
                    <a:prstDash val="solid"/>
                    <a:miter/>
                  </a:ln>
                </p:spPr>
                <p:txBody>
                  <a:bodyPr rtlCol="0" anchor="ctr"/>
                  <a:lstStyle/>
                  <a:p>
                    <a:endParaRPr lang="en-US" sz="2400"/>
                  </a:p>
                </p:txBody>
              </p:sp>
              <p:sp>
                <p:nvSpPr>
                  <p:cNvPr id="320" name="Freeform: Shape 319">
                    <a:extLst>
                      <a:ext uri="{FF2B5EF4-FFF2-40B4-BE49-F238E27FC236}">
                        <a16:creationId xmlns:a16="http://schemas.microsoft.com/office/drawing/2014/main" id="{2DBE3DA1-B226-0A24-40A7-44AE30D309F6}"/>
                      </a:ext>
                    </a:extLst>
                  </p:cNvPr>
                  <p:cNvSpPr/>
                  <p:nvPr userDrawn="1"/>
                </p:nvSpPr>
                <p:spPr>
                  <a:xfrm>
                    <a:off x="8402348" y="4394695"/>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97"/>
                          <a:pt x="0" y="32667"/>
                          <a:pt x="0" y="21037"/>
                        </a:cubicBezTo>
                        <a:close/>
                      </a:path>
                    </a:pathLst>
                  </a:custGeom>
                  <a:solidFill>
                    <a:srgbClr val="BCC2D3"/>
                  </a:solidFill>
                  <a:ln w="2339" cap="flat">
                    <a:noFill/>
                    <a:prstDash val="solid"/>
                    <a:miter/>
                  </a:ln>
                </p:spPr>
                <p:txBody>
                  <a:bodyPr rtlCol="0" anchor="ctr"/>
                  <a:lstStyle/>
                  <a:p>
                    <a:endParaRPr lang="en-US" sz="2400"/>
                  </a:p>
                </p:txBody>
              </p:sp>
              <p:sp>
                <p:nvSpPr>
                  <p:cNvPr id="321" name="Freeform: Shape 320">
                    <a:extLst>
                      <a:ext uri="{FF2B5EF4-FFF2-40B4-BE49-F238E27FC236}">
                        <a16:creationId xmlns:a16="http://schemas.microsoft.com/office/drawing/2014/main" id="{00E34CEF-AFE8-3C2E-760E-2A7DF036E25B}"/>
                      </a:ext>
                    </a:extLst>
                  </p:cNvPr>
                  <p:cNvSpPr/>
                  <p:nvPr userDrawn="1"/>
                </p:nvSpPr>
                <p:spPr>
                  <a:xfrm>
                    <a:off x="8402886" y="4394578"/>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CC2D3"/>
                  </a:solidFill>
                  <a:ln w="2339" cap="flat">
                    <a:noFill/>
                    <a:prstDash val="solid"/>
                    <a:miter/>
                  </a:ln>
                </p:spPr>
                <p:txBody>
                  <a:bodyPr rtlCol="0" anchor="ctr"/>
                  <a:lstStyle/>
                  <a:p>
                    <a:endParaRPr lang="en-US" sz="2400"/>
                  </a:p>
                </p:txBody>
              </p:sp>
              <p:sp>
                <p:nvSpPr>
                  <p:cNvPr id="322" name="Freeform: Shape 321">
                    <a:extLst>
                      <a:ext uri="{FF2B5EF4-FFF2-40B4-BE49-F238E27FC236}">
                        <a16:creationId xmlns:a16="http://schemas.microsoft.com/office/drawing/2014/main" id="{92E0AED2-BF75-2E78-FC40-80BB5C1C4611}"/>
                      </a:ext>
                    </a:extLst>
                  </p:cNvPr>
                  <p:cNvSpPr/>
                  <p:nvPr userDrawn="1"/>
                </p:nvSpPr>
                <p:spPr>
                  <a:xfrm>
                    <a:off x="8403424" y="4394437"/>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DC3D4"/>
                  </a:solidFill>
                  <a:ln w="2339" cap="flat">
                    <a:noFill/>
                    <a:prstDash val="solid"/>
                    <a:miter/>
                  </a:ln>
                </p:spPr>
                <p:txBody>
                  <a:bodyPr rtlCol="0" anchor="ctr"/>
                  <a:lstStyle/>
                  <a:p>
                    <a:endParaRPr lang="en-US" sz="2400"/>
                  </a:p>
                </p:txBody>
              </p:sp>
              <p:sp>
                <p:nvSpPr>
                  <p:cNvPr id="323" name="Freeform: Shape 322">
                    <a:extLst>
                      <a:ext uri="{FF2B5EF4-FFF2-40B4-BE49-F238E27FC236}">
                        <a16:creationId xmlns:a16="http://schemas.microsoft.com/office/drawing/2014/main" id="{1F2EA07B-67A0-5655-B838-F7C3413B02F3}"/>
                      </a:ext>
                    </a:extLst>
                  </p:cNvPr>
                  <p:cNvSpPr/>
                  <p:nvPr userDrawn="1"/>
                </p:nvSpPr>
                <p:spPr>
                  <a:xfrm>
                    <a:off x="8403962" y="439432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DC3D4"/>
                  </a:solidFill>
                  <a:ln w="2339" cap="flat">
                    <a:noFill/>
                    <a:prstDash val="solid"/>
                    <a:miter/>
                  </a:ln>
                </p:spPr>
                <p:txBody>
                  <a:bodyPr rtlCol="0" anchor="ctr"/>
                  <a:lstStyle/>
                  <a:p>
                    <a:endParaRPr lang="en-US" sz="2400"/>
                  </a:p>
                </p:txBody>
              </p:sp>
              <p:sp>
                <p:nvSpPr>
                  <p:cNvPr id="324" name="Freeform: Shape 323">
                    <a:extLst>
                      <a:ext uri="{FF2B5EF4-FFF2-40B4-BE49-F238E27FC236}">
                        <a16:creationId xmlns:a16="http://schemas.microsoft.com/office/drawing/2014/main" id="{A1C4DC74-5F1E-F7B4-C409-8EBB76CA8CDB}"/>
                      </a:ext>
                    </a:extLst>
                  </p:cNvPr>
                  <p:cNvSpPr/>
                  <p:nvPr userDrawn="1"/>
                </p:nvSpPr>
                <p:spPr>
                  <a:xfrm>
                    <a:off x="8404500" y="439418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DC3D4"/>
                  </a:solidFill>
                  <a:ln w="2339" cap="flat">
                    <a:noFill/>
                    <a:prstDash val="solid"/>
                    <a:miter/>
                  </a:ln>
                </p:spPr>
                <p:txBody>
                  <a:bodyPr rtlCol="0" anchor="ctr"/>
                  <a:lstStyle/>
                  <a:p>
                    <a:endParaRPr lang="en-US" sz="2400"/>
                  </a:p>
                </p:txBody>
              </p:sp>
              <p:sp>
                <p:nvSpPr>
                  <p:cNvPr id="325" name="Freeform: Shape 324">
                    <a:extLst>
                      <a:ext uri="{FF2B5EF4-FFF2-40B4-BE49-F238E27FC236}">
                        <a16:creationId xmlns:a16="http://schemas.microsoft.com/office/drawing/2014/main" id="{8A38DCE1-0D0B-25E9-F4B0-6C051325B7FB}"/>
                      </a:ext>
                    </a:extLst>
                  </p:cNvPr>
                  <p:cNvSpPr/>
                  <p:nvPr userDrawn="1"/>
                </p:nvSpPr>
                <p:spPr>
                  <a:xfrm>
                    <a:off x="8405039" y="439404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EC3D4"/>
                  </a:solidFill>
                  <a:ln w="2339" cap="flat">
                    <a:noFill/>
                    <a:prstDash val="solid"/>
                    <a:miter/>
                  </a:ln>
                </p:spPr>
                <p:txBody>
                  <a:bodyPr rtlCol="0" anchor="ctr"/>
                  <a:lstStyle/>
                  <a:p>
                    <a:endParaRPr lang="en-US" sz="2400"/>
                  </a:p>
                </p:txBody>
              </p:sp>
              <p:sp>
                <p:nvSpPr>
                  <p:cNvPr id="326" name="Freeform: Shape 325">
                    <a:extLst>
                      <a:ext uri="{FF2B5EF4-FFF2-40B4-BE49-F238E27FC236}">
                        <a16:creationId xmlns:a16="http://schemas.microsoft.com/office/drawing/2014/main" id="{37C976AD-A969-4873-5AF7-48C8B032513B}"/>
                      </a:ext>
                    </a:extLst>
                  </p:cNvPr>
                  <p:cNvSpPr/>
                  <p:nvPr userDrawn="1"/>
                </p:nvSpPr>
                <p:spPr>
                  <a:xfrm>
                    <a:off x="8405577" y="4393923"/>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EC4D4"/>
                  </a:solidFill>
                  <a:ln w="2339" cap="flat">
                    <a:noFill/>
                    <a:prstDash val="solid"/>
                    <a:miter/>
                  </a:ln>
                </p:spPr>
                <p:txBody>
                  <a:bodyPr rtlCol="0" anchor="ctr"/>
                  <a:lstStyle/>
                  <a:p>
                    <a:endParaRPr lang="en-US" sz="2400"/>
                  </a:p>
                </p:txBody>
              </p:sp>
              <p:sp>
                <p:nvSpPr>
                  <p:cNvPr id="327" name="Freeform: Shape 326">
                    <a:extLst>
                      <a:ext uri="{FF2B5EF4-FFF2-40B4-BE49-F238E27FC236}">
                        <a16:creationId xmlns:a16="http://schemas.microsoft.com/office/drawing/2014/main" id="{5929F8C2-BE75-7540-872B-3D58356C9DE4}"/>
                      </a:ext>
                    </a:extLst>
                  </p:cNvPr>
                  <p:cNvSpPr/>
                  <p:nvPr userDrawn="1"/>
                </p:nvSpPr>
                <p:spPr>
                  <a:xfrm>
                    <a:off x="8406115" y="4393782"/>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EC4D5"/>
                  </a:solidFill>
                  <a:ln w="2339" cap="flat">
                    <a:noFill/>
                    <a:prstDash val="solid"/>
                    <a:miter/>
                  </a:ln>
                </p:spPr>
                <p:txBody>
                  <a:bodyPr rtlCol="0" anchor="ctr"/>
                  <a:lstStyle/>
                  <a:p>
                    <a:endParaRPr lang="en-US" sz="2400"/>
                  </a:p>
                </p:txBody>
              </p:sp>
              <p:sp>
                <p:nvSpPr>
                  <p:cNvPr id="328" name="Freeform: Shape 327">
                    <a:extLst>
                      <a:ext uri="{FF2B5EF4-FFF2-40B4-BE49-F238E27FC236}">
                        <a16:creationId xmlns:a16="http://schemas.microsoft.com/office/drawing/2014/main" id="{B18F891F-7209-1C92-2B0B-0FB4DE5804BD}"/>
                      </a:ext>
                    </a:extLst>
                  </p:cNvPr>
                  <p:cNvSpPr/>
                  <p:nvPr userDrawn="1"/>
                </p:nvSpPr>
                <p:spPr>
                  <a:xfrm>
                    <a:off x="8406653" y="4393642"/>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EC4D5"/>
                  </a:solidFill>
                  <a:ln w="2339" cap="flat">
                    <a:noFill/>
                    <a:prstDash val="solid"/>
                    <a:miter/>
                  </a:ln>
                </p:spPr>
                <p:txBody>
                  <a:bodyPr rtlCol="0" anchor="ctr"/>
                  <a:lstStyle/>
                  <a:p>
                    <a:endParaRPr lang="en-US" sz="2400"/>
                  </a:p>
                </p:txBody>
              </p:sp>
              <p:sp>
                <p:nvSpPr>
                  <p:cNvPr id="329" name="Freeform: Shape 328">
                    <a:extLst>
                      <a:ext uri="{FF2B5EF4-FFF2-40B4-BE49-F238E27FC236}">
                        <a16:creationId xmlns:a16="http://schemas.microsoft.com/office/drawing/2014/main" id="{EE1C0AA4-8515-4FEF-0275-79C3A7F8DE31}"/>
                      </a:ext>
                    </a:extLst>
                  </p:cNvPr>
                  <p:cNvSpPr/>
                  <p:nvPr userDrawn="1"/>
                </p:nvSpPr>
                <p:spPr>
                  <a:xfrm>
                    <a:off x="8407191" y="439350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FC5D5"/>
                  </a:solidFill>
                  <a:ln w="2339" cap="flat">
                    <a:noFill/>
                    <a:prstDash val="solid"/>
                    <a:miter/>
                  </a:ln>
                </p:spPr>
                <p:txBody>
                  <a:bodyPr rtlCol="0" anchor="ctr"/>
                  <a:lstStyle/>
                  <a:p>
                    <a:endParaRPr lang="en-US" sz="2400"/>
                  </a:p>
                </p:txBody>
              </p:sp>
              <p:sp>
                <p:nvSpPr>
                  <p:cNvPr id="330" name="Freeform: Shape 329">
                    <a:extLst>
                      <a:ext uri="{FF2B5EF4-FFF2-40B4-BE49-F238E27FC236}">
                        <a16:creationId xmlns:a16="http://schemas.microsoft.com/office/drawing/2014/main" id="{DA1D6DAB-6F5D-911F-69CA-4CEF2A591126}"/>
                      </a:ext>
                    </a:extLst>
                  </p:cNvPr>
                  <p:cNvSpPr/>
                  <p:nvPr userDrawn="1"/>
                </p:nvSpPr>
                <p:spPr>
                  <a:xfrm>
                    <a:off x="8407730" y="439336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FC5D5"/>
                  </a:solidFill>
                  <a:ln w="2339" cap="flat">
                    <a:noFill/>
                    <a:prstDash val="solid"/>
                    <a:miter/>
                  </a:ln>
                </p:spPr>
                <p:txBody>
                  <a:bodyPr rtlCol="0" anchor="ctr"/>
                  <a:lstStyle/>
                  <a:p>
                    <a:endParaRPr lang="en-US" sz="2400"/>
                  </a:p>
                </p:txBody>
              </p:sp>
              <p:sp>
                <p:nvSpPr>
                  <p:cNvPr id="331" name="Freeform: Shape 330">
                    <a:extLst>
                      <a:ext uri="{FF2B5EF4-FFF2-40B4-BE49-F238E27FC236}">
                        <a16:creationId xmlns:a16="http://schemas.microsoft.com/office/drawing/2014/main" id="{0AB76237-89DE-9135-8690-985B4DEB70F3}"/>
                      </a:ext>
                    </a:extLst>
                  </p:cNvPr>
                  <p:cNvSpPr/>
                  <p:nvPr userDrawn="1"/>
                </p:nvSpPr>
                <p:spPr>
                  <a:xfrm>
                    <a:off x="8408268" y="439322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97"/>
                          <a:pt x="0" y="32667"/>
                          <a:pt x="0" y="21037"/>
                        </a:cubicBezTo>
                        <a:close/>
                      </a:path>
                    </a:pathLst>
                  </a:custGeom>
                  <a:solidFill>
                    <a:srgbClr val="BFC5D5"/>
                  </a:solidFill>
                  <a:ln w="2339" cap="flat">
                    <a:noFill/>
                    <a:prstDash val="solid"/>
                    <a:miter/>
                  </a:ln>
                </p:spPr>
                <p:txBody>
                  <a:bodyPr rtlCol="0" anchor="ctr"/>
                  <a:lstStyle/>
                  <a:p>
                    <a:endParaRPr lang="en-US" sz="2400"/>
                  </a:p>
                </p:txBody>
              </p:sp>
              <p:sp>
                <p:nvSpPr>
                  <p:cNvPr id="332" name="Freeform: Shape 331">
                    <a:extLst>
                      <a:ext uri="{FF2B5EF4-FFF2-40B4-BE49-F238E27FC236}">
                        <a16:creationId xmlns:a16="http://schemas.microsoft.com/office/drawing/2014/main" id="{9B383ED3-164A-89C9-36CC-2AF377911D2B}"/>
                      </a:ext>
                    </a:extLst>
                  </p:cNvPr>
                  <p:cNvSpPr/>
                  <p:nvPr userDrawn="1"/>
                </p:nvSpPr>
                <p:spPr>
                  <a:xfrm>
                    <a:off x="8408783" y="439308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C0C5D6"/>
                  </a:solidFill>
                  <a:ln w="2339" cap="flat">
                    <a:noFill/>
                    <a:prstDash val="solid"/>
                    <a:miter/>
                  </a:ln>
                </p:spPr>
                <p:txBody>
                  <a:bodyPr rtlCol="0" anchor="ctr"/>
                  <a:lstStyle/>
                  <a:p>
                    <a:endParaRPr lang="en-US" sz="2400"/>
                  </a:p>
                </p:txBody>
              </p:sp>
              <p:sp>
                <p:nvSpPr>
                  <p:cNvPr id="333" name="Freeform: Shape 332">
                    <a:extLst>
                      <a:ext uri="{FF2B5EF4-FFF2-40B4-BE49-F238E27FC236}">
                        <a16:creationId xmlns:a16="http://schemas.microsoft.com/office/drawing/2014/main" id="{236A5C22-144D-BE95-F8D9-064C508E5691}"/>
                      </a:ext>
                    </a:extLst>
                  </p:cNvPr>
                  <p:cNvSpPr/>
                  <p:nvPr userDrawn="1"/>
                </p:nvSpPr>
                <p:spPr>
                  <a:xfrm>
                    <a:off x="8409321" y="439294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C0C6D6"/>
                  </a:solidFill>
                  <a:ln w="2339" cap="flat">
                    <a:noFill/>
                    <a:prstDash val="solid"/>
                    <a:miter/>
                  </a:ln>
                </p:spPr>
                <p:txBody>
                  <a:bodyPr rtlCol="0" anchor="ctr"/>
                  <a:lstStyle/>
                  <a:p>
                    <a:endParaRPr lang="en-US" sz="2400"/>
                  </a:p>
                </p:txBody>
              </p:sp>
              <p:sp>
                <p:nvSpPr>
                  <p:cNvPr id="334" name="Freeform: Shape 333">
                    <a:extLst>
                      <a:ext uri="{FF2B5EF4-FFF2-40B4-BE49-F238E27FC236}">
                        <a16:creationId xmlns:a16="http://schemas.microsoft.com/office/drawing/2014/main" id="{BF4A8413-475A-5488-23A6-82368920D274}"/>
                      </a:ext>
                    </a:extLst>
                  </p:cNvPr>
                  <p:cNvSpPr/>
                  <p:nvPr userDrawn="1"/>
                </p:nvSpPr>
                <p:spPr>
                  <a:xfrm>
                    <a:off x="8409859" y="439279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97"/>
                          <a:pt x="0" y="32667"/>
                          <a:pt x="0" y="21037"/>
                        </a:cubicBezTo>
                        <a:close/>
                      </a:path>
                    </a:pathLst>
                  </a:custGeom>
                  <a:solidFill>
                    <a:srgbClr val="C0C6D6"/>
                  </a:solidFill>
                  <a:ln w="2339" cap="flat">
                    <a:noFill/>
                    <a:prstDash val="solid"/>
                    <a:miter/>
                  </a:ln>
                </p:spPr>
                <p:txBody>
                  <a:bodyPr rtlCol="0" anchor="ctr"/>
                  <a:lstStyle/>
                  <a:p>
                    <a:endParaRPr lang="en-US" sz="2400"/>
                  </a:p>
                </p:txBody>
              </p:sp>
              <p:sp>
                <p:nvSpPr>
                  <p:cNvPr id="335" name="Freeform: Shape 334">
                    <a:extLst>
                      <a:ext uri="{FF2B5EF4-FFF2-40B4-BE49-F238E27FC236}">
                        <a16:creationId xmlns:a16="http://schemas.microsoft.com/office/drawing/2014/main" id="{01465BCA-6E2D-6B13-4745-841B8BC3EBFE}"/>
                      </a:ext>
                    </a:extLst>
                  </p:cNvPr>
                  <p:cNvSpPr/>
                  <p:nvPr userDrawn="1"/>
                </p:nvSpPr>
                <p:spPr>
                  <a:xfrm>
                    <a:off x="8410374" y="439265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C1C6D6"/>
                  </a:solidFill>
                  <a:ln w="2339" cap="flat">
                    <a:noFill/>
                    <a:prstDash val="solid"/>
                    <a:miter/>
                  </a:ln>
                </p:spPr>
                <p:txBody>
                  <a:bodyPr rtlCol="0" anchor="ctr"/>
                  <a:lstStyle/>
                  <a:p>
                    <a:endParaRPr lang="en-US" sz="2400"/>
                  </a:p>
                </p:txBody>
              </p:sp>
              <p:sp>
                <p:nvSpPr>
                  <p:cNvPr id="336" name="Freeform: Shape 335">
                    <a:extLst>
                      <a:ext uri="{FF2B5EF4-FFF2-40B4-BE49-F238E27FC236}">
                        <a16:creationId xmlns:a16="http://schemas.microsoft.com/office/drawing/2014/main" id="{FB1D64CE-B457-2EDE-719A-74D144A7151E}"/>
                      </a:ext>
                    </a:extLst>
                  </p:cNvPr>
                  <p:cNvSpPr/>
                  <p:nvPr userDrawn="1"/>
                </p:nvSpPr>
                <p:spPr>
                  <a:xfrm>
                    <a:off x="8410912" y="439251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C1C6D6"/>
                  </a:solidFill>
                  <a:ln w="2339" cap="flat">
                    <a:noFill/>
                    <a:prstDash val="solid"/>
                    <a:miter/>
                  </a:ln>
                </p:spPr>
                <p:txBody>
                  <a:bodyPr rtlCol="0" anchor="ctr"/>
                  <a:lstStyle/>
                  <a:p>
                    <a:endParaRPr lang="en-US" sz="2400"/>
                  </a:p>
                </p:txBody>
              </p:sp>
              <p:sp>
                <p:nvSpPr>
                  <p:cNvPr id="337" name="Freeform: Shape 336">
                    <a:extLst>
                      <a:ext uri="{FF2B5EF4-FFF2-40B4-BE49-F238E27FC236}">
                        <a16:creationId xmlns:a16="http://schemas.microsoft.com/office/drawing/2014/main" id="{5368474E-C7DD-B5BF-142A-BA49D226E862}"/>
                      </a:ext>
                    </a:extLst>
                  </p:cNvPr>
                  <p:cNvSpPr/>
                  <p:nvPr userDrawn="1"/>
                </p:nvSpPr>
                <p:spPr>
                  <a:xfrm>
                    <a:off x="8411427" y="4392378"/>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C1C7D7"/>
                  </a:solidFill>
                  <a:ln w="2339" cap="flat">
                    <a:noFill/>
                    <a:prstDash val="solid"/>
                    <a:miter/>
                  </a:ln>
                </p:spPr>
                <p:txBody>
                  <a:bodyPr rtlCol="0" anchor="ctr"/>
                  <a:lstStyle/>
                  <a:p>
                    <a:endParaRPr lang="en-US" sz="2400"/>
                  </a:p>
                </p:txBody>
              </p:sp>
              <p:sp>
                <p:nvSpPr>
                  <p:cNvPr id="338" name="Freeform: Shape 337">
                    <a:extLst>
                      <a:ext uri="{FF2B5EF4-FFF2-40B4-BE49-F238E27FC236}">
                        <a16:creationId xmlns:a16="http://schemas.microsoft.com/office/drawing/2014/main" id="{F295AFD4-253A-68BE-53A8-D78DC089CA28}"/>
                      </a:ext>
                    </a:extLst>
                  </p:cNvPr>
                  <p:cNvSpPr/>
                  <p:nvPr userDrawn="1"/>
                </p:nvSpPr>
                <p:spPr>
                  <a:xfrm>
                    <a:off x="8411965" y="4392214"/>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C2C7D7"/>
                  </a:solidFill>
                  <a:ln w="2339" cap="flat">
                    <a:noFill/>
                    <a:prstDash val="solid"/>
                    <a:miter/>
                  </a:ln>
                </p:spPr>
                <p:txBody>
                  <a:bodyPr rtlCol="0" anchor="ctr"/>
                  <a:lstStyle/>
                  <a:p>
                    <a:endParaRPr lang="en-US" sz="2400"/>
                  </a:p>
                </p:txBody>
              </p:sp>
              <p:sp>
                <p:nvSpPr>
                  <p:cNvPr id="339" name="Freeform: Shape 338">
                    <a:extLst>
                      <a:ext uri="{FF2B5EF4-FFF2-40B4-BE49-F238E27FC236}">
                        <a16:creationId xmlns:a16="http://schemas.microsoft.com/office/drawing/2014/main" id="{868423E6-7B0A-4474-2BD2-63DDEDBAE1AA}"/>
                      </a:ext>
                    </a:extLst>
                  </p:cNvPr>
                  <p:cNvSpPr/>
                  <p:nvPr userDrawn="1"/>
                </p:nvSpPr>
                <p:spPr>
                  <a:xfrm>
                    <a:off x="8412480" y="4392074"/>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C2C7D7"/>
                  </a:solidFill>
                  <a:ln w="2339" cap="flat">
                    <a:noFill/>
                    <a:prstDash val="solid"/>
                    <a:miter/>
                  </a:ln>
                </p:spPr>
                <p:txBody>
                  <a:bodyPr rtlCol="0" anchor="ctr"/>
                  <a:lstStyle/>
                  <a:p>
                    <a:endParaRPr lang="en-US" sz="2400"/>
                  </a:p>
                </p:txBody>
              </p:sp>
              <p:sp>
                <p:nvSpPr>
                  <p:cNvPr id="340" name="Freeform: Shape 339">
                    <a:extLst>
                      <a:ext uri="{FF2B5EF4-FFF2-40B4-BE49-F238E27FC236}">
                        <a16:creationId xmlns:a16="http://schemas.microsoft.com/office/drawing/2014/main" id="{303C6F54-701B-C41D-E199-E1FE6D355FC9}"/>
                      </a:ext>
                    </a:extLst>
                  </p:cNvPr>
                  <p:cNvSpPr/>
                  <p:nvPr userDrawn="1"/>
                </p:nvSpPr>
                <p:spPr>
                  <a:xfrm>
                    <a:off x="8413018" y="439191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97"/>
                          <a:pt x="0" y="32667"/>
                          <a:pt x="0" y="21037"/>
                        </a:cubicBezTo>
                        <a:close/>
                      </a:path>
                    </a:pathLst>
                  </a:custGeom>
                  <a:solidFill>
                    <a:srgbClr val="C2C8D7"/>
                  </a:solidFill>
                  <a:ln w="2339" cap="flat">
                    <a:noFill/>
                    <a:prstDash val="solid"/>
                    <a:miter/>
                  </a:ln>
                </p:spPr>
                <p:txBody>
                  <a:bodyPr rtlCol="0" anchor="ctr"/>
                  <a:lstStyle/>
                  <a:p>
                    <a:endParaRPr lang="en-US" sz="2400"/>
                  </a:p>
                </p:txBody>
              </p:sp>
              <p:sp>
                <p:nvSpPr>
                  <p:cNvPr id="341" name="Freeform: Shape 340">
                    <a:extLst>
                      <a:ext uri="{FF2B5EF4-FFF2-40B4-BE49-F238E27FC236}">
                        <a16:creationId xmlns:a16="http://schemas.microsoft.com/office/drawing/2014/main" id="{57F04E31-F3B7-3A1D-4F15-191739FB351B}"/>
                      </a:ext>
                    </a:extLst>
                  </p:cNvPr>
                  <p:cNvSpPr/>
                  <p:nvPr userDrawn="1"/>
                </p:nvSpPr>
                <p:spPr>
                  <a:xfrm>
                    <a:off x="8413533" y="439177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C2C8D7"/>
                  </a:solidFill>
                  <a:ln w="2339" cap="flat">
                    <a:noFill/>
                    <a:prstDash val="solid"/>
                    <a:miter/>
                  </a:ln>
                </p:spPr>
                <p:txBody>
                  <a:bodyPr rtlCol="0" anchor="ctr"/>
                  <a:lstStyle/>
                  <a:p>
                    <a:endParaRPr lang="en-US" sz="2400"/>
                  </a:p>
                </p:txBody>
              </p:sp>
              <p:sp>
                <p:nvSpPr>
                  <p:cNvPr id="342" name="Freeform: Shape 341">
                    <a:extLst>
                      <a:ext uri="{FF2B5EF4-FFF2-40B4-BE49-F238E27FC236}">
                        <a16:creationId xmlns:a16="http://schemas.microsoft.com/office/drawing/2014/main" id="{4E993F20-7E7F-881A-8550-7D0B7A7F40D4}"/>
                      </a:ext>
                    </a:extLst>
                  </p:cNvPr>
                  <p:cNvSpPr/>
                  <p:nvPr userDrawn="1"/>
                </p:nvSpPr>
                <p:spPr>
                  <a:xfrm>
                    <a:off x="8414048" y="439162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C3C8D8"/>
                  </a:solidFill>
                  <a:ln w="2339" cap="flat">
                    <a:noFill/>
                    <a:prstDash val="solid"/>
                    <a:miter/>
                  </a:ln>
                </p:spPr>
                <p:txBody>
                  <a:bodyPr rtlCol="0" anchor="ctr"/>
                  <a:lstStyle/>
                  <a:p>
                    <a:endParaRPr lang="en-US" sz="2400"/>
                  </a:p>
                </p:txBody>
              </p:sp>
              <p:sp>
                <p:nvSpPr>
                  <p:cNvPr id="343" name="Freeform: Shape 342">
                    <a:extLst>
                      <a:ext uri="{FF2B5EF4-FFF2-40B4-BE49-F238E27FC236}">
                        <a16:creationId xmlns:a16="http://schemas.microsoft.com/office/drawing/2014/main" id="{72A8E494-3657-543E-7136-5020B67FBEC7}"/>
                      </a:ext>
                    </a:extLst>
                  </p:cNvPr>
                  <p:cNvSpPr/>
                  <p:nvPr userDrawn="1"/>
                </p:nvSpPr>
                <p:spPr>
                  <a:xfrm>
                    <a:off x="8414586" y="4391466"/>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74"/>
                          <a:pt x="0" y="32667"/>
                          <a:pt x="0" y="21037"/>
                        </a:cubicBezTo>
                        <a:close/>
                      </a:path>
                    </a:pathLst>
                  </a:custGeom>
                  <a:solidFill>
                    <a:srgbClr val="C3C8D8"/>
                  </a:solidFill>
                  <a:ln w="2339" cap="flat">
                    <a:noFill/>
                    <a:prstDash val="solid"/>
                    <a:miter/>
                  </a:ln>
                </p:spPr>
                <p:txBody>
                  <a:bodyPr rtlCol="0" anchor="ctr"/>
                  <a:lstStyle/>
                  <a:p>
                    <a:endParaRPr lang="en-US" sz="2400"/>
                  </a:p>
                </p:txBody>
              </p:sp>
              <p:sp>
                <p:nvSpPr>
                  <p:cNvPr id="344" name="Freeform: Shape 343">
                    <a:extLst>
                      <a:ext uri="{FF2B5EF4-FFF2-40B4-BE49-F238E27FC236}">
                        <a16:creationId xmlns:a16="http://schemas.microsoft.com/office/drawing/2014/main" id="{E502BC6F-1B1F-CF2D-5851-404A60A16E46}"/>
                      </a:ext>
                    </a:extLst>
                  </p:cNvPr>
                  <p:cNvSpPr/>
                  <p:nvPr userDrawn="1"/>
                </p:nvSpPr>
                <p:spPr>
                  <a:xfrm>
                    <a:off x="8415101" y="4391302"/>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97"/>
                          <a:pt x="0" y="32667"/>
                          <a:pt x="0" y="21037"/>
                        </a:cubicBezTo>
                        <a:close/>
                      </a:path>
                    </a:pathLst>
                  </a:custGeom>
                  <a:solidFill>
                    <a:srgbClr val="C3C9D8"/>
                  </a:solidFill>
                  <a:ln w="2339" cap="flat">
                    <a:noFill/>
                    <a:prstDash val="solid"/>
                    <a:miter/>
                  </a:ln>
                </p:spPr>
                <p:txBody>
                  <a:bodyPr rtlCol="0" anchor="ctr"/>
                  <a:lstStyle/>
                  <a:p>
                    <a:endParaRPr lang="en-US" sz="2400"/>
                  </a:p>
                </p:txBody>
              </p:sp>
              <p:sp>
                <p:nvSpPr>
                  <p:cNvPr id="345" name="Freeform: Shape 344">
                    <a:extLst>
                      <a:ext uri="{FF2B5EF4-FFF2-40B4-BE49-F238E27FC236}">
                        <a16:creationId xmlns:a16="http://schemas.microsoft.com/office/drawing/2014/main" id="{59988F96-3431-0F62-843A-D2C3C21D26FB}"/>
                      </a:ext>
                    </a:extLst>
                  </p:cNvPr>
                  <p:cNvSpPr/>
                  <p:nvPr userDrawn="1"/>
                </p:nvSpPr>
                <p:spPr>
                  <a:xfrm>
                    <a:off x="8415615" y="439116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C4C9D8"/>
                  </a:solidFill>
                  <a:ln w="2339" cap="flat">
                    <a:noFill/>
                    <a:prstDash val="solid"/>
                    <a:miter/>
                  </a:ln>
                </p:spPr>
                <p:txBody>
                  <a:bodyPr rtlCol="0" anchor="ctr"/>
                  <a:lstStyle/>
                  <a:p>
                    <a:endParaRPr lang="en-US" sz="2400"/>
                  </a:p>
                </p:txBody>
              </p:sp>
              <p:sp>
                <p:nvSpPr>
                  <p:cNvPr id="346" name="Freeform: Shape 345">
                    <a:extLst>
                      <a:ext uri="{FF2B5EF4-FFF2-40B4-BE49-F238E27FC236}">
                        <a16:creationId xmlns:a16="http://schemas.microsoft.com/office/drawing/2014/main" id="{D75DBA2F-C36E-D7D4-315A-7080A91B9912}"/>
                      </a:ext>
                    </a:extLst>
                  </p:cNvPr>
                  <p:cNvSpPr/>
                  <p:nvPr userDrawn="1"/>
                </p:nvSpPr>
                <p:spPr>
                  <a:xfrm>
                    <a:off x="8416130" y="4390998"/>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C4C9D8"/>
                  </a:solidFill>
                  <a:ln w="2339" cap="flat">
                    <a:noFill/>
                    <a:prstDash val="solid"/>
                    <a:miter/>
                  </a:ln>
                </p:spPr>
                <p:txBody>
                  <a:bodyPr rtlCol="0" anchor="ctr"/>
                  <a:lstStyle/>
                  <a:p>
                    <a:endParaRPr lang="en-US" sz="2400"/>
                  </a:p>
                </p:txBody>
              </p:sp>
              <p:sp>
                <p:nvSpPr>
                  <p:cNvPr id="347" name="Freeform: Shape 346">
                    <a:extLst>
                      <a:ext uri="{FF2B5EF4-FFF2-40B4-BE49-F238E27FC236}">
                        <a16:creationId xmlns:a16="http://schemas.microsoft.com/office/drawing/2014/main" id="{2D5A2DE2-5C1A-9EA2-5170-94A6CFB56291}"/>
                      </a:ext>
                    </a:extLst>
                  </p:cNvPr>
                  <p:cNvSpPr/>
                  <p:nvPr userDrawn="1"/>
                </p:nvSpPr>
                <p:spPr>
                  <a:xfrm>
                    <a:off x="8416645" y="4390834"/>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C4CAD9"/>
                  </a:solidFill>
                  <a:ln w="2339" cap="flat">
                    <a:noFill/>
                    <a:prstDash val="solid"/>
                    <a:miter/>
                  </a:ln>
                </p:spPr>
                <p:txBody>
                  <a:bodyPr rtlCol="0" anchor="ctr"/>
                  <a:lstStyle/>
                  <a:p>
                    <a:endParaRPr lang="en-US" sz="2400"/>
                  </a:p>
                </p:txBody>
              </p:sp>
              <p:sp>
                <p:nvSpPr>
                  <p:cNvPr id="348" name="Freeform: Shape 347">
                    <a:extLst>
                      <a:ext uri="{FF2B5EF4-FFF2-40B4-BE49-F238E27FC236}">
                        <a16:creationId xmlns:a16="http://schemas.microsoft.com/office/drawing/2014/main" id="{16AA86D9-A0E8-0299-A7FC-1A55DD7C6BDA}"/>
                      </a:ext>
                    </a:extLst>
                  </p:cNvPr>
                  <p:cNvSpPr/>
                  <p:nvPr userDrawn="1"/>
                </p:nvSpPr>
                <p:spPr>
                  <a:xfrm>
                    <a:off x="8417160" y="4390693"/>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C5CAD9"/>
                  </a:solidFill>
                  <a:ln w="2339" cap="flat">
                    <a:noFill/>
                    <a:prstDash val="solid"/>
                    <a:miter/>
                  </a:ln>
                </p:spPr>
                <p:txBody>
                  <a:bodyPr rtlCol="0" anchor="ctr"/>
                  <a:lstStyle/>
                  <a:p>
                    <a:endParaRPr lang="en-US" sz="2400"/>
                  </a:p>
                </p:txBody>
              </p:sp>
              <p:sp>
                <p:nvSpPr>
                  <p:cNvPr id="349" name="Freeform: Shape 348">
                    <a:extLst>
                      <a:ext uri="{FF2B5EF4-FFF2-40B4-BE49-F238E27FC236}">
                        <a16:creationId xmlns:a16="http://schemas.microsoft.com/office/drawing/2014/main" id="{24DAF25C-020D-F648-7297-2E5B1125160A}"/>
                      </a:ext>
                    </a:extLst>
                  </p:cNvPr>
                  <p:cNvSpPr/>
                  <p:nvPr userDrawn="1"/>
                </p:nvSpPr>
                <p:spPr>
                  <a:xfrm>
                    <a:off x="8417675" y="439053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C5CAD9"/>
                  </a:solidFill>
                  <a:ln w="2339" cap="flat">
                    <a:noFill/>
                    <a:prstDash val="solid"/>
                    <a:miter/>
                  </a:ln>
                </p:spPr>
                <p:txBody>
                  <a:bodyPr rtlCol="0" anchor="ctr"/>
                  <a:lstStyle/>
                  <a:p>
                    <a:endParaRPr lang="en-US" sz="2400"/>
                  </a:p>
                </p:txBody>
              </p:sp>
              <p:sp>
                <p:nvSpPr>
                  <p:cNvPr id="350" name="Freeform: Shape 349">
                    <a:extLst>
                      <a:ext uri="{FF2B5EF4-FFF2-40B4-BE49-F238E27FC236}">
                        <a16:creationId xmlns:a16="http://schemas.microsoft.com/office/drawing/2014/main" id="{60220BBB-DE5E-B6B0-60F0-6BFE4E2E4AFC}"/>
                      </a:ext>
                    </a:extLst>
                  </p:cNvPr>
                  <p:cNvSpPr/>
                  <p:nvPr userDrawn="1"/>
                </p:nvSpPr>
                <p:spPr>
                  <a:xfrm>
                    <a:off x="8418189" y="439036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C5CAD9"/>
                  </a:solidFill>
                  <a:ln w="2339" cap="flat">
                    <a:noFill/>
                    <a:prstDash val="solid"/>
                    <a:miter/>
                  </a:ln>
                </p:spPr>
                <p:txBody>
                  <a:bodyPr rtlCol="0" anchor="ctr"/>
                  <a:lstStyle/>
                  <a:p>
                    <a:endParaRPr lang="en-US" sz="2400"/>
                  </a:p>
                </p:txBody>
              </p:sp>
              <p:sp>
                <p:nvSpPr>
                  <p:cNvPr id="351" name="Freeform: Shape 350">
                    <a:extLst>
                      <a:ext uri="{FF2B5EF4-FFF2-40B4-BE49-F238E27FC236}">
                        <a16:creationId xmlns:a16="http://schemas.microsoft.com/office/drawing/2014/main" id="{7B8C5855-97FA-4B89-FAC7-50891AD35A50}"/>
                      </a:ext>
                    </a:extLst>
                  </p:cNvPr>
                  <p:cNvSpPr/>
                  <p:nvPr userDrawn="1"/>
                </p:nvSpPr>
                <p:spPr>
                  <a:xfrm>
                    <a:off x="8418704" y="439020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C5CBD9"/>
                  </a:solidFill>
                  <a:ln w="2339" cap="flat">
                    <a:noFill/>
                    <a:prstDash val="solid"/>
                    <a:miter/>
                  </a:ln>
                </p:spPr>
                <p:txBody>
                  <a:bodyPr rtlCol="0" anchor="ctr"/>
                  <a:lstStyle/>
                  <a:p>
                    <a:endParaRPr lang="en-US" sz="2400"/>
                  </a:p>
                </p:txBody>
              </p:sp>
              <p:sp>
                <p:nvSpPr>
                  <p:cNvPr id="352" name="Freeform: Shape 351">
                    <a:extLst>
                      <a:ext uri="{FF2B5EF4-FFF2-40B4-BE49-F238E27FC236}">
                        <a16:creationId xmlns:a16="http://schemas.microsoft.com/office/drawing/2014/main" id="{E346958C-F38F-0A2E-8079-E689CB3473CF}"/>
                      </a:ext>
                    </a:extLst>
                  </p:cNvPr>
                  <p:cNvSpPr/>
                  <p:nvPr userDrawn="1"/>
                </p:nvSpPr>
                <p:spPr>
                  <a:xfrm>
                    <a:off x="8419196" y="439003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6CBDA"/>
                  </a:solidFill>
                  <a:ln w="2339" cap="flat">
                    <a:noFill/>
                    <a:prstDash val="solid"/>
                    <a:miter/>
                  </a:ln>
                </p:spPr>
                <p:txBody>
                  <a:bodyPr rtlCol="0" anchor="ctr"/>
                  <a:lstStyle/>
                  <a:p>
                    <a:endParaRPr lang="en-US" sz="2400"/>
                  </a:p>
                </p:txBody>
              </p:sp>
              <p:sp>
                <p:nvSpPr>
                  <p:cNvPr id="353" name="Freeform: Shape 352">
                    <a:extLst>
                      <a:ext uri="{FF2B5EF4-FFF2-40B4-BE49-F238E27FC236}">
                        <a16:creationId xmlns:a16="http://schemas.microsoft.com/office/drawing/2014/main" id="{F939E530-1521-4637-30DA-CFF7C1C93BBE}"/>
                      </a:ext>
                    </a:extLst>
                  </p:cNvPr>
                  <p:cNvSpPr/>
                  <p:nvPr userDrawn="1"/>
                </p:nvSpPr>
                <p:spPr>
                  <a:xfrm>
                    <a:off x="8419710" y="438987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6CBDA"/>
                  </a:solidFill>
                  <a:ln w="2339" cap="flat">
                    <a:noFill/>
                    <a:prstDash val="solid"/>
                    <a:miter/>
                  </a:ln>
                </p:spPr>
                <p:txBody>
                  <a:bodyPr rtlCol="0" anchor="ctr"/>
                  <a:lstStyle/>
                  <a:p>
                    <a:endParaRPr lang="en-US" sz="2400"/>
                  </a:p>
                </p:txBody>
              </p:sp>
              <p:sp>
                <p:nvSpPr>
                  <p:cNvPr id="354" name="Freeform: Shape 353">
                    <a:extLst>
                      <a:ext uri="{FF2B5EF4-FFF2-40B4-BE49-F238E27FC236}">
                        <a16:creationId xmlns:a16="http://schemas.microsoft.com/office/drawing/2014/main" id="{734D8566-83C5-1912-B6DE-77625C6A2F45}"/>
                      </a:ext>
                    </a:extLst>
                  </p:cNvPr>
                  <p:cNvSpPr/>
                  <p:nvPr userDrawn="1"/>
                </p:nvSpPr>
                <p:spPr>
                  <a:xfrm>
                    <a:off x="8420225" y="438971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C6CBDA"/>
                  </a:solidFill>
                  <a:ln w="2339" cap="flat">
                    <a:noFill/>
                    <a:prstDash val="solid"/>
                    <a:miter/>
                  </a:ln>
                </p:spPr>
                <p:txBody>
                  <a:bodyPr rtlCol="0" anchor="ctr"/>
                  <a:lstStyle/>
                  <a:p>
                    <a:endParaRPr lang="en-US" sz="2400"/>
                  </a:p>
                </p:txBody>
              </p:sp>
              <p:sp>
                <p:nvSpPr>
                  <p:cNvPr id="355" name="Freeform: Shape 354">
                    <a:extLst>
                      <a:ext uri="{FF2B5EF4-FFF2-40B4-BE49-F238E27FC236}">
                        <a16:creationId xmlns:a16="http://schemas.microsoft.com/office/drawing/2014/main" id="{E7C56A60-7707-B636-E82A-6E9B0DB4589B}"/>
                      </a:ext>
                    </a:extLst>
                  </p:cNvPr>
                  <p:cNvSpPr/>
                  <p:nvPr userDrawn="1"/>
                </p:nvSpPr>
                <p:spPr>
                  <a:xfrm>
                    <a:off x="8420717" y="438954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C7CCDA"/>
                  </a:solidFill>
                  <a:ln w="2339" cap="flat">
                    <a:noFill/>
                    <a:prstDash val="solid"/>
                    <a:miter/>
                  </a:ln>
                </p:spPr>
                <p:txBody>
                  <a:bodyPr rtlCol="0" anchor="ctr"/>
                  <a:lstStyle/>
                  <a:p>
                    <a:endParaRPr lang="en-US" sz="2400"/>
                  </a:p>
                </p:txBody>
              </p:sp>
              <p:sp>
                <p:nvSpPr>
                  <p:cNvPr id="356" name="Freeform: Shape 355">
                    <a:extLst>
                      <a:ext uri="{FF2B5EF4-FFF2-40B4-BE49-F238E27FC236}">
                        <a16:creationId xmlns:a16="http://schemas.microsoft.com/office/drawing/2014/main" id="{AFEC5015-926D-6338-BBED-3A1D38BE7E8E}"/>
                      </a:ext>
                    </a:extLst>
                  </p:cNvPr>
                  <p:cNvSpPr/>
                  <p:nvPr userDrawn="1"/>
                </p:nvSpPr>
                <p:spPr>
                  <a:xfrm>
                    <a:off x="8421231" y="438938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C7CCDA"/>
                  </a:solidFill>
                  <a:ln w="2339" cap="flat">
                    <a:noFill/>
                    <a:prstDash val="solid"/>
                    <a:miter/>
                  </a:ln>
                </p:spPr>
                <p:txBody>
                  <a:bodyPr rtlCol="0" anchor="ctr"/>
                  <a:lstStyle/>
                  <a:p>
                    <a:endParaRPr lang="en-US" sz="2400"/>
                  </a:p>
                </p:txBody>
              </p:sp>
              <p:sp>
                <p:nvSpPr>
                  <p:cNvPr id="357" name="Freeform: Shape 356">
                    <a:extLst>
                      <a:ext uri="{FF2B5EF4-FFF2-40B4-BE49-F238E27FC236}">
                        <a16:creationId xmlns:a16="http://schemas.microsoft.com/office/drawing/2014/main" id="{2DE302CC-0918-C919-53C4-6DFB39063D24}"/>
                      </a:ext>
                    </a:extLst>
                  </p:cNvPr>
                  <p:cNvSpPr/>
                  <p:nvPr userDrawn="1"/>
                </p:nvSpPr>
                <p:spPr>
                  <a:xfrm>
                    <a:off x="8421723" y="438921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C7CCDB"/>
                  </a:solidFill>
                  <a:ln w="2339" cap="flat">
                    <a:noFill/>
                    <a:prstDash val="solid"/>
                    <a:miter/>
                  </a:ln>
                </p:spPr>
                <p:txBody>
                  <a:bodyPr rtlCol="0" anchor="ctr"/>
                  <a:lstStyle/>
                  <a:p>
                    <a:endParaRPr lang="en-US" sz="2400"/>
                  </a:p>
                </p:txBody>
              </p:sp>
              <p:sp>
                <p:nvSpPr>
                  <p:cNvPr id="358" name="Freeform: Shape 357">
                    <a:extLst>
                      <a:ext uri="{FF2B5EF4-FFF2-40B4-BE49-F238E27FC236}">
                        <a16:creationId xmlns:a16="http://schemas.microsoft.com/office/drawing/2014/main" id="{CC9093CB-6DED-902A-CECC-4890B431ABC2}"/>
                      </a:ext>
                    </a:extLst>
                  </p:cNvPr>
                  <p:cNvSpPr/>
                  <p:nvPr userDrawn="1"/>
                </p:nvSpPr>
                <p:spPr>
                  <a:xfrm>
                    <a:off x="8422238" y="438903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8CDDB"/>
                  </a:solidFill>
                  <a:ln w="2339" cap="flat">
                    <a:noFill/>
                    <a:prstDash val="solid"/>
                    <a:miter/>
                  </a:ln>
                </p:spPr>
                <p:txBody>
                  <a:bodyPr rtlCol="0" anchor="ctr"/>
                  <a:lstStyle/>
                  <a:p>
                    <a:endParaRPr lang="en-US" sz="2400"/>
                  </a:p>
                </p:txBody>
              </p:sp>
              <p:sp>
                <p:nvSpPr>
                  <p:cNvPr id="359" name="Freeform: Shape 358">
                    <a:extLst>
                      <a:ext uri="{FF2B5EF4-FFF2-40B4-BE49-F238E27FC236}">
                        <a16:creationId xmlns:a16="http://schemas.microsoft.com/office/drawing/2014/main" id="{9E52D8C0-CFD9-8AE1-F1C3-A77ABB77F6CE}"/>
                      </a:ext>
                    </a:extLst>
                  </p:cNvPr>
                  <p:cNvSpPr/>
                  <p:nvPr userDrawn="1"/>
                </p:nvSpPr>
                <p:spPr>
                  <a:xfrm>
                    <a:off x="8422729" y="438886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8CDDB"/>
                  </a:solidFill>
                  <a:ln w="2339" cap="flat">
                    <a:noFill/>
                    <a:prstDash val="solid"/>
                    <a:miter/>
                  </a:ln>
                </p:spPr>
                <p:txBody>
                  <a:bodyPr rtlCol="0" anchor="ctr"/>
                  <a:lstStyle/>
                  <a:p>
                    <a:endParaRPr lang="en-US" sz="2400"/>
                  </a:p>
                </p:txBody>
              </p:sp>
              <p:sp>
                <p:nvSpPr>
                  <p:cNvPr id="360" name="Freeform: Shape 359">
                    <a:extLst>
                      <a:ext uri="{FF2B5EF4-FFF2-40B4-BE49-F238E27FC236}">
                        <a16:creationId xmlns:a16="http://schemas.microsoft.com/office/drawing/2014/main" id="{1F0A4EA7-2F6F-9923-D07D-4607C518B918}"/>
                      </a:ext>
                    </a:extLst>
                  </p:cNvPr>
                  <p:cNvSpPr/>
                  <p:nvPr userDrawn="1"/>
                </p:nvSpPr>
                <p:spPr>
                  <a:xfrm>
                    <a:off x="8423244" y="438870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C8CDDB"/>
                  </a:solidFill>
                  <a:ln w="2339" cap="flat">
                    <a:noFill/>
                    <a:prstDash val="solid"/>
                    <a:miter/>
                  </a:ln>
                </p:spPr>
                <p:txBody>
                  <a:bodyPr rtlCol="0" anchor="ctr"/>
                  <a:lstStyle/>
                  <a:p>
                    <a:endParaRPr lang="en-US" sz="2400"/>
                  </a:p>
                </p:txBody>
              </p:sp>
              <p:sp>
                <p:nvSpPr>
                  <p:cNvPr id="361" name="Freeform: Shape 360">
                    <a:extLst>
                      <a:ext uri="{FF2B5EF4-FFF2-40B4-BE49-F238E27FC236}">
                        <a16:creationId xmlns:a16="http://schemas.microsoft.com/office/drawing/2014/main" id="{572E3919-D174-F391-1464-898B77C4E410}"/>
                      </a:ext>
                    </a:extLst>
                  </p:cNvPr>
                  <p:cNvSpPr/>
                  <p:nvPr userDrawn="1"/>
                </p:nvSpPr>
                <p:spPr>
                  <a:xfrm>
                    <a:off x="8423735" y="438851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C9CDDB"/>
                  </a:solidFill>
                  <a:ln w="2339" cap="flat">
                    <a:noFill/>
                    <a:prstDash val="solid"/>
                    <a:miter/>
                  </a:ln>
                </p:spPr>
                <p:txBody>
                  <a:bodyPr rtlCol="0" anchor="ctr"/>
                  <a:lstStyle/>
                  <a:p>
                    <a:endParaRPr lang="en-US" sz="2400"/>
                  </a:p>
                </p:txBody>
              </p:sp>
              <p:sp>
                <p:nvSpPr>
                  <p:cNvPr id="362" name="Freeform: Shape 361">
                    <a:extLst>
                      <a:ext uri="{FF2B5EF4-FFF2-40B4-BE49-F238E27FC236}">
                        <a16:creationId xmlns:a16="http://schemas.microsoft.com/office/drawing/2014/main" id="{176FD044-A17F-A0EE-9DBF-6DE7934874CB}"/>
                      </a:ext>
                    </a:extLst>
                  </p:cNvPr>
                  <p:cNvSpPr/>
                  <p:nvPr userDrawn="1"/>
                </p:nvSpPr>
                <p:spPr>
                  <a:xfrm>
                    <a:off x="8424227" y="438835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C9CEDC"/>
                  </a:solidFill>
                  <a:ln w="2339" cap="flat">
                    <a:noFill/>
                    <a:prstDash val="solid"/>
                    <a:miter/>
                  </a:ln>
                </p:spPr>
                <p:txBody>
                  <a:bodyPr rtlCol="0" anchor="ctr"/>
                  <a:lstStyle/>
                  <a:p>
                    <a:endParaRPr lang="en-US" sz="2400"/>
                  </a:p>
                </p:txBody>
              </p:sp>
              <p:sp>
                <p:nvSpPr>
                  <p:cNvPr id="363" name="Freeform: Shape 362">
                    <a:extLst>
                      <a:ext uri="{FF2B5EF4-FFF2-40B4-BE49-F238E27FC236}">
                        <a16:creationId xmlns:a16="http://schemas.microsoft.com/office/drawing/2014/main" id="{60804BC0-B81C-74DE-A434-33BF7B20EEEE}"/>
                      </a:ext>
                    </a:extLst>
                  </p:cNvPr>
                  <p:cNvSpPr/>
                  <p:nvPr userDrawn="1"/>
                </p:nvSpPr>
                <p:spPr>
                  <a:xfrm>
                    <a:off x="8424718" y="438816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9CEDC"/>
                  </a:solidFill>
                  <a:ln w="2339" cap="flat">
                    <a:noFill/>
                    <a:prstDash val="solid"/>
                    <a:miter/>
                  </a:ln>
                </p:spPr>
                <p:txBody>
                  <a:bodyPr rtlCol="0" anchor="ctr"/>
                  <a:lstStyle/>
                  <a:p>
                    <a:endParaRPr lang="en-US" sz="2400"/>
                  </a:p>
                </p:txBody>
              </p:sp>
              <p:sp>
                <p:nvSpPr>
                  <p:cNvPr id="364" name="Freeform: Shape 363">
                    <a:extLst>
                      <a:ext uri="{FF2B5EF4-FFF2-40B4-BE49-F238E27FC236}">
                        <a16:creationId xmlns:a16="http://schemas.microsoft.com/office/drawing/2014/main" id="{137C3F88-E2F6-39D6-C290-AC54C3486115}"/>
                      </a:ext>
                    </a:extLst>
                  </p:cNvPr>
                  <p:cNvSpPr/>
                  <p:nvPr userDrawn="1"/>
                </p:nvSpPr>
                <p:spPr>
                  <a:xfrm>
                    <a:off x="8425209" y="438800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C9CEDC"/>
                  </a:solidFill>
                  <a:ln w="2339" cap="flat">
                    <a:noFill/>
                    <a:prstDash val="solid"/>
                    <a:miter/>
                  </a:ln>
                </p:spPr>
                <p:txBody>
                  <a:bodyPr rtlCol="0" anchor="ctr"/>
                  <a:lstStyle/>
                  <a:p>
                    <a:endParaRPr lang="en-US" sz="2400"/>
                  </a:p>
                </p:txBody>
              </p:sp>
              <p:sp>
                <p:nvSpPr>
                  <p:cNvPr id="365" name="Freeform: Shape 364">
                    <a:extLst>
                      <a:ext uri="{FF2B5EF4-FFF2-40B4-BE49-F238E27FC236}">
                        <a16:creationId xmlns:a16="http://schemas.microsoft.com/office/drawing/2014/main" id="{0D1208E3-5E81-DC53-45DA-B40DF0FB91F6}"/>
                      </a:ext>
                    </a:extLst>
                  </p:cNvPr>
                  <p:cNvSpPr/>
                  <p:nvPr userDrawn="1"/>
                </p:nvSpPr>
                <p:spPr>
                  <a:xfrm>
                    <a:off x="8425701" y="438781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ACFDC"/>
                  </a:solidFill>
                  <a:ln w="2339" cap="flat">
                    <a:noFill/>
                    <a:prstDash val="solid"/>
                    <a:miter/>
                  </a:ln>
                </p:spPr>
                <p:txBody>
                  <a:bodyPr rtlCol="0" anchor="ctr"/>
                  <a:lstStyle/>
                  <a:p>
                    <a:endParaRPr lang="en-US" sz="2400"/>
                  </a:p>
                </p:txBody>
              </p:sp>
              <p:sp>
                <p:nvSpPr>
                  <p:cNvPr id="366" name="Freeform: Shape 365">
                    <a:extLst>
                      <a:ext uri="{FF2B5EF4-FFF2-40B4-BE49-F238E27FC236}">
                        <a16:creationId xmlns:a16="http://schemas.microsoft.com/office/drawing/2014/main" id="{6B7516E3-B712-F9D5-4DB6-7E6512A885C6}"/>
                      </a:ext>
                    </a:extLst>
                  </p:cNvPr>
                  <p:cNvSpPr/>
                  <p:nvPr userDrawn="1"/>
                </p:nvSpPr>
                <p:spPr>
                  <a:xfrm>
                    <a:off x="8426192" y="438765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CACFDC"/>
                  </a:solidFill>
                  <a:ln w="2339" cap="flat">
                    <a:noFill/>
                    <a:prstDash val="solid"/>
                    <a:miter/>
                  </a:ln>
                </p:spPr>
                <p:txBody>
                  <a:bodyPr rtlCol="0" anchor="ctr"/>
                  <a:lstStyle/>
                  <a:p>
                    <a:endParaRPr lang="en-US" sz="2400"/>
                  </a:p>
                </p:txBody>
              </p:sp>
              <p:sp>
                <p:nvSpPr>
                  <p:cNvPr id="367" name="Freeform: Shape 366">
                    <a:extLst>
                      <a:ext uri="{FF2B5EF4-FFF2-40B4-BE49-F238E27FC236}">
                        <a16:creationId xmlns:a16="http://schemas.microsoft.com/office/drawing/2014/main" id="{F8C25286-6BC7-3268-17FD-EA9798001F01}"/>
                      </a:ext>
                    </a:extLst>
                  </p:cNvPr>
                  <p:cNvSpPr/>
                  <p:nvPr userDrawn="1"/>
                </p:nvSpPr>
                <p:spPr>
                  <a:xfrm>
                    <a:off x="8426684" y="438746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ACFDD"/>
                  </a:solidFill>
                  <a:ln w="2339" cap="flat">
                    <a:noFill/>
                    <a:prstDash val="solid"/>
                    <a:miter/>
                  </a:ln>
                </p:spPr>
                <p:txBody>
                  <a:bodyPr rtlCol="0" anchor="ctr"/>
                  <a:lstStyle/>
                  <a:p>
                    <a:endParaRPr lang="en-US" sz="2400"/>
                  </a:p>
                </p:txBody>
              </p:sp>
              <p:sp>
                <p:nvSpPr>
                  <p:cNvPr id="368" name="Freeform: Shape 367">
                    <a:extLst>
                      <a:ext uri="{FF2B5EF4-FFF2-40B4-BE49-F238E27FC236}">
                        <a16:creationId xmlns:a16="http://schemas.microsoft.com/office/drawing/2014/main" id="{64372DE9-C994-25C0-A7E6-EEDAEC78F82C}"/>
                      </a:ext>
                    </a:extLst>
                  </p:cNvPr>
                  <p:cNvSpPr/>
                  <p:nvPr userDrawn="1"/>
                </p:nvSpPr>
                <p:spPr>
                  <a:xfrm>
                    <a:off x="8427175" y="438730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CBCFDD"/>
                  </a:solidFill>
                  <a:ln w="2339" cap="flat">
                    <a:noFill/>
                    <a:prstDash val="solid"/>
                    <a:miter/>
                  </a:ln>
                </p:spPr>
                <p:txBody>
                  <a:bodyPr rtlCol="0" anchor="ctr"/>
                  <a:lstStyle/>
                  <a:p>
                    <a:endParaRPr lang="en-US" sz="2400"/>
                  </a:p>
                </p:txBody>
              </p:sp>
              <p:sp>
                <p:nvSpPr>
                  <p:cNvPr id="369" name="Freeform: Shape 368">
                    <a:extLst>
                      <a:ext uri="{FF2B5EF4-FFF2-40B4-BE49-F238E27FC236}">
                        <a16:creationId xmlns:a16="http://schemas.microsoft.com/office/drawing/2014/main" id="{45A59E0A-F915-DEE7-0EB4-524D00393CEC}"/>
                      </a:ext>
                    </a:extLst>
                  </p:cNvPr>
                  <p:cNvSpPr/>
                  <p:nvPr userDrawn="1"/>
                </p:nvSpPr>
                <p:spPr>
                  <a:xfrm>
                    <a:off x="8427666" y="438711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CBD0DD"/>
                  </a:solidFill>
                  <a:ln w="2339" cap="flat">
                    <a:noFill/>
                    <a:prstDash val="solid"/>
                    <a:miter/>
                  </a:ln>
                </p:spPr>
                <p:txBody>
                  <a:bodyPr rtlCol="0" anchor="ctr"/>
                  <a:lstStyle/>
                  <a:p>
                    <a:endParaRPr lang="en-US" sz="2400"/>
                  </a:p>
                </p:txBody>
              </p:sp>
              <p:sp>
                <p:nvSpPr>
                  <p:cNvPr id="370" name="Freeform: Shape 369">
                    <a:extLst>
                      <a:ext uri="{FF2B5EF4-FFF2-40B4-BE49-F238E27FC236}">
                        <a16:creationId xmlns:a16="http://schemas.microsoft.com/office/drawing/2014/main" id="{2FCAD4A7-0ABF-3B45-4430-8406BB8829DA}"/>
                      </a:ext>
                    </a:extLst>
                  </p:cNvPr>
                  <p:cNvSpPr/>
                  <p:nvPr userDrawn="1"/>
                </p:nvSpPr>
                <p:spPr>
                  <a:xfrm>
                    <a:off x="8428135" y="438692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BD0DD"/>
                  </a:solidFill>
                  <a:ln w="2339" cap="flat">
                    <a:noFill/>
                    <a:prstDash val="solid"/>
                    <a:miter/>
                  </a:ln>
                </p:spPr>
                <p:txBody>
                  <a:bodyPr rtlCol="0" anchor="ctr"/>
                  <a:lstStyle/>
                  <a:p>
                    <a:endParaRPr lang="en-US" sz="2400"/>
                  </a:p>
                </p:txBody>
              </p:sp>
              <p:sp>
                <p:nvSpPr>
                  <p:cNvPr id="371" name="Freeform: Shape 370">
                    <a:extLst>
                      <a:ext uri="{FF2B5EF4-FFF2-40B4-BE49-F238E27FC236}">
                        <a16:creationId xmlns:a16="http://schemas.microsoft.com/office/drawing/2014/main" id="{48BDD046-CC80-CF9A-E4E9-8853D32AEC2A}"/>
                      </a:ext>
                    </a:extLst>
                  </p:cNvPr>
                  <p:cNvSpPr/>
                  <p:nvPr userDrawn="1"/>
                </p:nvSpPr>
                <p:spPr>
                  <a:xfrm>
                    <a:off x="8428626" y="438673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CD0DD"/>
                  </a:solidFill>
                  <a:ln w="2339" cap="flat">
                    <a:noFill/>
                    <a:prstDash val="solid"/>
                    <a:miter/>
                  </a:ln>
                </p:spPr>
                <p:txBody>
                  <a:bodyPr rtlCol="0" anchor="ctr"/>
                  <a:lstStyle/>
                  <a:p>
                    <a:endParaRPr lang="en-US" sz="2400"/>
                  </a:p>
                </p:txBody>
              </p:sp>
              <p:sp>
                <p:nvSpPr>
                  <p:cNvPr id="372" name="Freeform: Shape 371">
                    <a:extLst>
                      <a:ext uri="{FF2B5EF4-FFF2-40B4-BE49-F238E27FC236}">
                        <a16:creationId xmlns:a16="http://schemas.microsoft.com/office/drawing/2014/main" id="{6BDECC4C-19DE-16DD-8421-AC80765077AF}"/>
                      </a:ext>
                    </a:extLst>
                  </p:cNvPr>
                  <p:cNvSpPr/>
                  <p:nvPr userDrawn="1"/>
                </p:nvSpPr>
                <p:spPr>
                  <a:xfrm>
                    <a:off x="8429117" y="438655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CCD0DE"/>
                  </a:solidFill>
                  <a:ln w="2339" cap="flat">
                    <a:noFill/>
                    <a:prstDash val="solid"/>
                    <a:miter/>
                  </a:ln>
                </p:spPr>
                <p:txBody>
                  <a:bodyPr rtlCol="0" anchor="ctr"/>
                  <a:lstStyle/>
                  <a:p>
                    <a:endParaRPr lang="en-US" sz="2400"/>
                  </a:p>
                </p:txBody>
              </p:sp>
              <p:sp>
                <p:nvSpPr>
                  <p:cNvPr id="373" name="Freeform: Shape 372">
                    <a:extLst>
                      <a:ext uri="{FF2B5EF4-FFF2-40B4-BE49-F238E27FC236}">
                        <a16:creationId xmlns:a16="http://schemas.microsoft.com/office/drawing/2014/main" id="{DD08563D-0AEB-64CD-82AF-507B2470C41C}"/>
                      </a:ext>
                    </a:extLst>
                  </p:cNvPr>
                  <p:cNvSpPr/>
                  <p:nvPr userDrawn="1"/>
                </p:nvSpPr>
                <p:spPr>
                  <a:xfrm>
                    <a:off x="8429585" y="438638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CCD1DE"/>
                  </a:solidFill>
                  <a:ln w="2339" cap="flat">
                    <a:noFill/>
                    <a:prstDash val="solid"/>
                    <a:miter/>
                  </a:ln>
                </p:spPr>
                <p:txBody>
                  <a:bodyPr rtlCol="0" anchor="ctr"/>
                  <a:lstStyle/>
                  <a:p>
                    <a:endParaRPr lang="en-US" sz="2400"/>
                  </a:p>
                </p:txBody>
              </p:sp>
              <p:sp>
                <p:nvSpPr>
                  <p:cNvPr id="374" name="Freeform: Shape 373">
                    <a:extLst>
                      <a:ext uri="{FF2B5EF4-FFF2-40B4-BE49-F238E27FC236}">
                        <a16:creationId xmlns:a16="http://schemas.microsoft.com/office/drawing/2014/main" id="{1795E0F4-2AE3-F852-2E57-37A5E2601765}"/>
                      </a:ext>
                    </a:extLst>
                  </p:cNvPr>
                  <p:cNvSpPr/>
                  <p:nvPr userDrawn="1"/>
                </p:nvSpPr>
                <p:spPr>
                  <a:xfrm>
                    <a:off x="8430077" y="438620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43"/>
                          <a:pt x="0" y="21037"/>
                        </a:cubicBezTo>
                        <a:close/>
                      </a:path>
                    </a:pathLst>
                  </a:custGeom>
                  <a:solidFill>
                    <a:srgbClr val="CDD1DE"/>
                  </a:solidFill>
                  <a:ln w="2339" cap="flat">
                    <a:noFill/>
                    <a:prstDash val="solid"/>
                    <a:miter/>
                  </a:ln>
                </p:spPr>
                <p:txBody>
                  <a:bodyPr rtlCol="0" anchor="ctr"/>
                  <a:lstStyle/>
                  <a:p>
                    <a:endParaRPr lang="en-US" sz="2400"/>
                  </a:p>
                </p:txBody>
              </p:sp>
              <p:sp>
                <p:nvSpPr>
                  <p:cNvPr id="375" name="Freeform: Shape 374">
                    <a:extLst>
                      <a:ext uri="{FF2B5EF4-FFF2-40B4-BE49-F238E27FC236}">
                        <a16:creationId xmlns:a16="http://schemas.microsoft.com/office/drawing/2014/main" id="{324A5045-0EA9-A447-46CB-DEDC3E9FE1BE}"/>
                      </a:ext>
                    </a:extLst>
                  </p:cNvPr>
                  <p:cNvSpPr/>
                  <p:nvPr userDrawn="1"/>
                </p:nvSpPr>
                <p:spPr>
                  <a:xfrm>
                    <a:off x="8430545" y="438601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CDD1DE"/>
                  </a:solidFill>
                  <a:ln w="2339" cap="flat">
                    <a:noFill/>
                    <a:prstDash val="solid"/>
                    <a:miter/>
                  </a:ln>
                </p:spPr>
                <p:txBody>
                  <a:bodyPr rtlCol="0" anchor="ctr"/>
                  <a:lstStyle/>
                  <a:p>
                    <a:endParaRPr lang="en-US" sz="2400"/>
                  </a:p>
                </p:txBody>
              </p:sp>
              <p:sp>
                <p:nvSpPr>
                  <p:cNvPr id="376" name="Freeform: Shape 375">
                    <a:extLst>
                      <a:ext uri="{FF2B5EF4-FFF2-40B4-BE49-F238E27FC236}">
                        <a16:creationId xmlns:a16="http://schemas.microsoft.com/office/drawing/2014/main" id="{6CB39175-7478-BA68-6C26-5444F358FC79}"/>
                      </a:ext>
                    </a:extLst>
                  </p:cNvPr>
                  <p:cNvSpPr/>
                  <p:nvPr userDrawn="1"/>
                </p:nvSpPr>
                <p:spPr>
                  <a:xfrm>
                    <a:off x="8431013" y="438582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CDD2DE"/>
                  </a:solidFill>
                  <a:ln w="2339" cap="flat">
                    <a:noFill/>
                    <a:prstDash val="solid"/>
                    <a:miter/>
                  </a:ln>
                </p:spPr>
                <p:txBody>
                  <a:bodyPr rtlCol="0" anchor="ctr"/>
                  <a:lstStyle/>
                  <a:p>
                    <a:endParaRPr lang="en-US" sz="2400"/>
                  </a:p>
                </p:txBody>
              </p:sp>
              <p:sp>
                <p:nvSpPr>
                  <p:cNvPr id="377" name="Freeform: Shape 376">
                    <a:extLst>
                      <a:ext uri="{FF2B5EF4-FFF2-40B4-BE49-F238E27FC236}">
                        <a16:creationId xmlns:a16="http://schemas.microsoft.com/office/drawing/2014/main" id="{3C43FD3E-580D-4D97-929E-EB3E61E8FA7F}"/>
                      </a:ext>
                    </a:extLst>
                  </p:cNvPr>
                  <p:cNvSpPr/>
                  <p:nvPr userDrawn="1"/>
                </p:nvSpPr>
                <p:spPr>
                  <a:xfrm>
                    <a:off x="8431504" y="438563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43"/>
                          <a:pt x="0" y="21037"/>
                        </a:cubicBezTo>
                        <a:close/>
                      </a:path>
                    </a:pathLst>
                  </a:custGeom>
                  <a:solidFill>
                    <a:srgbClr val="CDD2DF"/>
                  </a:solidFill>
                  <a:ln w="2339" cap="flat">
                    <a:noFill/>
                    <a:prstDash val="solid"/>
                    <a:miter/>
                  </a:ln>
                </p:spPr>
                <p:txBody>
                  <a:bodyPr rtlCol="0" anchor="ctr"/>
                  <a:lstStyle/>
                  <a:p>
                    <a:endParaRPr lang="en-US" sz="2400"/>
                  </a:p>
                </p:txBody>
              </p:sp>
              <p:sp>
                <p:nvSpPr>
                  <p:cNvPr id="378" name="Freeform: Shape 377">
                    <a:extLst>
                      <a:ext uri="{FF2B5EF4-FFF2-40B4-BE49-F238E27FC236}">
                        <a16:creationId xmlns:a16="http://schemas.microsoft.com/office/drawing/2014/main" id="{B28A74D4-7510-7E0E-1C3A-85F74C84443E}"/>
                      </a:ext>
                    </a:extLst>
                  </p:cNvPr>
                  <p:cNvSpPr/>
                  <p:nvPr userDrawn="1"/>
                </p:nvSpPr>
                <p:spPr>
                  <a:xfrm>
                    <a:off x="8431972" y="438542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ED2DF"/>
                  </a:solidFill>
                  <a:ln w="2339" cap="flat">
                    <a:noFill/>
                    <a:prstDash val="solid"/>
                    <a:miter/>
                  </a:ln>
                </p:spPr>
                <p:txBody>
                  <a:bodyPr rtlCol="0" anchor="ctr"/>
                  <a:lstStyle/>
                  <a:p>
                    <a:endParaRPr lang="en-US" sz="2400"/>
                  </a:p>
                </p:txBody>
              </p:sp>
              <p:sp>
                <p:nvSpPr>
                  <p:cNvPr id="379" name="Freeform: Shape 378">
                    <a:extLst>
                      <a:ext uri="{FF2B5EF4-FFF2-40B4-BE49-F238E27FC236}">
                        <a16:creationId xmlns:a16="http://schemas.microsoft.com/office/drawing/2014/main" id="{1A38C5B8-407C-8E56-D703-88721853398D}"/>
                      </a:ext>
                    </a:extLst>
                  </p:cNvPr>
                  <p:cNvSpPr/>
                  <p:nvPr userDrawn="1"/>
                </p:nvSpPr>
                <p:spPr>
                  <a:xfrm>
                    <a:off x="8432440" y="438524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ED2DF"/>
                  </a:solidFill>
                  <a:ln w="2339" cap="flat">
                    <a:noFill/>
                    <a:prstDash val="solid"/>
                    <a:miter/>
                  </a:ln>
                </p:spPr>
                <p:txBody>
                  <a:bodyPr rtlCol="0" anchor="ctr"/>
                  <a:lstStyle/>
                  <a:p>
                    <a:endParaRPr lang="en-US" sz="2400"/>
                  </a:p>
                </p:txBody>
              </p:sp>
              <p:sp>
                <p:nvSpPr>
                  <p:cNvPr id="380" name="Freeform: Shape 379">
                    <a:extLst>
                      <a:ext uri="{FF2B5EF4-FFF2-40B4-BE49-F238E27FC236}">
                        <a16:creationId xmlns:a16="http://schemas.microsoft.com/office/drawing/2014/main" id="{7FBC0DAD-BCCC-24B0-68D4-CB99205C7856}"/>
                      </a:ext>
                    </a:extLst>
                  </p:cNvPr>
                  <p:cNvSpPr/>
                  <p:nvPr userDrawn="1"/>
                </p:nvSpPr>
                <p:spPr>
                  <a:xfrm>
                    <a:off x="8432908" y="438505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ED3DF"/>
                  </a:solidFill>
                  <a:ln w="2339" cap="flat">
                    <a:noFill/>
                    <a:prstDash val="solid"/>
                    <a:miter/>
                  </a:ln>
                </p:spPr>
                <p:txBody>
                  <a:bodyPr rtlCol="0" anchor="ctr"/>
                  <a:lstStyle/>
                  <a:p>
                    <a:endParaRPr lang="en-US" sz="2400"/>
                  </a:p>
                </p:txBody>
              </p:sp>
              <p:sp>
                <p:nvSpPr>
                  <p:cNvPr id="381" name="Freeform: Shape 380">
                    <a:extLst>
                      <a:ext uri="{FF2B5EF4-FFF2-40B4-BE49-F238E27FC236}">
                        <a16:creationId xmlns:a16="http://schemas.microsoft.com/office/drawing/2014/main" id="{594AAFCC-CFD4-4707-2276-2549C38554FF}"/>
                      </a:ext>
                    </a:extLst>
                  </p:cNvPr>
                  <p:cNvSpPr/>
                  <p:nvPr userDrawn="1"/>
                </p:nvSpPr>
                <p:spPr>
                  <a:xfrm>
                    <a:off x="8433376" y="438486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CFD3DF"/>
                  </a:solidFill>
                  <a:ln w="2339" cap="flat">
                    <a:noFill/>
                    <a:prstDash val="solid"/>
                    <a:miter/>
                  </a:ln>
                </p:spPr>
                <p:txBody>
                  <a:bodyPr rtlCol="0" anchor="ctr"/>
                  <a:lstStyle/>
                  <a:p>
                    <a:endParaRPr lang="en-US" sz="2400"/>
                  </a:p>
                </p:txBody>
              </p:sp>
              <p:sp>
                <p:nvSpPr>
                  <p:cNvPr id="382" name="Freeform: Shape 381">
                    <a:extLst>
                      <a:ext uri="{FF2B5EF4-FFF2-40B4-BE49-F238E27FC236}">
                        <a16:creationId xmlns:a16="http://schemas.microsoft.com/office/drawing/2014/main" id="{ED6069CC-95C0-3A5D-1345-36BBA48E650E}"/>
                      </a:ext>
                    </a:extLst>
                  </p:cNvPr>
                  <p:cNvSpPr/>
                  <p:nvPr userDrawn="1"/>
                </p:nvSpPr>
                <p:spPr>
                  <a:xfrm>
                    <a:off x="8433844" y="438468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CFD3E0"/>
                  </a:solidFill>
                  <a:ln w="2339" cap="flat">
                    <a:noFill/>
                    <a:prstDash val="solid"/>
                    <a:miter/>
                  </a:ln>
                </p:spPr>
                <p:txBody>
                  <a:bodyPr rtlCol="0" anchor="ctr"/>
                  <a:lstStyle/>
                  <a:p>
                    <a:endParaRPr lang="en-US" sz="2400"/>
                  </a:p>
                </p:txBody>
              </p:sp>
              <p:sp>
                <p:nvSpPr>
                  <p:cNvPr id="383" name="Freeform: Shape 382">
                    <a:extLst>
                      <a:ext uri="{FF2B5EF4-FFF2-40B4-BE49-F238E27FC236}">
                        <a16:creationId xmlns:a16="http://schemas.microsoft.com/office/drawing/2014/main" id="{A825F7D3-3965-5989-947B-C4ACB18D7D13}"/>
                      </a:ext>
                    </a:extLst>
                  </p:cNvPr>
                  <p:cNvSpPr/>
                  <p:nvPr userDrawn="1"/>
                </p:nvSpPr>
                <p:spPr>
                  <a:xfrm>
                    <a:off x="8434312" y="438446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CFD4E0"/>
                  </a:solidFill>
                  <a:ln w="2339" cap="flat">
                    <a:noFill/>
                    <a:prstDash val="solid"/>
                    <a:miter/>
                  </a:ln>
                </p:spPr>
                <p:txBody>
                  <a:bodyPr rtlCol="0" anchor="ctr"/>
                  <a:lstStyle/>
                  <a:p>
                    <a:endParaRPr lang="en-US" sz="2400"/>
                  </a:p>
                </p:txBody>
              </p:sp>
              <p:sp>
                <p:nvSpPr>
                  <p:cNvPr id="384" name="Freeform: Shape 383">
                    <a:extLst>
                      <a:ext uri="{FF2B5EF4-FFF2-40B4-BE49-F238E27FC236}">
                        <a16:creationId xmlns:a16="http://schemas.microsoft.com/office/drawing/2014/main" id="{1B8986A1-1476-A89B-0F2E-876451C01E64}"/>
                      </a:ext>
                    </a:extLst>
                  </p:cNvPr>
                  <p:cNvSpPr/>
                  <p:nvPr userDrawn="1"/>
                </p:nvSpPr>
                <p:spPr>
                  <a:xfrm>
                    <a:off x="8434780" y="438428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D0D4E0"/>
                  </a:solidFill>
                  <a:ln w="2339" cap="flat">
                    <a:noFill/>
                    <a:prstDash val="solid"/>
                    <a:miter/>
                  </a:ln>
                </p:spPr>
                <p:txBody>
                  <a:bodyPr rtlCol="0" anchor="ctr"/>
                  <a:lstStyle/>
                  <a:p>
                    <a:endParaRPr lang="en-US" sz="2400"/>
                  </a:p>
                </p:txBody>
              </p:sp>
              <p:sp>
                <p:nvSpPr>
                  <p:cNvPr id="385" name="Freeform: Shape 384">
                    <a:extLst>
                      <a:ext uri="{FF2B5EF4-FFF2-40B4-BE49-F238E27FC236}">
                        <a16:creationId xmlns:a16="http://schemas.microsoft.com/office/drawing/2014/main" id="{C73B4115-5F4A-B557-F4BA-A57BB1418590}"/>
                      </a:ext>
                    </a:extLst>
                  </p:cNvPr>
                  <p:cNvSpPr/>
                  <p:nvPr userDrawn="1"/>
                </p:nvSpPr>
                <p:spPr>
                  <a:xfrm>
                    <a:off x="8435225" y="438409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0D4E0"/>
                  </a:solidFill>
                  <a:ln w="2339" cap="flat">
                    <a:noFill/>
                    <a:prstDash val="solid"/>
                    <a:miter/>
                  </a:ln>
                </p:spPr>
                <p:txBody>
                  <a:bodyPr rtlCol="0" anchor="ctr"/>
                  <a:lstStyle/>
                  <a:p>
                    <a:endParaRPr lang="en-US" sz="2400"/>
                  </a:p>
                </p:txBody>
              </p:sp>
              <p:sp>
                <p:nvSpPr>
                  <p:cNvPr id="386" name="Freeform: Shape 385">
                    <a:extLst>
                      <a:ext uri="{FF2B5EF4-FFF2-40B4-BE49-F238E27FC236}">
                        <a16:creationId xmlns:a16="http://schemas.microsoft.com/office/drawing/2014/main" id="{B6B91C9E-8D52-F3E0-71EB-9D419FB46B14}"/>
                      </a:ext>
                    </a:extLst>
                  </p:cNvPr>
                  <p:cNvSpPr/>
                  <p:nvPr userDrawn="1"/>
                </p:nvSpPr>
                <p:spPr>
                  <a:xfrm>
                    <a:off x="8435693" y="438388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0D4E0"/>
                  </a:solidFill>
                  <a:ln w="2339" cap="flat">
                    <a:noFill/>
                    <a:prstDash val="solid"/>
                    <a:miter/>
                  </a:ln>
                </p:spPr>
                <p:txBody>
                  <a:bodyPr rtlCol="0" anchor="ctr"/>
                  <a:lstStyle/>
                  <a:p>
                    <a:endParaRPr lang="en-US" sz="2400"/>
                  </a:p>
                </p:txBody>
              </p:sp>
              <p:sp>
                <p:nvSpPr>
                  <p:cNvPr id="387" name="Freeform: Shape 386">
                    <a:extLst>
                      <a:ext uri="{FF2B5EF4-FFF2-40B4-BE49-F238E27FC236}">
                        <a16:creationId xmlns:a16="http://schemas.microsoft.com/office/drawing/2014/main" id="{60D9B1D8-BD52-8288-CF1B-5DDA726C3322}"/>
                      </a:ext>
                    </a:extLst>
                  </p:cNvPr>
                  <p:cNvSpPr/>
                  <p:nvPr userDrawn="1"/>
                </p:nvSpPr>
                <p:spPr>
                  <a:xfrm>
                    <a:off x="8436137" y="438369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1D5E1"/>
                  </a:solidFill>
                  <a:ln w="2339" cap="flat">
                    <a:noFill/>
                    <a:prstDash val="solid"/>
                    <a:miter/>
                  </a:ln>
                </p:spPr>
                <p:txBody>
                  <a:bodyPr rtlCol="0" anchor="ctr"/>
                  <a:lstStyle/>
                  <a:p>
                    <a:endParaRPr lang="en-US" sz="2400"/>
                  </a:p>
                </p:txBody>
              </p:sp>
              <p:sp>
                <p:nvSpPr>
                  <p:cNvPr id="388" name="Freeform: Shape 387">
                    <a:extLst>
                      <a:ext uri="{FF2B5EF4-FFF2-40B4-BE49-F238E27FC236}">
                        <a16:creationId xmlns:a16="http://schemas.microsoft.com/office/drawing/2014/main" id="{DB2BA04F-24FE-2F94-A737-F712D93E274D}"/>
                      </a:ext>
                    </a:extLst>
                  </p:cNvPr>
                  <p:cNvSpPr/>
                  <p:nvPr userDrawn="1"/>
                </p:nvSpPr>
                <p:spPr>
                  <a:xfrm>
                    <a:off x="8436605" y="438348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1D5E1"/>
                  </a:solidFill>
                  <a:ln w="2339" cap="flat">
                    <a:noFill/>
                    <a:prstDash val="solid"/>
                    <a:miter/>
                  </a:ln>
                </p:spPr>
                <p:txBody>
                  <a:bodyPr rtlCol="0" anchor="ctr"/>
                  <a:lstStyle/>
                  <a:p>
                    <a:endParaRPr lang="en-US" sz="2400"/>
                  </a:p>
                </p:txBody>
              </p:sp>
              <p:sp>
                <p:nvSpPr>
                  <p:cNvPr id="389" name="Freeform: Shape 388">
                    <a:extLst>
                      <a:ext uri="{FF2B5EF4-FFF2-40B4-BE49-F238E27FC236}">
                        <a16:creationId xmlns:a16="http://schemas.microsoft.com/office/drawing/2014/main" id="{F79752B7-C4DC-4AAC-EDA5-DAA94DB832DF}"/>
                      </a:ext>
                    </a:extLst>
                  </p:cNvPr>
                  <p:cNvSpPr/>
                  <p:nvPr userDrawn="1"/>
                </p:nvSpPr>
                <p:spPr>
                  <a:xfrm>
                    <a:off x="8437050" y="438329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1D5E1"/>
                  </a:solidFill>
                  <a:ln w="2339" cap="flat">
                    <a:noFill/>
                    <a:prstDash val="solid"/>
                    <a:miter/>
                  </a:ln>
                </p:spPr>
                <p:txBody>
                  <a:bodyPr rtlCol="0" anchor="ctr"/>
                  <a:lstStyle/>
                  <a:p>
                    <a:endParaRPr lang="en-US" sz="2400"/>
                  </a:p>
                </p:txBody>
              </p:sp>
              <p:sp>
                <p:nvSpPr>
                  <p:cNvPr id="390" name="Freeform: Shape 389">
                    <a:extLst>
                      <a:ext uri="{FF2B5EF4-FFF2-40B4-BE49-F238E27FC236}">
                        <a16:creationId xmlns:a16="http://schemas.microsoft.com/office/drawing/2014/main" id="{7CDAF092-8EA5-BA98-B01B-219CE81AFFD1}"/>
                      </a:ext>
                    </a:extLst>
                  </p:cNvPr>
                  <p:cNvSpPr/>
                  <p:nvPr userDrawn="1"/>
                </p:nvSpPr>
                <p:spPr>
                  <a:xfrm>
                    <a:off x="8437518" y="438308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D1D6E1"/>
                  </a:solidFill>
                  <a:ln w="2339" cap="flat">
                    <a:noFill/>
                    <a:prstDash val="solid"/>
                    <a:miter/>
                  </a:ln>
                </p:spPr>
                <p:txBody>
                  <a:bodyPr rtlCol="0" anchor="ctr"/>
                  <a:lstStyle/>
                  <a:p>
                    <a:endParaRPr lang="en-US" sz="2400"/>
                  </a:p>
                </p:txBody>
              </p:sp>
              <p:sp>
                <p:nvSpPr>
                  <p:cNvPr id="391" name="Freeform: Shape 390">
                    <a:extLst>
                      <a:ext uri="{FF2B5EF4-FFF2-40B4-BE49-F238E27FC236}">
                        <a16:creationId xmlns:a16="http://schemas.microsoft.com/office/drawing/2014/main" id="{710B3214-7A4A-D0AC-6940-3EE433CA5E25}"/>
                      </a:ext>
                    </a:extLst>
                  </p:cNvPr>
                  <p:cNvSpPr/>
                  <p:nvPr userDrawn="1"/>
                </p:nvSpPr>
                <p:spPr>
                  <a:xfrm>
                    <a:off x="8437963" y="438287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2D6E1"/>
                  </a:solidFill>
                  <a:ln w="2339" cap="flat">
                    <a:noFill/>
                    <a:prstDash val="solid"/>
                    <a:miter/>
                  </a:ln>
                </p:spPr>
                <p:txBody>
                  <a:bodyPr rtlCol="0" anchor="ctr"/>
                  <a:lstStyle/>
                  <a:p>
                    <a:endParaRPr lang="en-US" sz="2400"/>
                  </a:p>
                </p:txBody>
              </p:sp>
              <p:sp>
                <p:nvSpPr>
                  <p:cNvPr id="392" name="Freeform: Shape 391">
                    <a:extLst>
                      <a:ext uri="{FF2B5EF4-FFF2-40B4-BE49-F238E27FC236}">
                        <a16:creationId xmlns:a16="http://schemas.microsoft.com/office/drawing/2014/main" id="{3003BED7-3B7B-72DA-9511-7D640052D103}"/>
                      </a:ext>
                    </a:extLst>
                  </p:cNvPr>
                  <p:cNvSpPr/>
                  <p:nvPr userDrawn="1"/>
                </p:nvSpPr>
                <p:spPr>
                  <a:xfrm>
                    <a:off x="8438407" y="438269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2D6E2"/>
                  </a:solidFill>
                  <a:ln w="2339" cap="flat">
                    <a:noFill/>
                    <a:prstDash val="solid"/>
                    <a:miter/>
                  </a:ln>
                </p:spPr>
                <p:txBody>
                  <a:bodyPr rtlCol="0" anchor="ctr"/>
                  <a:lstStyle/>
                  <a:p>
                    <a:endParaRPr lang="en-US" sz="2400"/>
                  </a:p>
                </p:txBody>
              </p:sp>
              <p:sp>
                <p:nvSpPr>
                  <p:cNvPr id="393" name="Freeform: Shape 392">
                    <a:extLst>
                      <a:ext uri="{FF2B5EF4-FFF2-40B4-BE49-F238E27FC236}">
                        <a16:creationId xmlns:a16="http://schemas.microsoft.com/office/drawing/2014/main" id="{1A8C4ACB-9A1B-EFFA-4158-6FC8A1E7BE10}"/>
                      </a:ext>
                    </a:extLst>
                  </p:cNvPr>
                  <p:cNvSpPr/>
                  <p:nvPr userDrawn="1"/>
                </p:nvSpPr>
                <p:spPr>
                  <a:xfrm>
                    <a:off x="8438852" y="438248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D2D6E2"/>
                  </a:solidFill>
                  <a:ln w="2339" cap="flat">
                    <a:noFill/>
                    <a:prstDash val="solid"/>
                    <a:miter/>
                  </a:ln>
                </p:spPr>
                <p:txBody>
                  <a:bodyPr rtlCol="0" anchor="ctr"/>
                  <a:lstStyle/>
                  <a:p>
                    <a:endParaRPr lang="en-US" sz="2400"/>
                  </a:p>
                </p:txBody>
              </p:sp>
              <p:sp>
                <p:nvSpPr>
                  <p:cNvPr id="394" name="Freeform: Shape 393">
                    <a:extLst>
                      <a:ext uri="{FF2B5EF4-FFF2-40B4-BE49-F238E27FC236}">
                        <a16:creationId xmlns:a16="http://schemas.microsoft.com/office/drawing/2014/main" id="{12F860E9-81E1-C994-10AA-B87870E85DA5}"/>
                      </a:ext>
                    </a:extLst>
                  </p:cNvPr>
                  <p:cNvSpPr/>
                  <p:nvPr userDrawn="1"/>
                </p:nvSpPr>
                <p:spPr>
                  <a:xfrm>
                    <a:off x="8439296" y="438226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3D7E2"/>
                  </a:solidFill>
                  <a:ln w="2339" cap="flat">
                    <a:noFill/>
                    <a:prstDash val="solid"/>
                    <a:miter/>
                  </a:ln>
                </p:spPr>
                <p:txBody>
                  <a:bodyPr rtlCol="0" anchor="ctr"/>
                  <a:lstStyle/>
                  <a:p>
                    <a:endParaRPr lang="en-US" sz="2400"/>
                  </a:p>
                </p:txBody>
              </p:sp>
              <p:sp>
                <p:nvSpPr>
                  <p:cNvPr id="395" name="Freeform: Shape 394">
                    <a:extLst>
                      <a:ext uri="{FF2B5EF4-FFF2-40B4-BE49-F238E27FC236}">
                        <a16:creationId xmlns:a16="http://schemas.microsoft.com/office/drawing/2014/main" id="{C86B665D-8AFC-0405-4446-6956961C76CD}"/>
                      </a:ext>
                    </a:extLst>
                  </p:cNvPr>
                  <p:cNvSpPr/>
                  <p:nvPr userDrawn="1"/>
                </p:nvSpPr>
                <p:spPr>
                  <a:xfrm>
                    <a:off x="8439741" y="438205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3D7E2"/>
                  </a:solidFill>
                  <a:ln w="2339" cap="flat">
                    <a:noFill/>
                    <a:prstDash val="solid"/>
                    <a:miter/>
                  </a:ln>
                </p:spPr>
                <p:txBody>
                  <a:bodyPr rtlCol="0" anchor="ctr"/>
                  <a:lstStyle/>
                  <a:p>
                    <a:endParaRPr lang="en-US" sz="2400"/>
                  </a:p>
                </p:txBody>
              </p:sp>
              <p:sp>
                <p:nvSpPr>
                  <p:cNvPr id="396" name="Freeform: Shape 395">
                    <a:extLst>
                      <a:ext uri="{FF2B5EF4-FFF2-40B4-BE49-F238E27FC236}">
                        <a16:creationId xmlns:a16="http://schemas.microsoft.com/office/drawing/2014/main" id="{97E3603F-B402-923D-B4FF-81A25C5027E6}"/>
                      </a:ext>
                    </a:extLst>
                  </p:cNvPr>
                  <p:cNvSpPr/>
                  <p:nvPr userDrawn="1"/>
                </p:nvSpPr>
                <p:spPr>
                  <a:xfrm>
                    <a:off x="8440186" y="438184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3D7E2"/>
                  </a:solidFill>
                  <a:ln w="2339" cap="flat">
                    <a:noFill/>
                    <a:prstDash val="solid"/>
                    <a:miter/>
                  </a:ln>
                </p:spPr>
                <p:txBody>
                  <a:bodyPr rtlCol="0" anchor="ctr"/>
                  <a:lstStyle/>
                  <a:p>
                    <a:endParaRPr lang="en-US" sz="2400"/>
                  </a:p>
                </p:txBody>
              </p:sp>
              <p:sp>
                <p:nvSpPr>
                  <p:cNvPr id="397" name="Freeform: Shape 396">
                    <a:extLst>
                      <a:ext uri="{FF2B5EF4-FFF2-40B4-BE49-F238E27FC236}">
                        <a16:creationId xmlns:a16="http://schemas.microsoft.com/office/drawing/2014/main" id="{A5C663A0-C499-8827-60D8-19FD35DAAAF2}"/>
                      </a:ext>
                    </a:extLst>
                  </p:cNvPr>
                  <p:cNvSpPr/>
                  <p:nvPr userDrawn="1"/>
                </p:nvSpPr>
                <p:spPr>
                  <a:xfrm>
                    <a:off x="8440630" y="438166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4D7E3"/>
                  </a:solidFill>
                  <a:ln w="2339" cap="flat">
                    <a:noFill/>
                    <a:prstDash val="solid"/>
                    <a:miter/>
                  </a:ln>
                </p:spPr>
                <p:txBody>
                  <a:bodyPr rtlCol="0" anchor="ctr"/>
                  <a:lstStyle/>
                  <a:p>
                    <a:endParaRPr lang="en-US" sz="2400"/>
                  </a:p>
                </p:txBody>
              </p:sp>
              <p:sp>
                <p:nvSpPr>
                  <p:cNvPr id="398" name="Freeform: Shape 397">
                    <a:extLst>
                      <a:ext uri="{FF2B5EF4-FFF2-40B4-BE49-F238E27FC236}">
                        <a16:creationId xmlns:a16="http://schemas.microsoft.com/office/drawing/2014/main" id="{CAC7F53E-153C-EB60-5F4C-70CC9CDB86FF}"/>
                      </a:ext>
                    </a:extLst>
                  </p:cNvPr>
                  <p:cNvSpPr/>
                  <p:nvPr userDrawn="1"/>
                </p:nvSpPr>
                <p:spPr>
                  <a:xfrm>
                    <a:off x="8441075" y="438145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D4D8E3"/>
                  </a:solidFill>
                  <a:ln w="2339" cap="flat">
                    <a:noFill/>
                    <a:prstDash val="solid"/>
                    <a:miter/>
                  </a:ln>
                </p:spPr>
                <p:txBody>
                  <a:bodyPr rtlCol="0" anchor="ctr"/>
                  <a:lstStyle/>
                  <a:p>
                    <a:endParaRPr lang="en-US" sz="2400"/>
                  </a:p>
                </p:txBody>
              </p:sp>
              <p:sp>
                <p:nvSpPr>
                  <p:cNvPr id="399" name="Freeform: Shape 398">
                    <a:extLst>
                      <a:ext uri="{FF2B5EF4-FFF2-40B4-BE49-F238E27FC236}">
                        <a16:creationId xmlns:a16="http://schemas.microsoft.com/office/drawing/2014/main" id="{E238312C-2E33-122D-D2BA-86FB5514ED5B}"/>
                      </a:ext>
                    </a:extLst>
                  </p:cNvPr>
                  <p:cNvSpPr/>
                  <p:nvPr userDrawn="1"/>
                </p:nvSpPr>
                <p:spPr>
                  <a:xfrm>
                    <a:off x="8441496" y="438124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D4D8E3"/>
                  </a:solidFill>
                  <a:ln w="2339" cap="flat">
                    <a:noFill/>
                    <a:prstDash val="solid"/>
                    <a:miter/>
                  </a:ln>
                </p:spPr>
                <p:txBody>
                  <a:bodyPr rtlCol="0" anchor="ctr"/>
                  <a:lstStyle/>
                  <a:p>
                    <a:endParaRPr lang="en-US" sz="2400"/>
                  </a:p>
                </p:txBody>
              </p:sp>
              <p:sp>
                <p:nvSpPr>
                  <p:cNvPr id="400" name="Freeform: Shape 399">
                    <a:extLst>
                      <a:ext uri="{FF2B5EF4-FFF2-40B4-BE49-F238E27FC236}">
                        <a16:creationId xmlns:a16="http://schemas.microsoft.com/office/drawing/2014/main" id="{F7C63CCE-3D04-B1B7-6B99-C1B54E3A3C17}"/>
                      </a:ext>
                    </a:extLst>
                  </p:cNvPr>
                  <p:cNvSpPr/>
                  <p:nvPr userDrawn="1"/>
                </p:nvSpPr>
                <p:spPr>
                  <a:xfrm>
                    <a:off x="8441941" y="438102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D4D8E3"/>
                  </a:solidFill>
                  <a:ln w="2339" cap="flat">
                    <a:noFill/>
                    <a:prstDash val="solid"/>
                    <a:miter/>
                  </a:ln>
                </p:spPr>
                <p:txBody>
                  <a:bodyPr rtlCol="0" anchor="ctr"/>
                  <a:lstStyle/>
                  <a:p>
                    <a:endParaRPr lang="en-US" sz="2400"/>
                  </a:p>
                </p:txBody>
              </p:sp>
              <p:sp>
                <p:nvSpPr>
                  <p:cNvPr id="401" name="Freeform: Shape 400">
                    <a:extLst>
                      <a:ext uri="{FF2B5EF4-FFF2-40B4-BE49-F238E27FC236}">
                        <a16:creationId xmlns:a16="http://schemas.microsoft.com/office/drawing/2014/main" id="{C05D2F79-48C2-8A83-0204-9F52DD199D45}"/>
                      </a:ext>
                    </a:extLst>
                  </p:cNvPr>
                  <p:cNvSpPr/>
                  <p:nvPr userDrawn="1"/>
                </p:nvSpPr>
                <p:spPr>
                  <a:xfrm>
                    <a:off x="8442362" y="438081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D5D9E3"/>
                  </a:solidFill>
                  <a:ln w="2339" cap="flat">
                    <a:noFill/>
                    <a:prstDash val="solid"/>
                    <a:miter/>
                  </a:ln>
                </p:spPr>
                <p:txBody>
                  <a:bodyPr rtlCol="0" anchor="ctr"/>
                  <a:lstStyle/>
                  <a:p>
                    <a:endParaRPr lang="en-US" sz="2400"/>
                  </a:p>
                </p:txBody>
              </p:sp>
              <p:sp>
                <p:nvSpPr>
                  <p:cNvPr id="402" name="Freeform: Shape 401">
                    <a:extLst>
                      <a:ext uri="{FF2B5EF4-FFF2-40B4-BE49-F238E27FC236}">
                        <a16:creationId xmlns:a16="http://schemas.microsoft.com/office/drawing/2014/main" id="{9197AA2D-5807-B5BE-4247-1FB104A6E083}"/>
                      </a:ext>
                    </a:extLst>
                  </p:cNvPr>
                  <p:cNvSpPr/>
                  <p:nvPr userDrawn="1"/>
                </p:nvSpPr>
                <p:spPr>
                  <a:xfrm>
                    <a:off x="8442806" y="438060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5D9E4"/>
                  </a:solidFill>
                  <a:ln w="2339" cap="flat">
                    <a:noFill/>
                    <a:prstDash val="solid"/>
                    <a:miter/>
                  </a:ln>
                </p:spPr>
                <p:txBody>
                  <a:bodyPr rtlCol="0" anchor="ctr"/>
                  <a:lstStyle/>
                  <a:p>
                    <a:endParaRPr lang="en-US" sz="2400"/>
                  </a:p>
                </p:txBody>
              </p:sp>
              <p:sp>
                <p:nvSpPr>
                  <p:cNvPr id="403" name="Freeform: Shape 402">
                    <a:extLst>
                      <a:ext uri="{FF2B5EF4-FFF2-40B4-BE49-F238E27FC236}">
                        <a16:creationId xmlns:a16="http://schemas.microsoft.com/office/drawing/2014/main" id="{9CFD8C9E-2181-9658-84C9-A3018DFBBA4A}"/>
                      </a:ext>
                    </a:extLst>
                  </p:cNvPr>
                  <p:cNvSpPr/>
                  <p:nvPr userDrawn="1"/>
                </p:nvSpPr>
                <p:spPr>
                  <a:xfrm>
                    <a:off x="8443228" y="438037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5D9E4"/>
                  </a:solidFill>
                  <a:ln w="2339" cap="flat">
                    <a:noFill/>
                    <a:prstDash val="solid"/>
                    <a:miter/>
                  </a:ln>
                </p:spPr>
                <p:txBody>
                  <a:bodyPr rtlCol="0" anchor="ctr"/>
                  <a:lstStyle/>
                  <a:p>
                    <a:endParaRPr lang="en-US" sz="2400"/>
                  </a:p>
                </p:txBody>
              </p:sp>
              <p:sp>
                <p:nvSpPr>
                  <p:cNvPr id="404" name="Freeform: Shape 403">
                    <a:extLst>
                      <a:ext uri="{FF2B5EF4-FFF2-40B4-BE49-F238E27FC236}">
                        <a16:creationId xmlns:a16="http://schemas.microsoft.com/office/drawing/2014/main" id="{E3374B48-FE84-DEAC-A4DF-1317A263AFE3}"/>
                      </a:ext>
                    </a:extLst>
                  </p:cNvPr>
                  <p:cNvSpPr/>
                  <p:nvPr userDrawn="1"/>
                </p:nvSpPr>
                <p:spPr>
                  <a:xfrm>
                    <a:off x="8443649" y="438016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6D9E4"/>
                  </a:solidFill>
                  <a:ln w="2339" cap="flat">
                    <a:noFill/>
                    <a:prstDash val="solid"/>
                    <a:miter/>
                  </a:ln>
                </p:spPr>
                <p:txBody>
                  <a:bodyPr rtlCol="0" anchor="ctr"/>
                  <a:lstStyle/>
                  <a:p>
                    <a:endParaRPr lang="en-US" sz="2400"/>
                  </a:p>
                </p:txBody>
              </p:sp>
              <p:sp>
                <p:nvSpPr>
                  <p:cNvPr id="405" name="Freeform: Shape 404">
                    <a:extLst>
                      <a:ext uri="{FF2B5EF4-FFF2-40B4-BE49-F238E27FC236}">
                        <a16:creationId xmlns:a16="http://schemas.microsoft.com/office/drawing/2014/main" id="{3A0AD63E-FB47-C5E3-770B-5D1F3ABDD389}"/>
                      </a:ext>
                    </a:extLst>
                  </p:cNvPr>
                  <p:cNvSpPr/>
                  <p:nvPr userDrawn="1"/>
                </p:nvSpPr>
                <p:spPr>
                  <a:xfrm>
                    <a:off x="8444093" y="437995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6DAE4"/>
                  </a:solidFill>
                  <a:ln w="2339" cap="flat">
                    <a:noFill/>
                    <a:prstDash val="solid"/>
                    <a:miter/>
                  </a:ln>
                </p:spPr>
                <p:txBody>
                  <a:bodyPr rtlCol="0" anchor="ctr"/>
                  <a:lstStyle/>
                  <a:p>
                    <a:endParaRPr lang="en-US" sz="2400"/>
                  </a:p>
                </p:txBody>
              </p:sp>
              <p:sp>
                <p:nvSpPr>
                  <p:cNvPr id="406" name="Freeform: Shape 405">
                    <a:extLst>
                      <a:ext uri="{FF2B5EF4-FFF2-40B4-BE49-F238E27FC236}">
                        <a16:creationId xmlns:a16="http://schemas.microsoft.com/office/drawing/2014/main" id="{C09CBE37-2297-76C7-71AA-9D69F15C95A4}"/>
                      </a:ext>
                    </a:extLst>
                  </p:cNvPr>
                  <p:cNvSpPr/>
                  <p:nvPr userDrawn="1"/>
                </p:nvSpPr>
                <p:spPr>
                  <a:xfrm>
                    <a:off x="8444515" y="437974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D6DAE4"/>
                  </a:solidFill>
                  <a:ln w="2339" cap="flat">
                    <a:noFill/>
                    <a:prstDash val="solid"/>
                    <a:miter/>
                  </a:ln>
                </p:spPr>
                <p:txBody>
                  <a:bodyPr rtlCol="0" anchor="ctr"/>
                  <a:lstStyle/>
                  <a:p>
                    <a:endParaRPr lang="en-US" sz="2400"/>
                  </a:p>
                </p:txBody>
              </p:sp>
              <p:sp>
                <p:nvSpPr>
                  <p:cNvPr id="407" name="Freeform: Shape 406">
                    <a:extLst>
                      <a:ext uri="{FF2B5EF4-FFF2-40B4-BE49-F238E27FC236}">
                        <a16:creationId xmlns:a16="http://schemas.microsoft.com/office/drawing/2014/main" id="{8D90156C-52DD-C1A2-9E21-4C21FB341933}"/>
                      </a:ext>
                    </a:extLst>
                  </p:cNvPr>
                  <p:cNvSpPr/>
                  <p:nvPr userDrawn="1"/>
                </p:nvSpPr>
                <p:spPr>
                  <a:xfrm>
                    <a:off x="8444936" y="437953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43"/>
                          <a:pt x="0" y="21037"/>
                        </a:cubicBezTo>
                        <a:close/>
                      </a:path>
                    </a:pathLst>
                  </a:custGeom>
                  <a:solidFill>
                    <a:srgbClr val="D7DAE5"/>
                  </a:solidFill>
                  <a:ln w="2339" cap="flat">
                    <a:noFill/>
                    <a:prstDash val="solid"/>
                    <a:miter/>
                  </a:ln>
                </p:spPr>
                <p:txBody>
                  <a:bodyPr rtlCol="0" anchor="ctr"/>
                  <a:lstStyle/>
                  <a:p>
                    <a:endParaRPr lang="en-US" sz="2400"/>
                  </a:p>
                </p:txBody>
              </p:sp>
              <p:sp>
                <p:nvSpPr>
                  <p:cNvPr id="408" name="Freeform: Shape 407">
                    <a:extLst>
                      <a:ext uri="{FF2B5EF4-FFF2-40B4-BE49-F238E27FC236}">
                        <a16:creationId xmlns:a16="http://schemas.microsoft.com/office/drawing/2014/main" id="{62333208-0D17-E50A-573E-AD4BD02AAE0C}"/>
                      </a:ext>
                    </a:extLst>
                  </p:cNvPr>
                  <p:cNvSpPr/>
                  <p:nvPr userDrawn="1"/>
                </p:nvSpPr>
                <p:spPr>
                  <a:xfrm>
                    <a:off x="8445357" y="437929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7DBE5"/>
                  </a:solidFill>
                  <a:ln w="2339" cap="flat">
                    <a:noFill/>
                    <a:prstDash val="solid"/>
                    <a:miter/>
                  </a:ln>
                </p:spPr>
                <p:txBody>
                  <a:bodyPr rtlCol="0" anchor="ctr"/>
                  <a:lstStyle/>
                  <a:p>
                    <a:endParaRPr lang="en-US" sz="2400"/>
                  </a:p>
                </p:txBody>
              </p:sp>
              <p:sp>
                <p:nvSpPr>
                  <p:cNvPr id="409" name="Freeform: Shape 408">
                    <a:extLst>
                      <a:ext uri="{FF2B5EF4-FFF2-40B4-BE49-F238E27FC236}">
                        <a16:creationId xmlns:a16="http://schemas.microsoft.com/office/drawing/2014/main" id="{D8E2826F-1419-81EF-4988-7FD590160E92}"/>
                      </a:ext>
                    </a:extLst>
                  </p:cNvPr>
                  <p:cNvSpPr/>
                  <p:nvPr userDrawn="1"/>
                </p:nvSpPr>
                <p:spPr>
                  <a:xfrm>
                    <a:off x="8445778" y="437908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7DBE5"/>
                  </a:solidFill>
                  <a:ln w="2339" cap="flat">
                    <a:noFill/>
                    <a:prstDash val="solid"/>
                    <a:miter/>
                  </a:ln>
                </p:spPr>
                <p:txBody>
                  <a:bodyPr rtlCol="0" anchor="ctr"/>
                  <a:lstStyle/>
                  <a:p>
                    <a:endParaRPr lang="en-US" sz="2400"/>
                  </a:p>
                </p:txBody>
              </p:sp>
              <p:sp>
                <p:nvSpPr>
                  <p:cNvPr id="410" name="Freeform: Shape 409">
                    <a:extLst>
                      <a:ext uri="{FF2B5EF4-FFF2-40B4-BE49-F238E27FC236}">
                        <a16:creationId xmlns:a16="http://schemas.microsoft.com/office/drawing/2014/main" id="{BA4D808E-F7E6-B366-C5F5-318E1CB6B629}"/>
                      </a:ext>
                    </a:extLst>
                  </p:cNvPr>
                  <p:cNvSpPr/>
                  <p:nvPr userDrawn="1"/>
                </p:nvSpPr>
                <p:spPr>
                  <a:xfrm>
                    <a:off x="8446176" y="437887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8DBE5"/>
                  </a:solidFill>
                  <a:ln w="2339" cap="flat">
                    <a:noFill/>
                    <a:prstDash val="solid"/>
                    <a:miter/>
                  </a:ln>
                </p:spPr>
                <p:txBody>
                  <a:bodyPr rtlCol="0" anchor="ctr"/>
                  <a:lstStyle/>
                  <a:p>
                    <a:endParaRPr lang="en-US" sz="2400"/>
                  </a:p>
                </p:txBody>
              </p:sp>
              <p:sp>
                <p:nvSpPr>
                  <p:cNvPr id="411" name="Freeform: Shape 410">
                    <a:extLst>
                      <a:ext uri="{FF2B5EF4-FFF2-40B4-BE49-F238E27FC236}">
                        <a16:creationId xmlns:a16="http://schemas.microsoft.com/office/drawing/2014/main" id="{3805DE3E-43E4-6301-9826-2BCFA53FD0A9}"/>
                      </a:ext>
                    </a:extLst>
                  </p:cNvPr>
                  <p:cNvSpPr/>
                  <p:nvPr userDrawn="1"/>
                </p:nvSpPr>
                <p:spPr>
                  <a:xfrm>
                    <a:off x="8446597" y="437864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8DBE5"/>
                  </a:solidFill>
                  <a:ln w="2339" cap="flat">
                    <a:noFill/>
                    <a:prstDash val="solid"/>
                    <a:miter/>
                  </a:ln>
                </p:spPr>
                <p:txBody>
                  <a:bodyPr rtlCol="0" anchor="ctr"/>
                  <a:lstStyle/>
                  <a:p>
                    <a:endParaRPr lang="en-US" sz="2400"/>
                  </a:p>
                </p:txBody>
              </p:sp>
              <p:sp>
                <p:nvSpPr>
                  <p:cNvPr id="412" name="Freeform: Shape 411">
                    <a:extLst>
                      <a:ext uri="{FF2B5EF4-FFF2-40B4-BE49-F238E27FC236}">
                        <a16:creationId xmlns:a16="http://schemas.microsoft.com/office/drawing/2014/main" id="{6A06AA9E-2ADC-3A8B-3AE2-378CB96769C7}"/>
                      </a:ext>
                    </a:extLst>
                  </p:cNvPr>
                  <p:cNvSpPr/>
                  <p:nvPr userDrawn="1"/>
                </p:nvSpPr>
                <p:spPr>
                  <a:xfrm>
                    <a:off x="8447018" y="437843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D8DCE6"/>
                  </a:solidFill>
                  <a:ln w="2339" cap="flat">
                    <a:noFill/>
                    <a:prstDash val="solid"/>
                    <a:miter/>
                  </a:ln>
                </p:spPr>
                <p:txBody>
                  <a:bodyPr rtlCol="0" anchor="ctr"/>
                  <a:lstStyle/>
                  <a:p>
                    <a:endParaRPr lang="en-US" sz="2400"/>
                  </a:p>
                </p:txBody>
              </p:sp>
              <p:sp>
                <p:nvSpPr>
                  <p:cNvPr id="413" name="Freeform: Shape 412">
                    <a:extLst>
                      <a:ext uri="{FF2B5EF4-FFF2-40B4-BE49-F238E27FC236}">
                        <a16:creationId xmlns:a16="http://schemas.microsoft.com/office/drawing/2014/main" id="{5AFB8B8F-E3C0-79C6-456D-D1CCFC9A153B}"/>
                      </a:ext>
                    </a:extLst>
                  </p:cNvPr>
                  <p:cNvSpPr/>
                  <p:nvPr userDrawn="1"/>
                </p:nvSpPr>
                <p:spPr>
                  <a:xfrm>
                    <a:off x="8447416" y="437819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8DCE6"/>
                  </a:solidFill>
                  <a:ln w="2339" cap="flat">
                    <a:noFill/>
                    <a:prstDash val="solid"/>
                    <a:miter/>
                  </a:ln>
                </p:spPr>
                <p:txBody>
                  <a:bodyPr rtlCol="0" anchor="ctr"/>
                  <a:lstStyle/>
                  <a:p>
                    <a:endParaRPr lang="en-US" sz="2400"/>
                  </a:p>
                </p:txBody>
              </p:sp>
              <p:sp>
                <p:nvSpPr>
                  <p:cNvPr id="414" name="Freeform: Shape 413">
                    <a:extLst>
                      <a:ext uri="{FF2B5EF4-FFF2-40B4-BE49-F238E27FC236}">
                        <a16:creationId xmlns:a16="http://schemas.microsoft.com/office/drawing/2014/main" id="{1831B771-94DB-7407-44CC-ECC59FF3484F}"/>
                      </a:ext>
                    </a:extLst>
                  </p:cNvPr>
                  <p:cNvSpPr/>
                  <p:nvPr userDrawn="1"/>
                </p:nvSpPr>
                <p:spPr>
                  <a:xfrm>
                    <a:off x="8447814" y="437798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9DCE6"/>
                  </a:solidFill>
                  <a:ln w="2339" cap="flat">
                    <a:noFill/>
                    <a:prstDash val="solid"/>
                    <a:miter/>
                  </a:ln>
                </p:spPr>
                <p:txBody>
                  <a:bodyPr rtlCol="0" anchor="ctr"/>
                  <a:lstStyle/>
                  <a:p>
                    <a:endParaRPr lang="en-US" sz="2400"/>
                  </a:p>
                </p:txBody>
              </p:sp>
              <p:sp>
                <p:nvSpPr>
                  <p:cNvPr id="415" name="Freeform: Shape 414">
                    <a:extLst>
                      <a:ext uri="{FF2B5EF4-FFF2-40B4-BE49-F238E27FC236}">
                        <a16:creationId xmlns:a16="http://schemas.microsoft.com/office/drawing/2014/main" id="{D5AE51A5-B741-CC5B-EF75-8B1C6F3910CA}"/>
                      </a:ext>
                    </a:extLst>
                  </p:cNvPr>
                  <p:cNvSpPr/>
                  <p:nvPr userDrawn="1"/>
                </p:nvSpPr>
                <p:spPr>
                  <a:xfrm>
                    <a:off x="8448235" y="437775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9DCE6"/>
                  </a:solidFill>
                  <a:ln w="2339" cap="flat">
                    <a:noFill/>
                    <a:prstDash val="solid"/>
                    <a:miter/>
                  </a:ln>
                </p:spPr>
                <p:txBody>
                  <a:bodyPr rtlCol="0" anchor="ctr"/>
                  <a:lstStyle/>
                  <a:p>
                    <a:endParaRPr lang="en-US" sz="2400"/>
                  </a:p>
                </p:txBody>
              </p:sp>
              <p:sp>
                <p:nvSpPr>
                  <p:cNvPr id="416" name="Freeform: Shape 415">
                    <a:extLst>
                      <a:ext uri="{FF2B5EF4-FFF2-40B4-BE49-F238E27FC236}">
                        <a16:creationId xmlns:a16="http://schemas.microsoft.com/office/drawing/2014/main" id="{53AF27A3-FE2E-6066-A009-841B3CD848A0}"/>
                      </a:ext>
                    </a:extLst>
                  </p:cNvPr>
                  <p:cNvSpPr/>
                  <p:nvPr userDrawn="1"/>
                </p:nvSpPr>
                <p:spPr>
                  <a:xfrm>
                    <a:off x="8448633" y="437751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9DDE6"/>
                  </a:solidFill>
                  <a:ln w="2339" cap="flat">
                    <a:noFill/>
                    <a:prstDash val="solid"/>
                    <a:miter/>
                  </a:ln>
                </p:spPr>
                <p:txBody>
                  <a:bodyPr rtlCol="0" anchor="ctr"/>
                  <a:lstStyle/>
                  <a:p>
                    <a:endParaRPr lang="en-US" sz="2400"/>
                  </a:p>
                </p:txBody>
              </p:sp>
              <p:sp>
                <p:nvSpPr>
                  <p:cNvPr id="417" name="Freeform: Shape 416">
                    <a:extLst>
                      <a:ext uri="{FF2B5EF4-FFF2-40B4-BE49-F238E27FC236}">
                        <a16:creationId xmlns:a16="http://schemas.microsoft.com/office/drawing/2014/main" id="{EA52C698-021B-FC68-82B8-D471F9E39E46}"/>
                      </a:ext>
                    </a:extLst>
                  </p:cNvPr>
                  <p:cNvSpPr/>
                  <p:nvPr userDrawn="1"/>
                </p:nvSpPr>
                <p:spPr>
                  <a:xfrm>
                    <a:off x="8449031" y="437730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DADDE7"/>
                  </a:solidFill>
                  <a:ln w="2339" cap="flat">
                    <a:noFill/>
                    <a:prstDash val="solid"/>
                    <a:miter/>
                  </a:ln>
                </p:spPr>
                <p:txBody>
                  <a:bodyPr rtlCol="0" anchor="ctr"/>
                  <a:lstStyle/>
                  <a:p>
                    <a:endParaRPr lang="en-US" sz="2400"/>
                  </a:p>
                </p:txBody>
              </p:sp>
              <p:sp>
                <p:nvSpPr>
                  <p:cNvPr id="418" name="Freeform: Shape 417">
                    <a:extLst>
                      <a:ext uri="{FF2B5EF4-FFF2-40B4-BE49-F238E27FC236}">
                        <a16:creationId xmlns:a16="http://schemas.microsoft.com/office/drawing/2014/main" id="{EAE2B3AE-D5EB-B78E-96B6-D9E135B31601}"/>
                      </a:ext>
                    </a:extLst>
                  </p:cNvPr>
                  <p:cNvSpPr/>
                  <p:nvPr userDrawn="1"/>
                </p:nvSpPr>
                <p:spPr>
                  <a:xfrm>
                    <a:off x="8449429" y="437707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ADDE7"/>
                  </a:solidFill>
                  <a:ln w="2339" cap="flat">
                    <a:noFill/>
                    <a:prstDash val="solid"/>
                    <a:miter/>
                  </a:ln>
                </p:spPr>
                <p:txBody>
                  <a:bodyPr rtlCol="0" anchor="ctr"/>
                  <a:lstStyle/>
                  <a:p>
                    <a:endParaRPr lang="en-US" sz="2400"/>
                  </a:p>
                </p:txBody>
              </p:sp>
              <p:sp>
                <p:nvSpPr>
                  <p:cNvPr id="419" name="Freeform: Shape 418">
                    <a:extLst>
                      <a:ext uri="{FF2B5EF4-FFF2-40B4-BE49-F238E27FC236}">
                        <a16:creationId xmlns:a16="http://schemas.microsoft.com/office/drawing/2014/main" id="{6C548EF1-F4EC-AFB1-C456-F2B3FB6F0845}"/>
                      </a:ext>
                    </a:extLst>
                  </p:cNvPr>
                  <p:cNvSpPr/>
                  <p:nvPr userDrawn="1"/>
                </p:nvSpPr>
                <p:spPr>
                  <a:xfrm>
                    <a:off x="8449826" y="437684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ADEE7"/>
                  </a:solidFill>
                  <a:ln w="2339" cap="flat">
                    <a:noFill/>
                    <a:prstDash val="solid"/>
                    <a:miter/>
                  </a:ln>
                </p:spPr>
                <p:txBody>
                  <a:bodyPr rtlCol="0" anchor="ctr"/>
                  <a:lstStyle/>
                  <a:p>
                    <a:endParaRPr lang="en-US" sz="2400"/>
                  </a:p>
                </p:txBody>
              </p:sp>
              <p:sp>
                <p:nvSpPr>
                  <p:cNvPr id="420" name="Freeform: Shape 419">
                    <a:extLst>
                      <a:ext uri="{FF2B5EF4-FFF2-40B4-BE49-F238E27FC236}">
                        <a16:creationId xmlns:a16="http://schemas.microsoft.com/office/drawing/2014/main" id="{B985A7AE-4B40-F9FF-5E56-C227D6A8D191}"/>
                      </a:ext>
                    </a:extLst>
                  </p:cNvPr>
                  <p:cNvSpPr/>
                  <p:nvPr userDrawn="1"/>
                </p:nvSpPr>
                <p:spPr>
                  <a:xfrm>
                    <a:off x="8450224" y="437663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BDEE7"/>
                  </a:solidFill>
                  <a:ln w="2339" cap="flat">
                    <a:noFill/>
                    <a:prstDash val="solid"/>
                    <a:miter/>
                  </a:ln>
                </p:spPr>
                <p:txBody>
                  <a:bodyPr rtlCol="0" anchor="ctr"/>
                  <a:lstStyle/>
                  <a:p>
                    <a:endParaRPr lang="en-US" sz="2400"/>
                  </a:p>
                </p:txBody>
              </p:sp>
              <p:sp>
                <p:nvSpPr>
                  <p:cNvPr id="421" name="Freeform: Shape 420">
                    <a:extLst>
                      <a:ext uri="{FF2B5EF4-FFF2-40B4-BE49-F238E27FC236}">
                        <a16:creationId xmlns:a16="http://schemas.microsoft.com/office/drawing/2014/main" id="{91A4414E-69D5-2C9D-3AED-6794E5E064CE}"/>
                      </a:ext>
                    </a:extLst>
                  </p:cNvPr>
                  <p:cNvSpPr/>
                  <p:nvPr userDrawn="1"/>
                </p:nvSpPr>
                <p:spPr>
                  <a:xfrm>
                    <a:off x="8450622" y="437639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DBDEE7"/>
                  </a:solidFill>
                  <a:ln w="2339" cap="flat">
                    <a:noFill/>
                    <a:prstDash val="solid"/>
                    <a:miter/>
                  </a:ln>
                </p:spPr>
                <p:txBody>
                  <a:bodyPr rtlCol="0" anchor="ctr"/>
                  <a:lstStyle/>
                  <a:p>
                    <a:endParaRPr lang="en-US" sz="2400"/>
                  </a:p>
                </p:txBody>
              </p:sp>
              <p:sp>
                <p:nvSpPr>
                  <p:cNvPr id="422" name="Freeform: Shape 421">
                    <a:extLst>
                      <a:ext uri="{FF2B5EF4-FFF2-40B4-BE49-F238E27FC236}">
                        <a16:creationId xmlns:a16="http://schemas.microsoft.com/office/drawing/2014/main" id="{443D24D2-6D8C-7F52-9ED6-9125D9B14E31}"/>
                      </a:ext>
                    </a:extLst>
                  </p:cNvPr>
                  <p:cNvSpPr/>
                  <p:nvPr userDrawn="1"/>
                </p:nvSpPr>
                <p:spPr>
                  <a:xfrm>
                    <a:off x="8451020" y="437616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BDEE8"/>
                  </a:solidFill>
                  <a:ln w="2339" cap="flat">
                    <a:noFill/>
                    <a:prstDash val="solid"/>
                    <a:miter/>
                  </a:ln>
                </p:spPr>
                <p:txBody>
                  <a:bodyPr rtlCol="0" anchor="ctr"/>
                  <a:lstStyle/>
                  <a:p>
                    <a:endParaRPr lang="en-US" sz="2400"/>
                  </a:p>
                </p:txBody>
              </p:sp>
              <p:sp>
                <p:nvSpPr>
                  <p:cNvPr id="423" name="Freeform: Shape 422">
                    <a:extLst>
                      <a:ext uri="{FF2B5EF4-FFF2-40B4-BE49-F238E27FC236}">
                        <a16:creationId xmlns:a16="http://schemas.microsoft.com/office/drawing/2014/main" id="{7096ADD3-B728-1020-1603-43FD95A89C36}"/>
                      </a:ext>
                    </a:extLst>
                  </p:cNvPr>
                  <p:cNvSpPr/>
                  <p:nvPr userDrawn="1"/>
                </p:nvSpPr>
                <p:spPr>
                  <a:xfrm>
                    <a:off x="8451394" y="437592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CDFE8"/>
                  </a:solidFill>
                  <a:ln w="2339" cap="flat">
                    <a:noFill/>
                    <a:prstDash val="solid"/>
                    <a:miter/>
                  </a:ln>
                </p:spPr>
                <p:txBody>
                  <a:bodyPr rtlCol="0" anchor="ctr"/>
                  <a:lstStyle/>
                  <a:p>
                    <a:endParaRPr lang="en-US" sz="2400"/>
                  </a:p>
                </p:txBody>
              </p:sp>
              <p:sp>
                <p:nvSpPr>
                  <p:cNvPr id="424" name="Freeform: Shape 423">
                    <a:extLst>
                      <a:ext uri="{FF2B5EF4-FFF2-40B4-BE49-F238E27FC236}">
                        <a16:creationId xmlns:a16="http://schemas.microsoft.com/office/drawing/2014/main" id="{61E4B92F-3812-AA11-42E4-F8D9DFC0F97A}"/>
                      </a:ext>
                    </a:extLst>
                  </p:cNvPr>
                  <p:cNvSpPr/>
                  <p:nvPr userDrawn="1"/>
                </p:nvSpPr>
                <p:spPr>
                  <a:xfrm>
                    <a:off x="8451792" y="437569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CDFE8"/>
                  </a:solidFill>
                  <a:ln w="2339" cap="flat">
                    <a:noFill/>
                    <a:prstDash val="solid"/>
                    <a:miter/>
                  </a:ln>
                </p:spPr>
                <p:txBody>
                  <a:bodyPr rtlCol="0" anchor="ctr"/>
                  <a:lstStyle/>
                  <a:p>
                    <a:endParaRPr lang="en-US" sz="2400"/>
                  </a:p>
                </p:txBody>
              </p:sp>
              <p:sp>
                <p:nvSpPr>
                  <p:cNvPr id="425" name="Freeform: Shape 424">
                    <a:extLst>
                      <a:ext uri="{FF2B5EF4-FFF2-40B4-BE49-F238E27FC236}">
                        <a16:creationId xmlns:a16="http://schemas.microsoft.com/office/drawing/2014/main" id="{3AAF5499-D8B0-B713-6161-051600628070}"/>
                      </a:ext>
                    </a:extLst>
                  </p:cNvPr>
                  <p:cNvSpPr/>
                  <p:nvPr userDrawn="1"/>
                </p:nvSpPr>
                <p:spPr>
                  <a:xfrm>
                    <a:off x="8452166" y="437546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CDFE8"/>
                  </a:solidFill>
                  <a:ln w="2339" cap="flat">
                    <a:noFill/>
                    <a:prstDash val="solid"/>
                    <a:miter/>
                  </a:ln>
                </p:spPr>
                <p:txBody>
                  <a:bodyPr rtlCol="0" anchor="ctr"/>
                  <a:lstStyle/>
                  <a:p>
                    <a:endParaRPr lang="en-US" sz="2400"/>
                  </a:p>
                </p:txBody>
              </p:sp>
              <p:sp>
                <p:nvSpPr>
                  <p:cNvPr id="426" name="Freeform: Shape 425">
                    <a:extLst>
                      <a:ext uri="{FF2B5EF4-FFF2-40B4-BE49-F238E27FC236}">
                        <a16:creationId xmlns:a16="http://schemas.microsoft.com/office/drawing/2014/main" id="{97738CDB-6206-BCFE-22C6-45D59D19FC9A}"/>
                      </a:ext>
                    </a:extLst>
                  </p:cNvPr>
                  <p:cNvSpPr/>
                  <p:nvPr userDrawn="1"/>
                </p:nvSpPr>
                <p:spPr>
                  <a:xfrm>
                    <a:off x="8452564" y="437522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CE0E8"/>
                  </a:solidFill>
                  <a:ln w="2339" cap="flat">
                    <a:noFill/>
                    <a:prstDash val="solid"/>
                    <a:miter/>
                  </a:ln>
                </p:spPr>
                <p:txBody>
                  <a:bodyPr rtlCol="0" anchor="ctr"/>
                  <a:lstStyle/>
                  <a:p>
                    <a:endParaRPr lang="en-US" sz="2400"/>
                  </a:p>
                </p:txBody>
              </p:sp>
              <p:sp>
                <p:nvSpPr>
                  <p:cNvPr id="427" name="Freeform: Shape 426">
                    <a:extLst>
                      <a:ext uri="{FF2B5EF4-FFF2-40B4-BE49-F238E27FC236}">
                        <a16:creationId xmlns:a16="http://schemas.microsoft.com/office/drawing/2014/main" id="{815F15DD-70E6-BE5C-8C64-860EA20FCEB7}"/>
                      </a:ext>
                    </a:extLst>
                  </p:cNvPr>
                  <p:cNvSpPr/>
                  <p:nvPr userDrawn="1"/>
                </p:nvSpPr>
                <p:spPr>
                  <a:xfrm>
                    <a:off x="8452939" y="437499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DE0E9"/>
                  </a:solidFill>
                  <a:ln w="2339" cap="flat">
                    <a:noFill/>
                    <a:prstDash val="solid"/>
                    <a:miter/>
                  </a:ln>
                </p:spPr>
                <p:txBody>
                  <a:bodyPr rtlCol="0" anchor="ctr"/>
                  <a:lstStyle/>
                  <a:p>
                    <a:endParaRPr lang="en-US" sz="2400"/>
                  </a:p>
                </p:txBody>
              </p:sp>
              <p:sp>
                <p:nvSpPr>
                  <p:cNvPr id="428" name="Freeform: Shape 427">
                    <a:extLst>
                      <a:ext uri="{FF2B5EF4-FFF2-40B4-BE49-F238E27FC236}">
                        <a16:creationId xmlns:a16="http://schemas.microsoft.com/office/drawing/2014/main" id="{F5169089-D066-7519-E149-66D3B8DFE78B}"/>
                      </a:ext>
                    </a:extLst>
                  </p:cNvPr>
                  <p:cNvSpPr/>
                  <p:nvPr userDrawn="1"/>
                </p:nvSpPr>
                <p:spPr>
                  <a:xfrm>
                    <a:off x="8453313" y="437475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DE0E9"/>
                  </a:solidFill>
                  <a:ln w="2339" cap="flat">
                    <a:noFill/>
                    <a:prstDash val="solid"/>
                    <a:miter/>
                  </a:ln>
                </p:spPr>
                <p:txBody>
                  <a:bodyPr rtlCol="0" anchor="ctr"/>
                  <a:lstStyle/>
                  <a:p>
                    <a:endParaRPr lang="en-US" sz="2400"/>
                  </a:p>
                </p:txBody>
              </p:sp>
              <p:sp>
                <p:nvSpPr>
                  <p:cNvPr id="429" name="Freeform: Shape 428">
                    <a:extLst>
                      <a:ext uri="{FF2B5EF4-FFF2-40B4-BE49-F238E27FC236}">
                        <a16:creationId xmlns:a16="http://schemas.microsoft.com/office/drawing/2014/main" id="{799D473F-5110-FA61-69BC-9E00B460B1BD}"/>
                      </a:ext>
                    </a:extLst>
                  </p:cNvPr>
                  <p:cNvSpPr/>
                  <p:nvPr userDrawn="1"/>
                </p:nvSpPr>
                <p:spPr>
                  <a:xfrm>
                    <a:off x="8453688" y="437452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DE0E9"/>
                  </a:solidFill>
                  <a:ln w="2339" cap="flat">
                    <a:noFill/>
                    <a:prstDash val="solid"/>
                    <a:miter/>
                  </a:ln>
                </p:spPr>
                <p:txBody>
                  <a:bodyPr rtlCol="0" anchor="ctr"/>
                  <a:lstStyle/>
                  <a:p>
                    <a:endParaRPr lang="en-US" sz="2400"/>
                  </a:p>
                </p:txBody>
              </p:sp>
              <p:sp>
                <p:nvSpPr>
                  <p:cNvPr id="430" name="Freeform: Shape 429">
                    <a:extLst>
                      <a:ext uri="{FF2B5EF4-FFF2-40B4-BE49-F238E27FC236}">
                        <a16:creationId xmlns:a16="http://schemas.microsoft.com/office/drawing/2014/main" id="{489C8F4F-0E33-E02C-E076-BF13C149201E}"/>
                      </a:ext>
                    </a:extLst>
                  </p:cNvPr>
                  <p:cNvSpPr/>
                  <p:nvPr userDrawn="1"/>
                </p:nvSpPr>
                <p:spPr>
                  <a:xfrm>
                    <a:off x="8454062" y="437429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EE1E9"/>
                  </a:solidFill>
                  <a:ln w="2339" cap="flat">
                    <a:noFill/>
                    <a:prstDash val="solid"/>
                    <a:miter/>
                  </a:ln>
                </p:spPr>
                <p:txBody>
                  <a:bodyPr rtlCol="0" anchor="ctr"/>
                  <a:lstStyle/>
                  <a:p>
                    <a:endParaRPr lang="en-US" sz="2400"/>
                  </a:p>
                </p:txBody>
              </p:sp>
              <p:sp>
                <p:nvSpPr>
                  <p:cNvPr id="431" name="Freeform: Shape 430">
                    <a:extLst>
                      <a:ext uri="{FF2B5EF4-FFF2-40B4-BE49-F238E27FC236}">
                        <a16:creationId xmlns:a16="http://schemas.microsoft.com/office/drawing/2014/main" id="{DB2BDFA5-124E-D9D4-6A8E-5FED53715F28}"/>
                      </a:ext>
                    </a:extLst>
                  </p:cNvPr>
                  <p:cNvSpPr/>
                  <p:nvPr userDrawn="1"/>
                </p:nvSpPr>
                <p:spPr>
                  <a:xfrm>
                    <a:off x="8454436" y="437405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DEE1E9"/>
                  </a:solidFill>
                  <a:ln w="2339" cap="flat">
                    <a:noFill/>
                    <a:prstDash val="solid"/>
                    <a:miter/>
                  </a:ln>
                </p:spPr>
                <p:txBody>
                  <a:bodyPr rtlCol="0" anchor="ctr"/>
                  <a:lstStyle/>
                  <a:p>
                    <a:endParaRPr lang="en-US" sz="2400"/>
                  </a:p>
                </p:txBody>
              </p:sp>
              <p:sp>
                <p:nvSpPr>
                  <p:cNvPr id="432" name="Freeform: Shape 431">
                    <a:extLst>
                      <a:ext uri="{FF2B5EF4-FFF2-40B4-BE49-F238E27FC236}">
                        <a16:creationId xmlns:a16="http://schemas.microsoft.com/office/drawing/2014/main" id="{05779979-19EC-BC54-3314-9D8DADA04609}"/>
                      </a:ext>
                    </a:extLst>
                  </p:cNvPr>
                  <p:cNvSpPr/>
                  <p:nvPr userDrawn="1"/>
                </p:nvSpPr>
                <p:spPr>
                  <a:xfrm>
                    <a:off x="8454811" y="437382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43"/>
                          <a:pt x="0" y="21037"/>
                        </a:cubicBezTo>
                        <a:close/>
                      </a:path>
                    </a:pathLst>
                  </a:custGeom>
                  <a:solidFill>
                    <a:srgbClr val="DEE1EA"/>
                  </a:solidFill>
                  <a:ln w="2339" cap="flat">
                    <a:noFill/>
                    <a:prstDash val="solid"/>
                    <a:miter/>
                  </a:ln>
                </p:spPr>
                <p:txBody>
                  <a:bodyPr rtlCol="0" anchor="ctr"/>
                  <a:lstStyle/>
                  <a:p>
                    <a:endParaRPr lang="en-US" sz="2400"/>
                  </a:p>
                </p:txBody>
              </p:sp>
              <p:sp>
                <p:nvSpPr>
                  <p:cNvPr id="433" name="Freeform: Shape 432">
                    <a:extLst>
                      <a:ext uri="{FF2B5EF4-FFF2-40B4-BE49-F238E27FC236}">
                        <a16:creationId xmlns:a16="http://schemas.microsoft.com/office/drawing/2014/main" id="{C315D509-7B4D-4C3D-B75F-06372E91E82E}"/>
                      </a:ext>
                    </a:extLst>
                  </p:cNvPr>
                  <p:cNvSpPr/>
                  <p:nvPr userDrawn="1"/>
                </p:nvSpPr>
                <p:spPr>
                  <a:xfrm>
                    <a:off x="8455162" y="437356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FE1EA"/>
                  </a:solidFill>
                  <a:ln w="2339" cap="flat">
                    <a:noFill/>
                    <a:prstDash val="solid"/>
                    <a:miter/>
                  </a:ln>
                </p:spPr>
                <p:txBody>
                  <a:bodyPr rtlCol="0" anchor="ctr"/>
                  <a:lstStyle/>
                  <a:p>
                    <a:endParaRPr lang="en-US" sz="2400"/>
                  </a:p>
                </p:txBody>
              </p:sp>
              <p:sp>
                <p:nvSpPr>
                  <p:cNvPr id="434" name="Freeform: Shape 433">
                    <a:extLst>
                      <a:ext uri="{FF2B5EF4-FFF2-40B4-BE49-F238E27FC236}">
                        <a16:creationId xmlns:a16="http://schemas.microsoft.com/office/drawing/2014/main" id="{69075510-B360-2D2E-1FA4-6023F71398BA}"/>
                      </a:ext>
                    </a:extLst>
                  </p:cNvPr>
                  <p:cNvSpPr/>
                  <p:nvPr userDrawn="1"/>
                </p:nvSpPr>
                <p:spPr>
                  <a:xfrm>
                    <a:off x="8455536" y="437333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FE2EA"/>
                  </a:solidFill>
                  <a:ln w="2339" cap="flat">
                    <a:noFill/>
                    <a:prstDash val="solid"/>
                    <a:miter/>
                  </a:ln>
                </p:spPr>
                <p:txBody>
                  <a:bodyPr rtlCol="0" anchor="ctr"/>
                  <a:lstStyle/>
                  <a:p>
                    <a:endParaRPr lang="en-US" sz="2400"/>
                  </a:p>
                </p:txBody>
              </p:sp>
              <p:sp>
                <p:nvSpPr>
                  <p:cNvPr id="435" name="Freeform: Shape 434">
                    <a:extLst>
                      <a:ext uri="{FF2B5EF4-FFF2-40B4-BE49-F238E27FC236}">
                        <a16:creationId xmlns:a16="http://schemas.microsoft.com/office/drawing/2014/main" id="{96E378DC-F8C7-0469-1926-7788D55B7524}"/>
                      </a:ext>
                    </a:extLst>
                  </p:cNvPr>
                  <p:cNvSpPr/>
                  <p:nvPr userDrawn="1"/>
                </p:nvSpPr>
                <p:spPr>
                  <a:xfrm>
                    <a:off x="8455887" y="437309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DFE2EA"/>
                  </a:solidFill>
                  <a:ln w="2339" cap="flat">
                    <a:noFill/>
                    <a:prstDash val="solid"/>
                    <a:miter/>
                  </a:ln>
                </p:spPr>
                <p:txBody>
                  <a:bodyPr rtlCol="0" anchor="ctr"/>
                  <a:lstStyle/>
                  <a:p>
                    <a:endParaRPr lang="en-US" sz="2400"/>
                  </a:p>
                </p:txBody>
              </p:sp>
              <p:sp>
                <p:nvSpPr>
                  <p:cNvPr id="436" name="Freeform: Shape 435">
                    <a:extLst>
                      <a:ext uri="{FF2B5EF4-FFF2-40B4-BE49-F238E27FC236}">
                        <a16:creationId xmlns:a16="http://schemas.microsoft.com/office/drawing/2014/main" id="{2CF97E13-FFE4-272A-011B-4319892E8DE0}"/>
                      </a:ext>
                    </a:extLst>
                  </p:cNvPr>
                  <p:cNvSpPr/>
                  <p:nvPr userDrawn="1"/>
                </p:nvSpPr>
                <p:spPr>
                  <a:xfrm>
                    <a:off x="8456262" y="437283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FE2EA"/>
                  </a:solidFill>
                  <a:ln w="2339" cap="flat">
                    <a:noFill/>
                    <a:prstDash val="solid"/>
                    <a:miter/>
                  </a:ln>
                </p:spPr>
                <p:txBody>
                  <a:bodyPr rtlCol="0" anchor="ctr"/>
                  <a:lstStyle/>
                  <a:p>
                    <a:endParaRPr lang="en-US" sz="2400"/>
                  </a:p>
                </p:txBody>
              </p:sp>
              <p:sp>
                <p:nvSpPr>
                  <p:cNvPr id="437" name="Freeform: Shape 436">
                    <a:extLst>
                      <a:ext uri="{FF2B5EF4-FFF2-40B4-BE49-F238E27FC236}">
                        <a16:creationId xmlns:a16="http://schemas.microsoft.com/office/drawing/2014/main" id="{8E389127-7521-FD94-5EFA-4039F80929F1}"/>
                      </a:ext>
                    </a:extLst>
                  </p:cNvPr>
                  <p:cNvSpPr/>
                  <p:nvPr userDrawn="1"/>
                </p:nvSpPr>
                <p:spPr>
                  <a:xfrm>
                    <a:off x="8456613" y="437260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0E3EB"/>
                  </a:solidFill>
                  <a:ln w="2339" cap="flat">
                    <a:noFill/>
                    <a:prstDash val="solid"/>
                    <a:miter/>
                  </a:ln>
                </p:spPr>
                <p:txBody>
                  <a:bodyPr rtlCol="0" anchor="ctr"/>
                  <a:lstStyle/>
                  <a:p>
                    <a:endParaRPr lang="en-US" sz="2400"/>
                  </a:p>
                </p:txBody>
              </p:sp>
              <p:sp>
                <p:nvSpPr>
                  <p:cNvPr id="438" name="Freeform: Shape 437">
                    <a:extLst>
                      <a:ext uri="{FF2B5EF4-FFF2-40B4-BE49-F238E27FC236}">
                        <a16:creationId xmlns:a16="http://schemas.microsoft.com/office/drawing/2014/main" id="{8320630F-8EFD-777B-F064-0EFCA7902DC6}"/>
                      </a:ext>
                    </a:extLst>
                  </p:cNvPr>
                  <p:cNvSpPr/>
                  <p:nvPr userDrawn="1"/>
                </p:nvSpPr>
                <p:spPr>
                  <a:xfrm>
                    <a:off x="8456964" y="437237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0E3EB"/>
                  </a:solidFill>
                  <a:ln w="2339" cap="flat">
                    <a:noFill/>
                    <a:prstDash val="solid"/>
                    <a:miter/>
                  </a:ln>
                </p:spPr>
                <p:txBody>
                  <a:bodyPr rtlCol="0" anchor="ctr"/>
                  <a:lstStyle/>
                  <a:p>
                    <a:endParaRPr lang="en-US" sz="2400"/>
                  </a:p>
                </p:txBody>
              </p:sp>
              <p:sp>
                <p:nvSpPr>
                  <p:cNvPr id="439" name="Freeform: Shape 438">
                    <a:extLst>
                      <a:ext uri="{FF2B5EF4-FFF2-40B4-BE49-F238E27FC236}">
                        <a16:creationId xmlns:a16="http://schemas.microsoft.com/office/drawing/2014/main" id="{21787EDC-BD08-3873-4228-70986C3A0BB5}"/>
                      </a:ext>
                    </a:extLst>
                  </p:cNvPr>
                  <p:cNvSpPr/>
                  <p:nvPr userDrawn="1"/>
                </p:nvSpPr>
                <p:spPr>
                  <a:xfrm>
                    <a:off x="8457315" y="437211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0E3EB"/>
                  </a:solidFill>
                  <a:ln w="2339" cap="flat">
                    <a:noFill/>
                    <a:prstDash val="solid"/>
                    <a:miter/>
                  </a:ln>
                </p:spPr>
                <p:txBody>
                  <a:bodyPr rtlCol="0" anchor="ctr"/>
                  <a:lstStyle/>
                  <a:p>
                    <a:endParaRPr lang="en-US" sz="2400"/>
                  </a:p>
                </p:txBody>
              </p:sp>
              <p:sp>
                <p:nvSpPr>
                  <p:cNvPr id="440" name="Freeform: Shape 439">
                    <a:extLst>
                      <a:ext uri="{FF2B5EF4-FFF2-40B4-BE49-F238E27FC236}">
                        <a16:creationId xmlns:a16="http://schemas.microsoft.com/office/drawing/2014/main" id="{983F7EDB-E105-D5ED-C189-3F672E326838}"/>
                      </a:ext>
                    </a:extLst>
                  </p:cNvPr>
                  <p:cNvSpPr/>
                  <p:nvPr userDrawn="1"/>
                </p:nvSpPr>
                <p:spPr>
                  <a:xfrm>
                    <a:off x="8457666" y="437188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1E3EB"/>
                  </a:solidFill>
                  <a:ln w="2339" cap="flat">
                    <a:noFill/>
                    <a:prstDash val="solid"/>
                    <a:miter/>
                  </a:ln>
                </p:spPr>
                <p:txBody>
                  <a:bodyPr rtlCol="0" anchor="ctr"/>
                  <a:lstStyle/>
                  <a:p>
                    <a:endParaRPr lang="en-US" sz="2400"/>
                  </a:p>
                </p:txBody>
              </p:sp>
              <p:sp>
                <p:nvSpPr>
                  <p:cNvPr id="441" name="Freeform: Shape 440">
                    <a:extLst>
                      <a:ext uri="{FF2B5EF4-FFF2-40B4-BE49-F238E27FC236}">
                        <a16:creationId xmlns:a16="http://schemas.microsoft.com/office/drawing/2014/main" id="{4942D738-D357-735B-F858-760BD17D8CCB}"/>
                      </a:ext>
                    </a:extLst>
                  </p:cNvPr>
                  <p:cNvSpPr/>
                  <p:nvPr userDrawn="1"/>
                </p:nvSpPr>
                <p:spPr>
                  <a:xfrm>
                    <a:off x="8458017" y="437162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1E4EB"/>
                  </a:solidFill>
                  <a:ln w="2339" cap="flat">
                    <a:noFill/>
                    <a:prstDash val="solid"/>
                    <a:miter/>
                  </a:ln>
                </p:spPr>
                <p:txBody>
                  <a:bodyPr rtlCol="0" anchor="ctr"/>
                  <a:lstStyle/>
                  <a:p>
                    <a:endParaRPr lang="en-US" sz="2400"/>
                  </a:p>
                </p:txBody>
              </p:sp>
              <p:sp>
                <p:nvSpPr>
                  <p:cNvPr id="442" name="Freeform: Shape 441">
                    <a:extLst>
                      <a:ext uri="{FF2B5EF4-FFF2-40B4-BE49-F238E27FC236}">
                        <a16:creationId xmlns:a16="http://schemas.microsoft.com/office/drawing/2014/main" id="{B30D68BE-867F-A03C-29F3-BA31AA45AAFB}"/>
                      </a:ext>
                    </a:extLst>
                  </p:cNvPr>
                  <p:cNvSpPr/>
                  <p:nvPr userDrawn="1"/>
                </p:nvSpPr>
                <p:spPr>
                  <a:xfrm>
                    <a:off x="8458368" y="437138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1E4EC"/>
                  </a:solidFill>
                  <a:ln w="2339" cap="flat">
                    <a:noFill/>
                    <a:prstDash val="solid"/>
                    <a:miter/>
                  </a:ln>
                </p:spPr>
                <p:txBody>
                  <a:bodyPr rtlCol="0" anchor="ctr"/>
                  <a:lstStyle/>
                  <a:p>
                    <a:endParaRPr lang="en-US" sz="2400"/>
                  </a:p>
                </p:txBody>
              </p:sp>
              <p:sp>
                <p:nvSpPr>
                  <p:cNvPr id="443" name="Freeform: Shape 442">
                    <a:extLst>
                      <a:ext uri="{FF2B5EF4-FFF2-40B4-BE49-F238E27FC236}">
                        <a16:creationId xmlns:a16="http://schemas.microsoft.com/office/drawing/2014/main" id="{6EBA6CEA-6B5D-0778-C7C2-6152B1FB771F}"/>
                      </a:ext>
                    </a:extLst>
                  </p:cNvPr>
                  <p:cNvSpPr/>
                  <p:nvPr userDrawn="1"/>
                </p:nvSpPr>
                <p:spPr>
                  <a:xfrm>
                    <a:off x="8458719" y="437113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2E4EC"/>
                  </a:solidFill>
                  <a:ln w="2339" cap="flat">
                    <a:noFill/>
                    <a:prstDash val="solid"/>
                    <a:miter/>
                  </a:ln>
                </p:spPr>
                <p:txBody>
                  <a:bodyPr rtlCol="0" anchor="ctr"/>
                  <a:lstStyle/>
                  <a:p>
                    <a:endParaRPr lang="en-US" sz="2400"/>
                  </a:p>
                </p:txBody>
              </p:sp>
              <p:sp>
                <p:nvSpPr>
                  <p:cNvPr id="444" name="Freeform: Shape 443">
                    <a:extLst>
                      <a:ext uri="{FF2B5EF4-FFF2-40B4-BE49-F238E27FC236}">
                        <a16:creationId xmlns:a16="http://schemas.microsoft.com/office/drawing/2014/main" id="{7CEC4550-6D3C-8EAA-7F63-7CF26396B92B}"/>
                      </a:ext>
                    </a:extLst>
                  </p:cNvPr>
                  <p:cNvSpPr/>
                  <p:nvPr userDrawn="1"/>
                </p:nvSpPr>
                <p:spPr>
                  <a:xfrm>
                    <a:off x="8459046" y="437087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2E5EC"/>
                  </a:solidFill>
                  <a:ln w="2339" cap="flat">
                    <a:noFill/>
                    <a:prstDash val="solid"/>
                    <a:miter/>
                  </a:ln>
                </p:spPr>
                <p:txBody>
                  <a:bodyPr rtlCol="0" anchor="ctr"/>
                  <a:lstStyle/>
                  <a:p>
                    <a:endParaRPr lang="en-US" sz="2400"/>
                  </a:p>
                </p:txBody>
              </p:sp>
              <p:sp>
                <p:nvSpPr>
                  <p:cNvPr id="445" name="Freeform: Shape 444">
                    <a:extLst>
                      <a:ext uri="{FF2B5EF4-FFF2-40B4-BE49-F238E27FC236}">
                        <a16:creationId xmlns:a16="http://schemas.microsoft.com/office/drawing/2014/main" id="{FAB69673-4A6A-27A2-2B8B-0E244446591F}"/>
                      </a:ext>
                    </a:extLst>
                  </p:cNvPr>
                  <p:cNvSpPr/>
                  <p:nvPr userDrawn="1"/>
                </p:nvSpPr>
                <p:spPr>
                  <a:xfrm>
                    <a:off x="8459397" y="437063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E2E5EC"/>
                  </a:solidFill>
                  <a:ln w="2339" cap="flat">
                    <a:noFill/>
                    <a:prstDash val="solid"/>
                    <a:miter/>
                  </a:ln>
                </p:spPr>
                <p:txBody>
                  <a:bodyPr rtlCol="0" anchor="ctr"/>
                  <a:lstStyle/>
                  <a:p>
                    <a:endParaRPr lang="en-US" sz="2400"/>
                  </a:p>
                </p:txBody>
              </p:sp>
              <p:sp>
                <p:nvSpPr>
                  <p:cNvPr id="446" name="Freeform: Shape 445">
                    <a:extLst>
                      <a:ext uri="{FF2B5EF4-FFF2-40B4-BE49-F238E27FC236}">
                        <a16:creationId xmlns:a16="http://schemas.microsoft.com/office/drawing/2014/main" id="{06732E06-0D9D-E393-24D3-D5AB21E1B94A}"/>
                      </a:ext>
                    </a:extLst>
                  </p:cNvPr>
                  <p:cNvSpPr/>
                  <p:nvPr userDrawn="1"/>
                </p:nvSpPr>
                <p:spPr>
                  <a:xfrm>
                    <a:off x="8459725" y="437038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3E5EC"/>
                  </a:solidFill>
                  <a:ln w="2339" cap="flat">
                    <a:noFill/>
                    <a:prstDash val="solid"/>
                    <a:miter/>
                  </a:ln>
                </p:spPr>
                <p:txBody>
                  <a:bodyPr rtlCol="0" anchor="ctr"/>
                  <a:lstStyle/>
                  <a:p>
                    <a:endParaRPr lang="en-US" sz="2400"/>
                  </a:p>
                </p:txBody>
              </p:sp>
              <p:sp>
                <p:nvSpPr>
                  <p:cNvPr id="447" name="Freeform: Shape 446">
                    <a:extLst>
                      <a:ext uri="{FF2B5EF4-FFF2-40B4-BE49-F238E27FC236}">
                        <a16:creationId xmlns:a16="http://schemas.microsoft.com/office/drawing/2014/main" id="{E88E1CEA-D3B8-D17E-6DAC-468D6A63C864}"/>
                      </a:ext>
                    </a:extLst>
                  </p:cNvPr>
                  <p:cNvSpPr/>
                  <p:nvPr userDrawn="1"/>
                </p:nvSpPr>
                <p:spPr>
                  <a:xfrm>
                    <a:off x="8460052" y="437012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3E5ED"/>
                  </a:solidFill>
                  <a:ln w="2339" cap="flat">
                    <a:noFill/>
                    <a:prstDash val="solid"/>
                    <a:miter/>
                  </a:ln>
                </p:spPr>
                <p:txBody>
                  <a:bodyPr rtlCol="0" anchor="ctr"/>
                  <a:lstStyle/>
                  <a:p>
                    <a:endParaRPr lang="en-US" sz="2400"/>
                  </a:p>
                </p:txBody>
              </p:sp>
              <p:sp>
                <p:nvSpPr>
                  <p:cNvPr id="448" name="Freeform: Shape 447">
                    <a:extLst>
                      <a:ext uri="{FF2B5EF4-FFF2-40B4-BE49-F238E27FC236}">
                        <a16:creationId xmlns:a16="http://schemas.microsoft.com/office/drawing/2014/main" id="{77E78768-6D16-AFD5-1701-736A40206771}"/>
                      </a:ext>
                    </a:extLst>
                  </p:cNvPr>
                  <p:cNvSpPr/>
                  <p:nvPr userDrawn="1"/>
                </p:nvSpPr>
                <p:spPr>
                  <a:xfrm>
                    <a:off x="8460403" y="436989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E3E6ED"/>
                  </a:solidFill>
                  <a:ln w="2339" cap="flat">
                    <a:noFill/>
                    <a:prstDash val="solid"/>
                    <a:miter/>
                  </a:ln>
                </p:spPr>
                <p:txBody>
                  <a:bodyPr rtlCol="0" anchor="ctr"/>
                  <a:lstStyle/>
                  <a:p>
                    <a:endParaRPr lang="en-US" sz="2400"/>
                  </a:p>
                </p:txBody>
              </p:sp>
              <p:sp>
                <p:nvSpPr>
                  <p:cNvPr id="449" name="Freeform: Shape 448">
                    <a:extLst>
                      <a:ext uri="{FF2B5EF4-FFF2-40B4-BE49-F238E27FC236}">
                        <a16:creationId xmlns:a16="http://schemas.microsoft.com/office/drawing/2014/main" id="{119F834C-A698-0802-FA4B-4FAF6B62985F}"/>
                      </a:ext>
                    </a:extLst>
                  </p:cNvPr>
                  <p:cNvSpPr/>
                  <p:nvPr userDrawn="1"/>
                </p:nvSpPr>
                <p:spPr>
                  <a:xfrm>
                    <a:off x="8460731" y="436963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3E6ED"/>
                  </a:solidFill>
                  <a:ln w="2339" cap="flat">
                    <a:noFill/>
                    <a:prstDash val="solid"/>
                    <a:miter/>
                  </a:ln>
                </p:spPr>
                <p:txBody>
                  <a:bodyPr rtlCol="0" anchor="ctr"/>
                  <a:lstStyle/>
                  <a:p>
                    <a:endParaRPr lang="en-US" sz="2400"/>
                  </a:p>
                </p:txBody>
              </p:sp>
              <p:sp>
                <p:nvSpPr>
                  <p:cNvPr id="450" name="Freeform: Shape 449">
                    <a:extLst>
                      <a:ext uri="{FF2B5EF4-FFF2-40B4-BE49-F238E27FC236}">
                        <a16:creationId xmlns:a16="http://schemas.microsoft.com/office/drawing/2014/main" id="{31CB67B3-F60A-6556-5261-113685E2B506}"/>
                      </a:ext>
                    </a:extLst>
                  </p:cNvPr>
                  <p:cNvSpPr/>
                  <p:nvPr userDrawn="1"/>
                </p:nvSpPr>
                <p:spPr>
                  <a:xfrm>
                    <a:off x="8461059" y="436937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4E6ED"/>
                  </a:solidFill>
                  <a:ln w="2339" cap="flat">
                    <a:noFill/>
                    <a:prstDash val="solid"/>
                    <a:miter/>
                  </a:ln>
                </p:spPr>
                <p:txBody>
                  <a:bodyPr rtlCol="0" anchor="ctr"/>
                  <a:lstStyle/>
                  <a:p>
                    <a:endParaRPr lang="en-US" sz="2400"/>
                  </a:p>
                </p:txBody>
              </p:sp>
              <p:sp>
                <p:nvSpPr>
                  <p:cNvPr id="451" name="Freeform: Shape 450">
                    <a:extLst>
                      <a:ext uri="{FF2B5EF4-FFF2-40B4-BE49-F238E27FC236}">
                        <a16:creationId xmlns:a16="http://schemas.microsoft.com/office/drawing/2014/main" id="{7440B663-6638-66F2-C019-57E3016BF97D}"/>
                      </a:ext>
                    </a:extLst>
                  </p:cNvPr>
                  <p:cNvSpPr/>
                  <p:nvPr userDrawn="1"/>
                </p:nvSpPr>
                <p:spPr>
                  <a:xfrm>
                    <a:off x="8461363" y="436911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4E6ED"/>
                  </a:solidFill>
                  <a:ln w="2339" cap="flat">
                    <a:noFill/>
                    <a:prstDash val="solid"/>
                    <a:miter/>
                  </a:ln>
                </p:spPr>
                <p:txBody>
                  <a:bodyPr rtlCol="0" anchor="ctr"/>
                  <a:lstStyle/>
                  <a:p>
                    <a:endParaRPr lang="en-US" sz="2400"/>
                  </a:p>
                </p:txBody>
              </p:sp>
              <p:sp>
                <p:nvSpPr>
                  <p:cNvPr id="452" name="Freeform: Shape 451">
                    <a:extLst>
                      <a:ext uri="{FF2B5EF4-FFF2-40B4-BE49-F238E27FC236}">
                        <a16:creationId xmlns:a16="http://schemas.microsoft.com/office/drawing/2014/main" id="{FD7677C8-F4E8-AA9B-C4AA-FB76F9277AB4}"/>
                      </a:ext>
                    </a:extLst>
                  </p:cNvPr>
                  <p:cNvSpPr/>
                  <p:nvPr userDrawn="1"/>
                </p:nvSpPr>
                <p:spPr>
                  <a:xfrm>
                    <a:off x="8461690" y="436886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4E7EE"/>
                  </a:solidFill>
                  <a:ln w="2339" cap="flat">
                    <a:noFill/>
                    <a:prstDash val="solid"/>
                    <a:miter/>
                  </a:ln>
                </p:spPr>
                <p:txBody>
                  <a:bodyPr rtlCol="0" anchor="ctr"/>
                  <a:lstStyle/>
                  <a:p>
                    <a:endParaRPr lang="en-US" sz="2400"/>
                  </a:p>
                </p:txBody>
              </p:sp>
              <p:sp>
                <p:nvSpPr>
                  <p:cNvPr id="453" name="Freeform: Shape 452">
                    <a:extLst>
                      <a:ext uri="{FF2B5EF4-FFF2-40B4-BE49-F238E27FC236}">
                        <a16:creationId xmlns:a16="http://schemas.microsoft.com/office/drawing/2014/main" id="{74BB0F45-8444-8456-5A5D-39FF4D09F7B0}"/>
                      </a:ext>
                    </a:extLst>
                  </p:cNvPr>
                  <p:cNvSpPr/>
                  <p:nvPr userDrawn="1"/>
                </p:nvSpPr>
                <p:spPr>
                  <a:xfrm>
                    <a:off x="8462018" y="436860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5E7EE"/>
                  </a:solidFill>
                  <a:ln w="2339" cap="flat">
                    <a:noFill/>
                    <a:prstDash val="solid"/>
                    <a:miter/>
                  </a:ln>
                </p:spPr>
                <p:txBody>
                  <a:bodyPr rtlCol="0" anchor="ctr"/>
                  <a:lstStyle/>
                  <a:p>
                    <a:endParaRPr lang="en-US" sz="2400"/>
                  </a:p>
                </p:txBody>
              </p:sp>
              <p:sp>
                <p:nvSpPr>
                  <p:cNvPr id="454" name="Freeform: Shape 453">
                    <a:extLst>
                      <a:ext uri="{FF2B5EF4-FFF2-40B4-BE49-F238E27FC236}">
                        <a16:creationId xmlns:a16="http://schemas.microsoft.com/office/drawing/2014/main" id="{4E7DA1EA-B15B-0ACD-69BB-658274D9A48F}"/>
                      </a:ext>
                    </a:extLst>
                  </p:cNvPr>
                  <p:cNvSpPr/>
                  <p:nvPr userDrawn="1"/>
                </p:nvSpPr>
                <p:spPr>
                  <a:xfrm>
                    <a:off x="8462322" y="436837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E5E7EE"/>
                  </a:solidFill>
                  <a:ln w="2339" cap="flat">
                    <a:noFill/>
                    <a:prstDash val="solid"/>
                    <a:miter/>
                  </a:ln>
                </p:spPr>
                <p:txBody>
                  <a:bodyPr rtlCol="0" anchor="ctr"/>
                  <a:lstStyle/>
                  <a:p>
                    <a:endParaRPr lang="en-US" sz="2400"/>
                  </a:p>
                </p:txBody>
              </p:sp>
              <p:sp>
                <p:nvSpPr>
                  <p:cNvPr id="455" name="Freeform: Shape 454">
                    <a:extLst>
                      <a:ext uri="{FF2B5EF4-FFF2-40B4-BE49-F238E27FC236}">
                        <a16:creationId xmlns:a16="http://schemas.microsoft.com/office/drawing/2014/main" id="{E05414D4-707D-9473-2AD5-DE03E07A9599}"/>
                      </a:ext>
                    </a:extLst>
                  </p:cNvPr>
                  <p:cNvSpPr/>
                  <p:nvPr userDrawn="1"/>
                </p:nvSpPr>
                <p:spPr>
                  <a:xfrm>
                    <a:off x="8462650" y="436811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E5E8EE"/>
                  </a:solidFill>
                  <a:ln w="2339" cap="flat">
                    <a:noFill/>
                    <a:prstDash val="solid"/>
                    <a:miter/>
                  </a:ln>
                </p:spPr>
                <p:txBody>
                  <a:bodyPr rtlCol="0" anchor="ctr"/>
                  <a:lstStyle/>
                  <a:p>
                    <a:endParaRPr lang="en-US" sz="2400"/>
                  </a:p>
                </p:txBody>
              </p:sp>
              <p:sp>
                <p:nvSpPr>
                  <p:cNvPr id="456" name="Freeform: Shape 455">
                    <a:extLst>
                      <a:ext uri="{FF2B5EF4-FFF2-40B4-BE49-F238E27FC236}">
                        <a16:creationId xmlns:a16="http://schemas.microsoft.com/office/drawing/2014/main" id="{C398BDF1-2E2B-88B0-1739-89B04B7494C6}"/>
                      </a:ext>
                    </a:extLst>
                  </p:cNvPr>
                  <p:cNvSpPr/>
                  <p:nvPr userDrawn="1"/>
                </p:nvSpPr>
                <p:spPr>
                  <a:xfrm>
                    <a:off x="8463048" y="436776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6E8EE"/>
                  </a:solidFill>
                  <a:ln w="2339" cap="flat">
                    <a:noFill/>
                    <a:prstDash val="solid"/>
                    <a:miter/>
                  </a:ln>
                </p:spPr>
                <p:txBody>
                  <a:bodyPr rtlCol="0" anchor="ctr"/>
                  <a:lstStyle/>
                  <a:p>
                    <a:endParaRPr lang="en-US" sz="2400"/>
                  </a:p>
                </p:txBody>
              </p:sp>
              <p:sp>
                <p:nvSpPr>
                  <p:cNvPr id="457" name="Freeform: Shape 456">
                    <a:extLst>
                      <a:ext uri="{FF2B5EF4-FFF2-40B4-BE49-F238E27FC236}">
                        <a16:creationId xmlns:a16="http://schemas.microsoft.com/office/drawing/2014/main" id="{F541EDCB-F468-3379-86C2-91209714AB6C}"/>
                      </a:ext>
                    </a:extLst>
                  </p:cNvPr>
                  <p:cNvSpPr/>
                  <p:nvPr userDrawn="1"/>
                </p:nvSpPr>
                <p:spPr>
                  <a:xfrm>
                    <a:off x="8463539" y="436736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6E8EF"/>
                  </a:solidFill>
                  <a:ln w="2339" cap="flat">
                    <a:noFill/>
                    <a:prstDash val="solid"/>
                    <a:miter/>
                  </a:ln>
                </p:spPr>
                <p:txBody>
                  <a:bodyPr rtlCol="0" anchor="ctr"/>
                  <a:lstStyle/>
                  <a:p>
                    <a:endParaRPr lang="en-US" sz="2400"/>
                  </a:p>
                </p:txBody>
              </p:sp>
              <p:sp>
                <p:nvSpPr>
                  <p:cNvPr id="458" name="Freeform: Shape 457">
                    <a:extLst>
                      <a:ext uri="{FF2B5EF4-FFF2-40B4-BE49-F238E27FC236}">
                        <a16:creationId xmlns:a16="http://schemas.microsoft.com/office/drawing/2014/main" id="{DD9BD855-1828-7AB2-3212-98EA0ED29B92}"/>
                      </a:ext>
                    </a:extLst>
                  </p:cNvPr>
                  <p:cNvSpPr/>
                  <p:nvPr userDrawn="1"/>
                </p:nvSpPr>
                <p:spPr>
                  <a:xfrm>
                    <a:off x="8464030" y="436694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6E8EF"/>
                  </a:solidFill>
                  <a:ln w="2339" cap="flat">
                    <a:noFill/>
                    <a:prstDash val="solid"/>
                    <a:miter/>
                  </a:ln>
                </p:spPr>
                <p:txBody>
                  <a:bodyPr rtlCol="0" anchor="ctr"/>
                  <a:lstStyle/>
                  <a:p>
                    <a:endParaRPr lang="en-US" sz="2400"/>
                  </a:p>
                </p:txBody>
              </p:sp>
              <p:sp>
                <p:nvSpPr>
                  <p:cNvPr id="459" name="Freeform: Shape 458">
                    <a:extLst>
                      <a:ext uri="{FF2B5EF4-FFF2-40B4-BE49-F238E27FC236}">
                        <a16:creationId xmlns:a16="http://schemas.microsoft.com/office/drawing/2014/main" id="{3B286818-4EB5-359B-DC7B-A824CD95CF04}"/>
                      </a:ext>
                    </a:extLst>
                  </p:cNvPr>
                  <p:cNvSpPr/>
                  <p:nvPr userDrawn="1"/>
                </p:nvSpPr>
                <p:spPr>
                  <a:xfrm>
                    <a:off x="8464498" y="436654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7E9EF"/>
                  </a:solidFill>
                  <a:ln w="2339" cap="flat">
                    <a:noFill/>
                    <a:prstDash val="solid"/>
                    <a:miter/>
                  </a:ln>
                </p:spPr>
                <p:txBody>
                  <a:bodyPr rtlCol="0" anchor="ctr"/>
                  <a:lstStyle/>
                  <a:p>
                    <a:endParaRPr lang="en-US" sz="2400"/>
                  </a:p>
                </p:txBody>
              </p:sp>
              <p:sp>
                <p:nvSpPr>
                  <p:cNvPr id="460" name="Freeform: Shape 459">
                    <a:extLst>
                      <a:ext uri="{FF2B5EF4-FFF2-40B4-BE49-F238E27FC236}">
                        <a16:creationId xmlns:a16="http://schemas.microsoft.com/office/drawing/2014/main" id="{4F502FF0-AD24-8A1D-E8FB-70D70C342624}"/>
                      </a:ext>
                    </a:extLst>
                  </p:cNvPr>
                  <p:cNvSpPr/>
                  <p:nvPr userDrawn="1"/>
                </p:nvSpPr>
                <p:spPr>
                  <a:xfrm>
                    <a:off x="8464966" y="436612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7E9EF"/>
                  </a:solidFill>
                  <a:ln w="2339" cap="flat">
                    <a:noFill/>
                    <a:prstDash val="solid"/>
                    <a:miter/>
                  </a:ln>
                </p:spPr>
                <p:txBody>
                  <a:bodyPr rtlCol="0" anchor="ctr"/>
                  <a:lstStyle/>
                  <a:p>
                    <a:endParaRPr lang="en-US" sz="2400"/>
                  </a:p>
                </p:txBody>
              </p:sp>
              <p:sp>
                <p:nvSpPr>
                  <p:cNvPr id="461" name="Freeform: Shape 460">
                    <a:extLst>
                      <a:ext uri="{FF2B5EF4-FFF2-40B4-BE49-F238E27FC236}">
                        <a16:creationId xmlns:a16="http://schemas.microsoft.com/office/drawing/2014/main" id="{B40F71CB-EED7-C164-B247-44A92B191B79}"/>
                      </a:ext>
                    </a:extLst>
                  </p:cNvPr>
                  <p:cNvSpPr/>
                  <p:nvPr userDrawn="1"/>
                </p:nvSpPr>
                <p:spPr>
                  <a:xfrm>
                    <a:off x="8465434" y="436572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7E9EF"/>
                  </a:solidFill>
                  <a:ln w="2339" cap="flat">
                    <a:noFill/>
                    <a:prstDash val="solid"/>
                    <a:miter/>
                  </a:ln>
                </p:spPr>
                <p:txBody>
                  <a:bodyPr rtlCol="0" anchor="ctr"/>
                  <a:lstStyle/>
                  <a:p>
                    <a:endParaRPr lang="en-US" sz="2400"/>
                  </a:p>
                </p:txBody>
              </p:sp>
              <p:sp>
                <p:nvSpPr>
                  <p:cNvPr id="462" name="Freeform: Shape 461">
                    <a:extLst>
                      <a:ext uri="{FF2B5EF4-FFF2-40B4-BE49-F238E27FC236}">
                        <a16:creationId xmlns:a16="http://schemas.microsoft.com/office/drawing/2014/main" id="{BA8135C4-FFFE-C444-454F-99674D3F7073}"/>
                      </a:ext>
                    </a:extLst>
                  </p:cNvPr>
                  <p:cNvSpPr/>
                  <p:nvPr userDrawn="1"/>
                </p:nvSpPr>
                <p:spPr>
                  <a:xfrm>
                    <a:off x="8465902" y="436530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7EAF0"/>
                  </a:solidFill>
                  <a:ln w="2339" cap="flat">
                    <a:noFill/>
                    <a:prstDash val="solid"/>
                    <a:miter/>
                  </a:ln>
                </p:spPr>
                <p:txBody>
                  <a:bodyPr rtlCol="0" anchor="ctr"/>
                  <a:lstStyle/>
                  <a:p>
                    <a:endParaRPr lang="en-US" sz="2400"/>
                  </a:p>
                </p:txBody>
              </p:sp>
              <p:sp>
                <p:nvSpPr>
                  <p:cNvPr id="463" name="Freeform: Shape 462">
                    <a:extLst>
                      <a:ext uri="{FF2B5EF4-FFF2-40B4-BE49-F238E27FC236}">
                        <a16:creationId xmlns:a16="http://schemas.microsoft.com/office/drawing/2014/main" id="{A55D4538-5C0E-FDAB-AB1F-9B68553C9129}"/>
                      </a:ext>
                    </a:extLst>
                  </p:cNvPr>
                  <p:cNvSpPr/>
                  <p:nvPr userDrawn="1"/>
                </p:nvSpPr>
                <p:spPr>
                  <a:xfrm>
                    <a:off x="8466347" y="436490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8EAF0"/>
                  </a:solidFill>
                  <a:ln w="2339" cap="flat">
                    <a:noFill/>
                    <a:prstDash val="solid"/>
                    <a:miter/>
                  </a:ln>
                </p:spPr>
                <p:txBody>
                  <a:bodyPr rtlCol="0" anchor="ctr"/>
                  <a:lstStyle/>
                  <a:p>
                    <a:endParaRPr lang="en-US" sz="2400"/>
                  </a:p>
                </p:txBody>
              </p:sp>
              <p:sp>
                <p:nvSpPr>
                  <p:cNvPr id="464" name="Freeform: Shape 463">
                    <a:extLst>
                      <a:ext uri="{FF2B5EF4-FFF2-40B4-BE49-F238E27FC236}">
                        <a16:creationId xmlns:a16="http://schemas.microsoft.com/office/drawing/2014/main" id="{7CC606ED-318C-DC91-D838-9DC6B767B499}"/>
                      </a:ext>
                    </a:extLst>
                  </p:cNvPr>
                  <p:cNvSpPr/>
                  <p:nvPr userDrawn="1"/>
                </p:nvSpPr>
                <p:spPr>
                  <a:xfrm>
                    <a:off x="8466815" y="436448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8EAF0"/>
                  </a:solidFill>
                  <a:ln w="2339" cap="flat">
                    <a:noFill/>
                    <a:prstDash val="solid"/>
                    <a:miter/>
                  </a:ln>
                </p:spPr>
                <p:txBody>
                  <a:bodyPr rtlCol="0" anchor="ctr"/>
                  <a:lstStyle/>
                  <a:p>
                    <a:endParaRPr lang="en-US" sz="2400"/>
                  </a:p>
                </p:txBody>
              </p:sp>
              <p:sp>
                <p:nvSpPr>
                  <p:cNvPr id="465" name="Freeform: Shape 464">
                    <a:extLst>
                      <a:ext uri="{FF2B5EF4-FFF2-40B4-BE49-F238E27FC236}">
                        <a16:creationId xmlns:a16="http://schemas.microsoft.com/office/drawing/2014/main" id="{69A1DC14-B021-F8A1-3D99-7E6BC8D0B026}"/>
                      </a:ext>
                    </a:extLst>
                  </p:cNvPr>
                  <p:cNvSpPr/>
                  <p:nvPr userDrawn="1"/>
                </p:nvSpPr>
                <p:spPr>
                  <a:xfrm>
                    <a:off x="8467260" y="436406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8EAF0"/>
                  </a:solidFill>
                  <a:ln w="2339" cap="flat">
                    <a:noFill/>
                    <a:prstDash val="solid"/>
                    <a:miter/>
                  </a:ln>
                </p:spPr>
                <p:txBody>
                  <a:bodyPr rtlCol="0" anchor="ctr"/>
                  <a:lstStyle/>
                  <a:p>
                    <a:endParaRPr lang="en-US" sz="2400"/>
                  </a:p>
                </p:txBody>
              </p:sp>
              <p:sp>
                <p:nvSpPr>
                  <p:cNvPr id="466" name="Freeform: Shape 465">
                    <a:extLst>
                      <a:ext uri="{FF2B5EF4-FFF2-40B4-BE49-F238E27FC236}">
                        <a16:creationId xmlns:a16="http://schemas.microsoft.com/office/drawing/2014/main" id="{29A915D6-F55C-D844-7653-4319DD2213C5}"/>
                      </a:ext>
                    </a:extLst>
                  </p:cNvPr>
                  <p:cNvSpPr/>
                  <p:nvPr userDrawn="1"/>
                </p:nvSpPr>
                <p:spPr>
                  <a:xfrm>
                    <a:off x="8467681" y="436366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9EBF0"/>
                  </a:solidFill>
                  <a:ln w="2339" cap="flat">
                    <a:noFill/>
                    <a:prstDash val="solid"/>
                    <a:miter/>
                  </a:ln>
                </p:spPr>
                <p:txBody>
                  <a:bodyPr rtlCol="0" anchor="ctr"/>
                  <a:lstStyle/>
                  <a:p>
                    <a:endParaRPr lang="en-US" sz="2400"/>
                  </a:p>
                </p:txBody>
              </p:sp>
              <p:sp>
                <p:nvSpPr>
                  <p:cNvPr id="467" name="Freeform: Shape 466">
                    <a:extLst>
                      <a:ext uri="{FF2B5EF4-FFF2-40B4-BE49-F238E27FC236}">
                        <a16:creationId xmlns:a16="http://schemas.microsoft.com/office/drawing/2014/main" id="{463094DB-97A5-BEA0-7969-1B7E0B1F1B91}"/>
                      </a:ext>
                    </a:extLst>
                  </p:cNvPr>
                  <p:cNvSpPr/>
                  <p:nvPr userDrawn="1"/>
                </p:nvSpPr>
                <p:spPr>
                  <a:xfrm>
                    <a:off x="8468125" y="436324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9EBF1"/>
                  </a:solidFill>
                  <a:ln w="2339" cap="flat">
                    <a:noFill/>
                    <a:prstDash val="solid"/>
                    <a:miter/>
                  </a:ln>
                </p:spPr>
                <p:txBody>
                  <a:bodyPr rtlCol="0" anchor="ctr"/>
                  <a:lstStyle/>
                  <a:p>
                    <a:endParaRPr lang="en-US" sz="2400"/>
                  </a:p>
                </p:txBody>
              </p:sp>
              <p:sp>
                <p:nvSpPr>
                  <p:cNvPr id="468" name="Freeform: Shape 467">
                    <a:extLst>
                      <a:ext uri="{FF2B5EF4-FFF2-40B4-BE49-F238E27FC236}">
                        <a16:creationId xmlns:a16="http://schemas.microsoft.com/office/drawing/2014/main" id="{32A745A0-A1C7-1328-E38F-F1A5DE3F9B85}"/>
                      </a:ext>
                    </a:extLst>
                  </p:cNvPr>
                  <p:cNvSpPr/>
                  <p:nvPr userDrawn="1"/>
                </p:nvSpPr>
                <p:spPr>
                  <a:xfrm>
                    <a:off x="8468547" y="436282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9EBF1"/>
                  </a:solidFill>
                  <a:ln w="2339" cap="flat">
                    <a:noFill/>
                    <a:prstDash val="solid"/>
                    <a:miter/>
                  </a:ln>
                </p:spPr>
                <p:txBody>
                  <a:bodyPr rtlCol="0" anchor="ctr"/>
                  <a:lstStyle/>
                  <a:p>
                    <a:endParaRPr lang="en-US" sz="2400"/>
                  </a:p>
                </p:txBody>
              </p:sp>
              <p:sp>
                <p:nvSpPr>
                  <p:cNvPr id="469" name="Freeform: Shape 468">
                    <a:extLst>
                      <a:ext uri="{FF2B5EF4-FFF2-40B4-BE49-F238E27FC236}">
                        <a16:creationId xmlns:a16="http://schemas.microsoft.com/office/drawing/2014/main" id="{E86220EF-827B-FB9D-3B46-112F890D8151}"/>
                      </a:ext>
                    </a:extLst>
                  </p:cNvPr>
                  <p:cNvSpPr/>
                  <p:nvPr userDrawn="1"/>
                </p:nvSpPr>
                <p:spPr>
                  <a:xfrm>
                    <a:off x="8468991" y="436242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EAECF1"/>
                  </a:solidFill>
                  <a:ln w="2339" cap="flat">
                    <a:noFill/>
                    <a:prstDash val="solid"/>
                    <a:miter/>
                  </a:ln>
                </p:spPr>
                <p:txBody>
                  <a:bodyPr rtlCol="0" anchor="ctr"/>
                  <a:lstStyle/>
                  <a:p>
                    <a:endParaRPr lang="en-US" sz="2400"/>
                  </a:p>
                </p:txBody>
              </p:sp>
              <p:sp>
                <p:nvSpPr>
                  <p:cNvPr id="470" name="Freeform: Shape 469">
                    <a:extLst>
                      <a:ext uri="{FF2B5EF4-FFF2-40B4-BE49-F238E27FC236}">
                        <a16:creationId xmlns:a16="http://schemas.microsoft.com/office/drawing/2014/main" id="{86C9D181-96F8-63A6-6BFB-9945382E478C}"/>
                      </a:ext>
                    </a:extLst>
                  </p:cNvPr>
                  <p:cNvSpPr/>
                  <p:nvPr userDrawn="1"/>
                </p:nvSpPr>
                <p:spPr>
                  <a:xfrm>
                    <a:off x="8469389" y="436200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AECF1"/>
                  </a:solidFill>
                  <a:ln w="2339" cap="flat">
                    <a:noFill/>
                    <a:prstDash val="solid"/>
                    <a:miter/>
                  </a:ln>
                </p:spPr>
                <p:txBody>
                  <a:bodyPr rtlCol="0" anchor="ctr"/>
                  <a:lstStyle/>
                  <a:p>
                    <a:endParaRPr lang="en-US" sz="2400"/>
                  </a:p>
                </p:txBody>
              </p:sp>
              <p:sp>
                <p:nvSpPr>
                  <p:cNvPr id="471" name="Freeform: Shape 470">
                    <a:extLst>
                      <a:ext uri="{FF2B5EF4-FFF2-40B4-BE49-F238E27FC236}">
                        <a16:creationId xmlns:a16="http://schemas.microsoft.com/office/drawing/2014/main" id="{54E3E05E-8849-9164-C12C-7762250DAA8D}"/>
                      </a:ext>
                    </a:extLst>
                  </p:cNvPr>
                  <p:cNvSpPr/>
                  <p:nvPr userDrawn="1"/>
                </p:nvSpPr>
                <p:spPr>
                  <a:xfrm>
                    <a:off x="8469810" y="436158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AECF1"/>
                  </a:solidFill>
                  <a:ln w="2339" cap="flat">
                    <a:noFill/>
                    <a:prstDash val="solid"/>
                    <a:miter/>
                  </a:ln>
                </p:spPr>
                <p:txBody>
                  <a:bodyPr rtlCol="0" anchor="ctr"/>
                  <a:lstStyle/>
                  <a:p>
                    <a:endParaRPr lang="en-US" sz="2400"/>
                  </a:p>
                </p:txBody>
              </p:sp>
              <p:sp>
                <p:nvSpPr>
                  <p:cNvPr id="472" name="Freeform: Shape 471">
                    <a:extLst>
                      <a:ext uri="{FF2B5EF4-FFF2-40B4-BE49-F238E27FC236}">
                        <a16:creationId xmlns:a16="http://schemas.microsoft.com/office/drawing/2014/main" id="{AE63AE51-17C8-4494-E593-39E588030573}"/>
                      </a:ext>
                    </a:extLst>
                  </p:cNvPr>
                  <p:cNvSpPr/>
                  <p:nvPr userDrawn="1"/>
                </p:nvSpPr>
                <p:spPr>
                  <a:xfrm>
                    <a:off x="8470231" y="436118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EBECF2"/>
                  </a:solidFill>
                  <a:ln w="2339" cap="flat">
                    <a:noFill/>
                    <a:prstDash val="solid"/>
                    <a:miter/>
                  </a:ln>
                </p:spPr>
                <p:txBody>
                  <a:bodyPr rtlCol="0" anchor="ctr"/>
                  <a:lstStyle/>
                  <a:p>
                    <a:endParaRPr lang="en-US" sz="2400"/>
                  </a:p>
                </p:txBody>
              </p:sp>
              <p:sp>
                <p:nvSpPr>
                  <p:cNvPr id="473" name="Freeform: Shape 472">
                    <a:extLst>
                      <a:ext uri="{FF2B5EF4-FFF2-40B4-BE49-F238E27FC236}">
                        <a16:creationId xmlns:a16="http://schemas.microsoft.com/office/drawing/2014/main" id="{3694AC3A-2866-DB3D-BFD5-21F51A7C3C96}"/>
                      </a:ext>
                    </a:extLst>
                  </p:cNvPr>
                  <p:cNvSpPr/>
                  <p:nvPr userDrawn="1"/>
                </p:nvSpPr>
                <p:spPr>
                  <a:xfrm>
                    <a:off x="8470629" y="436076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BEDF2"/>
                  </a:solidFill>
                  <a:ln w="2339" cap="flat">
                    <a:noFill/>
                    <a:prstDash val="solid"/>
                    <a:miter/>
                  </a:ln>
                </p:spPr>
                <p:txBody>
                  <a:bodyPr rtlCol="0" anchor="ctr"/>
                  <a:lstStyle/>
                  <a:p>
                    <a:endParaRPr lang="en-US" sz="2400"/>
                  </a:p>
                </p:txBody>
              </p:sp>
              <p:sp>
                <p:nvSpPr>
                  <p:cNvPr id="474" name="Freeform: Shape 473">
                    <a:extLst>
                      <a:ext uri="{FF2B5EF4-FFF2-40B4-BE49-F238E27FC236}">
                        <a16:creationId xmlns:a16="http://schemas.microsoft.com/office/drawing/2014/main" id="{A75A8EC2-CE78-AC66-0E99-FA146AE8D7C4}"/>
                      </a:ext>
                    </a:extLst>
                  </p:cNvPr>
                  <p:cNvSpPr/>
                  <p:nvPr userDrawn="1"/>
                </p:nvSpPr>
                <p:spPr>
                  <a:xfrm>
                    <a:off x="8471027" y="436034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BEDF2"/>
                  </a:solidFill>
                  <a:ln w="2339" cap="flat">
                    <a:noFill/>
                    <a:prstDash val="solid"/>
                    <a:miter/>
                  </a:ln>
                </p:spPr>
                <p:txBody>
                  <a:bodyPr rtlCol="0" anchor="ctr"/>
                  <a:lstStyle/>
                  <a:p>
                    <a:endParaRPr lang="en-US" sz="2400"/>
                  </a:p>
                </p:txBody>
              </p:sp>
              <p:sp>
                <p:nvSpPr>
                  <p:cNvPr id="475" name="Freeform: Shape 474">
                    <a:extLst>
                      <a:ext uri="{FF2B5EF4-FFF2-40B4-BE49-F238E27FC236}">
                        <a16:creationId xmlns:a16="http://schemas.microsoft.com/office/drawing/2014/main" id="{28AA380C-3154-5430-4751-C42DEBF11C58}"/>
                      </a:ext>
                    </a:extLst>
                  </p:cNvPr>
                  <p:cNvSpPr/>
                  <p:nvPr userDrawn="1"/>
                </p:nvSpPr>
                <p:spPr>
                  <a:xfrm>
                    <a:off x="8471425" y="435992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BEDF2"/>
                  </a:solidFill>
                  <a:ln w="2339" cap="flat">
                    <a:noFill/>
                    <a:prstDash val="solid"/>
                    <a:miter/>
                  </a:ln>
                </p:spPr>
                <p:txBody>
                  <a:bodyPr rtlCol="0" anchor="ctr"/>
                  <a:lstStyle/>
                  <a:p>
                    <a:endParaRPr lang="en-US" sz="2400"/>
                  </a:p>
                </p:txBody>
              </p:sp>
              <p:sp>
                <p:nvSpPr>
                  <p:cNvPr id="476" name="Freeform: Shape 475">
                    <a:extLst>
                      <a:ext uri="{FF2B5EF4-FFF2-40B4-BE49-F238E27FC236}">
                        <a16:creationId xmlns:a16="http://schemas.microsoft.com/office/drawing/2014/main" id="{DE9C600B-54D6-C138-D767-03E7059AD085}"/>
                      </a:ext>
                    </a:extLst>
                  </p:cNvPr>
                  <p:cNvSpPr/>
                  <p:nvPr userDrawn="1"/>
                </p:nvSpPr>
                <p:spPr>
                  <a:xfrm>
                    <a:off x="8471799" y="435950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CEDF2"/>
                  </a:solidFill>
                  <a:ln w="2339" cap="flat">
                    <a:noFill/>
                    <a:prstDash val="solid"/>
                    <a:miter/>
                  </a:ln>
                </p:spPr>
                <p:txBody>
                  <a:bodyPr rtlCol="0" anchor="ctr"/>
                  <a:lstStyle/>
                  <a:p>
                    <a:endParaRPr lang="en-US" sz="2400"/>
                  </a:p>
                </p:txBody>
              </p:sp>
              <p:sp>
                <p:nvSpPr>
                  <p:cNvPr id="477" name="Freeform: Shape 476">
                    <a:extLst>
                      <a:ext uri="{FF2B5EF4-FFF2-40B4-BE49-F238E27FC236}">
                        <a16:creationId xmlns:a16="http://schemas.microsoft.com/office/drawing/2014/main" id="{58548667-9977-3AB8-E265-731109175838}"/>
                      </a:ext>
                    </a:extLst>
                  </p:cNvPr>
                  <p:cNvSpPr/>
                  <p:nvPr userDrawn="1"/>
                </p:nvSpPr>
                <p:spPr>
                  <a:xfrm>
                    <a:off x="8472174" y="435910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CEEF3"/>
                  </a:solidFill>
                  <a:ln w="2339" cap="flat">
                    <a:noFill/>
                    <a:prstDash val="solid"/>
                    <a:miter/>
                  </a:ln>
                </p:spPr>
                <p:txBody>
                  <a:bodyPr rtlCol="0" anchor="ctr"/>
                  <a:lstStyle/>
                  <a:p>
                    <a:endParaRPr lang="en-US" sz="2400"/>
                  </a:p>
                </p:txBody>
              </p:sp>
              <p:sp>
                <p:nvSpPr>
                  <p:cNvPr id="478" name="Freeform: Shape 477">
                    <a:extLst>
                      <a:ext uri="{FF2B5EF4-FFF2-40B4-BE49-F238E27FC236}">
                        <a16:creationId xmlns:a16="http://schemas.microsoft.com/office/drawing/2014/main" id="{D8B37B86-C294-B3E6-7EFE-C39E4E64C78A}"/>
                      </a:ext>
                    </a:extLst>
                  </p:cNvPr>
                  <p:cNvSpPr/>
                  <p:nvPr userDrawn="1"/>
                </p:nvSpPr>
                <p:spPr>
                  <a:xfrm>
                    <a:off x="8472548" y="435868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CEEF3"/>
                  </a:solidFill>
                  <a:ln w="2339" cap="flat">
                    <a:noFill/>
                    <a:prstDash val="solid"/>
                    <a:miter/>
                  </a:ln>
                </p:spPr>
                <p:txBody>
                  <a:bodyPr rtlCol="0" anchor="ctr"/>
                  <a:lstStyle/>
                  <a:p>
                    <a:endParaRPr lang="en-US" sz="2400"/>
                  </a:p>
                </p:txBody>
              </p:sp>
              <p:sp>
                <p:nvSpPr>
                  <p:cNvPr id="479" name="Freeform: Shape 478">
                    <a:extLst>
                      <a:ext uri="{FF2B5EF4-FFF2-40B4-BE49-F238E27FC236}">
                        <a16:creationId xmlns:a16="http://schemas.microsoft.com/office/drawing/2014/main" id="{63FA0585-AB96-2558-AAEA-E43666FDB139}"/>
                      </a:ext>
                    </a:extLst>
                  </p:cNvPr>
                  <p:cNvSpPr/>
                  <p:nvPr userDrawn="1"/>
                </p:nvSpPr>
                <p:spPr>
                  <a:xfrm>
                    <a:off x="8472922" y="435826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DEEF3"/>
                  </a:solidFill>
                  <a:ln w="2339" cap="flat">
                    <a:noFill/>
                    <a:prstDash val="solid"/>
                    <a:miter/>
                  </a:ln>
                </p:spPr>
                <p:txBody>
                  <a:bodyPr rtlCol="0" anchor="ctr"/>
                  <a:lstStyle/>
                  <a:p>
                    <a:endParaRPr lang="en-US" sz="2400"/>
                  </a:p>
                </p:txBody>
              </p:sp>
              <p:sp>
                <p:nvSpPr>
                  <p:cNvPr id="480" name="Freeform: Shape 479">
                    <a:extLst>
                      <a:ext uri="{FF2B5EF4-FFF2-40B4-BE49-F238E27FC236}">
                        <a16:creationId xmlns:a16="http://schemas.microsoft.com/office/drawing/2014/main" id="{B3623D4A-9484-17C1-671A-5E96175FC962}"/>
                      </a:ext>
                    </a:extLst>
                  </p:cNvPr>
                  <p:cNvSpPr/>
                  <p:nvPr userDrawn="1"/>
                </p:nvSpPr>
                <p:spPr>
                  <a:xfrm>
                    <a:off x="8473297" y="435784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DEFF3"/>
                  </a:solidFill>
                  <a:ln w="2339" cap="flat">
                    <a:noFill/>
                    <a:prstDash val="solid"/>
                    <a:miter/>
                  </a:ln>
                </p:spPr>
                <p:txBody>
                  <a:bodyPr rtlCol="0" anchor="ctr"/>
                  <a:lstStyle/>
                  <a:p>
                    <a:endParaRPr lang="en-US" sz="2400"/>
                  </a:p>
                </p:txBody>
              </p:sp>
              <p:sp>
                <p:nvSpPr>
                  <p:cNvPr id="481" name="Freeform: Shape 480">
                    <a:extLst>
                      <a:ext uri="{FF2B5EF4-FFF2-40B4-BE49-F238E27FC236}">
                        <a16:creationId xmlns:a16="http://schemas.microsoft.com/office/drawing/2014/main" id="{6184D78B-72E1-89BE-E5B5-C9B60B4AD866}"/>
                      </a:ext>
                    </a:extLst>
                  </p:cNvPr>
                  <p:cNvSpPr/>
                  <p:nvPr userDrawn="1"/>
                </p:nvSpPr>
                <p:spPr>
                  <a:xfrm>
                    <a:off x="8473648" y="435741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DEFF3"/>
                  </a:solidFill>
                  <a:ln w="2339" cap="flat">
                    <a:noFill/>
                    <a:prstDash val="solid"/>
                    <a:miter/>
                  </a:ln>
                </p:spPr>
                <p:txBody>
                  <a:bodyPr rtlCol="0" anchor="ctr"/>
                  <a:lstStyle/>
                  <a:p>
                    <a:endParaRPr lang="en-US" sz="2400"/>
                  </a:p>
                </p:txBody>
              </p:sp>
              <p:sp>
                <p:nvSpPr>
                  <p:cNvPr id="482" name="Freeform: Shape 481">
                    <a:extLst>
                      <a:ext uri="{FF2B5EF4-FFF2-40B4-BE49-F238E27FC236}">
                        <a16:creationId xmlns:a16="http://schemas.microsoft.com/office/drawing/2014/main" id="{B8EF9F5E-2FCF-3B26-7E0F-8809322E2285}"/>
                      </a:ext>
                    </a:extLst>
                  </p:cNvPr>
                  <p:cNvSpPr/>
                  <p:nvPr userDrawn="1"/>
                </p:nvSpPr>
                <p:spPr>
                  <a:xfrm>
                    <a:off x="8474022" y="435699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EEFF4"/>
                  </a:solidFill>
                  <a:ln w="2339" cap="flat">
                    <a:noFill/>
                    <a:prstDash val="solid"/>
                    <a:miter/>
                  </a:ln>
                </p:spPr>
                <p:txBody>
                  <a:bodyPr rtlCol="0" anchor="ctr"/>
                  <a:lstStyle/>
                  <a:p>
                    <a:endParaRPr lang="en-US" sz="2400"/>
                  </a:p>
                </p:txBody>
              </p:sp>
              <p:sp>
                <p:nvSpPr>
                  <p:cNvPr id="483" name="Freeform: Shape 482">
                    <a:extLst>
                      <a:ext uri="{FF2B5EF4-FFF2-40B4-BE49-F238E27FC236}">
                        <a16:creationId xmlns:a16="http://schemas.microsoft.com/office/drawing/2014/main" id="{C4BD3F9A-6A9C-C26A-A623-2274961379C5}"/>
                      </a:ext>
                    </a:extLst>
                  </p:cNvPr>
                  <p:cNvSpPr/>
                  <p:nvPr userDrawn="1"/>
                </p:nvSpPr>
                <p:spPr>
                  <a:xfrm>
                    <a:off x="8474373" y="435657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EEFF4"/>
                  </a:solidFill>
                  <a:ln w="2339" cap="flat">
                    <a:noFill/>
                    <a:prstDash val="solid"/>
                    <a:miter/>
                  </a:ln>
                </p:spPr>
                <p:txBody>
                  <a:bodyPr rtlCol="0" anchor="ctr"/>
                  <a:lstStyle/>
                  <a:p>
                    <a:endParaRPr lang="en-US" sz="2400"/>
                  </a:p>
                </p:txBody>
              </p:sp>
              <p:sp>
                <p:nvSpPr>
                  <p:cNvPr id="484" name="Freeform: Shape 483">
                    <a:extLst>
                      <a:ext uri="{FF2B5EF4-FFF2-40B4-BE49-F238E27FC236}">
                        <a16:creationId xmlns:a16="http://schemas.microsoft.com/office/drawing/2014/main" id="{FDA31F23-068A-3123-7341-ADD54CC57F49}"/>
                      </a:ext>
                    </a:extLst>
                  </p:cNvPr>
                  <p:cNvSpPr/>
                  <p:nvPr userDrawn="1"/>
                </p:nvSpPr>
                <p:spPr>
                  <a:xfrm>
                    <a:off x="8474701" y="435617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EF0F4"/>
                  </a:solidFill>
                  <a:ln w="2339" cap="flat">
                    <a:noFill/>
                    <a:prstDash val="solid"/>
                    <a:miter/>
                  </a:ln>
                </p:spPr>
                <p:txBody>
                  <a:bodyPr rtlCol="0" anchor="ctr"/>
                  <a:lstStyle/>
                  <a:p>
                    <a:endParaRPr lang="en-US" sz="2400"/>
                  </a:p>
                </p:txBody>
              </p:sp>
              <p:sp>
                <p:nvSpPr>
                  <p:cNvPr id="485" name="Freeform: Shape 484">
                    <a:extLst>
                      <a:ext uri="{FF2B5EF4-FFF2-40B4-BE49-F238E27FC236}">
                        <a16:creationId xmlns:a16="http://schemas.microsoft.com/office/drawing/2014/main" id="{3F1BD666-B591-A39B-9984-FE10193C8B06}"/>
                      </a:ext>
                    </a:extLst>
                  </p:cNvPr>
                  <p:cNvSpPr/>
                  <p:nvPr userDrawn="1"/>
                </p:nvSpPr>
                <p:spPr>
                  <a:xfrm>
                    <a:off x="8475052" y="435575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EEF0F4"/>
                  </a:solidFill>
                  <a:ln w="2339" cap="flat">
                    <a:noFill/>
                    <a:prstDash val="solid"/>
                    <a:miter/>
                  </a:ln>
                </p:spPr>
                <p:txBody>
                  <a:bodyPr rtlCol="0" anchor="ctr"/>
                  <a:lstStyle/>
                  <a:p>
                    <a:endParaRPr lang="en-US" sz="2400"/>
                  </a:p>
                </p:txBody>
              </p:sp>
              <p:sp>
                <p:nvSpPr>
                  <p:cNvPr id="486" name="Freeform: Shape 485">
                    <a:extLst>
                      <a:ext uri="{FF2B5EF4-FFF2-40B4-BE49-F238E27FC236}">
                        <a16:creationId xmlns:a16="http://schemas.microsoft.com/office/drawing/2014/main" id="{FBF9206A-8191-01E3-47D4-4BD3D23A7349}"/>
                      </a:ext>
                    </a:extLst>
                  </p:cNvPr>
                  <p:cNvSpPr/>
                  <p:nvPr userDrawn="1"/>
                </p:nvSpPr>
                <p:spPr>
                  <a:xfrm>
                    <a:off x="8475379" y="435533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FF0F4"/>
                  </a:solidFill>
                  <a:ln w="2339" cap="flat">
                    <a:noFill/>
                    <a:prstDash val="solid"/>
                    <a:miter/>
                  </a:ln>
                </p:spPr>
                <p:txBody>
                  <a:bodyPr rtlCol="0" anchor="ctr"/>
                  <a:lstStyle/>
                  <a:p>
                    <a:endParaRPr lang="en-US" sz="2400"/>
                  </a:p>
                </p:txBody>
              </p:sp>
              <p:sp>
                <p:nvSpPr>
                  <p:cNvPr id="487" name="Freeform: Shape 486">
                    <a:extLst>
                      <a:ext uri="{FF2B5EF4-FFF2-40B4-BE49-F238E27FC236}">
                        <a16:creationId xmlns:a16="http://schemas.microsoft.com/office/drawing/2014/main" id="{CB295DE9-C87B-BAD4-771A-C20232BD93E6}"/>
                      </a:ext>
                    </a:extLst>
                  </p:cNvPr>
                  <p:cNvSpPr/>
                  <p:nvPr userDrawn="1"/>
                </p:nvSpPr>
                <p:spPr>
                  <a:xfrm>
                    <a:off x="8475707" y="435491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FF1F5"/>
                  </a:solidFill>
                  <a:ln w="2339" cap="flat">
                    <a:noFill/>
                    <a:prstDash val="solid"/>
                    <a:miter/>
                  </a:ln>
                </p:spPr>
                <p:txBody>
                  <a:bodyPr rtlCol="0" anchor="ctr"/>
                  <a:lstStyle/>
                  <a:p>
                    <a:endParaRPr lang="en-US" sz="2400"/>
                  </a:p>
                </p:txBody>
              </p:sp>
              <p:sp>
                <p:nvSpPr>
                  <p:cNvPr id="488" name="Freeform: Shape 487">
                    <a:extLst>
                      <a:ext uri="{FF2B5EF4-FFF2-40B4-BE49-F238E27FC236}">
                        <a16:creationId xmlns:a16="http://schemas.microsoft.com/office/drawing/2014/main" id="{D6F71277-865D-4FFB-7C5E-3C0592BC1182}"/>
                      </a:ext>
                    </a:extLst>
                  </p:cNvPr>
                  <p:cNvSpPr/>
                  <p:nvPr userDrawn="1"/>
                </p:nvSpPr>
                <p:spPr>
                  <a:xfrm>
                    <a:off x="8476035" y="435449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FF1F5"/>
                  </a:solidFill>
                  <a:ln w="2339" cap="flat">
                    <a:noFill/>
                    <a:prstDash val="solid"/>
                    <a:miter/>
                  </a:ln>
                </p:spPr>
                <p:txBody>
                  <a:bodyPr rtlCol="0" anchor="ctr"/>
                  <a:lstStyle/>
                  <a:p>
                    <a:endParaRPr lang="en-US" sz="2400"/>
                  </a:p>
                </p:txBody>
              </p:sp>
              <p:sp>
                <p:nvSpPr>
                  <p:cNvPr id="489" name="Freeform: Shape 488">
                    <a:extLst>
                      <a:ext uri="{FF2B5EF4-FFF2-40B4-BE49-F238E27FC236}">
                        <a16:creationId xmlns:a16="http://schemas.microsoft.com/office/drawing/2014/main" id="{08514A47-CF59-8A0D-BCCE-6C457FE453C6}"/>
                      </a:ext>
                    </a:extLst>
                  </p:cNvPr>
                  <p:cNvSpPr/>
                  <p:nvPr userDrawn="1"/>
                </p:nvSpPr>
                <p:spPr>
                  <a:xfrm>
                    <a:off x="8476339" y="435407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F0F1F5"/>
                  </a:solidFill>
                  <a:ln w="2339" cap="flat">
                    <a:noFill/>
                    <a:prstDash val="solid"/>
                    <a:miter/>
                  </a:ln>
                </p:spPr>
                <p:txBody>
                  <a:bodyPr rtlCol="0" anchor="ctr"/>
                  <a:lstStyle/>
                  <a:p>
                    <a:endParaRPr lang="en-US" sz="2400"/>
                  </a:p>
                </p:txBody>
              </p:sp>
              <p:sp>
                <p:nvSpPr>
                  <p:cNvPr id="490" name="Freeform: Shape 489">
                    <a:extLst>
                      <a:ext uri="{FF2B5EF4-FFF2-40B4-BE49-F238E27FC236}">
                        <a16:creationId xmlns:a16="http://schemas.microsoft.com/office/drawing/2014/main" id="{7B1D977D-B0ED-D46D-AAC1-E5F46EE8EA6C}"/>
                      </a:ext>
                    </a:extLst>
                  </p:cNvPr>
                  <p:cNvSpPr/>
                  <p:nvPr userDrawn="1"/>
                </p:nvSpPr>
                <p:spPr>
                  <a:xfrm>
                    <a:off x="8476666" y="435365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F0F1F5"/>
                  </a:solidFill>
                  <a:ln w="2339" cap="flat">
                    <a:noFill/>
                    <a:prstDash val="solid"/>
                    <a:miter/>
                  </a:ln>
                </p:spPr>
                <p:txBody>
                  <a:bodyPr rtlCol="0" anchor="ctr"/>
                  <a:lstStyle/>
                  <a:p>
                    <a:endParaRPr lang="en-US" sz="2400"/>
                  </a:p>
                </p:txBody>
              </p:sp>
              <p:sp>
                <p:nvSpPr>
                  <p:cNvPr id="491" name="Freeform: Shape 490">
                    <a:extLst>
                      <a:ext uri="{FF2B5EF4-FFF2-40B4-BE49-F238E27FC236}">
                        <a16:creationId xmlns:a16="http://schemas.microsoft.com/office/drawing/2014/main" id="{4D8418E9-DEE1-9260-93B8-B2C8D826FF8D}"/>
                      </a:ext>
                    </a:extLst>
                  </p:cNvPr>
                  <p:cNvSpPr/>
                  <p:nvPr userDrawn="1"/>
                </p:nvSpPr>
                <p:spPr>
                  <a:xfrm>
                    <a:off x="8476971" y="435323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F0F2F5"/>
                  </a:solidFill>
                  <a:ln w="2339" cap="flat">
                    <a:noFill/>
                    <a:prstDash val="solid"/>
                    <a:miter/>
                  </a:ln>
                </p:spPr>
                <p:txBody>
                  <a:bodyPr rtlCol="0" anchor="ctr"/>
                  <a:lstStyle/>
                  <a:p>
                    <a:endParaRPr lang="en-US" sz="2400"/>
                  </a:p>
                </p:txBody>
              </p:sp>
              <p:sp>
                <p:nvSpPr>
                  <p:cNvPr id="492" name="Freeform: Shape 491">
                    <a:extLst>
                      <a:ext uri="{FF2B5EF4-FFF2-40B4-BE49-F238E27FC236}">
                        <a16:creationId xmlns:a16="http://schemas.microsoft.com/office/drawing/2014/main" id="{061E7564-7133-3961-176E-DBDC9D15BA96}"/>
                      </a:ext>
                    </a:extLst>
                  </p:cNvPr>
                  <p:cNvSpPr/>
                  <p:nvPr userDrawn="1"/>
                </p:nvSpPr>
                <p:spPr>
                  <a:xfrm>
                    <a:off x="8477275" y="435280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F1F2F6"/>
                  </a:solidFill>
                  <a:ln w="2339" cap="flat">
                    <a:noFill/>
                    <a:prstDash val="solid"/>
                    <a:miter/>
                  </a:ln>
                </p:spPr>
                <p:txBody>
                  <a:bodyPr rtlCol="0" anchor="ctr"/>
                  <a:lstStyle/>
                  <a:p>
                    <a:endParaRPr lang="en-US" sz="2400"/>
                  </a:p>
                </p:txBody>
              </p:sp>
              <p:sp>
                <p:nvSpPr>
                  <p:cNvPr id="493" name="Freeform: Shape 492">
                    <a:extLst>
                      <a:ext uri="{FF2B5EF4-FFF2-40B4-BE49-F238E27FC236}">
                        <a16:creationId xmlns:a16="http://schemas.microsoft.com/office/drawing/2014/main" id="{90952968-018A-26DB-A37B-62FDA805B0FB}"/>
                      </a:ext>
                    </a:extLst>
                  </p:cNvPr>
                  <p:cNvSpPr/>
                  <p:nvPr userDrawn="1"/>
                </p:nvSpPr>
                <p:spPr>
                  <a:xfrm>
                    <a:off x="8477556" y="435238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F1F2F6"/>
                  </a:solidFill>
                  <a:ln w="2339" cap="flat">
                    <a:noFill/>
                    <a:prstDash val="solid"/>
                    <a:miter/>
                  </a:ln>
                </p:spPr>
                <p:txBody>
                  <a:bodyPr rtlCol="0" anchor="ctr"/>
                  <a:lstStyle/>
                  <a:p>
                    <a:endParaRPr lang="en-US" sz="2400"/>
                  </a:p>
                </p:txBody>
              </p:sp>
              <p:sp>
                <p:nvSpPr>
                  <p:cNvPr id="494" name="Freeform: Shape 493">
                    <a:extLst>
                      <a:ext uri="{FF2B5EF4-FFF2-40B4-BE49-F238E27FC236}">
                        <a16:creationId xmlns:a16="http://schemas.microsoft.com/office/drawing/2014/main" id="{65421C63-4B19-145A-63F8-9FB1B3B20A24}"/>
                      </a:ext>
                    </a:extLst>
                  </p:cNvPr>
                  <p:cNvSpPr/>
                  <p:nvPr userDrawn="1"/>
                </p:nvSpPr>
                <p:spPr>
                  <a:xfrm>
                    <a:off x="8477860" y="435196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F1F2F6"/>
                  </a:solidFill>
                  <a:ln w="2339" cap="flat">
                    <a:noFill/>
                    <a:prstDash val="solid"/>
                    <a:miter/>
                  </a:ln>
                </p:spPr>
                <p:txBody>
                  <a:bodyPr rtlCol="0" anchor="ctr"/>
                  <a:lstStyle/>
                  <a:p>
                    <a:endParaRPr lang="en-US" sz="2400"/>
                  </a:p>
                </p:txBody>
              </p:sp>
              <p:sp>
                <p:nvSpPr>
                  <p:cNvPr id="495" name="Freeform: Shape 494">
                    <a:extLst>
                      <a:ext uri="{FF2B5EF4-FFF2-40B4-BE49-F238E27FC236}">
                        <a16:creationId xmlns:a16="http://schemas.microsoft.com/office/drawing/2014/main" id="{DFEB6E37-D2F7-111F-20EC-10FBE28FEAF5}"/>
                      </a:ext>
                    </a:extLst>
                  </p:cNvPr>
                  <p:cNvSpPr/>
                  <p:nvPr userDrawn="1"/>
                </p:nvSpPr>
                <p:spPr>
                  <a:xfrm>
                    <a:off x="8478141" y="435154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F2F3F6"/>
                  </a:solidFill>
                  <a:ln w="2339" cap="flat">
                    <a:noFill/>
                    <a:prstDash val="solid"/>
                    <a:miter/>
                  </a:ln>
                </p:spPr>
                <p:txBody>
                  <a:bodyPr rtlCol="0" anchor="ctr"/>
                  <a:lstStyle/>
                  <a:p>
                    <a:endParaRPr lang="en-US" sz="2400"/>
                  </a:p>
                </p:txBody>
              </p:sp>
              <p:sp>
                <p:nvSpPr>
                  <p:cNvPr id="496" name="Freeform: Shape 495">
                    <a:extLst>
                      <a:ext uri="{FF2B5EF4-FFF2-40B4-BE49-F238E27FC236}">
                        <a16:creationId xmlns:a16="http://schemas.microsoft.com/office/drawing/2014/main" id="{1A9F2A73-ED66-13D6-7B17-67D9E1BB3BF4}"/>
                      </a:ext>
                    </a:extLst>
                  </p:cNvPr>
                  <p:cNvSpPr/>
                  <p:nvPr userDrawn="1"/>
                </p:nvSpPr>
                <p:spPr>
                  <a:xfrm>
                    <a:off x="8478421" y="435112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F2F3F6"/>
                  </a:solidFill>
                  <a:ln w="2339" cap="flat">
                    <a:noFill/>
                    <a:prstDash val="solid"/>
                    <a:miter/>
                  </a:ln>
                </p:spPr>
                <p:txBody>
                  <a:bodyPr rtlCol="0" anchor="ctr"/>
                  <a:lstStyle/>
                  <a:p>
                    <a:endParaRPr lang="en-US" sz="2400"/>
                  </a:p>
                </p:txBody>
              </p:sp>
              <p:sp>
                <p:nvSpPr>
                  <p:cNvPr id="497" name="Freeform: Shape 496">
                    <a:extLst>
                      <a:ext uri="{FF2B5EF4-FFF2-40B4-BE49-F238E27FC236}">
                        <a16:creationId xmlns:a16="http://schemas.microsoft.com/office/drawing/2014/main" id="{8DB49F88-DB19-DB74-51A3-288822C239CC}"/>
                      </a:ext>
                    </a:extLst>
                  </p:cNvPr>
                  <p:cNvSpPr/>
                  <p:nvPr userDrawn="1"/>
                </p:nvSpPr>
                <p:spPr>
                  <a:xfrm>
                    <a:off x="8478702" y="435070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F2F3F7"/>
                  </a:solidFill>
                  <a:ln w="2339" cap="flat">
                    <a:noFill/>
                    <a:prstDash val="solid"/>
                    <a:miter/>
                  </a:ln>
                </p:spPr>
                <p:txBody>
                  <a:bodyPr rtlCol="0" anchor="ctr"/>
                  <a:lstStyle/>
                  <a:p>
                    <a:endParaRPr lang="en-US" sz="2400"/>
                  </a:p>
                </p:txBody>
              </p:sp>
              <p:sp>
                <p:nvSpPr>
                  <p:cNvPr id="498" name="Freeform: Shape 497">
                    <a:extLst>
                      <a:ext uri="{FF2B5EF4-FFF2-40B4-BE49-F238E27FC236}">
                        <a16:creationId xmlns:a16="http://schemas.microsoft.com/office/drawing/2014/main" id="{57BF51F9-57BD-EB5E-7F8F-BC6C46B49679}"/>
                      </a:ext>
                    </a:extLst>
                  </p:cNvPr>
                  <p:cNvSpPr/>
                  <p:nvPr userDrawn="1"/>
                </p:nvSpPr>
                <p:spPr>
                  <a:xfrm>
                    <a:off x="8478960" y="435028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F2F4F7"/>
                  </a:solidFill>
                  <a:ln w="2339" cap="flat">
                    <a:noFill/>
                    <a:prstDash val="solid"/>
                    <a:miter/>
                  </a:ln>
                </p:spPr>
                <p:txBody>
                  <a:bodyPr rtlCol="0" anchor="ctr"/>
                  <a:lstStyle/>
                  <a:p>
                    <a:endParaRPr lang="en-US" sz="2400"/>
                  </a:p>
                </p:txBody>
              </p:sp>
              <p:sp>
                <p:nvSpPr>
                  <p:cNvPr id="499" name="Freeform: Shape 498">
                    <a:extLst>
                      <a:ext uri="{FF2B5EF4-FFF2-40B4-BE49-F238E27FC236}">
                        <a16:creationId xmlns:a16="http://schemas.microsoft.com/office/drawing/2014/main" id="{85E80ECF-071A-FEE0-7561-F383C856454C}"/>
                      </a:ext>
                    </a:extLst>
                  </p:cNvPr>
                  <p:cNvSpPr/>
                  <p:nvPr userDrawn="1"/>
                </p:nvSpPr>
                <p:spPr>
                  <a:xfrm>
                    <a:off x="8479217" y="4349860"/>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3F4F7"/>
                  </a:solidFill>
                  <a:ln w="2339" cap="flat">
                    <a:noFill/>
                    <a:prstDash val="solid"/>
                    <a:miter/>
                  </a:ln>
                </p:spPr>
                <p:txBody>
                  <a:bodyPr rtlCol="0" anchor="ctr"/>
                  <a:lstStyle/>
                  <a:p>
                    <a:endParaRPr lang="en-US" sz="2400"/>
                  </a:p>
                </p:txBody>
              </p:sp>
              <p:sp>
                <p:nvSpPr>
                  <p:cNvPr id="500" name="Freeform: Shape 499">
                    <a:extLst>
                      <a:ext uri="{FF2B5EF4-FFF2-40B4-BE49-F238E27FC236}">
                        <a16:creationId xmlns:a16="http://schemas.microsoft.com/office/drawing/2014/main" id="{C3E1A6A1-FD99-04F1-509A-008AB380F268}"/>
                      </a:ext>
                    </a:extLst>
                  </p:cNvPr>
                  <p:cNvSpPr/>
                  <p:nvPr userDrawn="1"/>
                </p:nvSpPr>
                <p:spPr>
                  <a:xfrm>
                    <a:off x="8479474" y="4349439"/>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3F4F7"/>
                  </a:solidFill>
                  <a:ln w="2339" cap="flat">
                    <a:noFill/>
                    <a:prstDash val="solid"/>
                    <a:miter/>
                  </a:ln>
                </p:spPr>
                <p:txBody>
                  <a:bodyPr rtlCol="0" anchor="ctr"/>
                  <a:lstStyle/>
                  <a:p>
                    <a:endParaRPr lang="en-US" sz="2400"/>
                  </a:p>
                </p:txBody>
              </p:sp>
              <p:sp>
                <p:nvSpPr>
                  <p:cNvPr id="501" name="Freeform: Shape 500">
                    <a:extLst>
                      <a:ext uri="{FF2B5EF4-FFF2-40B4-BE49-F238E27FC236}">
                        <a16:creationId xmlns:a16="http://schemas.microsoft.com/office/drawing/2014/main" id="{44465A16-0DE6-19E2-8BB4-46EE8C85CE4B}"/>
                      </a:ext>
                    </a:extLst>
                  </p:cNvPr>
                  <p:cNvSpPr/>
                  <p:nvPr userDrawn="1"/>
                </p:nvSpPr>
                <p:spPr>
                  <a:xfrm>
                    <a:off x="8479732" y="4349018"/>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3F4F7"/>
                  </a:solidFill>
                  <a:ln w="2339" cap="flat">
                    <a:noFill/>
                    <a:prstDash val="solid"/>
                    <a:miter/>
                  </a:ln>
                </p:spPr>
                <p:txBody>
                  <a:bodyPr rtlCol="0" anchor="ctr"/>
                  <a:lstStyle/>
                  <a:p>
                    <a:endParaRPr lang="en-US" sz="2400"/>
                  </a:p>
                </p:txBody>
              </p:sp>
              <p:sp>
                <p:nvSpPr>
                  <p:cNvPr id="502" name="Freeform: Shape 501">
                    <a:extLst>
                      <a:ext uri="{FF2B5EF4-FFF2-40B4-BE49-F238E27FC236}">
                        <a16:creationId xmlns:a16="http://schemas.microsoft.com/office/drawing/2014/main" id="{A68C4C43-AED1-EAE1-BA47-2D86294D42F4}"/>
                      </a:ext>
                    </a:extLst>
                  </p:cNvPr>
                  <p:cNvSpPr/>
                  <p:nvPr userDrawn="1"/>
                </p:nvSpPr>
                <p:spPr>
                  <a:xfrm>
                    <a:off x="8479989" y="4348597"/>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4F5F8"/>
                  </a:solidFill>
                  <a:ln w="2339" cap="flat">
                    <a:noFill/>
                    <a:prstDash val="solid"/>
                    <a:miter/>
                  </a:ln>
                </p:spPr>
                <p:txBody>
                  <a:bodyPr rtlCol="0" anchor="ctr"/>
                  <a:lstStyle/>
                  <a:p>
                    <a:endParaRPr lang="en-US" sz="2400"/>
                  </a:p>
                </p:txBody>
              </p:sp>
              <p:sp>
                <p:nvSpPr>
                  <p:cNvPr id="503" name="Freeform: Shape 502">
                    <a:extLst>
                      <a:ext uri="{FF2B5EF4-FFF2-40B4-BE49-F238E27FC236}">
                        <a16:creationId xmlns:a16="http://schemas.microsoft.com/office/drawing/2014/main" id="{81DC80D6-F0D8-2674-09D6-5A6AD902FADE}"/>
                      </a:ext>
                    </a:extLst>
                  </p:cNvPr>
                  <p:cNvSpPr/>
                  <p:nvPr userDrawn="1"/>
                </p:nvSpPr>
                <p:spPr>
                  <a:xfrm>
                    <a:off x="8480223" y="4348175"/>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4F5F8"/>
                  </a:solidFill>
                  <a:ln w="2339" cap="flat">
                    <a:noFill/>
                    <a:prstDash val="solid"/>
                    <a:miter/>
                  </a:ln>
                </p:spPr>
                <p:txBody>
                  <a:bodyPr rtlCol="0" anchor="ctr"/>
                  <a:lstStyle/>
                  <a:p>
                    <a:endParaRPr lang="en-US" sz="2400"/>
                  </a:p>
                </p:txBody>
              </p:sp>
              <p:sp>
                <p:nvSpPr>
                  <p:cNvPr id="504" name="Freeform: Shape 503">
                    <a:extLst>
                      <a:ext uri="{FF2B5EF4-FFF2-40B4-BE49-F238E27FC236}">
                        <a16:creationId xmlns:a16="http://schemas.microsoft.com/office/drawing/2014/main" id="{40B039AD-DBF7-C720-518F-198E97434FE9}"/>
                      </a:ext>
                    </a:extLst>
                  </p:cNvPr>
                  <p:cNvSpPr/>
                  <p:nvPr userDrawn="1"/>
                </p:nvSpPr>
                <p:spPr>
                  <a:xfrm>
                    <a:off x="8480457" y="4347754"/>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4F5F8"/>
                  </a:solidFill>
                  <a:ln w="2339" cap="flat">
                    <a:noFill/>
                    <a:prstDash val="solid"/>
                    <a:miter/>
                  </a:ln>
                </p:spPr>
                <p:txBody>
                  <a:bodyPr rtlCol="0" anchor="ctr"/>
                  <a:lstStyle/>
                  <a:p>
                    <a:endParaRPr lang="en-US" sz="2400"/>
                  </a:p>
                </p:txBody>
              </p:sp>
              <p:sp>
                <p:nvSpPr>
                  <p:cNvPr id="505" name="Freeform: Shape 504">
                    <a:extLst>
                      <a:ext uri="{FF2B5EF4-FFF2-40B4-BE49-F238E27FC236}">
                        <a16:creationId xmlns:a16="http://schemas.microsoft.com/office/drawing/2014/main" id="{C1F6AE39-9D46-8F61-FA42-32A21D6D11FA}"/>
                      </a:ext>
                    </a:extLst>
                  </p:cNvPr>
                  <p:cNvSpPr/>
                  <p:nvPr userDrawn="1"/>
                </p:nvSpPr>
                <p:spPr>
                  <a:xfrm>
                    <a:off x="8480691" y="4347356"/>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5F6F8"/>
                  </a:solidFill>
                  <a:ln w="2339" cap="flat">
                    <a:noFill/>
                    <a:prstDash val="solid"/>
                    <a:miter/>
                  </a:ln>
                </p:spPr>
                <p:txBody>
                  <a:bodyPr rtlCol="0" anchor="ctr"/>
                  <a:lstStyle/>
                  <a:p>
                    <a:endParaRPr lang="en-US" sz="2400"/>
                  </a:p>
                </p:txBody>
              </p:sp>
              <p:sp>
                <p:nvSpPr>
                  <p:cNvPr id="506" name="Freeform: Shape 505">
                    <a:extLst>
                      <a:ext uri="{FF2B5EF4-FFF2-40B4-BE49-F238E27FC236}">
                        <a16:creationId xmlns:a16="http://schemas.microsoft.com/office/drawing/2014/main" id="{50DBDBC9-2F58-F2B9-5462-78292D76F4FD}"/>
                      </a:ext>
                    </a:extLst>
                  </p:cNvPr>
                  <p:cNvSpPr/>
                  <p:nvPr userDrawn="1"/>
                </p:nvSpPr>
                <p:spPr>
                  <a:xfrm>
                    <a:off x="8480902" y="4346935"/>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74"/>
                          <a:pt x="0" y="32667"/>
                          <a:pt x="0" y="21037"/>
                        </a:cubicBezTo>
                        <a:close/>
                      </a:path>
                    </a:pathLst>
                  </a:custGeom>
                  <a:solidFill>
                    <a:srgbClr val="F5F6F8"/>
                  </a:solidFill>
                  <a:ln w="2339" cap="flat">
                    <a:noFill/>
                    <a:prstDash val="solid"/>
                    <a:miter/>
                  </a:ln>
                </p:spPr>
                <p:txBody>
                  <a:bodyPr rtlCol="0" anchor="ctr"/>
                  <a:lstStyle/>
                  <a:p>
                    <a:endParaRPr lang="en-US" sz="2400"/>
                  </a:p>
                </p:txBody>
              </p:sp>
              <p:sp>
                <p:nvSpPr>
                  <p:cNvPr id="507" name="Freeform: Shape 506">
                    <a:extLst>
                      <a:ext uri="{FF2B5EF4-FFF2-40B4-BE49-F238E27FC236}">
                        <a16:creationId xmlns:a16="http://schemas.microsoft.com/office/drawing/2014/main" id="{8008055E-6D4A-BFC4-A1E8-57038731439B}"/>
                      </a:ext>
                    </a:extLst>
                  </p:cNvPr>
                  <p:cNvSpPr/>
                  <p:nvPr userDrawn="1"/>
                </p:nvSpPr>
                <p:spPr>
                  <a:xfrm>
                    <a:off x="8481136" y="4346514"/>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5F6F9"/>
                  </a:solidFill>
                  <a:ln w="2339" cap="flat">
                    <a:noFill/>
                    <a:prstDash val="solid"/>
                    <a:miter/>
                  </a:ln>
                </p:spPr>
                <p:txBody>
                  <a:bodyPr rtlCol="0" anchor="ctr"/>
                  <a:lstStyle/>
                  <a:p>
                    <a:endParaRPr lang="en-US" sz="2400"/>
                  </a:p>
                </p:txBody>
              </p:sp>
              <p:sp>
                <p:nvSpPr>
                  <p:cNvPr id="508" name="Freeform: Shape 507">
                    <a:extLst>
                      <a:ext uri="{FF2B5EF4-FFF2-40B4-BE49-F238E27FC236}">
                        <a16:creationId xmlns:a16="http://schemas.microsoft.com/office/drawing/2014/main" id="{4B620994-125C-DC0D-46C4-5D772568290B}"/>
                      </a:ext>
                    </a:extLst>
                  </p:cNvPr>
                  <p:cNvSpPr/>
                  <p:nvPr userDrawn="1"/>
                </p:nvSpPr>
                <p:spPr>
                  <a:xfrm>
                    <a:off x="8481346" y="4346093"/>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6F6F9"/>
                  </a:solidFill>
                  <a:ln w="2339" cap="flat">
                    <a:noFill/>
                    <a:prstDash val="solid"/>
                    <a:miter/>
                  </a:ln>
                </p:spPr>
                <p:txBody>
                  <a:bodyPr rtlCol="0" anchor="ctr"/>
                  <a:lstStyle/>
                  <a:p>
                    <a:endParaRPr lang="en-US" sz="2400"/>
                  </a:p>
                </p:txBody>
              </p:sp>
              <p:sp>
                <p:nvSpPr>
                  <p:cNvPr id="509" name="Freeform: Shape 508">
                    <a:extLst>
                      <a:ext uri="{FF2B5EF4-FFF2-40B4-BE49-F238E27FC236}">
                        <a16:creationId xmlns:a16="http://schemas.microsoft.com/office/drawing/2014/main" id="{4E1814A7-DB36-F77A-6217-3A5BEB74932A}"/>
                      </a:ext>
                    </a:extLst>
                  </p:cNvPr>
                  <p:cNvSpPr/>
                  <p:nvPr userDrawn="1"/>
                </p:nvSpPr>
                <p:spPr>
                  <a:xfrm>
                    <a:off x="8481557" y="4345671"/>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6F7F9"/>
                  </a:solidFill>
                  <a:ln w="2339" cap="flat">
                    <a:noFill/>
                    <a:prstDash val="solid"/>
                    <a:miter/>
                  </a:ln>
                </p:spPr>
                <p:txBody>
                  <a:bodyPr rtlCol="0" anchor="ctr"/>
                  <a:lstStyle/>
                  <a:p>
                    <a:endParaRPr lang="en-US" sz="2400"/>
                  </a:p>
                </p:txBody>
              </p:sp>
              <p:sp>
                <p:nvSpPr>
                  <p:cNvPr id="510" name="Freeform: Shape 509">
                    <a:extLst>
                      <a:ext uri="{FF2B5EF4-FFF2-40B4-BE49-F238E27FC236}">
                        <a16:creationId xmlns:a16="http://schemas.microsoft.com/office/drawing/2014/main" id="{6E5A64D5-C306-5A2F-AA37-8A7878F67681}"/>
                      </a:ext>
                    </a:extLst>
                  </p:cNvPr>
                  <p:cNvSpPr/>
                  <p:nvPr userDrawn="1"/>
                </p:nvSpPr>
                <p:spPr>
                  <a:xfrm>
                    <a:off x="8481744" y="4345250"/>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6F7F9"/>
                  </a:solidFill>
                  <a:ln w="2339" cap="flat">
                    <a:noFill/>
                    <a:prstDash val="solid"/>
                    <a:miter/>
                  </a:ln>
                </p:spPr>
                <p:txBody>
                  <a:bodyPr rtlCol="0" anchor="ctr"/>
                  <a:lstStyle/>
                  <a:p>
                    <a:endParaRPr lang="en-US" sz="2400"/>
                  </a:p>
                </p:txBody>
              </p:sp>
              <p:sp>
                <p:nvSpPr>
                  <p:cNvPr id="511" name="Freeform: Shape 510">
                    <a:extLst>
                      <a:ext uri="{FF2B5EF4-FFF2-40B4-BE49-F238E27FC236}">
                        <a16:creationId xmlns:a16="http://schemas.microsoft.com/office/drawing/2014/main" id="{45592199-A2D4-BD33-AC8E-A5766B3E8DC9}"/>
                      </a:ext>
                    </a:extLst>
                  </p:cNvPr>
                  <p:cNvSpPr/>
                  <p:nvPr userDrawn="1"/>
                </p:nvSpPr>
                <p:spPr>
                  <a:xfrm>
                    <a:off x="8481955" y="4344829"/>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6F7F9"/>
                  </a:solidFill>
                  <a:ln w="2339" cap="flat">
                    <a:noFill/>
                    <a:prstDash val="solid"/>
                    <a:miter/>
                  </a:ln>
                </p:spPr>
                <p:txBody>
                  <a:bodyPr rtlCol="0" anchor="ctr"/>
                  <a:lstStyle/>
                  <a:p>
                    <a:endParaRPr lang="en-US" sz="2400"/>
                  </a:p>
                </p:txBody>
              </p:sp>
              <p:sp>
                <p:nvSpPr>
                  <p:cNvPr id="512" name="Freeform: Shape 511">
                    <a:extLst>
                      <a:ext uri="{FF2B5EF4-FFF2-40B4-BE49-F238E27FC236}">
                        <a16:creationId xmlns:a16="http://schemas.microsoft.com/office/drawing/2014/main" id="{91AF4F22-D7E2-8A12-3068-3ACD7BA5035B}"/>
                      </a:ext>
                    </a:extLst>
                  </p:cNvPr>
                  <p:cNvSpPr/>
                  <p:nvPr userDrawn="1"/>
                </p:nvSpPr>
                <p:spPr>
                  <a:xfrm>
                    <a:off x="8482142" y="4344408"/>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7F7FA"/>
                  </a:solidFill>
                  <a:ln w="2339" cap="flat">
                    <a:noFill/>
                    <a:prstDash val="solid"/>
                    <a:miter/>
                  </a:ln>
                </p:spPr>
                <p:txBody>
                  <a:bodyPr rtlCol="0" anchor="ctr"/>
                  <a:lstStyle/>
                  <a:p>
                    <a:endParaRPr lang="en-US" sz="2400"/>
                  </a:p>
                </p:txBody>
              </p:sp>
              <p:sp>
                <p:nvSpPr>
                  <p:cNvPr id="513" name="Freeform: Shape 512">
                    <a:extLst>
                      <a:ext uri="{FF2B5EF4-FFF2-40B4-BE49-F238E27FC236}">
                        <a16:creationId xmlns:a16="http://schemas.microsoft.com/office/drawing/2014/main" id="{645606EB-9C13-A0A3-7CFC-29EE9CA0635A}"/>
                      </a:ext>
                    </a:extLst>
                  </p:cNvPr>
                  <p:cNvSpPr/>
                  <p:nvPr userDrawn="1"/>
                </p:nvSpPr>
                <p:spPr>
                  <a:xfrm>
                    <a:off x="8482329" y="4343987"/>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7F8FA"/>
                  </a:solidFill>
                  <a:ln w="2339" cap="flat">
                    <a:noFill/>
                    <a:prstDash val="solid"/>
                    <a:miter/>
                  </a:ln>
                </p:spPr>
                <p:txBody>
                  <a:bodyPr rtlCol="0" anchor="ctr"/>
                  <a:lstStyle/>
                  <a:p>
                    <a:endParaRPr lang="en-US" sz="2400"/>
                  </a:p>
                </p:txBody>
              </p:sp>
              <p:sp>
                <p:nvSpPr>
                  <p:cNvPr id="514" name="Freeform: Shape 513">
                    <a:extLst>
                      <a:ext uri="{FF2B5EF4-FFF2-40B4-BE49-F238E27FC236}">
                        <a16:creationId xmlns:a16="http://schemas.microsoft.com/office/drawing/2014/main" id="{8EAD7349-35F2-26F6-9D25-EB0801AF227D}"/>
                      </a:ext>
                    </a:extLst>
                  </p:cNvPr>
                  <p:cNvSpPr/>
                  <p:nvPr userDrawn="1"/>
                </p:nvSpPr>
                <p:spPr>
                  <a:xfrm>
                    <a:off x="8482517" y="4343565"/>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7F8FA"/>
                  </a:solidFill>
                  <a:ln w="2339" cap="flat">
                    <a:noFill/>
                    <a:prstDash val="solid"/>
                    <a:miter/>
                  </a:ln>
                </p:spPr>
                <p:txBody>
                  <a:bodyPr rtlCol="0" anchor="ctr"/>
                  <a:lstStyle/>
                  <a:p>
                    <a:endParaRPr lang="en-US" sz="2400"/>
                  </a:p>
                </p:txBody>
              </p:sp>
              <p:sp>
                <p:nvSpPr>
                  <p:cNvPr id="515" name="Freeform: Shape 514">
                    <a:extLst>
                      <a:ext uri="{FF2B5EF4-FFF2-40B4-BE49-F238E27FC236}">
                        <a16:creationId xmlns:a16="http://schemas.microsoft.com/office/drawing/2014/main" id="{6AF2DAF3-F5E0-4A24-2DE2-3E9DDA8B6E0D}"/>
                      </a:ext>
                    </a:extLst>
                  </p:cNvPr>
                  <p:cNvSpPr/>
                  <p:nvPr userDrawn="1"/>
                </p:nvSpPr>
                <p:spPr>
                  <a:xfrm>
                    <a:off x="8482680" y="4343144"/>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8F8FA"/>
                  </a:solidFill>
                  <a:ln w="2339" cap="flat">
                    <a:noFill/>
                    <a:prstDash val="solid"/>
                    <a:miter/>
                  </a:ln>
                </p:spPr>
                <p:txBody>
                  <a:bodyPr rtlCol="0" anchor="ctr"/>
                  <a:lstStyle/>
                  <a:p>
                    <a:endParaRPr lang="en-US" sz="2400"/>
                  </a:p>
                </p:txBody>
              </p:sp>
              <p:sp>
                <p:nvSpPr>
                  <p:cNvPr id="516" name="Freeform: Shape 515">
                    <a:extLst>
                      <a:ext uri="{FF2B5EF4-FFF2-40B4-BE49-F238E27FC236}">
                        <a16:creationId xmlns:a16="http://schemas.microsoft.com/office/drawing/2014/main" id="{C494E497-1FA6-C87D-0510-DE5CBEB3DE49}"/>
                      </a:ext>
                    </a:extLst>
                  </p:cNvPr>
                  <p:cNvSpPr/>
                  <p:nvPr userDrawn="1"/>
                </p:nvSpPr>
                <p:spPr>
                  <a:xfrm>
                    <a:off x="8482844" y="4342723"/>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90"/>
                          <a:pt x="0" y="21037"/>
                        </a:cubicBezTo>
                        <a:close/>
                      </a:path>
                    </a:pathLst>
                  </a:custGeom>
                  <a:solidFill>
                    <a:srgbClr val="F8F9FA"/>
                  </a:solidFill>
                  <a:ln w="2339" cap="flat">
                    <a:noFill/>
                    <a:prstDash val="solid"/>
                    <a:miter/>
                  </a:ln>
                </p:spPr>
                <p:txBody>
                  <a:bodyPr rtlCol="0" anchor="ctr"/>
                  <a:lstStyle/>
                  <a:p>
                    <a:endParaRPr lang="en-US" sz="2400"/>
                  </a:p>
                </p:txBody>
              </p:sp>
              <p:sp>
                <p:nvSpPr>
                  <p:cNvPr id="517" name="Freeform: Shape 516">
                    <a:extLst>
                      <a:ext uri="{FF2B5EF4-FFF2-40B4-BE49-F238E27FC236}">
                        <a16:creationId xmlns:a16="http://schemas.microsoft.com/office/drawing/2014/main" id="{CD6A2D30-14FA-BA6B-7A70-5756B501CA4D}"/>
                      </a:ext>
                    </a:extLst>
                  </p:cNvPr>
                  <p:cNvSpPr/>
                  <p:nvPr userDrawn="1"/>
                </p:nvSpPr>
                <p:spPr>
                  <a:xfrm>
                    <a:off x="8483008" y="4342325"/>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74"/>
                          <a:pt x="0" y="32667"/>
                          <a:pt x="0" y="21037"/>
                        </a:cubicBezTo>
                        <a:close/>
                      </a:path>
                    </a:pathLst>
                  </a:custGeom>
                  <a:solidFill>
                    <a:srgbClr val="F8F9FB"/>
                  </a:solidFill>
                  <a:ln w="2339" cap="flat">
                    <a:noFill/>
                    <a:prstDash val="solid"/>
                    <a:miter/>
                  </a:ln>
                </p:spPr>
                <p:txBody>
                  <a:bodyPr rtlCol="0" anchor="ctr"/>
                  <a:lstStyle/>
                  <a:p>
                    <a:endParaRPr lang="en-US" sz="2400"/>
                  </a:p>
                </p:txBody>
              </p:sp>
              <p:sp>
                <p:nvSpPr>
                  <p:cNvPr id="518" name="Freeform: Shape 517">
                    <a:extLst>
                      <a:ext uri="{FF2B5EF4-FFF2-40B4-BE49-F238E27FC236}">
                        <a16:creationId xmlns:a16="http://schemas.microsoft.com/office/drawing/2014/main" id="{1B1DE95B-671C-DE0B-789A-8B7651EDE9A9}"/>
                      </a:ext>
                    </a:extLst>
                  </p:cNvPr>
                  <p:cNvSpPr/>
                  <p:nvPr userDrawn="1"/>
                </p:nvSpPr>
                <p:spPr>
                  <a:xfrm>
                    <a:off x="8483172" y="4341904"/>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9F9FB"/>
                  </a:solidFill>
                  <a:ln w="2339" cap="flat">
                    <a:noFill/>
                    <a:prstDash val="solid"/>
                    <a:miter/>
                  </a:ln>
                </p:spPr>
                <p:txBody>
                  <a:bodyPr rtlCol="0" anchor="ctr"/>
                  <a:lstStyle/>
                  <a:p>
                    <a:endParaRPr lang="en-US" sz="2400"/>
                  </a:p>
                </p:txBody>
              </p:sp>
              <p:sp>
                <p:nvSpPr>
                  <p:cNvPr id="519" name="Freeform: Shape 518">
                    <a:extLst>
                      <a:ext uri="{FF2B5EF4-FFF2-40B4-BE49-F238E27FC236}">
                        <a16:creationId xmlns:a16="http://schemas.microsoft.com/office/drawing/2014/main" id="{DE8767FA-CD5A-B3D1-113F-19CCC1A72916}"/>
                      </a:ext>
                    </a:extLst>
                  </p:cNvPr>
                  <p:cNvSpPr/>
                  <p:nvPr userDrawn="1"/>
                </p:nvSpPr>
                <p:spPr>
                  <a:xfrm>
                    <a:off x="8483312" y="4341483"/>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9F9FB"/>
                  </a:solidFill>
                  <a:ln w="2339" cap="flat">
                    <a:noFill/>
                    <a:prstDash val="solid"/>
                    <a:miter/>
                  </a:ln>
                </p:spPr>
                <p:txBody>
                  <a:bodyPr rtlCol="0" anchor="ctr"/>
                  <a:lstStyle/>
                  <a:p>
                    <a:endParaRPr lang="en-US" sz="2400"/>
                  </a:p>
                </p:txBody>
              </p:sp>
              <p:sp>
                <p:nvSpPr>
                  <p:cNvPr id="520" name="Freeform: Shape 519">
                    <a:extLst>
                      <a:ext uri="{FF2B5EF4-FFF2-40B4-BE49-F238E27FC236}">
                        <a16:creationId xmlns:a16="http://schemas.microsoft.com/office/drawing/2014/main" id="{49B25098-EC93-CDEC-409A-81458EF0A9EB}"/>
                      </a:ext>
                    </a:extLst>
                  </p:cNvPr>
                  <p:cNvSpPr/>
                  <p:nvPr userDrawn="1"/>
                </p:nvSpPr>
                <p:spPr>
                  <a:xfrm>
                    <a:off x="8483476" y="4341062"/>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9FAFB"/>
                  </a:solidFill>
                  <a:ln w="2339" cap="flat">
                    <a:noFill/>
                    <a:prstDash val="solid"/>
                    <a:miter/>
                  </a:ln>
                </p:spPr>
                <p:txBody>
                  <a:bodyPr rtlCol="0" anchor="ctr"/>
                  <a:lstStyle/>
                  <a:p>
                    <a:endParaRPr lang="en-US" sz="2400"/>
                  </a:p>
                </p:txBody>
              </p:sp>
              <p:sp>
                <p:nvSpPr>
                  <p:cNvPr id="521" name="Freeform: Shape 520">
                    <a:extLst>
                      <a:ext uri="{FF2B5EF4-FFF2-40B4-BE49-F238E27FC236}">
                        <a16:creationId xmlns:a16="http://schemas.microsoft.com/office/drawing/2014/main" id="{3B2432E0-AC08-9C21-3CFB-512BD854E110}"/>
                      </a:ext>
                    </a:extLst>
                  </p:cNvPr>
                  <p:cNvSpPr/>
                  <p:nvPr userDrawn="1"/>
                </p:nvSpPr>
                <p:spPr>
                  <a:xfrm>
                    <a:off x="8483616" y="4340640"/>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9FAFB"/>
                  </a:solidFill>
                  <a:ln w="2339" cap="flat">
                    <a:noFill/>
                    <a:prstDash val="solid"/>
                    <a:miter/>
                  </a:ln>
                </p:spPr>
                <p:txBody>
                  <a:bodyPr rtlCol="0" anchor="ctr"/>
                  <a:lstStyle/>
                  <a:p>
                    <a:endParaRPr lang="en-US" sz="2400"/>
                  </a:p>
                </p:txBody>
              </p:sp>
              <p:sp>
                <p:nvSpPr>
                  <p:cNvPr id="522" name="Freeform: Shape 521">
                    <a:extLst>
                      <a:ext uri="{FF2B5EF4-FFF2-40B4-BE49-F238E27FC236}">
                        <a16:creationId xmlns:a16="http://schemas.microsoft.com/office/drawing/2014/main" id="{149AC202-B4AF-DDD1-98E8-5119956B4465}"/>
                      </a:ext>
                    </a:extLst>
                  </p:cNvPr>
                  <p:cNvSpPr/>
                  <p:nvPr userDrawn="1"/>
                </p:nvSpPr>
                <p:spPr>
                  <a:xfrm>
                    <a:off x="8483733" y="4340243"/>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74"/>
                          <a:pt x="0" y="32667"/>
                          <a:pt x="0" y="21037"/>
                        </a:cubicBezTo>
                        <a:close/>
                      </a:path>
                    </a:pathLst>
                  </a:custGeom>
                  <a:solidFill>
                    <a:srgbClr val="FAFAFC"/>
                  </a:solidFill>
                  <a:ln w="2339" cap="flat">
                    <a:noFill/>
                    <a:prstDash val="solid"/>
                    <a:miter/>
                  </a:ln>
                </p:spPr>
                <p:txBody>
                  <a:bodyPr rtlCol="0" anchor="ctr"/>
                  <a:lstStyle/>
                  <a:p>
                    <a:endParaRPr lang="en-US" sz="2400"/>
                  </a:p>
                </p:txBody>
              </p:sp>
              <p:sp>
                <p:nvSpPr>
                  <p:cNvPr id="523" name="Freeform: Shape 522">
                    <a:extLst>
                      <a:ext uri="{FF2B5EF4-FFF2-40B4-BE49-F238E27FC236}">
                        <a16:creationId xmlns:a16="http://schemas.microsoft.com/office/drawing/2014/main" id="{9F7B349D-C4E6-3ABF-9369-0B4990462E7D}"/>
                      </a:ext>
                    </a:extLst>
                  </p:cNvPr>
                  <p:cNvSpPr/>
                  <p:nvPr userDrawn="1"/>
                </p:nvSpPr>
                <p:spPr>
                  <a:xfrm>
                    <a:off x="8483874" y="4339821"/>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43" y="0"/>
                          <a:pt x="42074" y="9430"/>
                          <a:pt x="42074" y="21037"/>
                        </a:cubicBezTo>
                        <a:cubicBezTo>
                          <a:pt x="42074" y="32667"/>
                          <a:pt x="32643" y="42097"/>
                          <a:pt x="21037" y="42097"/>
                        </a:cubicBezTo>
                        <a:cubicBezTo>
                          <a:pt x="9430" y="42097"/>
                          <a:pt x="0" y="32667"/>
                          <a:pt x="0" y="21037"/>
                        </a:cubicBezTo>
                        <a:close/>
                      </a:path>
                    </a:pathLst>
                  </a:custGeom>
                  <a:solidFill>
                    <a:srgbClr val="FAFBFC"/>
                  </a:solidFill>
                  <a:ln w="2339" cap="flat">
                    <a:noFill/>
                    <a:prstDash val="solid"/>
                    <a:miter/>
                  </a:ln>
                </p:spPr>
                <p:txBody>
                  <a:bodyPr rtlCol="0" anchor="ctr"/>
                  <a:lstStyle/>
                  <a:p>
                    <a:endParaRPr lang="en-US" sz="2400"/>
                  </a:p>
                </p:txBody>
              </p:sp>
              <p:sp>
                <p:nvSpPr>
                  <p:cNvPr id="524" name="Freeform: Shape 523">
                    <a:extLst>
                      <a:ext uri="{FF2B5EF4-FFF2-40B4-BE49-F238E27FC236}">
                        <a16:creationId xmlns:a16="http://schemas.microsoft.com/office/drawing/2014/main" id="{FB06E11B-C86F-2AE6-3F59-212B575CAFBA}"/>
                      </a:ext>
                    </a:extLst>
                  </p:cNvPr>
                  <p:cNvSpPr/>
                  <p:nvPr userDrawn="1"/>
                </p:nvSpPr>
                <p:spPr>
                  <a:xfrm>
                    <a:off x="8483991" y="4339400"/>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AFBFC"/>
                  </a:solidFill>
                  <a:ln w="2339" cap="flat">
                    <a:noFill/>
                    <a:prstDash val="solid"/>
                    <a:miter/>
                  </a:ln>
                </p:spPr>
                <p:txBody>
                  <a:bodyPr rtlCol="0" anchor="ctr"/>
                  <a:lstStyle/>
                  <a:p>
                    <a:endParaRPr lang="en-US" sz="2400"/>
                  </a:p>
                </p:txBody>
              </p:sp>
              <p:sp>
                <p:nvSpPr>
                  <p:cNvPr id="525" name="Freeform: Shape 524">
                    <a:extLst>
                      <a:ext uri="{FF2B5EF4-FFF2-40B4-BE49-F238E27FC236}">
                        <a16:creationId xmlns:a16="http://schemas.microsoft.com/office/drawing/2014/main" id="{C9742ED2-810E-43F1-3D08-1E07DD0BAF2C}"/>
                      </a:ext>
                    </a:extLst>
                  </p:cNvPr>
                  <p:cNvSpPr/>
                  <p:nvPr userDrawn="1"/>
                </p:nvSpPr>
                <p:spPr>
                  <a:xfrm>
                    <a:off x="8484108" y="4338979"/>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BFBFC"/>
                  </a:solidFill>
                  <a:ln w="2339" cap="flat">
                    <a:noFill/>
                    <a:prstDash val="solid"/>
                    <a:miter/>
                  </a:ln>
                </p:spPr>
                <p:txBody>
                  <a:bodyPr rtlCol="0" anchor="ctr"/>
                  <a:lstStyle/>
                  <a:p>
                    <a:endParaRPr lang="en-US" sz="2400"/>
                  </a:p>
                </p:txBody>
              </p:sp>
              <p:sp>
                <p:nvSpPr>
                  <p:cNvPr id="526" name="Freeform: Shape 525">
                    <a:extLst>
                      <a:ext uri="{FF2B5EF4-FFF2-40B4-BE49-F238E27FC236}">
                        <a16:creationId xmlns:a16="http://schemas.microsoft.com/office/drawing/2014/main" id="{F2247105-C22D-41E3-2EEC-025412CF74F9}"/>
                      </a:ext>
                    </a:extLst>
                  </p:cNvPr>
                  <p:cNvSpPr/>
                  <p:nvPr userDrawn="1"/>
                </p:nvSpPr>
                <p:spPr>
                  <a:xfrm>
                    <a:off x="8484225" y="4338581"/>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74"/>
                          <a:pt x="0" y="32667"/>
                          <a:pt x="0" y="21037"/>
                        </a:cubicBezTo>
                        <a:close/>
                      </a:path>
                    </a:pathLst>
                  </a:custGeom>
                  <a:solidFill>
                    <a:srgbClr val="FBFBFC"/>
                  </a:solidFill>
                  <a:ln w="2339" cap="flat">
                    <a:noFill/>
                    <a:prstDash val="solid"/>
                    <a:miter/>
                  </a:ln>
                </p:spPr>
                <p:txBody>
                  <a:bodyPr rtlCol="0" anchor="ctr"/>
                  <a:lstStyle/>
                  <a:p>
                    <a:endParaRPr lang="en-US" sz="2400"/>
                  </a:p>
                </p:txBody>
              </p:sp>
              <p:sp>
                <p:nvSpPr>
                  <p:cNvPr id="527" name="Freeform: Shape 526">
                    <a:extLst>
                      <a:ext uri="{FF2B5EF4-FFF2-40B4-BE49-F238E27FC236}">
                        <a16:creationId xmlns:a16="http://schemas.microsoft.com/office/drawing/2014/main" id="{A1685B71-8C20-4F78-5CA7-6912AE3D6E56}"/>
                      </a:ext>
                    </a:extLst>
                  </p:cNvPr>
                  <p:cNvSpPr/>
                  <p:nvPr userDrawn="1"/>
                </p:nvSpPr>
                <p:spPr>
                  <a:xfrm>
                    <a:off x="8484342" y="4338160"/>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BFCFD"/>
                  </a:solidFill>
                  <a:ln w="2339" cap="flat">
                    <a:noFill/>
                    <a:prstDash val="solid"/>
                    <a:miter/>
                  </a:ln>
                </p:spPr>
                <p:txBody>
                  <a:bodyPr rtlCol="0" anchor="ctr"/>
                  <a:lstStyle/>
                  <a:p>
                    <a:endParaRPr lang="en-US" sz="2400"/>
                  </a:p>
                </p:txBody>
              </p:sp>
              <p:sp>
                <p:nvSpPr>
                  <p:cNvPr id="528" name="Freeform: Shape 527">
                    <a:extLst>
                      <a:ext uri="{FF2B5EF4-FFF2-40B4-BE49-F238E27FC236}">
                        <a16:creationId xmlns:a16="http://schemas.microsoft.com/office/drawing/2014/main" id="{915AE1F4-9C76-B458-629F-19D05DB76AE6}"/>
                      </a:ext>
                    </a:extLst>
                  </p:cNvPr>
                  <p:cNvSpPr/>
                  <p:nvPr userDrawn="1"/>
                </p:nvSpPr>
                <p:spPr>
                  <a:xfrm>
                    <a:off x="8484435" y="4337739"/>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CFCFD"/>
                  </a:solidFill>
                  <a:ln w="2339" cap="flat">
                    <a:noFill/>
                    <a:prstDash val="solid"/>
                    <a:miter/>
                  </a:ln>
                </p:spPr>
                <p:txBody>
                  <a:bodyPr rtlCol="0" anchor="ctr"/>
                  <a:lstStyle/>
                  <a:p>
                    <a:endParaRPr lang="en-US" sz="2400"/>
                  </a:p>
                </p:txBody>
              </p:sp>
              <p:sp>
                <p:nvSpPr>
                  <p:cNvPr id="529" name="Freeform: Shape 528">
                    <a:extLst>
                      <a:ext uri="{FF2B5EF4-FFF2-40B4-BE49-F238E27FC236}">
                        <a16:creationId xmlns:a16="http://schemas.microsoft.com/office/drawing/2014/main" id="{49126C95-E0AA-EC2A-5B2D-5721DAE0A3B4}"/>
                      </a:ext>
                    </a:extLst>
                  </p:cNvPr>
                  <p:cNvSpPr/>
                  <p:nvPr userDrawn="1"/>
                </p:nvSpPr>
                <p:spPr>
                  <a:xfrm>
                    <a:off x="8484529" y="4337341"/>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CFCFD"/>
                  </a:solidFill>
                  <a:ln w="2339" cap="flat">
                    <a:noFill/>
                    <a:prstDash val="solid"/>
                    <a:miter/>
                  </a:ln>
                </p:spPr>
                <p:txBody>
                  <a:bodyPr rtlCol="0" anchor="ctr"/>
                  <a:lstStyle/>
                  <a:p>
                    <a:endParaRPr lang="en-US" sz="2400"/>
                  </a:p>
                </p:txBody>
              </p:sp>
              <p:sp>
                <p:nvSpPr>
                  <p:cNvPr id="530" name="Freeform: Shape 529">
                    <a:extLst>
                      <a:ext uri="{FF2B5EF4-FFF2-40B4-BE49-F238E27FC236}">
                        <a16:creationId xmlns:a16="http://schemas.microsoft.com/office/drawing/2014/main" id="{0AFF6127-8E7A-98E6-37D4-91E7C28240A8}"/>
                      </a:ext>
                    </a:extLst>
                  </p:cNvPr>
                  <p:cNvSpPr/>
                  <p:nvPr userDrawn="1"/>
                </p:nvSpPr>
                <p:spPr>
                  <a:xfrm>
                    <a:off x="8484623" y="4336920"/>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CFCFD"/>
                  </a:solidFill>
                  <a:ln w="2339" cap="flat">
                    <a:noFill/>
                    <a:prstDash val="solid"/>
                    <a:miter/>
                  </a:ln>
                </p:spPr>
                <p:txBody>
                  <a:bodyPr rtlCol="0" anchor="ctr"/>
                  <a:lstStyle/>
                  <a:p>
                    <a:endParaRPr lang="en-US" sz="2400"/>
                  </a:p>
                </p:txBody>
              </p:sp>
              <p:sp>
                <p:nvSpPr>
                  <p:cNvPr id="531" name="Freeform: Shape 530">
                    <a:extLst>
                      <a:ext uri="{FF2B5EF4-FFF2-40B4-BE49-F238E27FC236}">
                        <a16:creationId xmlns:a16="http://schemas.microsoft.com/office/drawing/2014/main" id="{6E5040B3-DCBE-4357-AA34-12E98A69C6D4}"/>
                      </a:ext>
                    </a:extLst>
                  </p:cNvPr>
                  <p:cNvSpPr/>
                  <p:nvPr userDrawn="1"/>
                </p:nvSpPr>
                <p:spPr>
                  <a:xfrm>
                    <a:off x="8484693" y="4336499"/>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DFDFD"/>
                  </a:solidFill>
                  <a:ln w="2339" cap="flat">
                    <a:noFill/>
                    <a:prstDash val="solid"/>
                    <a:miter/>
                  </a:ln>
                </p:spPr>
                <p:txBody>
                  <a:bodyPr rtlCol="0" anchor="ctr"/>
                  <a:lstStyle/>
                  <a:p>
                    <a:endParaRPr lang="en-US" sz="2400"/>
                  </a:p>
                </p:txBody>
              </p:sp>
              <p:sp>
                <p:nvSpPr>
                  <p:cNvPr id="532" name="Freeform: Shape 531">
                    <a:extLst>
                      <a:ext uri="{FF2B5EF4-FFF2-40B4-BE49-F238E27FC236}">
                        <a16:creationId xmlns:a16="http://schemas.microsoft.com/office/drawing/2014/main" id="{6D5812C9-C35B-DB81-14BC-E8FEFBADE049}"/>
                      </a:ext>
                    </a:extLst>
                  </p:cNvPr>
                  <p:cNvSpPr/>
                  <p:nvPr userDrawn="1"/>
                </p:nvSpPr>
                <p:spPr>
                  <a:xfrm>
                    <a:off x="8484786" y="4336101"/>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DFDFE"/>
                  </a:solidFill>
                  <a:ln w="2339" cap="flat">
                    <a:noFill/>
                    <a:prstDash val="solid"/>
                    <a:miter/>
                  </a:ln>
                </p:spPr>
                <p:txBody>
                  <a:bodyPr rtlCol="0" anchor="ctr"/>
                  <a:lstStyle/>
                  <a:p>
                    <a:endParaRPr lang="en-US" sz="2400"/>
                  </a:p>
                </p:txBody>
              </p:sp>
              <p:sp>
                <p:nvSpPr>
                  <p:cNvPr id="533" name="Freeform: Shape 532">
                    <a:extLst>
                      <a:ext uri="{FF2B5EF4-FFF2-40B4-BE49-F238E27FC236}">
                        <a16:creationId xmlns:a16="http://schemas.microsoft.com/office/drawing/2014/main" id="{AD5502E3-B930-44AF-5A38-30A6EE60E41C}"/>
                      </a:ext>
                    </a:extLst>
                  </p:cNvPr>
                  <p:cNvSpPr/>
                  <p:nvPr userDrawn="1"/>
                </p:nvSpPr>
                <p:spPr>
                  <a:xfrm>
                    <a:off x="8484857" y="4335680"/>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DFDFE"/>
                  </a:solidFill>
                  <a:ln w="2339" cap="flat">
                    <a:noFill/>
                    <a:prstDash val="solid"/>
                    <a:miter/>
                  </a:ln>
                </p:spPr>
                <p:txBody>
                  <a:bodyPr rtlCol="0" anchor="ctr"/>
                  <a:lstStyle/>
                  <a:p>
                    <a:endParaRPr lang="en-US" sz="2400"/>
                  </a:p>
                </p:txBody>
              </p:sp>
              <p:sp>
                <p:nvSpPr>
                  <p:cNvPr id="534" name="Freeform: Shape 533">
                    <a:extLst>
                      <a:ext uri="{FF2B5EF4-FFF2-40B4-BE49-F238E27FC236}">
                        <a16:creationId xmlns:a16="http://schemas.microsoft.com/office/drawing/2014/main" id="{53559ABD-4DC9-C8B8-FDA1-8C3907988122}"/>
                      </a:ext>
                    </a:extLst>
                  </p:cNvPr>
                  <p:cNvSpPr/>
                  <p:nvPr userDrawn="1"/>
                </p:nvSpPr>
                <p:spPr>
                  <a:xfrm>
                    <a:off x="8484927" y="4335282"/>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DFEFE"/>
                  </a:solidFill>
                  <a:ln w="2339" cap="flat">
                    <a:noFill/>
                    <a:prstDash val="solid"/>
                    <a:miter/>
                  </a:ln>
                </p:spPr>
                <p:txBody>
                  <a:bodyPr rtlCol="0" anchor="ctr"/>
                  <a:lstStyle/>
                  <a:p>
                    <a:endParaRPr lang="en-US" sz="2400"/>
                  </a:p>
                </p:txBody>
              </p:sp>
              <p:sp>
                <p:nvSpPr>
                  <p:cNvPr id="535" name="Freeform: Shape 534">
                    <a:extLst>
                      <a:ext uri="{FF2B5EF4-FFF2-40B4-BE49-F238E27FC236}">
                        <a16:creationId xmlns:a16="http://schemas.microsoft.com/office/drawing/2014/main" id="{F8F146DC-3AC8-D458-09C5-ED9D5CBEE9DA}"/>
                      </a:ext>
                    </a:extLst>
                  </p:cNvPr>
                  <p:cNvSpPr/>
                  <p:nvPr userDrawn="1"/>
                </p:nvSpPr>
                <p:spPr>
                  <a:xfrm>
                    <a:off x="8484974" y="4334861"/>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EFEFE"/>
                  </a:solidFill>
                  <a:ln w="2339" cap="flat">
                    <a:noFill/>
                    <a:prstDash val="solid"/>
                    <a:miter/>
                  </a:ln>
                </p:spPr>
                <p:txBody>
                  <a:bodyPr rtlCol="0" anchor="ctr"/>
                  <a:lstStyle/>
                  <a:p>
                    <a:endParaRPr lang="en-US" sz="2400"/>
                  </a:p>
                </p:txBody>
              </p:sp>
              <p:sp>
                <p:nvSpPr>
                  <p:cNvPr id="536" name="Freeform: Shape 535">
                    <a:extLst>
                      <a:ext uri="{FF2B5EF4-FFF2-40B4-BE49-F238E27FC236}">
                        <a16:creationId xmlns:a16="http://schemas.microsoft.com/office/drawing/2014/main" id="{9252C4D9-0344-639F-544F-CCF9BC3E580D}"/>
                      </a:ext>
                    </a:extLst>
                  </p:cNvPr>
                  <p:cNvSpPr/>
                  <p:nvPr userDrawn="1"/>
                </p:nvSpPr>
                <p:spPr>
                  <a:xfrm>
                    <a:off x="8485020" y="4334463"/>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74"/>
                          <a:pt x="0" y="32667"/>
                          <a:pt x="0" y="21037"/>
                        </a:cubicBezTo>
                        <a:close/>
                      </a:path>
                    </a:pathLst>
                  </a:custGeom>
                  <a:solidFill>
                    <a:srgbClr val="FEFEFE"/>
                  </a:solidFill>
                  <a:ln w="2339" cap="flat">
                    <a:noFill/>
                    <a:prstDash val="solid"/>
                    <a:miter/>
                  </a:ln>
                </p:spPr>
                <p:txBody>
                  <a:bodyPr rtlCol="0" anchor="ctr"/>
                  <a:lstStyle/>
                  <a:p>
                    <a:endParaRPr lang="en-US" sz="2400"/>
                  </a:p>
                </p:txBody>
              </p:sp>
              <p:sp>
                <p:nvSpPr>
                  <p:cNvPr id="537" name="Freeform: Shape 536">
                    <a:extLst>
                      <a:ext uri="{FF2B5EF4-FFF2-40B4-BE49-F238E27FC236}">
                        <a16:creationId xmlns:a16="http://schemas.microsoft.com/office/drawing/2014/main" id="{07A1DB01-7B99-9438-2975-7FEC3059E55D}"/>
                      </a:ext>
                    </a:extLst>
                  </p:cNvPr>
                  <p:cNvSpPr/>
                  <p:nvPr userDrawn="1"/>
                </p:nvSpPr>
                <p:spPr>
                  <a:xfrm>
                    <a:off x="8485091" y="4334042"/>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EFEFF"/>
                  </a:solidFill>
                  <a:ln w="2339" cap="flat">
                    <a:noFill/>
                    <a:prstDash val="solid"/>
                    <a:miter/>
                  </a:ln>
                </p:spPr>
                <p:txBody>
                  <a:bodyPr rtlCol="0" anchor="ctr"/>
                  <a:lstStyle/>
                  <a:p>
                    <a:endParaRPr lang="en-US" sz="2400"/>
                  </a:p>
                </p:txBody>
              </p:sp>
              <p:sp>
                <p:nvSpPr>
                  <p:cNvPr id="538" name="Freeform: Shape 537">
                    <a:extLst>
                      <a:ext uri="{FF2B5EF4-FFF2-40B4-BE49-F238E27FC236}">
                        <a16:creationId xmlns:a16="http://schemas.microsoft.com/office/drawing/2014/main" id="{67B0D516-1206-5109-32EB-93AEBC7A0899}"/>
                      </a:ext>
                    </a:extLst>
                  </p:cNvPr>
                  <p:cNvSpPr/>
                  <p:nvPr userDrawn="1"/>
                </p:nvSpPr>
                <p:spPr>
                  <a:xfrm>
                    <a:off x="8485114" y="4333644"/>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74"/>
                          <a:pt x="0" y="32667"/>
                          <a:pt x="0" y="21037"/>
                        </a:cubicBezTo>
                        <a:close/>
                      </a:path>
                    </a:pathLst>
                  </a:custGeom>
                  <a:solidFill>
                    <a:srgbClr val="FFFFFF"/>
                  </a:solidFill>
                  <a:ln w="2339" cap="flat">
                    <a:noFill/>
                    <a:prstDash val="solid"/>
                    <a:miter/>
                  </a:ln>
                </p:spPr>
                <p:txBody>
                  <a:bodyPr rtlCol="0" anchor="ctr"/>
                  <a:lstStyle/>
                  <a:p>
                    <a:endParaRPr lang="en-US" sz="2400"/>
                  </a:p>
                </p:txBody>
              </p:sp>
              <p:sp>
                <p:nvSpPr>
                  <p:cNvPr id="539" name="Freeform: Shape 538">
                    <a:extLst>
                      <a:ext uri="{FF2B5EF4-FFF2-40B4-BE49-F238E27FC236}">
                        <a16:creationId xmlns:a16="http://schemas.microsoft.com/office/drawing/2014/main" id="{DBC2895E-D8B9-ABD9-87E6-939D6212E43C}"/>
                      </a:ext>
                    </a:extLst>
                  </p:cNvPr>
                  <p:cNvSpPr/>
                  <p:nvPr userDrawn="1"/>
                </p:nvSpPr>
                <p:spPr>
                  <a:xfrm>
                    <a:off x="8485161" y="4333223"/>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FFFFF"/>
                  </a:solidFill>
                  <a:ln w="2339" cap="flat">
                    <a:noFill/>
                    <a:prstDash val="solid"/>
                    <a:miter/>
                  </a:ln>
                </p:spPr>
                <p:txBody>
                  <a:bodyPr rtlCol="0" anchor="ctr"/>
                  <a:lstStyle/>
                  <a:p>
                    <a:endParaRPr lang="en-US" sz="2400"/>
                  </a:p>
                </p:txBody>
              </p:sp>
            </p:grpSp>
          </p:grpSp>
          <p:grpSp>
            <p:nvGrpSpPr>
              <p:cNvPr id="540" name="Graphic 4">
                <a:extLst>
                  <a:ext uri="{FF2B5EF4-FFF2-40B4-BE49-F238E27FC236}">
                    <a16:creationId xmlns:a16="http://schemas.microsoft.com/office/drawing/2014/main" id="{FB06EFB0-8661-A435-50AE-18C0E80EC8C3}"/>
                  </a:ext>
                </a:extLst>
              </p:cNvPr>
              <p:cNvGrpSpPr/>
              <p:nvPr userDrawn="1"/>
            </p:nvGrpSpPr>
            <p:grpSpPr>
              <a:xfrm>
                <a:off x="8195045" y="4482867"/>
                <a:ext cx="332188" cy="107360"/>
                <a:chOff x="8195045" y="4482867"/>
                <a:chExt cx="332189" cy="107360"/>
              </a:xfrm>
            </p:grpSpPr>
            <p:grpSp>
              <p:nvGrpSpPr>
                <p:cNvPr id="541" name="Graphic 4">
                  <a:extLst>
                    <a:ext uri="{FF2B5EF4-FFF2-40B4-BE49-F238E27FC236}">
                      <a16:creationId xmlns:a16="http://schemas.microsoft.com/office/drawing/2014/main" id="{A69FE177-6160-6326-D575-1BEA7D01BE77}"/>
                    </a:ext>
                  </a:extLst>
                </p:cNvPr>
                <p:cNvGrpSpPr/>
                <p:nvPr userDrawn="1"/>
              </p:nvGrpSpPr>
              <p:grpSpPr>
                <a:xfrm>
                  <a:off x="8195045" y="4482867"/>
                  <a:ext cx="144893" cy="107360"/>
                  <a:chOff x="8195045" y="4482867"/>
                  <a:chExt cx="144893" cy="107359"/>
                </a:xfrm>
              </p:grpSpPr>
              <p:sp>
                <p:nvSpPr>
                  <p:cNvPr id="542" name="Freeform: Shape 541">
                    <a:extLst>
                      <a:ext uri="{FF2B5EF4-FFF2-40B4-BE49-F238E27FC236}">
                        <a16:creationId xmlns:a16="http://schemas.microsoft.com/office/drawing/2014/main" id="{A6B92602-3DF3-09BE-149C-E4C582792E9C}"/>
                      </a:ext>
                    </a:extLst>
                  </p:cNvPr>
                  <p:cNvSpPr/>
                  <p:nvPr userDrawn="1"/>
                </p:nvSpPr>
                <p:spPr>
                  <a:xfrm>
                    <a:off x="8297842" y="4482867"/>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B1B8CC"/>
                  </a:solidFill>
                  <a:ln w="2339" cap="flat">
                    <a:noFill/>
                    <a:prstDash val="solid"/>
                    <a:miter/>
                  </a:ln>
                </p:spPr>
                <p:txBody>
                  <a:bodyPr rtlCol="0" anchor="ctr"/>
                  <a:lstStyle/>
                  <a:p>
                    <a:endParaRPr lang="en-US" sz="2400"/>
                  </a:p>
                </p:txBody>
              </p:sp>
              <p:sp>
                <p:nvSpPr>
                  <p:cNvPr id="543" name="Freeform: Shape 542">
                    <a:extLst>
                      <a:ext uri="{FF2B5EF4-FFF2-40B4-BE49-F238E27FC236}">
                        <a16:creationId xmlns:a16="http://schemas.microsoft.com/office/drawing/2014/main" id="{B8C38539-FE8E-9D2B-B831-2519CA771660}"/>
                      </a:ext>
                    </a:extLst>
                  </p:cNvPr>
                  <p:cNvSpPr/>
                  <p:nvPr userDrawn="1"/>
                </p:nvSpPr>
                <p:spPr>
                  <a:xfrm>
                    <a:off x="8297281" y="4482937"/>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B1B8CC"/>
                  </a:solidFill>
                  <a:ln w="2339" cap="flat">
                    <a:noFill/>
                    <a:prstDash val="solid"/>
                    <a:miter/>
                  </a:ln>
                </p:spPr>
                <p:txBody>
                  <a:bodyPr rtlCol="0" anchor="ctr"/>
                  <a:lstStyle/>
                  <a:p>
                    <a:endParaRPr lang="en-US" sz="2400"/>
                  </a:p>
                </p:txBody>
              </p:sp>
              <p:sp>
                <p:nvSpPr>
                  <p:cNvPr id="544" name="Freeform: Shape 543">
                    <a:extLst>
                      <a:ext uri="{FF2B5EF4-FFF2-40B4-BE49-F238E27FC236}">
                        <a16:creationId xmlns:a16="http://schemas.microsoft.com/office/drawing/2014/main" id="{CFE62346-EEE9-1734-D6F3-35C8715C1C25}"/>
                      </a:ext>
                    </a:extLst>
                  </p:cNvPr>
                  <p:cNvSpPr/>
                  <p:nvPr userDrawn="1"/>
                </p:nvSpPr>
                <p:spPr>
                  <a:xfrm>
                    <a:off x="8296719" y="4483031"/>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B2B9CC"/>
                  </a:solidFill>
                  <a:ln w="2339" cap="flat">
                    <a:noFill/>
                    <a:prstDash val="solid"/>
                    <a:miter/>
                  </a:ln>
                </p:spPr>
                <p:txBody>
                  <a:bodyPr rtlCol="0" anchor="ctr"/>
                  <a:lstStyle/>
                  <a:p>
                    <a:endParaRPr lang="en-US" sz="2400"/>
                  </a:p>
                </p:txBody>
              </p:sp>
              <p:sp>
                <p:nvSpPr>
                  <p:cNvPr id="545" name="Freeform: Shape 544">
                    <a:extLst>
                      <a:ext uri="{FF2B5EF4-FFF2-40B4-BE49-F238E27FC236}">
                        <a16:creationId xmlns:a16="http://schemas.microsoft.com/office/drawing/2014/main" id="{7B28D175-8D0D-ABA6-28B0-046849F86A89}"/>
                      </a:ext>
                    </a:extLst>
                  </p:cNvPr>
                  <p:cNvSpPr/>
                  <p:nvPr userDrawn="1"/>
                </p:nvSpPr>
                <p:spPr>
                  <a:xfrm>
                    <a:off x="8296158" y="448312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2B9CD"/>
                  </a:solidFill>
                  <a:ln w="2339" cap="flat">
                    <a:noFill/>
                    <a:prstDash val="solid"/>
                    <a:miter/>
                  </a:ln>
                </p:spPr>
                <p:txBody>
                  <a:bodyPr rtlCol="0" anchor="ctr"/>
                  <a:lstStyle/>
                  <a:p>
                    <a:endParaRPr lang="en-US" sz="2400"/>
                  </a:p>
                </p:txBody>
              </p:sp>
              <p:sp>
                <p:nvSpPr>
                  <p:cNvPr id="546" name="Freeform: Shape 545">
                    <a:extLst>
                      <a:ext uri="{FF2B5EF4-FFF2-40B4-BE49-F238E27FC236}">
                        <a16:creationId xmlns:a16="http://schemas.microsoft.com/office/drawing/2014/main" id="{BAF1F9DF-96AF-1006-E277-F16E627B6343}"/>
                      </a:ext>
                    </a:extLst>
                  </p:cNvPr>
                  <p:cNvSpPr/>
                  <p:nvPr userDrawn="1"/>
                </p:nvSpPr>
                <p:spPr>
                  <a:xfrm>
                    <a:off x="8295596" y="4483218"/>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2B9CD"/>
                  </a:solidFill>
                  <a:ln w="2339" cap="flat">
                    <a:noFill/>
                    <a:prstDash val="solid"/>
                    <a:miter/>
                  </a:ln>
                </p:spPr>
                <p:txBody>
                  <a:bodyPr rtlCol="0" anchor="ctr"/>
                  <a:lstStyle/>
                  <a:p>
                    <a:endParaRPr lang="en-US" sz="2400"/>
                  </a:p>
                </p:txBody>
              </p:sp>
              <p:sp>
                <p:nvSpPr>
                  <p:cNvPr id="547" name="Freeform: Shape 546">
                    <a:extLst>
                      <a:ext uri="{FF2B5EF4-FFF2-40B4-BE49-F238E27FC236}">
                        <a16:creationId xmlns:a16="http://schemas.microsoft.com/office/drawing/2014/main" id="{9612801D-42D6-71D7-CB23-E378E0751CF8}"/>
                      </a:ext>
                    </a:extLst>
                  </p:cNvPr>
                  <p:cNvSpPr/>
                  <p:nvPr userDrawn="1"/>
                </p:nvSpPr>
                <p:spPr>
                  <a:xfrm>
                    <a:off x="8295034" y="4483288"/>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B3B9CD"/>
                  </a:solidFill>
                  <a:ln w="2339" cap="flat">
                    <a:noFill/>
                    <a:prstDash val="solid"/>
                    <a:miter/>
                  </a:ln>
                </p:spPr>
                <p:txBody>
                  <a:bodyPr rtlCol="0" anchor="ctr"/>
                  <a:lstStyle/>
                  <a:p>
                    <a:endParaRPr lang="en-US" sz="2400"/>
                  </a:p>
                </p:txBody>
              </p:sp>
              <p:sp>
                <p:nvSpPr>
                  <p:cNvPr id="548" name="Freeform: Shape 547">
                    <a:extLst>
                      <a:ext uri="{FF2B5EF4-FFF2-40B4-BE49-F238E27FC236}">
                        <a16:creationId xmlns:a16="http://schemas.microsoft.com/office/drawing/2014/main" id="{B74CAF45-A076-8608-0948-2A58BC5B75DA}"/>
                      </a:ext>
                    </a:extLst>
                  </p:cNvPr>
                  <p:cNvSpPr/>
                  <p:nvPr userDrawn="1"/>
                </p:nvSpPr>
                <p:spPr>
                  <a:xfrm>
                    <a:off x="8294449" y="4483382"/>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3BACD"/>
                  </a:solidFill>
                  <a:ln w="2339" cap="flat">
                    <a:noFill/>
                    <a:prstDash val="solid"/>
                    <a:miter/>
                  </a:ln>
                </p:spPr>
                <p:txBody>
                  <a:bodyPr rtlCol="0" anchor="ctr"/>
                  <a:lstStyle/>
                  <a:p>
                    <a:endParaRPr lang="en-US" sz="2400"/>
                  </a:p>
                </p:txBody>
              </p:sp>
              <p:sp>
                <p:nvSpPr>
                  <p:cNvPr id="549" name="Freeform: Shape 548">
                    <a:extLst>
                      <a:ext uri="{FF2B5EF4-FFF2-40B4-BE49-F238E27FC236}">
                        <a16:creationId xmlns:a16="http://schemas.microsoft.com/office/drawing/2014/main" id="{41C14B33-03D0-AC6E-FF2B-5F559B31B81A}"/>
                      </a:ext>
                    </a:extLst>
                  </p:cNvPr>
                  <p:cNvSpPr/>
                  <p:nvPr userDrawn="1"/>
                </p:nvSpPr>
                <p:spPr>
                  <a:xfrm>
                    <a:off x="8293888" y="4483475"/>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3BACD"/>
                  </a:solidFill>
                  <a:ln w="2339" cap="flat">
                    <a:noFill/>
                    <a:prstDash val="solid"/>
                    <a:miter/>
                  </a:ln>
                </p:spPr>
                <p:txBody>
                  <a:bodyPr rtlCol="0" anchor="ctr"/>
                  <a:lstStyle/>
                  <a:p>
                    <a:endParaRPr lang="en-US" sz="2400"/>
                  </a:p>
                </p:txBody>
              </p:sp>
              <p:sp>
                <p:nvSpPr>
                  <p:cNvPr id="550" name="Freeform: Shape 549">
                    <a:extLst>
                      <a:ext uri="{FF2B5EF4-FFF2-40B4-BE49-F238E27FC236}">
                        <a16:creationId xmlns:a16="http://schemas.microsoft.com/office/drawing/2014/main" id="{BC9821E5-3A17-CA63-6306-B72767642DD2}"/>
                      </a:ext>
                    </a:extLst>
                  </p:cNvPr>
                  <p:cNvSpPr/>
                  <p:nvPr userDrawn="1"/>
                </p:nvSpPr>
                <p:spPr>
                  <a:xfrm>
                    <a:off x="8293326" y="4483569"/>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3BACE"/>
                  </a:solidFill>
                  <a:ln w="2339" cap="flat">
                    <a:noFill/>
                    <a:prstDash val="solid"/>
                    <a:miter/>
                  </a:ln>
                </p:spPr>
                <p:txBody>
                  <a:bodyPr rtlCol="0" anchor="ctr"/>
                  <a:lstStyle/>
                  <a:p>
                    <a:endParaRPr lang="en-US" sz="2400"/>
                  </a:p>
                </p:txBody>
              </p:sp>
              <p:sp>
                <p:nvSpPr>
                  <p:cNvPr id="551" name="Freeform: Shape 550">
                    <a:extLst>
                      <a:ext uri="{FF2B5EF4-FFF2-40B4-BE49-F238E27FC236}">
                        <a16:creationId xmlns:a16="http://schemas.microsoft.com/office/drawing/2014/main" id="{C6C2E0EE-EF38-6EE2-BE2D-83CF26AF60F6}"/>
                      </a:ext>
                    </a:extLst>
                  </p:cNvPr>
                  <p:cNvSpPr/>
                  <p:nvPr userDrawn="1"/>
                </p:nvSpPr>
                <p:spPr>
                  <a:xfrm>
                    <a:off x="8292764" y="4483662"/>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4BBCE"/>
                  </a:solidFill>
                  <a:ln w="2339" cap="flat">
                    <a:noFill/>
                    <a:prstDash val="solid"/>
                    <a:miter/>
                  </a:ln>
                </p:spPr>
                <p:txBody>
                  <a:bodyPr rtlCol="0" anchor="ctr"/>
                  <a:lstStyle/>
                  <a:p>
                    <a:endParaRPr lang="en-US" sz="2400"/>
                  </a:p>
                </p:txBody>
              </p:sp>
              <p:sp>
                <p:nvSpPr>
                  <p:cNvPr id="552" name="Freeform: Shape 551">
                    <a:extLst>
                      <a:ext uri="{FF2B5EF4-FFF2-40B4-BE49-F238E27FC236}">
                        <a16:creationId xmlns:a16="http://schemas.microsoft.com/office/drawing/2014/main" id="{341ED33A-C153-42C5-279E-5548A11B1341}"/>
                      </a:ext>
                    </a:extLst>
                  </p:cNvPr>
                  <p:cNvSpPr/>
                  <p:nvPr userDrawn="1"/>
                </p:nvSpPr>
                <p:spPr>
                  <a:xfrm>
                    <a:off x="8292203" y="448375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30"/>
                          <a:pt x="42097" y="21037"/>
                        </a:cubicBezTo>
                        <a:close/>
                      </a:path>
                    </a:pathLst>
                  </a:custGeom>
                  <a:solidFill>
                    <a:srgbClr val="B4BBCE"/>
                  </a:solidFill>
                  <a:ln w="2339" cap="flat">
                    <a:noFill/>
                    <a:prstDash val="solid"/>
                    <a:miter/>
                  </a:ln>
                </p:spPr>
                <p:txBody>
                  <a:bodyPr rtlCol="0" anchor="ctr"/>
                  <a:lstStyle/>
                  <a:p>
                    <a:endParaRPr lang="en-US" sz="2400"/>
                  </a:p>
                </p:txBody>
              </p:sp>
              <p:sp>
                <p:nvSpPr>
                  <p:cNvPr id="553" name="Freeform: Shape 552">
                    <a:extLst>
                      <a:ext uri="{FF2B5EF4-FFF2-40B4-BE49-F238E27FC236}">
                        <a16:creationId xmlns:a16="http://schemas.microsoft.com/office/drawing/2014/main" id="{CA2A9195-F684-06B7-8DE9-8FD9B72C30CB}"/>
                      </a:ext>
                    </a:extLst>
                  </p:cNvPr>
                  <p:cNvSpPr/>
                  <p:nvPr userDrawn="1"/>
                </p:nvSpPr>
                <p:spPr>
                  <a:xfrm>
                    <a:off x="8291641" y="4483850"/>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30"/>
                          <a:pt x="42097" y="21037"/>
                        </a:cubicBezTo>
                        <a:close/>
                      </a:path>
                    </a:pathLst>
                  </a:custGeom>
                  <a:solidFill>
                    <a:srgbClr val="B4BBCE"/>
                  </a:solidFill>
                  <a:ln w="2339" cap="flat">
                    <a:noFill/>
                    <a:prstDash val="solid"/>
                    <a:miter/>
                  </a:ln>
                </p:spPr>
                <p:txBody>
                  <a:bodyPr rtlCol="0" anchor="ctr"/>
                  <a:lstStyle/>
                  <a:p>
                    <a:endParaRPr lang="en-US" sz="2400"/>
                  </a:p>
                </p:txBody>
              </p:sp>
              <p:sp>
                <p:nvSpPr>
                  <p:cNvPr id="554" name="Freeform: Shape 553">
                    <a:extLst>
                      <a:ext uri="{FF2B5EF4-FFF2-40B4-BE49-F238E27FC236}">
                        <a16:creationId xmlns:a16="http://schemas.microsoft.com/office/drawing/2014/main" id="{63BC266C-DF1C-5B41-4B80-61A51711DD77}"/>
                      </a:ext>
                    </a:extLst>
                  </p:cNvPr>
                  <p:cNvSpPr/>
                  <p:nvPr userDrawn="1"/>
                </p:nvSpPr>
                <p:spPr>
                  <a:xfrm>
                    <a:off x="8291080" y="448396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B5BBCE"/>
                  </a:solidFill>
                  <a:ln w="2339" cap="flat">
                    <a:noFill/>
                    <a:prstDash val="solid"/>
                    <a:miter/>
                  </a:ln>
                </p:spPr>
                <p:txBody>
                  <a:bodyPr rtlCol="0" anchor="ctr"/>
                  <a:lstStyle/>
                  <a:p>
                    <a:endParaRPr lang="en-US" sz="2400"/>
                  </a:p>
                </p:txBody>
              </p:sp>
              <p:sp>
                <p:nvSpPr>
                  <p:cNvPr id="555" name="Freeform: Shape 554">
                    <a:extLst>
                      <a:ext uri="{FF2B5EF4-FFF2-40B4-BE49-F238E27FC236}">
                        <a16:creationId xmlns:a16="http://schemas.microsoft.com/office/drawing/2014/main" id="{C2D7EA7F-7827-758C-8DA8-BF12360C41A1}"/>
                      </a:ext>
                    </a:extLst>
                  </p:cNvPr>
                  <p:cNvSpPr/>
                  <p:nvPr userDrawn="1"/>
                </p:nvSpPr>
                <p:spPr>
                  <a:xfrm>
                    <a:off x="8290518" y="4484060"/>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B5BCCF"/>
                  </a:solidFill>
                  <a:ln w="2339" cap="flat">
                    <a:noFill/>
                    <a:prstDash val="solid"/>
                    <a:miter/>
                  </a:ln>
                </p:spPr>
                <p:txBody>
                  <a:bodyPr rtlCol="0" anchor="ctr"/>
                  <a:lstStyle/>
                  <a:p>
                    <a:endParaRPr lang="en-US" sz="2400"/>
                  </a:p>
                </p:txBody>
              </p:sp>
              <p:sp>
                <p:nvSpPr>
                  <p:cNvPr id="556" name="Freeform: Shape 555">
                    <a:extLst>
                      <a:ext uri="{FF2B5EF4-FFF2-40B4-BE49-F238E27FC236}">
                        <a16:creationId xmlns:a16="http://schemas.microsoft.com/office/drawing/2014/main" id="{6CBDC93A-B767-7F38-446D-C199E52E8285}"/>
                      </a:ext>
                    </a:extLst>
                  </p:cNvPr>
                  <p:cNvSpPr/>
                  <p:nvPr userDrawn="1"/>
                </p:nvSpPr>
                <p:spPr>
                  <a:xfrm>
                    <a:off x="8289956" y="448415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5BCCF"/>
                  </a:solidFill>
                  <a:ln w="2339" cap="flat">
                    <a:noFill/>
                    <a:prstDash val="solid"/>
                    <a:miter/>
                  </a:ln>
                </p:spPr>
                <p:txBody>
                  <a:bodyPr rtlCol="0" anchor="ctr"/>
                  <a:lstStyle/>
                  <a:p>
                    <a:endParaRPr lang="en-US" sz="2400"/>
                  </a:p>
                </p:txBody>
              </p:sp>
              <p:sp>
                <p:nvSpPr>
                  <p:cNvPr id="557" name="Freeform: Shape 556">
                    <a:extLst>
                      <a:ext uri="{FF2B5EF4-FFF2-40B4-BE49-F238E27FC236}">
                        <a16:creationId xmlns:a16="http://schemas.microsoft.com/office/drawing/2014/main" id="{FBBB510B-997D-CA38-399C-EB220FACA636}"/>
                      </a:ext>
                    </a:extLst>
                  </p:cNvPr>
                  <p:cNvSpPr/>
                  <p:nvPr userDrawn="1"/>
                </p:nvSpPr>
                <p:spPr>
                  <a:xfrm>
                    <a:off x="8289418" y="4484247"/>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B6BCCF"/>
                  </a:solidFill>
                  <a:ln w="2339" cap="flat">
                    <a:noFill/>
                    <a:prstDash val="solid"/>
                    <a:miter/>
                  </a:ln>
                </p:spPr>
                <p:txBody>
                  <a:bodyPr rtlCol="0" anchor="ctr"/>
                  <a:lstStyle/>
                  <a:p>
                    <a:endParaRPr lang="en-US" sz="2400"/>
                  </a:p>
                </p:txBody>
              </p:sp>
              <p:sp>
                <p:nvSpPr>
                  <p:cNvPr id="558" name="Freeform: Shape 557">
                    <a:extLst>
                      <a:ext uri="{FF2B5EF4-FFF2-40B4-BE49-F238E27FC236}">
                        <a16:creationId xmlns:a16="http://schemas.microsoft.com/office/drawing/2014/main" id="{17DB02A7-CF03-57B2-E6CD-3BC014FA734D}"/>
                      </a:ext>
                    </a:extLst>
                  </p:cNvPr>
                  <p:cNvSpPr/>
                  <p:nvPr userDrawn="1"/>
                </p:nvSpPr>
                <p:spPr>
                  <a:xfrm>
                    <a:off x="8288857" y="448436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6BCCF"/>
                  </a:solidFill>
                  <a:ln w="2339" cap="flat">
                    <a:noFill/>
                    <a:prstDash val="solid"/>
                    <a:miter/>
                  </a:ln>
                </p:spPr>
                <p:txBody>
                  <a:bodyPr rtlCol="0" anchor="ctr"/>
                  <a:lstStyle/>
                  <a:p>
                    <a:endParaRPr lang="en-US" sz="2400"/>
                  </a:p>
                </p:txBody>
              </p:sp>
              <p:sp>
                <p:nvSpPr>
                  <p:cNvPr id="559" name="Freeform: Shape 558">
                    <a:extLst>
                      <a:ext uri="{FF2B5EF4-FFF2-40B4-BE49-F238E27FC236}">
                        <a16:creationId xmlns:a16="http://schemas.microsoft.com/office/drawing/2014/main" id="{639941BD-8291-AC36-F857-8F055A8F72B5}"/>
                      </a:ext>
                    </a:extLst>
                  </p:cNvPr>
                  <p:cNvSpPr/>
                  <p:nvPr userDrawn="1"/>
                </p:nvSpPr>
                <p:spPr>
                  <a:xfrm>
                    <a:off x="8288295" y="4484458"/>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B6BDCF"/>
                  </a:solidFill>
                  <a:ln w="2339" cap="flat">
                    <a:noFill/>
                    <a:prstDash val="solid"/>
                    <a:miter/>
                  </a:ln>
                </p:spPr>
                <p:txBody>
                  <a:bodyPr rtlCol="0" anchor="ctr"/>
                  <a:lstStyle/>
                  <a:p>
                    <a:endParaRPr lang="en-US" sz="2400"/>
                  </a:p>
                </p:txBody>
              </p:sp>
              <p:sp>
                <p:nvSpPr>
                  <p:cNvPr id="560" name="Freeform: Shape 559">
                    <a:extLst>
                      <a:ext uri="{FF2B5EF4-FFF2-40B4-BE49-F238E27FC236}">
                        <a16:creationId xmlns:a16="http://schemas.microsoft.com/office/drawing/2014/main" id="{B4981F92-9C0A-2C29-2924-C473D48601CE}"/>
                      </a:ext>
                    </a:extLst>
                  </p:cNvPr>
                  <p:cNvSpPr/>
                  <p:nvPr userDrawn="1"/>
                </p:nvSpPr>
                <p:spPr>
                  <a:xfrm>
                    <a:off x="8287733" y="4484575"/>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7BDD0"/>
                  </a:solidFill>
                  <a:ln w="2339" cap="flat">
                    <a:noFill/>
                    <a:prstDash val="solid"/>
                    <a:miter/>
                  </a:ln>
                </p:spPr>
                <p:txBody>
                  <a:bodyPr rtlCol="0" anchor="ctr"/>
                  <a:lstStyle/>
                  <a:p>
                    <a:endParaRPr lang="en-US" sz="2400"/>
                  </a:p>
                </p:txBody>
              </p:sp>
              <p:sp>
                <p:nvSpPr>
                  <p:cNvPr id="561" name="Freeform: Shape 560">
                    <a:extLst>
                      <a:ext uri="{FF2B5EF4-FFF2-40B4-BE49-F238E27FC236}">
                        <a16:creationId xmlns:a16="http://schemas.microsoft.com/office/drawing/2014/main" id="{1D485A1C-D0F6-E21E-CA8A-86F3840B830C}"/>
                      </a:ext>
                    </a:extLst>
                  </p:cNvPr>
                  <p:cNvSpPr/>
                  <p:nvPr userDrawn="1"/>
                </p:nvSpPr>
                <p:spPr>
                  <a:xfrm>
                    <a:off x="8287172" y="4484669"/>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30"/>
                          <a:pt x="42097" y="21037"/>
                        </a:cubicBezTo>
                        <a:close/>
                      </a:path>
                    </a:pathLst>
                  </a:custGeom>
                  <a:solidFill>
                    <a:srgbClr val="B7BDD0"/>
                  </a:solidFill>
                  <a:ln w="2339" cap="flat">
                    <a:noFill/>
                    <a:prstDash val="solid"/>
                    <a:miter/>
                  </a:ln>
                </p:spPr>
                <p:txBody>
                  <a:bodyPr rtlCol="0" anchor="ctr"/>
                  <a:lstStyle/>
                  <a:p>
                    <a:endParaRPr lang="en-US" sz="2400"/>
                  </a:p>
                </p:txBody>
              </p:sp>
              <p:sp>
                <p:nvSpPr>
                  <p:cNvPr id="562" name="Freeform: Shape 561">
                    <a:extLst>
                      <a:ext uri="{FF2B5EF4-FFF2-40B4-BE49-F238E27FC236}">
                        <a16:creationId xmlns:a16="http://schemas.microsoft.com/office/drawing/2014/main" id="{7A0B8FF0-C7E1-C324-87E2-C9A4A0EB438D}"/>
                      </a:ext>
                    </a:extLst>
                  </p:cNvPr>
                  <p:cNvSpPr/>
                  <p:nvPr userDrawn="1"/>
                </p:nvSpPr>
                <p:spPr>
                  <a:xfrm>
                    <a:off x="8286634" y="448478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B7BED0"/>
                  </a:solidFill>
                  <a:ln w="2339" cap="flat">
                    <a:noFill/>
                    <a:prstDash val="solid"/>
                    <a:miter/>
                  </a:ln>
                </p:spPr>
                <p:txBody>
                  <a:bodyPr rtlCol="0" anchor="ctr"/>
                  <a:lstStyle/>
                  <a:p>
                    <a:endParaRPr lang="en-US" sz="2400"/>
                  </a:p>
                </p:txBody>
              </p:sp>
              <p:sp>
                <p:nvSpPr>
                  <p:cNvPr id="563" name="Freeform: Shape 562">
                    <a:extLst>
                      <a:ext uri="{FF2B5EF4-FFF2-40B4-BE49-F238E27FC236}">
                        <a16:creationId xmlns:a16="http://schemas.microsoft.com/office/drawing/2014/main" id="{CBAC1B17-4A8E-3584-929A-A4E6C9D3A42D}"/>
                      </a:ext>
                    </a:extLst>
                  </p:cNvPr>
                  <p:cNvSpPr/>
                  <p:nvPr userDrawn="1"/>
                </p:nvSpPr>
                <p:spPr>
                  <a:xfrm>
                    <a:off x="8286072" y="4484902"/>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7BED0"/>
                  </a:solidFill>
                  <a:ln w="2339" cap="flat">
                    <a:noFill/>
                    <a:prstDash val="solid"/>
                    <a:miter/>
                  </a:ln>
                </p:spPr>
                <p:txBody>
                  <a:bodyPr rtlCol="0" anchor="ctr"/>
                  <a:lstStyle/>
                  <a:p>
                    <a:endParaRPr lang="en-US" sz="2400"/>
                  </a:p>
                </p:txBody>
              </p:sp>
              <p:sp>
                <p:nvSpPr>
                  <p:cNvPr id="564" name="Freeform: Shape 563">
                    <a:extLst>
                      <a:ext uri="{FF2B5EF4-FFF2-40B4-BE49-F238E27FC236}">
                        <a16:creationId xmlns:a16="http://schemas.microsoft.com/office/drawing/2014/main" id="{91CE72E5-26C2-CA25-2381-31A6F68C4AA9}"/>
                      </a:ext>
                    </a:extLst>
                  </p:cNvPr>
                  <p:cNvSpPr/>
                  <p:nvPr userDrawn="1"/>
                </p:nvSpPr>
                <p:spPr>
                  <a:xfrm>
                    <a:off x="8285510" y="448499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B8BED0"/>
                  </a:solidFill>
                  <a:ln w="2339" cap="flat">
                    <a:noFill/>
                    <a:prstDash val="solid"/>
                    <a:miter/>
                  </a:ln>
                </p:spPr>
                <p:txBody>
                  <a:bodyPr rtlCol="0" anchor="ctr"/>
                  <a:lstStyle/>
                  <a:p>
                    <a:endParaRPr lang="en-US" sz="2400"/>
                  </a:p>
                </p:txBody>
              </p:sp>
              <p:sp>
                <p:nvSpPr>
                  <p:cNvPr id="565" name="Freeform: Shape 564">
                    <a:extLst>
                      <a:ext uri="{FF2B5EF4-FFF2-40B4-BE49-F238E27FC236}">
                        <a16:creationId xmlns:a16="http://schemas.microsoft.com/office/drawing/2014/main" id="{72AA7686-A11E-51F6-ADB1-157BA5B8A620}"/>
                      </a:ext>
                    </a:extLst>
                  </p:cNvPr>
                  <p:cNvSpPr/>
                  <p:nvPr userDrawn="1"/>
                </p:nvSpPr>
                <p:spPr>
                  <a:xfrm>
                    <a:off x="8284972" y="4485113"/>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B8BED1"/>
                  </a:solidFill>
                  <a:ln w="2339" cap="flat">
                    <a:noFill/>
                    <a:prstDash val="solid"/>
                    <a:miter/>
                  </a:ln>
                </p:spPr>
                <p:txBody>
                  <a:bodyPr rtlCol="0" anchor="ctr"/>
                  <a:lstStyle/>
                  <a:p>
                    <a:endParaRPr lang="en-US" sz="2400"/>
                  </a:p>
                </p:txBody>
              </p:sp>
              <p:sp>
                <p:nvSpPr>
                  <p:cNvPr id="566" name="Freeform: Shape 565">
                    <a:extLst>
                      <a:ext uri="{FF2B5EF4-FFF2-40B4-BE49-F238E27FC236}">
                        <a16:creationId xmlns:a16="http://schemas.microsoft.com/office/drawing/2014/main" id="{CF7822AD-3ED9-4E22-2FA9-25C23FA61A77}"/>
                      </a:ext>
                    </a:extLst>
                  </p:cNvPr>
                  <p:cNvSpPr/>
                  <p:nvPr userDrawn="1"/>
                </p:nvSpPr>
                <p:spPr>
                  <a:xfrm>
                    <a:off x="8284411" y="4485230"/>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B8BFD1"/>
                  </a:solidFill>
                  <a:ln w="2339" cap="flat">
                    <a:noFill/>
                    <a:prstDash val="solid"/>
                    <a:miter/>
                  </a:ln>
                </p:spPr>
                <p:txBody>
                  <a:bodyPr rtlCol="0" anchor="ctr"/>
                  <a:lstStyle/>
                  <a:p>
                    <a:endParaRPr lang="en-US" sz="2400"/>
                  </a:p>
                </p:txBody>
              </p:sp>
              <p:sp>
                <p:nvSpPr>
                  <p:cNvPr id="567" name="Freeform: Shape 566">
                    <a:extLst>
                      <a:ext uri="{FF2B5EF4-FFF2-40B4-BE49-F238E27FC236}">
                        <a16:creationId xmlns:a16="http://schemas.microsoft.com/office/drawing/2014/main" id="{B1AB7A82-31C3-AE3F-9F9A-E38632A628D1}"/>
                      </a:ext>
                    </a:extLst>
                  </p:cNvPr>
                  <p:cNvSpPr/>
                  <p:nvPr userDrawn="1"/>
                </p:nvSpPr>
                <p:spPr>
                  <a:xfrm>
                    <a:off x="8283849" y="4485347"/>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B9BFD1"/>
                  </a:solidFill>
                  <a:ln w="2339" cap="flat">
                    <a:noFill/>
                    <a:prstDash val="solid"/>
                    <a:miter/>
                  </a:ln>
                </p:spPr>
                <p:txBody>
                  <a:bodyPr rtlCol="0" anchor="ctr"/>
                  <a:lstStyle/>
                  <a:p>
                    <a:endParaRPr lang="en-US" sz="2400"/>
                  </a:p>
                </p:txBody>
              </p:sp>
              <p:sp>
                <p:nvSpPr>
                  <p:cNvPr id="568" name="Freeform: Shape 567">
                    <a:extLst>
                      <a:ext uri="{FF2B5EF4-FFF2-40B4-BE49-F238E27FC236}">
                        <a16:creationId xmlns:a16="http://schemas.microsoft.com/office/drawing/2014/main" id="{D502EF6C-6E3C-2ACF-F860-40EB6547DE30}"/>
                      </a:ext>
                    </a:extLst>
                  </p:cNvPr>
                  <p:cNvSpPr/>
                  <p:nvPr userDrawn="1"/>
                </p:nvSpPr>
                <p:spPr>
                  <a:xfrm>
                    <a:off x="8283311" y="448546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9BFD1"/>
                  </a:solidFill>
                  <a:ln w="2339" cap="flat">
                    <a:noFill/>
                    <a:prstDash val="solid"/>
                    <a:miter/>
                  </a:ln>
                </p:spPr>
                <p:txBody>
                  <a:bodyPr rtlCol="0" anchor="ctr"/>
                  <a:lstStyle/>
                  <a:p>
                    <a:endParaRPr lang="en-US" sz="2400"/>
                  </a:p>
                </p:txBody>
              </p:sp>
              <p:sp>
                <p:nvSpPr>
                  <p:cNvPr id="569" name="Freeform: Shape 568">
                    <a:extLst>
                      <a:ext uri="{FF2B5EF4-FFF2-40B4-BE49-F238E27FC236}">
                        <a16:creationId xmlns:a16="http://schemas.microsoft.com/office/drawing/2014/main" id="{F86C6450-836D-36F4-1F59-399A5C21C47F}"/>
                      </a:ext>
                    </a:extLst>
                  </p:cNvPr>
                  <p:cNvSpPr/>
                  <p:nvPr userDrawn="1"/>
                </p:nvSpPr>
                <p:spPr>
                  <a:xfrm>
                    <a:off x="8282749" y="4485581"/>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9C0D1"/>
                  </a:solidFill>
                  <a:ln w="2339" cap="flat">
                    <a:noFill/>
                    <a:prstDash val="solid"/>
                    <a:miter/>
                  </a:ln>
                </p:spPr>
                <p:txBody>
                  <a:bodyPr rtlCol="0" anchor="ctr"/>
                  <a:lstStyle/>
                  <a:p>
                    <a:endParaRPr lang="en-US" sz="2400"/>
                  </a:p>
                </p:txBody>
              </p:sp>
              <p:sp>
                <p:nvSpPr>
                  <p:cNvPr id="570" name="Freeform: Shape 569">
                    <a:extLst>
                      <a:ext uri="{FF2B5EF4-FFF2-40B4-BE49-F238E27FC236}">
                        <a16:creationId xmlns:a16="http://schemas.microsoft.com/office/drawing/2014/main" id="{AA0AFC2F-72F5-AF62-E684-576D16A518D2}"/>
                      </a:ext>
                    </a:extLst>
                  </p:cNvPr>
                  <p:cNvSpPr/>
                  <p:nvPr userDrawn="1"/>
                </p:nvSpPr>
                <p:spPr>
                  <a:xfrm>
                    <a:off x="8282211" y="4485698"/>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AC0D2"/>
                  </a:solidFill>
                  <a:ln w="2339" cap="flat">
                    <a:noFill/>
                    <a:prstDash val="solid"/>
                    <a:miter/>
                  </a:ln>
                </p:spPr>
                <p:txBody>
                  <a:bodyPr rtlCol="0" anchor="ctr"/>
                  <a:lstStyle/>
                  <a:p>
                    <a:endParaRPr lang="en-US" sz="2400"/>
                  </a:p>
                </p:txBody>
              </p:sp>
              <p:sp>
                <p:nvSpPr>
                  <p:cNvPr id="571" name="Freeform: Shape 570">
                    <a:extLst>
                      <a:ext uri="{FF2B5EF4-FFF2-40B4-BE49-F238E27FC236}">
                        <a16:creationId xmlns:a16="http://schemas.microsoft.com/office/drawing/2014/main" id="{BBCCF037-FD30-2658-86A2-20B0BA988986}"/>
                      </a:ext>
                    </a:extLst>
                  </p:cNvPr>
                  <p:cNvSpPr/>
                  <p:nvPr userDrawn="1"/>
                </p:nvSpPr>
                <p:spPr>
                  <a:xfrm>
                    <a:off x="8281649" y="4485815"/>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BAC0D2"/>
                  </a:solidFill>
                  <a:ln w="2339" cap="flat">
                    <a:noFill/>
                    <a:prstDash val="solid"/>
                    <a:miter/>
                  </a:ln>
                </p:spPr>
                <p:txBody>
                  <a:bodyPr rtlCol="0" anchor="ctr"/>
                  <a:lstStyle/>
                  <a:p>
                    <a:endParaRPr lang="en-US" sz="2400"/>
                  </a:p>
                </p:txBody>
              </p:sp>
              <p:sp>
                <p:nvSpPr>
                  <p:cNvPr id="572" name="Freeform: Shape 571">
                    <a:extLst>
                      <a:ext uri="{FF2B5EF4-FFF2-40B4-BE49-F238E27FC236}">
                        <a16:creationId xmlns:a16="http://schemas.microsoft.com/office/drawing/2014/main" id="{0B51688E-3DB8-EE10-B06C-B6D3BCBCEA0A}"/>
                      </a:ext>
                    </a:extLst>
                  </p:cNvPr>
                  <p:cNvSpPr/>
                  <p:nvPr userDrawn="1"/>
                </p:nvSpPr>
                <p:spPr>
                  <a:xfrm>
                    <a:off x="8281111" y="4485932"/>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BAC0D2"/>
                  </a:solidFill>
                  <a:ln w="2339" cap="flat">
                    <a:noFill/>
                    <a:prstDash val="solid"/>
                    <a:miter/>
                  </a:ln>
                </p:spPr>
                <p:txBody>
                  <a:bodyPr rtlCol="0" anchor="ctr"/>
                  <a:lstStyle/>
                  <a:p>
                    <a:endParaRPr lang="en-US" sz="2400"/>
                  </a:p>
                </p:txBody>
              </p:sp>
              <p:sp>
                <p:nvSpPr>
                  <p:cNvPr id="573" name="Freeform: Shape 572">
                    <a:extLst>
                      <a:ext uri="{FF2B5EF4-FFF2-40B4-BE49-F238E27FC236}">
                        <a16:creationId xmlns:a16="http://schemas.microsoft.com/office/drawing/2014/main" id="{97E39509-A3BF-B3B3-5A40-5917F5B36BC9}"/>
                      </a:ext>
                    </a:extLst>
                  </p:cNvPr>
                  <p:cNvSpPr/>
                  <p:nvPr userDrawn="1"/>
                </p:nvSpPr>
                <p:spPr>
                  <a:xfrm>
                    <a:off x="8280550" y="4486049"/>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AC1D2"/>
                  </a:solidFill>
                  <a:ln w="2339" cap="flat">
                    <a:noFill/>
                    <a:prstDash val="solid"/>
                    <a:miter/>
                  </a:ln>
                </p:spPr>
                <p:txBody>
                  <a:bodyPr rtlCol="0" anchor="ctr"/>
                  <a:lstStyle/>
                  <a:p>
                    <a:endParaRPr lang="en-US" sz="2400"/>
                  </a:p>
                </p:txBody>
              </p:sp>
              <p:sp>
                <p:nvSpPr>
                  <p:cNvPr id="574" name="Freeform: Shape 573">
                    <a:extLst>
                      <a:ext uri="{FF2B5EF4-FFF2-40B4-BE49-F238E27FC236}">
                        <a16:creationId xmlns:a16="http://schemas.microsoft.com/office/drawing/2014/main" id="{23F00E1E-43BA-8CB6-12EC-2D96A9343CF7}"/>
                      </a:ext>
                    </a:extLst>
                  </p:cNvPr>
                  <p:cNvSpPr/>
                  <p:nvPr userDrawn="1"/>
                </p:nvSpPr>
                <p:spPr>
                  <a:xfrm>
                    <a:off x="8280011" y="448616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BBC1D2"/>
                  </a:solidFill>
                  <a:ln w="2339" cap="flat">
                    <a:noFill/>
                    <a:prstDash val="solid"/>
                    <a:miter/>
                  </a:ln>
                </p:spPr>
                <p:txBody>
                  <a:bodyPr rtlCol="0" anchor="ctr"/>
                  <a:lstStyle/>
                  <a:p>
                    <a:endParaRPr lang="en-US" sz="2400"/>
                  </a:p>
                </p:txBody>
              </p:sp>
              <p:sp>
                <p:nvSpPr>
                  <p:cNvPr id="575" name="Freeform: Shape 574">
                    <a:extLst>
                      <a:ext uri="{FF2B5EF4-FFF2-40B4-BE49-F238E27FC236}">
                        <a16:creationId xmlns:a16="http://schemas.microsoft.com/office/drawing/2014/main" id="{39CA249B-13D5-8A44-EEE8-06CE02A629F4}"/>
                      </a:ext>
                    </a:extLst>
                  </p:cNvPr>
                  <p:cNvSpPr/>
                  <p:nvPr userDrawn="1"/>
                </p:nvSpPr>
                <p:spPr>
                  <a:xfrm>
                    <a:off x="8279473" y="448630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BC1D3"/>
                  </a:solidFill>
                  <a:ln w="2339" cap="flat">
                    <a:noFill/>
                    <a:prstDash val="solid"/>
                    <a:miter/>
                  </a:ln>
                </p:spPr>
                <p:txBody>
                  <a:bodyPr rtlCol="0" anchor="ctr"/>
                  <a:lstStyle/>
                  <a:p>
                    <a:endParaRPr lang="en-US" sz="2400"/>
                  </a:p>
                </p:txBody>
              </p:sp>
              <p:sp>
                <p:nvSpPr>
                  <p:cNvPr id="576" name="Freeform: Shape 575">
                    <a:extLst>
                      <a:ext uri="{FF2B5EF4-FFF2-40B4-BE49-F238E27FC236}">
                        <a16:creationId xmlns:a16="http://schemas.microsoft.com/office/drawing/2014/main" id="{741C38C8-0045-0502-79C5-6AACA05858E0}"/>
                      </a:ext>
                    </a:extLst>
                  </p:cNvPr>
                  <p:cNvSpPr/>
                  <p:nvPr userDrawn="1"/>
                </p:nvSpPr>
                <p:spPr>
                  <a:xfrm>
                    <a:off x="8278912" y="448642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BC1D3"/>
                  </a:solidFill>
                  <a:ln w="2339" cap="flat">
                    <a:noFill/>
                    <a:prstDash val="solid"/>
                    <a:miter/>
                  </a:ln>
                </p:spPr>
                <p:txBody>
                  <a:bodyPr rtlCol="0" anchor="ctr"/>
                  <a:lstStyle/>
                  <a:p>
                    <a:endParaRPr lang="en-US" sz="2400"/>
                  </a:p>
                </p:txBody>
              </p:sp>
              <p:sp>
                <p:nvSpPr>
                  <p:cNvPr id="577" name="Freeform: Shape 576">
                    <a:extLst>
                      <a:ext uri="{FF2B5EF4-FFF2-40B4-BE49-F238E27FC236}">
                        <a16:creationId xmlns:a16="http://schemas.microsoft.com/office/drawing/2014/main" id="{51744ECB-A52D-C617-D92D-7BD0CD79AF8C}"/>
                      </a:ext>
                    </a:extLst>
                  </p:cNvPr>
                  <p:cNvSpPr/>
                  <p:nvPr userDrawn="1"/>
                </p:nvSpPr>
                <p:spPr>
                  <a:xfrm>
                    <a:off x="8278373" y="4486541"/>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BCC2D3"/>
                  </a:solidFill>
                  <a:ln w="2339" cap="flat">
                    <a:noFill/>
                    <a:prstDash val="solid"/>
                    <a:miter/>
                  </a:ln>
                </p:spPr>
                <p:txBody>
                  <a:bodyPr rtlCol="0" anchor="ctr"/>
                  <a:lstStyle/>
                  <a:p>
                    <a:endParaRPr lang="en-US" sz="2400"/>
                  </a:p>
                </p:txBody>
              </p:sp>
              <p:sp>
                <p:nvSpPr>
                  <p:cNvPr id="578" name="Freeform: Shape 577">
                    <a:extLst>
                      <a:ext uri="{FF2B5EF4-FFF2-40B4-BE49-F238E27FC236}">
                        <a16:creationId xmlns:a16="http://schemas.microsoft.com/office/drawing/2014/main" id="{699C1A7C-6DE7-20C2-61F9-3D8C92A60DA4}"/>
                      </a:ext>
                    </a:extLst>
                  </p:cNvPr>
                  <p:cNvSpPr/>
                  <p:nvPr userDrawn="1"/>
                </p:nvSpPr>
                <p:spPr>
                  <a:xfrm>
                    <a:off x="8277835" y="4486681"/>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CC2D3"/>
                  </a:solidFill>
                  <a:ln w="2339" cap="flat">
                    <a:noFill/>
                    <a:prstDash val="solid"/>
                    <a:miter/>
                  </a:ln>
                </p:spPr>
                <p:txBody>
                  <a:bodyPr rtlCol="0" anchor="ctr"/>
                  <a:lstStyle/>
                  <a:p>
                    <a:endParaRPr lang="en-US" sz="2400"/>
                  </a:p>
                </p:txBody>
              </p:sp>
              <p:sp>
                <p:nvSpPr>
                  <p:cNvPr id="579" name="Freeform: Shape 578">
                    <a:extLst>
                      <a:ext uri="{FF2B5EF4-FFF2-40B4-BE49-F238E27FC236}">
                        <a16:creationId xmlns:a16="http://schemas.microsoft.com/office/drawing/2014/main" id="{78AF436A-5AD1-F5DE-19E5-058E04D62537}"/>
                      </a:ext>
                    </a:extLst>
                  </p:cNvPr>
                  <p:cNvSpPr/>
                  <p:nvPr userDrawn="1"/>
                </p:nvSpPr>
                <p:spPr>
                  <a:xfrm>
                    <a:off x="8277297" y="4486798"/>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BCC2D3"/>
                  </a:solidFill>
                  <a:ln w="2339" cap="flat">
                    <a:noFill/>
                    <a:prstDash val="solid"/>
                    <a:miter/>
                  </a:ln>
                </p:spPr>
                <p:txBody>
                  <a:bodyPr rtlCol="0" anchor="ctr"/>
                  <a:lstStyle/>
                  <a:p>
                    <a:endParaRPr lang="en-US" sz="2400"/>
                  </a:p>
                </p:txBody>
              </p:sp>
              <p:sp>
                <p:nvSpPr>
                  <p:cNvPr id="580" name="Freeform: Shape 579">
                    <a:extLst>
                      <a:ext uri="{FF2B5EF4-FFF2-40B4-BE49-F238E27FC236}">
                        <a16:creationId xmlns:a16="http://schemas.microsoft.com/office/drawing/2014/main" id="{BF78983B-C045-A7B0-CF7B-6FA6BBCDD141}"/>
                      </a:ext>
                    </a:extLst>
                  </p:cNvPr>
                  <p:cNvSpPr/>
                  <p:nvPr userDrawn="1"/>
                </p:nvSpPr>
                <p:spPr>
                  <a:xfrm>
                    <a:off x="8276759" y="4486938"/>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DC3D4"/>
                  </a:solidFill>
                  <a:ln w="2339" cap="flat">
                    <a:noFill/>
                    <a:prstDash val="solid"/>
                    <a:miter/>
                  </a:ln>
                </p:spPr>
                <p:txBody>
                  <a:bodyPr rtlCol="0" anchor="ctr"/>
                  <a:lstStyle/>
                  <a:p>
                    <a:endParaRPr lang="en-US" sz="2400"/>
                  </a:p>
                </p:txBody>
              </p:sp>
              <p:sp>
                <p:nvSpPr>
                  <p:cNvPr id="581" name="Freeform: Shape 580">
                    <a:extLst>
                      <a:ext uri="{FF2B5EF4-FFF2-40B4-BE49-F238E27FC236}">
                        <a16:creationId xmlns:a16="http://schemas.microsoft.com/office/drawing/2014/main" id="{BFC6465A-270F-B844-099D-6E154F40FBB0}"/>
                      </a:ext>
                    </a:extLst>
                  </p:cNvPr>
                  <p:cNvSpPr/>
                  <p:nvPr userDrawn="1"/>
                </p:nvSpPr>
                <p:spPr>
                  <a:xfrm>
                    <a:off x="8276197" y="4487055"/>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30"/>
                          <a:pt x="42097" y="21037"/>
                        </a:cubicBezTo>
                        <a:close/>
                      </a:path>
                    </a:pathLst>
                  </a:custGeom>
                  <a:solidFill>
                    <a:srgbClr val="BDC3D4"/>
                  </a:solidFill>
                  <a:ln w="2339" cap="flat">
                    <a:noFill/>
                    <a:prstDash val="solid"/>
                    <a:miter/>
                  </a:ln>
                </p:spPr>
                <p:txBody>
                  <a:bodyPr rtlCol="0" anchor="ctr"/>
                  <a:lstStyle/>
                  <a:p>
                    <a:endParaRPr lang="en-US" sz="2400"/>
                  </a:p>
                </p:txBody>
              </p:sp>
              <p:sp>
                <p:nvSpPr>
                  <p:cNvPr id="582" name="Freeform: Shape 581">
                    <a:extLst>
                      <a:ext uri="{FF2B5EF4-FFF2-40B4-BE49-F238E27FC236}">
                        <a16:creationId xmlns:a16="http://schemas.microsoft.com/office/drawing/2014/main" id="{B07BD104-172F-2DB4-B3DB-C527E46980ED}"/>
                      </a:ext>
                    </a:extLst>
                  </p:cNvPr>
                  <p:cNvSpPr/>
                  <p:nvPr userDrawn="1"/>
                </p:nvSpPr>
                <p:spPr>
                  <a:xfrm>
                    <a:off x="8275659" y="448719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DC3D4"/>
                  </a:solidFill>
                  <a:ln w="2339" cap="flat">
                    <a:noFill/>
                    <a:prstDash val="solid"/>
                    <a:miter/>
                  </a:ln>
                </p:spPr>
                <p:txBody>
                  <a:bodyPr rtlCol="0" anchor="ctr"/>
                  <a:lstStyle/>
                  <a:p>
                    <a:endParaRPr lang="en-US" sz="2400"/>
                  </a:p>
                </p:txBody>
              </p:sp>
              <p:sp>
                <p:nvSpPr>
                  <p:cNvPr id="583" name="Freeform: Shape 582">
                    <a:extLst>
                      <a:ext uri="{FF2B5EF4-FFF2-40B4-BE49-F238E27FC236}">
                        <a16:creationId xmlns:a16="http://schemas.microsoft.com/office/drawing/2014/main" id="{A029DD17-D9BD-A9A4-17DA-F9C977404512}"/>
                      </a:ext>
                    </a:extLst>
                  </p:cNvPr>
                  <p:cNvSpPr/>
                  <p:nvPr userDrawn="1"/>
                </p:nvSpPr>
                <p:spPr>
                  <a:xfrm>
                    <a:off x="8275121" y="448733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BEC3D4"/>
                  </a:solidFill>
                  <a:ln w="2339" cap="flat">
                    <a:noFill/>
                    <a:prstDash val="solid"/>
                    <a:miter/>
                  </a:ln>
                </p:spPr>
                <p:txBody>
                  <a:bodyPr rtlCol="0" anchor="ctr"/>
                  <a:lstStyle/>
                  <a:p>
                    <a:endParaRPr lang="en-US" sz="2400"/>
                  </a:p>
                </p:txBody>
              </p:sp>
              <p:sp>
                <p:nvSpPr>
                  <p:cNvPr id="584" name="Freeform: Shape 583">
                    <a:extLst>
                      <a:ext uri="{FF2B5EF4-FFF2-40B4-BE49-F238E27FC236}">
                        <a16:creationId xmlns:a16="http://schemas.microsoft.com/office/drawing/2014/main" id="{1AB148F4-6C5A-3B19-F788-6F977D6567A4}"/>
                      </a:ext>
                    </a:extLst>
                  </p:cNvPr>
                  <p:cNvSpPr/>
                  <p:nvPr userDrawn="1"/>
                </p:nvSpPr>
                <p:spPr>
                  <a:xfrm>
                    <a:off x="8274583" y="4487453"/>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30"/>
                          <a:pt x="42097" y="21037"/>
                        </a:cubicBezTo>
                        <a:close/>
                      </a:path>
                    </a:pathLst>
                  </a:custGeom>
                  <a:solidFill>
                    <a:srgbClr val="BEC4D4"/>
                  </a:solidFill>
                  <a:ln w="2339" cap="flat">
                    <a:noFill/>
                    <a:prstDash val="solid"/>
                    <a:miter/>
                  </a:ln>
                </p:spPr>
                <p:txBody>
                  <a:bodyPr rtlCol="0" anchor="ctr"/>
                  <a:lstStyle/>
                  <a:p>
                    <a:endParaRPr lang="en-US" sz="2400"/>
                  </a:p>
                </p:txBody>
              </p:sp>
              <p:sp>
                <p:nvSpPr>
                  <p:cNvPr id="585" name="Freeform: Shape 584">
                    <a:extLst>
                      <a:ext uri="{FF2B5EF4-FFF2-40B4-BE49-F238E27FC236}">
                        <a16:creationId xmlns:a16="http://schemas.microsoft.com/office/drawing/2014/main" id="{B41393FC-E2A4-0536-06CF-9AE9626AD687}"/>
                      </a:ext>
                    </a:extLst>
                  </p:cNvPr>
                  <p:cNvSpPr/>
                  <p:nvPr userDrawn="1"/>
                </p:nvSpPr>
                <p:spPr>
                  <a:xfrm>
                    <a:off x="8274044" y="448759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EC4D5"/>
                  </a:solidFill>
                  <a:ln w="2339" cap="flat">
                    <a:noFill/>
                    <a:prstDash val="solid"/>
                    <a:miter/>
                  </a:ln>
                </p:spPr>
                <p:txBody>
                  <a:bodyPr rtlCol="0" anchor="ctr"/>
                  <a:lstStyle/>
                  <a:p>
                    <a:endParaRPr lang="en-US" sz="2400"/>
                  </a:p>
                </p:txBody>
              </p:sp>
              <p:sp>
                <p:nvSpPr>
                  <p:cNvPr id="586" name="Freeform: Shape 585">
                    <a:extLst>
                      <a:ext uri="{FF2B5EF4-FFF2-40B4-BE49-F238E27FC236}">
                        <a16:creationId xmlns:a16="http://schemas.microsoft.com/office/drawing/2014/main" id="{89A21DEC-FA96-B13B-CCF0-B4432975494F}"/>
                      </a:ext>
                    </a:extLst>
                  </p:cNvPr>
                  <p:cNvSpPr/>
                  <p:nvPr userDrawn="1"/>
                </p:nvSpPr>
                <p:spPr>
                  <a:xfrm>
                    <a:off x="8273506" y="448773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EC4D5"/>
                  </a:solidFill>
                  <a:ln w="2339" cap="flat">
                    <a:noFill/>
                    <a:prstDash val="solid"/>
                    <a:miter/>
                  </a:ln>
                </p:spPr>
                <p:txBody>
                  <a:bodyPr rtlCol="0" anchor="ctr"/>
                  <a:lstStyle/>
                  <a:p>
                    <a:endParaRPr lang="en-US" sz="2400"/>
                  </a:p>
                </p:txBody>
              </p:sp>
              <p:sp>
                <p:nvSpPr>
                  <p:cNvPr id="587" name="Freeform: Shape 586">
                    <a:extLst>
                      <a:ext uri="{FF2B5EF4-FFF2-40B4-BE49-F238E27FC236}">
                        <a16:creationId xmlns:a16="http://schemas.microsoft.com/office/drawing/2014/main" id="{BF272FDB-F669-C459-7740-D76703EDCA20}"/>
                      </a:ext>
                    </a:extLst>
                  </p:cNvPr>
                  <p:cNvSpPr/>
                  <p:nvPr userDrawn="1"/>
                </p:nvSpPr>
                <p:spPr>
                  <a:xfrm>
                    <a:off x="8272991" y="448787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FC5D5"/>
                  </a:solidFill>
                  <a:ln w="2339" cap="flat">
                    <a:noFill/>
                    <a:prstDash val="solid"/>
                    <a:miter/>
                  </a:ln>
                </p:spPr>
                <p:txBody>
                  <a:bodyPr rtlCol="0" anchor="ctr"/>
                  <a:lstStyle/>
                  <a:p>
                    <a:endParaRPr lang="en-US" sz="2400"/>
                  </a:p>
                </p:txBody>
              </p:sp>
              <p:sp>
                <p:nvSpPr>
                  <p:cNvPr id="588" name="Freeform: Shape 587">
                    <a:extLst>
                      <a:ext uri="{FF2B5EF4-FFF2-40B4-BE49-F238E27FC236}">
                        <a16:creationId xmlns:a16="http://schemas.microsoft.com/office/drawing/2014/main" id="{FFBA45C8-B6F0-AD7D-3735-755DECB9B456}"/>
                      </a:ext>
                    </a:extLst>
                  </p:cNvPr>
                  <p:cNvSpPr/>
                  <p:nvPr userDrawn="1"/>
                </p:nvSpPr>
                <p:spPr>
                  <a:xfrm>
                    <a:off x="8272453" y="4488015"/>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FC5D5"/>
                  </a:solidFill>
                  <a:ln w="2339" cap="flat">
                    <a:noFill/>
                    <a:prstDash val="solid"/>
                    <a:miter/>
                  </a:ln>
                </p:spPr>
                <p:txBody>
                  <a:bodyPr rtlCol="0" anchor="ctr"/>
                  <a:lstStyle/>
                  <a:p>
                    <a:endParaRPr lang="en-US" sz="2400"/>
                  </a:p>
                </p:txBody>
              </p:sp>
              <p:sp>
                <p:nvSpPr>
                  <p:cNvPr id="589" name="Freeform: Shape 588">
                    <a:extLst>
                      <a:ext uri="{FF2B5EF4-FFF2-40B4-BE49-F238E27FC236}">
                        <a16:creationId xmlns:a16="http://schemas.microsoft.com/office/drawing/2014/main" id="{29E6BD77-25F6-182E-7C27-7113A3DD940D}"/>
                      </a:ext>
                    </a:extLst>
                  </p:cNvPr>
                  <p:cNvSpPr/>
                  <p:nvPr userDrawn="1"/>
                </p:nvSpPr>
                <p:spPr>
                  <a:xfrm>
                    <a:off x="8271915" y="4488155"/>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FC5D5"/>
                  </a:solidFill>
                  <a:ln w="2339" cap="flat">
                    <a:noFill/>
                    <a:prstDash val="solid"/>
                    <a:miter/>
                  </a:ln>
                </p:spPr>
                <p:txBody>
                  <a:bodyPr rtlCol="0" anchor="ctr"/>
                  <a:lstStyle/>
                  <a:p>
                    <a:endParaRPr lang="en-US" sz="2400"/>
                  </a:p>
                </p:txBody>
              </p:sp>
              <p:sp>
                <p:nvSpPr>
                  <p:cNvPr id="590" name="Freeform: Shape 589">
                    <a:extLst>
                      <a:ext uri="{FF2B5EF4-FFF2-40B4-BE49-F238E27FC236}">
                        <a16:creationId xmlns:a16="http://schemas.microsoft.com/office/drawing/2014/main" id="{CA282874-A1FC-A092-4031-9635AD1C394D}"/>
                      </a:ext>
                    </a:extLst>
                  </p:cNvPr>
                  <p:cNvSpPr/>
                  <p:nvPr userDrawn="1"/>
                </p:nvSpPr>
                <p:spPr>
                  <a:xfrm>
                    <a:off x="8271377" y="448829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C0C5D6"/>
                  </a:solidFill>
                  <a:ln w="2339" cap="flat">
                    <a:noFill/>
                    <a:prstDash val="solid"/>
                    <a:miter/>
                  </a:ln>
                </p:spPr>
                <p:txBody>
                  <a:bodyPr rtlCol="0" anchor="ctr"/>
                  <a:lstStyle/>
                  <a:p>
                    <a:endParaRPr lang="en-US" sz="2400"/>
                  </a:p>
                </p:txBody>
              </p:sp>
              <p:sp>
                <p:nvSpPr>
                  <p:cNvPr id="591" name="Freeform: Shape 590">
                    <a:extLst>
                      <a:ext uri="{FF2B5EF4-FFF2-40B4-BE49-F238E27FC236}">
                        <a16:creationId xmlns:a16="http://schemas.microsoft.com/office/drawing/2014/main" id="{AD4E8AEA-320E-44B1-DAB0-E4E032600B68}"/>
                      </a:ext>
                    </a:extLst>
                  </p:cNvPr>
                  <p:cNvSpPr/>
                  <p:nvPr userDrawn="1"/>
                </p:nvSpPr>
                <p:spPr>
                  <a:xfrm>
                    <a:off x="8270862" y="448843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C0C6D6"/>
                  </a:solidFill>
                  <a:ln w="2339" cap="flat">
                    <a:noFill/>
                    <a:prstDash val="solid"/>
                    <a:miter/>
                  </a:ln>
                </p:spPr>
                <p:txBody>
                  <a:bodyPr rtlCol="0" anchor="ctr"/>
                  <a:lstStyle/>
                  <a:p>
                    <a:endParaRPr lang="en-US" sz="2400"/>
                  </a:p>
                </p:txBody>
              </p:sp>
              <p:sp>
                <p:nvSpPr>
                  <p:cNvPr id="592" name="Freeform: Shape 591">
                    <a:extLst>
                      <a:ext uri="{FF2B5EF4-FFF2-40B4-BE49-F238E27FC236}">
                        <a16:creationId xmlns:a16="http://schemas.microsoft.com/office/drawing/2014/main" id="{CE56B401-6D94-0221-F6BB-B8F5D887EE56}"/>
                      </a:ext>
                    </a:extLst>
                  </p:cNvPr>
                  <p:cNvSpPr/>
                  <p:nvPr userDrawn="1"/>
                </p:nvSpPr>
                <p:spPr>
                  <a:xfrm>
                    <a:off x="8270324" y="448857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C0C6D6"/>
                  </a:solidFill>
                  <a:ln w="2339" cap="flat">
                    <a:noFill/>
                    <a:prstDash val="solid"/>
                    <a:miter/>
                  </a:ln>
                </p:spPr>
                <p:txBody>
                  <a:bodyPr rtlCol="0" anchor="ctr"/>
                  <a:lstStyle/>
                  <a:p>
                    <a:endParaRPr lang="en-US" sz="2400"/>
                  </a:p>
                </p:txBody>
              </p:sp>
              <p:sp>
                <p:nvSpPr>
                  <p:cNvPr id="593" name="Freeform: Shape 592">
                    <a:extLst>
                      <a:ext uri="{FF2B5EF4-FFF2-40B4-BE49-F238E27FC236}">
                        <a16:creationId xmlns:a16="http://schemas.microsoft.com/office/drawing/2014/main" id="{70737F38-03E5-6233-ABFD-75037A69D95B}"/>
                      </a:ext>
                    </a:extLst>
                  </p:cNvPr>
                  <p:cNvSpPr/>
                  <p:nvPr userDrawn="1"/>
                </p:nvSpPr>
                <p:spPr>
                  <a:xfrm>
                    <a:off x="8269786" y="4488717"/>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C1C6D6"/>
                  </a:solidFill>
                  <a:ln w="2339" cap="flat">
                    <a:noFill/>
                    <a:prstDash val="solid"/>
                    <a:miter/>
                  </a:ln>
                </p:spPr>
                <p:txBody>
                  <a:bodyPr rtlCol="0" anchor="ctr"/>
                  <a:lstStyle/>
                  <a:p>
                    <a:endParaRPr lang="en-US" sz="2400"/>
                  </a:p>
                </p:txBody>
              </p:sp>
              <p:sp>
                <p:nvSpPr>
                  <p:cNvPr id="594" name="Freeform: Shape 593">
                    <a:extLst>
                      <a:ext uri="{FF2B5EF4-FFF2-40B4-BE49-F238E27FC236}">
                        <a16:creationId xmlns:a16="http://schemas.microsoft.com/office/drawing/2014/main" id="{0A3B5F06-04FA-D886-E0D6-51E3B5B58C51}"/>
                      </a:ext>
                    </a:extLst>
                  </p:cNvPr>
                  <p:cNvSpPr/>
                  <p:nvPr userDrawn="1"/>
                </p:nvSpPr>
                <p:spPr>
                  <a:xfrm>
                    <a:off x="8269271" y="4488857"/>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C1C6D6"/>
                  </a:solidFill>
                  <a:ln w="2339" cap="flat">
                    <a:noFill/>
                    <a:prstDash val="solid"/>
                    <a:miter/>
                  </a:ln>
                </p:spPr>
                <p:txBody>
                  <a:bodyPr rtlCol="0" anchor="ctr"/>
                  <a:lstStyle/>
                  <a:p>
                    <a:endParaRPr lang="en-US" sz="2400"/>
                  </a:p>
                </p:txBody>
              </p:sp>
              <p:sp>
                <p:nvSpPr>
                  <p:cNvPr id="595" name="Freeform: Shape 594">
                    <a:extLst>
                      <a:ext uri="{FF2B5EF4-FFF2-40B4-BE49-F238E27FC236}">
                        <a16:creationId xmlns:a16="http://schemas.microsoft.com/office/drawing/2014/main" id="{54D6B4C1-ACF0-F75B-ABEB-16B3305BA469}"/>
                      </a:ext>
                    </a:extLst>
                  </p:cNvPr>
                  <p:cNvSpPr/>
                  <p:nvPr userDrawn="1"/>
                </p:nvSpPr>
                <p:spPr>
                  <a:xfrm>
                    <a:off x="8268733" y="4489021"/>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C1C7D7"/>
                  </a:solidFill>
                  <a:ln w="2339" cap="flat">
                    <a:noFill/>
                    <a:prstDash val="solid"/>
                    <a:miter/>
                  </a:ln>
                </p:spPr>
                <p:txBody>
                  <a:bodyPr rtlCol="0" anchor="ctr"/>
                  <a:lstStyle/>
                  <a:p>
                    <a:endParaRPr lang="en-US" sz="2400"/>
                  </a:p>
                </p:txBody>
              </p:sp>
              <p:sp>
                <p:nvSpPr>
                  <p:cNvPr id="596" name="Freeform: Shape 595">
                    <a:extLst>
                      <a:ext uri="{FF2B5EF4-FFF2-40B4-BE49-F238E27FC236}">
                        <a16:creationId xmlns:a16="http://schemas.microsoft.com/office/drawing/2014/main" id="{08939685-CC31-E01A-F8C7-64E62F1581C5}"/>
                      </a:ext>
                    </a:extLst>
                  </p:cNvPr>
                  <p:cNvSpPr/>
                  <p:nvPr userDrawn="1"/>
                </p:nvSpPr>
                <p:spPr>
                  <a:xfrm>
                    <a:off x="8268218" y="4489161"/>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C2C7D7"/>
                  </a:solidFill>
                  <a:ln w="2339" cap="flat">
                    <a:noFill/>
                    <a:prstDash val="solid"/>
                    <a:miter/>
                  </a:ln>
                </p:spPr>
                <p:txBody>
                  <a:bodyPr rtlCol="0" anchor="ctr"/>
                  <a:lstStyle/>
                  <a:p>
                    <a:endParaRPr lang="en-US" sz="2400"/>
                  </a:p>
                </p:txBody>
              </p:sp>
              <p:sp>
                <p:nvSpPr>
                  <p:cNvPr id="597" name="Freeform: Shape 596">
                    <a:extLst>
                      <a:ext uri="{FF2B5EF4-FFF2-40B4-BE49-F238E27FC236}">
                        <a16:creationId xmlns:a16="http://schemas.microsoft.com/office/drawing/2014/main" id="{7F041C8C-F365-7FF2-F3D5-DDC957DC6322}"/>
                      </a:ext>
                    </a:extLst>
                  </p:cNvPr>
                  <p:cNvSpPr/>
                  <p:nvPr userDrawn="1"/>
                </p:nvSpPr>
                <p:spPr>
                  <a:xfrm>
                    <a:off x="8267680" y="4489302"/>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C2C7D7"/>
                  </a:solidFill>
                  <a:ln w="2339" cap="flat">
                    <a:noFill/>
                    <a:prstDash val="solid"/>
                    <a:miter/>
                  </a:ln>
                </p:spPr>
                <p:txBody>
                  <a:bodyPr rtlCol="0" anchor="ctr"/>
                  <a:lstStyle/>
                  <a:p>
                    <a:endParaRPr lang="en-US" sz="2400"/>
                  </a:p>
                </p:txBody>
              </p:sp>
              <p:sp>
                <p:nvSpPr>
                  <p:cNvPr id="598" name="Freeform: Shape 597">
                    <a:extLst>
                      <a:ext uri="{FF2B5EF4-FFF2-40B4-BE49-F238E27FC236}">
                        <a16:creationId xmlns:a16="http://schemas.microsoft.com/office/drawing/2014/main" id="{25BAEDDC-91AF-35FF-E556-3808DAE4D9A3}"/>
                      </a:ext>
                    </a:extLst>
                  </p:cNvPr>
                  <p:cNvSpPr/>
                  <p:nvPr userDrawn="1"/>
                </p:nvSpPr>
                <p:spPr>
                  <a:xfrm>
                    <a:off x="8267165" y="448946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C2C8D7"/>
                  </a:solidFill>
                  <a:ln w="2339" cap="flat">
                    <a:noFill/>
                    <a:prstDash val="solid"/>
                    <a:miter/>
                  </a:ln>
                </p:spPr>
                <p:txBody>
                  <a:bodyPr rtlCol="0" anchor="ctr"/>
                  <a:lstStyle/>
                  <a:p>
                    <a:endParaRPr lang="en-US" sz="2400"/>
                  </a:p>
                </p:txBody>
              </p:sp>
              <p:sp>
                <p:nvSpPr>
                  <p:cNvPr id="599" name="Freeform: Shape 598">
                    <a:extLst>
                      <a:ext uri="{FF2B5EF4-FFF2-40B4-BE49-F238E27FC236}">
                        <a16:creationId xmlns:a16="http://schemas.microsoft.com/office/drawing/2014/main" id="{483C69ED-03A0-8FA7-B8E8-FF8C7EBFA957}"/>
                      </a:ext>
                    </a:extLst>
                  </p:cNvPr>
                  <p:cNvSpPr/>
                  <p:nvPr userDrawn="1"/>
                </p:nvSpPr>
                <p:spPr>
                  <a:xfrm>
                    <a:off x="8266650" y="448960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C2C8D7"/>
                  </a:solidFill>
                  <a:ln w="2339" cap="flat">
                    <a:noFill/>
                    <a:prstDash val="solid"/>
                    <a:miter/>
                  </a:ln>
                </p:spPr>
                <p:txBody>
                  <a:bodyPr rtlCol="0" anchor="ctr"/>
                  <a:lstStyle/>
                  <a:p>
                    <a:endParaRPr lang="en-US" sz="2400"/>
                  </a:p>
                </p:txBody>
              </p:sp>
              <p:sp>
                <p:nvSpPr>
                  <p:cNvPr id="600" name="Freeform: Shape 599">
                    <a:extLst>
                      <a:ext uri="{FF2B5EF4-FFF2-40B4-BE49-F238E27FC236}">
                        <a16:creationId xmlns:a16="http://schemas.microsoft.com/office/drawing/2014/main" id="{295D27D2-8B8D-0174-4F4E-C743D026697E}"/>
                      </a:ext>
                    </a:extLst>
                  </p:cNvPr>
                  <p:cNvSpPr/>
                  <p:nvPr userDrawn="1"/>
                </p:nvSpPr>
                <p:spPr>
                  <a:xfrm>
                    <a:off x="8266112" y="4489770"/>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C3C8D8"/>
                  </a:solidFill>
                  <a:ln w="2339" cap="flat">
                    <a:noFill/>
                    <a:prstDash val="solid"/>
                    <a:miter/>
                  </a:ln>
                </p:spPr>
                <p:txBody>
                  <a:bodyPr rtlCol="0" anchor="ctr"/>
                  <a:lstStyle/>
                  <a:p>
                    <a:endParaRPr lang="en-US" sz="2400"/>
                  </a:p>
                </p:txBody>
              </p:sp>
              <p:sp>
                <p:nvSpPr>
                  <p:cNvPr id="601" name="Freeform: Shape 600">
                    <a:extLst>
                      <a:ext uri="{FF2B5EF4-FFF2-40B4-BE49-F238E27FC236}">
                        <a16:creationId xmlns:a16="http://schemas.microsoft.com/office/drawing/2014/main" id="{029ED290-F2B8-3BDA-2F4E-160AC9B8F227}"/>
                      </a:ext>
                    </a:extLst>
                  </p:cNvPr>
                  <p:cNvSpPr/>
                  <p:nvPr userDrawn="1"/>
                </p:nvSpPr>
                <p:spPr>
                  <a:xfrm>
                    <a:off x="8265597" y="4489910"/>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C3C8D8"/>
                  </a:solidFill>
                  <a:ln w="2339" cap="flat">
                    <a:noFill/>
                    <a:prstDash val="solid"/>
                    <a:miter/>
                  </a:ln>
                </p:spPr>
                <p:txBody>
                  <a:bodyPr rtlCol="0" anchor="ctr"/>
                  <a:lstStyle/>
                  <a:p>
                    <a:endParaRPr lang="en-US" sz="2400"/>
                  </a:p>
                </p:txBody>
              </p:sp>
              <p:sp>
                <p:nvSpPr>
                  <p:cNvPr id="602" name="Freeform: Shape 601">
                    <a:extLst>
                      <a:ext uri="{FF2B5EF4-FFF2-40B4-BE49-F238E27FC236}">
                        <a16:creationId xmlns:a16="http://schemas.microsoft.com/office/drawing/2014/main" id="{3DE11477-E5C7-BF06-88C8-1EEF373280C8}"/>
                      </a:ext>
                    </a:extLst>
                  </p:cNvPr>
                  <p:cNvSpPr/>
                  <p:nvPr userDrawn="1"/>
                </p:nvSpPr>
                <p:spPr>
                  <a:xfrm>
                    <a:off x="8265082" y="449007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C3C9D8"/>
                  </a:solidFill>
                  <a:ln w="2339" cap="flat">
                    <a:noFill/>
                    <a:prstDash val="solid"/>
                    <a:miter/>
                  </a:ln>
                </p:spPr>
                <p:txBody>
                  <a:bodyPr rtlCol="0" anchor="ctr"/>
                  <a:lstStyle/>
                  <a:p>
                    <a:endParaRPr lang="en-US" sz="2400"/>
                  </a:p>
                </p:txBody>
              </p:sp>
              <p:sp>
                <p:nvSpPr>
                  <p:cNvPr id="603" name="Freeform: Shape 602">
                    <a:extLst>
                      <a:ext uri="{FF2B5EF4-FFF2-40B4-BE49-F238E27FC236}">
                        <a16:creationId xmlns:a16="http://schemas.microsoft.com/office/drawing/2014/main" id="{EEBECE3D-22BF-7646-CBB4-DD9A97F9C44B}"/>
                      </a:ext>
                    </a:extLst>
                  </p:cNvPr>
                  <p:cNvSpPr/>
                  <p:nvPr userDrawn="1"/>
                </p:nvSpPr>
                <p:spPr>
                  <a:xfrm>
                    <a:off x="8264567" y="449021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C4C9D8"/>
                  </a:solidFill>
                  <a:ln w="2339" cap="flat">
                    <a:noFill/>
                    <a:prstDash val="solid"/>
                    <a:miter/>
                  </a:ln>
                </p:spPr>
                <p:txBody>
                  <a:bodyPr rtlCol="0" anchor="ctr"/>
                  <a:lstStyle/>
                  <a:p>
                    <a:endParaRPr lang="en-US" sz="2400"/>
                  </a:p>
                </p:txBody>
              </p:sp>
              <p:sp>
                <p:nvSpPr>
                  <p:cNvPr id="604" name="Freeform: Shape 603">
                    <a:extLst>
                      <a:ext uri="{FF2B5EF4-FFF2-40B4-BE49-F238E27FC236}">
                        <a16:creationId xmlns:a16="http://schemas.microsoft.com/office/drawing/2014/main" id="{5DB1BC50-86D9-9505-1418-D96286AF2440}"/>
                      </a:ext>
                    </a:extLst>
                  </p:cNvPr>
                  <p:cNvSpPr/>
                  <p:nvPr userDrawn="1"/>
                </p:nvSpPr>
                <p:spPr>
                  <a:xfrm>
                    <a:off x="8264052" y="4490378"/>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C4C9D8"/>
                  </a:solidFill>
                  <a:ln w="2339" cap="flat">
                    <a:noFill/>
                    <a:prstDash val="solid"/>
                    <a:miter/>
                  </a:ln>
                </p:spPr>
                <p:txBody>
                  <a:bodyPr rtlCol="0" anchor="ctr"/>
                  <a:lstStyle/>
                  <a:p>
                    <a:endParaRPr lang="en-US" sz="2400"/>
                  </a:p>
                </p:txBody>
              </p:sp>
              <p:sp>
                <p:nvSpPr>
                  <p:cNvPr id="605" name="Freeform: Shape 604">
                    <a:extLst>
                      <a:ext uri="{FF2B5EF4-FFF2-40B4-BE49-F238E27FC236}">
                        <a16:creationId xmlns:a16="http://schemas.microsoft.com/office/drawing/2014/main" id="{A387A617-C2BD-5DC5-F76C-9588C37B6A20}"/>
                      </a:ext>
                    </a:extLst>
                  </p:cNvPr>
                  <p:cNvSpPr/>
                  <p:nvPr userDrawn="1"/>
                </p:nvSpPr>
                <p:spPr>
                  <a:xfrm>
                    <a:off x="8263538" y="4490542"/>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C4CAD9"/>
                  </a:solidFill>
                  <a:ln w="2339" cap="flat">
                    <a:noFill/>
                    <a:prstDash val="solid"/>
                    <a:miter/>
                  </a:ln>
                </p:spPr>
                <p:txBody>
                  <a:bodyPr rtlCol="0" anchor="ctr"/>
                  <a:lstStyle/>
                  <a:p>
                    <a:endParaRPr lang="en-US" sz="2400"/>
                  </a:p>
                </p:txBody>
              </p:sp>
              <p:sp>
                <p:nvSpPr>
                  <p:cNvPr id="606" name="Freeform: Shape 605">
                    <a:extLst>
                      <a:ext uri="{FF2B5EF4-FFF2-40B4-BE49-F238E27FC236}">
                        <a16:creationId xmlns:a16="http://schemas.microsoft.com/office/drawing/2014/main" id="{D32C9375-F559-7FC2-409C-ECAEB432A6B1}"/>
                      </a:ext>
                    </a:extLst>
                  </p:cNvPr>
                  <p:cNvSpPr/>
                  <p:nvPr userDrawn="1"/>
                </p:nvSpPr>
                <p:spPr>
                  <a:xfrm>
                    <a:off x="8263023" y="449070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C5CAD9"/>
                  </a:solidFill>
                  <a:ln w="2339" cap="flat">
                    <a:noFill/>
                    <a:prstDash val="solid"/>
                    <a:miter/>
                  </a:ln>
                </p:spPr>
                <p:txBody>
                  <a:bodyPr rtlCol="0" anchor="ctr"/>
                  <a:lstStyle/>
                  <a:p>
                    <a:endParaRPr lang="en-US" sz="2400"/>
                  </a:p>
                </p:txBody>
              </p:sp>
              <p:sp>
                <p:nvSpPr>
                  <p:cNvPr id="607" name="Freeform: Shape 606">
                    <a:extLst>
                      <a:ext uri="{FF2B5EF4-FFF2-40B4-BE49-F238E27FC236}">
                        <a16:creationId xmlns:a16="http://schemas.microsoft.com/office/drawing/2014/main" id="{6E927559-7058-01C8-7524-42FFF7C77CC1}"/>
                      </a:ext>
                    </a:extLst>
                  </p:cNvPr>
                  <p:cNvSpPr/>
                  <p:nvPr userDrawn="1"/>
                </p:nvSpPr>
                <p:spPr>
                  <a:xfrm>
                    <a:off x="8262508" y="449082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C5CAD9"/>
                  </a:solidFill>
                  <a:ln w="2339" cap="flat">
                    <a:noFill/>
                    <a:prstDash val="solid"/>
                    <a:miter/>
                  </a:ln>
                </p:spPr>
                <p:txBody>
                  <a:bodyPr rtlCol="0" anchor="ctr"/>
                  <a:lstStyle/>
                  <a:p>
                    <a:endParaRPr lang="en-US" sz="2400"/>
                  </a:p>
                </p:txBody>
              </p:sp>
              <p:sp>
                <p:nvSpPr>
                  <p:cNvPr id="608" name="Freeform: Shape 607">
                    <a:extLst>
                      <a:ext uri="{FF2B5EF4-FFF2-40B4-BE49-F238E27FC236}">
                        <a16:creationId xmlns:a16="http://schemas.microsoft.com/office/drawing/2014/main" id="{3CEFEC5B-CBB6-3C5B-F8F5-214CECA34055}"/>
                      </a:ext>
                    </a:extLst>
                  </p:cNvPr>
                  <p:cNvSpPr/>
                  <p:nvPr userDrawn="1"/>
                </p:nvSpPr>
                <p:spPr>
                  <a:xfrm>
                    <a:off x="8261993" y="449098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C5CAD9"/>
                  </a:solidFill>
                  <a:ln w="2339" cap="flat">
                    <a:noFill/>
                    <a:prstDash val="solid"/>
                    <a:miter/>
                  </a:ln>
                </p:spPr>
                <p:txBody>
                  <a:bodyPr rtlCol="0" anchor="ctr"/>
                  <a:lstStyle/>
                  <a:p>
                    <a:endParaRPr lang="en-US" sz="2400"/>
                  </a:p>
                </p:txBody>
              </p:sp>
              <p:sp>
                <p:nvSpPr>
                  <p:cNvPr id="609" name="Freeform: Shape 608">
                    <a:extLst>
                      <a:ext uri="{FF2B5EF4-FFF2-40B4-BE49-F238E27FC236}">
                        <a16:creationId xmlns:a16="http://schemas.microsoft.com/office/drawing/2014/main" id="{B0A0D05C-E365-BD12-86CB-5271BF59B270}"/>
                      </a:ext>
                    </a:extLst>
                  </p:cNvPr>
                  <p:cNvSpPr/>
                  <p:nvPr userDrawn="1"/>
                </p:nvSpPr>
                <p:spPr>
                  <a:xfrm>
                    <a:off x="8261478" y="449115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C5CBD9"/>
                  </a:solidFill>
                  <a:ln w="2339" cap="flat">
                    <a:noFill/>
                    <a:prstDash val="solid"/>
                    <a:miter/>
                  </a:ln>
                </p:spPr>
                <p:txBody>
                  <a:bodyPr rtlCol="0" anchor="ctr"/>
                  <a:lstStyle/>
                  <a:p>
                    <a:endParaRPr lang="en-US" sz="2400"/>
                  </a:p>
                </p:txBody>
              </p:sp>
              <p:sp>
                <p:nvSpPr>
                  <p:cNvPr id="610" name="Freeform: Shape 609">
                    <a:extLst>
                      <a:ext uri="{FF2B5EF4-FFF2-40B4-BE49-F238E27FC236}">
                        <a16:creationId xmlns:a16="http://schemas.microsoft.com/office/drawing/2014/main" id="{9C3F06C7-7DA1-89C0-2025-81D757A01897}"/>
                      </a:ext>
                    </a:extLst>
                  </p:cNvPr>
                  <p:cNvSpPr/>
                  <p:nvPr userDrawn="1"/>
                </p:nvSpPr>
                <p:spPr>
                  <a:xfrm>
                    <a:off x="8260964" y="449131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C6CBDA"/>
                  </a:solidFill>
                  <a:ln w="2339" cap="flat">
                    <a:noFill/>
                    <a:prstDash val="solid"/>
                    <a:miter/>
                  </a:ln>
                </p:spPr>
                <p:txBody>
                  <a:bodyPr rtlCol="0" anchor="ctr"/>
                  <a:lstStyle/>
                  <a:p>
                    <a:endParaRPr lang="en-US" sz="2400"/>
                  </a:p>
                </p:txBody>
              </p:sp>
              <p:sp>
                <p:nvSpPr>
                  <p:cNvPr id="611" name="Freeform: Shape 610">
                    <a:extLst>
                      <a:ext uri="{FF2B5EF4-FFF2-40B4-BE49-F238E27FC236}">
                        <a16:creationId xmlns:a16="http://schemas.microsoft.com/office/drawing/2014/main" id="{C0B12F52-535A-B191-E799-EA284E732CF7}"/>
                      </a:ext>
                    </a:extLst>
                  </p:cNvPr>
                  <p:cNvSpPr/>
                  <p:nvPr userDrawn="1"/>
                </p:nvSpPr>
                <p:spPr>
                  <a:xfrm>
                    <a:off x="8260472" y="449147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C6CBDA"/>
                  </a:solidFill>
                  <a:ln w="2339" cap="flat">
                    <a:noFill/>
                    <a:prstDash val="solid"/>
                    <a:miter/>
                  </a:ln>
                </p:spPr>
                <p:txBody>
                  <a:bodyPr rtlCol="0" anchor="ctr"/>
                  <a:lstStyle/>
                  <a:p>
                    <a:endParaRPr lang="en-US" sz="2400"/>
                  </a:p>
                </p:txBody>
              </p:sp>
              <p:sp>
                <p:nvSpPr>
                  <p:cNvPr id="612" name="Freeform: Shape 611">
                    <a:extLst>
                      <a:ext uri="{FF2B5EF4-FFF2-40B4-BE49-F238E27FC236}">
                        <a16:creationId xmlns:a16="http://schemas.microsoft.com/office/drawing/2014/main" id="{09ED0A07-D865-060D-6AF9-F2C564A61836}"/>
                      </a:ext>
                    </a:extLst>
                  </p:cNvPr>
                  <p:cNvSpPr/>
                  <p:nvPr userDrawn="1"/>
                </p:nvSpPr>
                <p:spPr>
                  <a:xfrm>
                    <a:off x="8259957" y="449164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C6CBDA"/>
                  </a:solidFill>
                  <a:ln w="2339" cap="flat">
                    <a:noFill/>
                    <a:prstDash val="solid"/>
                    <a:miter/>
                  </a:ln>
                </p:spPr>
                <p:txBody>
                  <a:bodyPr rtlCol="0" anchor="ctr"/>
                  <a:lstStyle/>
                  <a:p>
                    <a:endParaRPr lang="en-US" sz="2400"/>
                  </a:p>
                </p:txBody>
              </p:sp>
              <p:sp>
                <p:nvSpPr>
                  <p:cNvPr id="613" name="Freeform: Shape 612">
                    <a:extLst>
                      <a:ext uri="{FF2B5EF4-FFF2-40B4-BE49-F238E27FC236}">
                        <a16:creationId xmlns:a16="http://schemas.microsoft.com/office/drawing/2014/main" id="{A0680B7A-C294-D878-33F5-48284B56511D}"/>
                      </a:ext>
                    </a:extLst>
                  </p:cNvPr>
                  <p:cNvSpPr/>
                  <p:nvPr userDrawn="1"/>
                </p:nvSpPr>
                <p:spPr>
                  <a:xfrm>
                    <a:off x="8259443" y="449180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C7CCDA"/>
                  </a:solidFill>
                  <a:ln w="2339" cap="flat">
                    <a:noFill/>
                    <a:prstDash val="solid"/>
                    <a:miter/>
                  </a:ln>
                </p:spPr>
                <p:txBody>
                  <a:bodyPr rtlCol="0" anchor="ctr"/>
                  <a:lstStyle/>
                  <a:p>
                    <a:endParaRPr lang="en-US" sz="2400"/>
                  </a:p>
                </p:txBody>
              </p:sp>
              <p:sp>
                <p:nvSpPr>
                  <p:cNvPr id="614" name="Freeform: Shape 613">
                    <a:extLst>
                      <a:ext uri="{FF2B5EF4-FFF2-40B4-BE49-F238E27FC236}">
                        <a16:creationId xmlns:a16="http://schemas.microsoft.com/office/drawing/2014/main" id="{8922E4F7-FDF8-A423-4E4B-B9CAD4FFA441}"/>
                      </a:ext>
                    </a:extLst>
                  </p:cNvPr>
                  <p:cNvSpPr/>
                  <p:nvPr userDrawn="1"/>
                </p:nvSpPr>
                <p:spPr>
                  <a:xfrm>
                    <a:off x="8258951" y="449196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C7CCDA"/>
                  </a:solidFill>
                  <a:ln w="2339" cap="flat">
                    <a:noFill/>
                    <a:prstDash val="solid"/>
                    <a:miter/>
                  </a:ln>
                </p:spPr>
                <p:txBody>
                  <a:bodyPr rtlCol="0" anchor="ctr"/>
                  <a:lstStyle/>
                  <a:p>
                    <a:endParaRPr lang="en-US" sz="2400"/>
                  </a:p>
                </p:txBody>
              </p:sp>
              <p:sp>
                <p:nvSpPr>
                  <p:cNvPr id="615" name="Freeform: Shape 614">
                    <a:extLst>
                      <a:ext uri="{FF2B5EF4-FFF2-40B4-BE49-F238E27FC236}">
                        <a16:creationId xmlns:a16="http://schemas.microsoft.com/office/drawing/2014/main" id="{71B14718-A887-5576-DF4C-5756F614F041}"/>
                      </a:ext>
                    </a:extLst>
                  </p:cNvPr>
                  <p:cNvSpPr/>
                  <p:nvPr userDrawn="1"/>
                </p:nvSpPr>
                <p:spPr>
                  <a:xfrm>
                    <a:off x="8258436" y="449215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C7CCDB"/>
                  </a:solidFill>
                  <a:ln w="2339" cap="flat">
                    <a:noFill/>
                    <a:prstDash val="solid"/>
                    <a:miter/>
                  </a:ln>
                </p:spPr>
                <p:txBody>
                  <a:bodyPr rtlCol="0" anchor="ctr"/>
                  <a:lstStyle/>
                  <a:p>
                    <a:endParaRPr lang="en-US" sz="2400"/>
                  </a:p>
                </p:txBody>
              </p:sp>
              <p:sp>
                <p:nvSpPr>
                  <p:cNvPr id="616" name="Freeform: Shape 615">
                    <a:extLst>
                      <a:ext uri="{FF2B5EF4-FFF2-40B4-BE49-F238E27FC236}">
                        <a16:creationId xmlns:a16="http://schemas.microsoft.com/office/drawing/2014/main" id="{C300A191-3753-0DED-70F1-DEB5C79D865C}"/>
                      </a:ext>
                    </a:extLst>
                  </p:cNvPr>
                  <p:cNvSpPr/>
                  <p:nvPr userDrawn="1"/>
                </p:nvSpPr>
                <p:spPr>
                  <a:xfrm>
                    <a:off x="8257945" y="449232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8CDDB"/>
                  </a:solidFill>
                  <a:ln w="2339" cap="flat">
                    <a:noFill/>
                    <a:prstDash val="solid"/>
                    <a:miter/>
                  </a:ln>
                </p:spPr>
                <p:txBody>
                  <a:bodyPr rtlCol="0" anchor="ctr"/>
                  <a:lstStyle/>
                  <a:p>
                    <a:endParaRPr lang="en-US" sz="2400"/>
                  </a:p>
                </p:txBody>
              </p:sp>
              <p:sp>
                <p:nvSpPr>
                  <p:cNvPr id="617" name="Freeform: Shape 616">
                    <a:extLst>
                      <a:ext uri="{FF2B5EF4-FFF2-40B4-BE49-F238E27FC236}">
                        <a16:creationId xmlns:a16="http://schemas.microsoft.com/office/drawing/2014/main" id="{BB4115A7-A5F9-F3B7-ED51-416AD00773FC}"/>
                      </a:ext>
                    </a:extLst>
                  </p:cNvPr>
                  <p:cNvSpPr/>
                  <p:nvPr userDrawn="1"/>
                </p:nvSpPr>
                <p:spPr>
                  <a:xfrm>
                    <a:off x="8257430" y="449248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C8CDDB"/>
                  </a:solidFill>
                  <a:ln w="2339" cap="flat">
                    <a:noFill/>
                    <a:prstDash val="solid"/>
                    <a:miter/>
                  </a:ln>
                </p:spPr>
                <p:txBody>
                  <a:bodyPr rtlCol="0" anchor="ctr"/>
                  <a:lstStyle/>
                  <a:p>
                    <a:endParaRPr lang="en-US" sz="2400"/>
                  </a:p>
                </p:txBody>
              </p:sp>
              <p:sp>
                <p:nvSpPr>
                  <p:cNvPr id="618" name="Freeform: Shape 617">
                    <a:extLst>
                      <a:ext uri="{FF2B5EF4-FFF2-40B4-BE49-F238E27FC236}">
                        <a16:creationId xmlns:a16="http://schemas.microsoft.com/office/drawing/2014/main" id="{A12434B4-7FE5-991E-A8A3-76C82733C66D}"/>
                      </a:ext>
                    </a:extLst>
                  </p:cNvPr>
                  <p:cNvSpPr/>
                  <p:nvPr userDrawn="1"/>
                </p:nvSpPr>
                <p:spPr>
                  <a:xfrm>
                    <a:off x="8256939" y="449264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C8CDDB"/>
                  </a:solidFill>
                  <a:ln w="2339" cap="flat">
                    <a:noFill/>
                    <a:prstDash val="solid"/>
                    <a:miter/>
                  </a:ln>
                </p:spPr>
                <p:txBody>
                  <a:bodyPr rtlCol="0" anchor="ctr"/>
                  <a:lstStyle/>
                  <a:p>
                    <a:endParaRPr lang="en-US" sz="2400"/>
                  </a:p>
                </p:txBody>
              </p:sp>
              <p:sp>
                <p:nvSpPr>
                  <p:cNvPr id="619" name="Freeform: Shape 618">
                    <a:extLst>
                      <a:ext uri="{FF2B5EF4-FFF2-40B4-BE49-F238E27FC236}">
                        <a16:creationId xmlns:a16="http://schemas.microsoft.com/office/drawing/2014/main" id="{57DC57EC-C6BC-46EE-6FD5-A5041FA9CF7D}"/>
                      </a:ext>
                    </a:extLst>
                  </p:cNvPr>
                  <p:cNvSpPr/>
                  <p:nvPr userDrawn="1"/>
                </p:nvSpPr>
                <p:spPr>
                  <a:xfrm>
                    <a:off x="8256447" y="449283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9CDDB"/>
                  </a:solidFill>
                  <a:ln w="2339" cap="flat">
                    <a:noFill/>
                    <a:prstDash val="solid"/>
                    <a:miter/>
                  </a:ln>
                </p:spPr>
                <p:txBody>
                  <a:bodyPr rtlCol="0" anchor="ctr"/>
                  <a:lstStyle/>
                  <a:p>
                    <a:endParaRPr lang="en-US" sz="2400"/>
                  </a:p>
                </p:txBody>
              </p:sp>
              <p:sp>
                <p:nvSpPr>
                  <p:cNvPr id="620" name="Freeform: Shape 619">
                    <a:extLst>
                      <a:ext uri="{FF2B5EF4-FFF2-40B4-BE49-F238E27FC236}">
                        <a16:creationId xmlns:a16="http://schemas.microsoft.com/office/drawing/2014/main" id="{54FD676A-0853-9BBD-8642-B1A7FA12DF03}"/>
                      </a:ext>
                    </a:extLst>
                  </p:cNvPr>
                  <p:cNvSpPr/>
                  <p:nvPr userDrawn="1"/>
                </p:nvSpPr>
                <p:spPr>
                  <a:xfrm>
                    <a:off x="8255956" y="449299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C9CEDC"/>
                  </a:solidFill>
                  <a:ln w="2339" cap="flat">
                    <a:noFill/>
                    <a:prstDash val="solid"/>
                    <a:miter/>
                  </a:ln>
                </p:spPr>
                <p:txBody>
                  <a:bodyPr rtlCol="0" anchor="ctr"/>
                  <a:lstStyle/>
                  <a:p>
                    <a:endParaRPr lang="en-US" sz="2400"/>
                  </a:p>
                </p:txBody>
              </p:sp>
              <p:sp>
                <p:nvSpPr>
                  <p:cNvPr id="621" name="Freeform: Shape 620">
                    <a:extLst>
                      <a:ext uri="{FF2B5EF4-FFF2-40B4-BE49-F238E27FC236}">
                        <a16:creationId xmlns:a16="http://schemas.microsoft.com/office/drawing/2014/main" id="{7450E40D-05FF-FF73-ECA6-484AD3B48A7D}"/>
                      </a:ext>
                    </a:extLst>
                  </p:cNvPr>
                  <p:cNvSpPr/>
                  <p:nvPr userDrawn="1"/>
                </p:nvSpPr>
                <p:spPr>
                  <a:xfrm>
                    <a:off x="8255465" y="449318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9CEDC"/>
                  </a:solidFill>
                  <a:ln w="2339" cap="flat">
                    <a:noFill/>
                    <a:prstDash val="solid"/>
                    <a:miter/>
                  </a:ln>
                </p:spPr>
                <p:txBody>
                  <a:bodyPr rtlCol="0" anchor="ctr"/>
                  <a:lstStyle/>
                  <a:p>
                    <a:endParaRPr lang="en-US" sz="2400"/>
                  </a:p>
                </p:txBody>
              </p:sp>
              <p:sp>
                <p:nvSpPr>
                  <p:cNvPr id="622" name="Freeform: Shape 621">
                    <a:extLst>
                      <a:ext uri="{FF2B5EF4-FFF2-40B4-BE49-F238E27FC236}">
                        <a16:creationId xmlns:a16="http://schemas.microsoft.com/office/drawing/2014/main" id="{D62885F4-1394-D702-0446-609E9D2A505F}"/>
                      </a:ext>
                    </a:extLst>
                  </p:cNvPr>
                  <p:cNvSpPr/>
                  <p:nvPr userDrawn="1"/>
                </p:nvSpPr>
                <p:spPr>
                  <a:xfrm>
                    <a:off x="8254950" y="449335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C9CEDC"/>
                  </a:solidFill>
                  <a:ln w="2339" cap="flat">
                    <a:noFill/>
                    <a:prstDash val="solid"/>
                    <a:miter/>
                  </a:ln>
                </p:spPr>
                <p:txBody>
                  <a:bodyPr rtlCol="0" anchor="ctr"/>
                  <a:lstStyle/>
                  <a:p>
                    <a:endParaRPr lang="en-US" sz="2400"/>
                  </a:p>
                </p:txBody>
              </p:sp>
              <p:sp>
                <p:nvSpPr>
                  <p:cNvPr id="623" name="Freeform: Shape 622">
                    <a:extLst>
                      <a:ext uri="{FF2B5EF4-FFF2-40B4-BE49-F238E27FC236}">
                        <a16:creationId xmlns:a16="http://schemas.microsoft.com/office/drawing/2014/main" id="{1838C8D6-BCB1-BAA3-7754-786F22963AFA}"/>
                      </a:ext>
                    </a:extLst>
                  </p:cNvPr>
                  <p:cNvSpPr/>
                  <p:nvPr userDrawn="1"/>
                </p:nvSpPr>
                <p:spPr>
                  <a:xfrm>
                    <a:off x="8254458" y="449353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CACFDC"/>
                  </a:solidFill>
                  <a:ln w="2339" cap="flat">
                    <a:noFill/>
                    <a:prstDash val="solid"/>
                    <a:miter/>
                  </a:ln>
                </p:spPr>
                <p:txBody>
                  <a:bodyPr rtlCol="0" anchor="ctr"/>
                  <a:lstStyle/>
                  <a:p>
                    <a:endParaRPr lang="en-US" sz="2400"/>
                  </a:p>
                </p:txBody>
              </p:sp>
              <p:sp>
                <p:nvSpPr>
                  <p:cNvPr id="624" name="Freeform: Shape 623">
                    <a:extLst>
                      <a:ext uri="{FF2B5EF4-FFF2-40B4-BE49-F238E27FC236}">
                        <a16:creationId xmlns:a16="http://schemas.microsoft.com/office/drawing/2014/main" id="{37D454F1-05B3-E40C-87F1-3FD5AEE60793}"/>
                      </a:ext>
                    </a:extLst>
                  </p:cNvPr>
                  <p:cNvSpPr/>
                  <p:nvPr userDrawn="1"/>
                </p:nvSpPr>
                <p:spPr>
                  <a:xfrm>
                    <a:off x="8253967" y="449370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CACFDC"/>
                  </a:solidFill>
                  <a:ln w="2339" cap="flat">
                    <a:noFill/>
                    <a:prstDash val="solid"/>
                    <a:miter/>
                  </a:ln>
                </p:spPr>
                <p:txBody>
                  <a:bodyPr rtlCol="0" anchor="ctr"/>
                  <a:lstStyle/>
                  <a:p>
                    <a:endParaRPr lang="en-US" sz="2400"/>
                  </a:p>
                </p:txBody>
              </p:sp>
              <p:sp>
                <p:nvSpPr>
                  <p:cNvPr id="625" name="Freeform: Shape 624">
                    <a:extLst>
                      <a:ext uri="{FF2B5EF4-FFF2-40B4-BE49-F238E27FC236}">
                        <a16:creationId xmlns:a16="http://schemas.microsoft.com/office/drawing/2014/main" id="{22239771-8E14-B591-ACA5-8A388E7D9924}"/>
                      </a:ext>
                    </a:extLst>
                  </p:cNvPr>
                  <p:cNvSpPr/>
                  <p:nvPr userDrawn="1"/>
                </p:nvSpPr>
                <p:spPr>
                  <a:xfrm>
                    <a:off x="8253499" y="449388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ACFDD"/>
                  </a:solidFill>
                  <a:ln w="2339" cap="flat">
                    <a:noFill/>
                    <a:prstDash val="solid"/>
                    <a:miter/>
                  </a:ln>
                </p:spPr>
                <p:txBody>
                  <a:bodyPr rtlCol="0" anchor="ctr"/>
                  <a:lstStyle/>
                  <a:p>
                    <a:endParaRPr lang="en-US" sz="2400"/>
                  </a:p>
                </p:txBody>
              </p:sp>
              <p:sp>
                <p:nvSpPr>
                  <p:cNvPr id="626" name="Freeform: Shape 625">
                    <a:extLst>
                      <a:ext uri="{FF2B5EF4-FFF2-40B4-BE49-F238E27FC236}">
                        <a16:creationId xmlns:a16="http://schemas.microsoft.com/office/drawing/2014/main" id="{CD1ABAF4-2129-1B83-FFBA-C97F63315D81}"/>
                      </a:ext>
                    </a:extLst>
                  </p:cNvPr>
                  <p:cNvSpPr/>
                  <p:nvPr userDrawn="1"/>
                </p:nvSpPr>
                <p:spPr>
                  <a:xfrm>
                    <a:off x="8253008" y="449407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BCFDD"/>
                  </a:solidFill>
                  <a:ln w="2339" cap="flat">
                    <a:noFill/>
                    <a:prstDash val="solid"/>
                    <a:miter/>
                  </a:ln>
                </p:spPr>
                <p:txBody>
                  <a:bodyPr rtlCol="0" anchor="ctr"/>
                  <a:lstStyle/>
                  <a:p>
                    <a:endParaRPr lang="en-US" sz="2400"/>
                  </a:p>
                </p:txBody>
              </p:sp>
              <p:sp>
                <p:nvSpPr>
                  <p:cNvPr id="627" name="Freeform: Shape 626">
                    <a:extLst>
                      <a:ext uri="{FF2B5EF4-FFF2-40B4-BE49-F238E27FC236}">
                        <a16:creationId xmlns:a16="http://schemas.microsoft.com/office/drawing/2014/main" id="{733CBBB0-38C5-978A-99E8-CBF8B249190C}"/>
                      </a:ext>
                    </a:extLst>
                  </p:cNvPr>
                  <p:cNvSpPr/>
                  <p:nvPr userDrawn="1"/>
                </p:nvSpPr>
                <p:spPr>
                  <a:xfrm>
                    <a:off x="8252516" y="449423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CBD0DD"/>
                  </a:solidFill>
                  <a:ln w="2339" cap="flat">
                    <a:noFill/>
                    <a:prstDash val="solid"/>
                    <a:miter/>
                  </a:ln>
                </p:spPr>
                <p:txBody>
                  <a:bodyPr rtlCol="0" anchor="ctr"/>
                  <a:lstStyle/>
                  <a:p>
                    <a:endParaRPr lang="en-US" sz="2400"/>
                  </a:p>
                </p:txBody>
              </p:sp>
              <p:sp>
                <p:nvSpPr>
                  <p:cNvPr id="628" name="Freeform: Shape 627">
                    <a:extLst>
                      <a:ext uri="{FF2B5EF4-FFF2-40B4-BE49-F238E27FC236}">
                        <a16:creationId xmlns:a16="http://schemas.microsoft.com/office/drawing/2014/main" id="{4B7347EF-259A-E39E-7147-66F4C52B06C5}"/>
                      </a:ext>
                    </a:extLst>
                  </p:cNvPr>
                  <p:cNvSpPr/>
                  <p:nvPr userDrawn="1"/>
                </p:nvSpPr>
                <p:spPr>
                  <a:xfrm>
                    <a:off x="8252025" y="449442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CBD0DD"/>
                  </a:solidFill>
                  <a:ln w="2339" cap="flat">
                    <a:noFill/>
                    <a:prstDash val="solid"/>
                    <a:miter/>
                  </a:ln>
                </p:spPr>
                <p:txBody>
                  <a:bodyPr rtlCol="0" anchor="ctr"/>
                  <a:lstStyle/>
                  <a:p>
                    <a:endParaRPr lang="en-US" sz="2400"/>
                  </a:p>
                </p:txBody>
              </p:sp>
              <p:sp>
                <p:nvSpPr>
                  <p:cNvPr id="629" name="Freeform: Shape 628">
                    <a:extLst>
                      <a:ext uri="{FF2B5EF4-FFF2-40B4-BE49-F238E27FC236}">
                        <a16:creationId xmlns:a16="http://schemas.microsoft.com/office/drawing/2014/main" id="{78EA3BA1-7B75-8FE2-75EE-10172A128632}"/>
                      </a:ext>
                    </a:extLst>
                  </p:cNvPr>
                  <p:cNvSpPr/>
                  <p:nvPr userDrawn="1"/>
                </p:nvSpPr>
                <p:spPr>
                  <a:xfrm>
                    <a:off x="8251557" y="449461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CD0DD"/>
                  </a:solidFill>
                  <a:ln w="2339" cap="flat">
                    <a:noFill/>
                    <a:prstDash val="solid"/>
                    <a:miter/>
                  </a:ln>
                </p:spPr>
                <p:txBody>
                  <a:bodyPr rtlCol="0" anchor="ctr"/>
                  <a:lstStyle/>
                  <a:p>
                    <a:endParaRPr lang="en-US" sz="2400"/>
                  </a:p>
                </p:txBody>
              </p:sp>
              <p:sp>
                <p:nvSpPr>
                  <p:cNvPr id="630" name="Freeform: Shape 629">
                    <a:extLst>
                      <a:ext uri="{FF2B5EF4-FFF2-40B4-BE49-F238E27FC236}">
                        <a16:creationId xmlns:a16="http://schemas.microsoft.com/office/drawing/2014/main" id="{A8498297-63E6-DBF0-D8C0-689DBD479E8B}"/>
                      </a:ext>
                    </a:extLst>
                  </p:cNvPr>
                  <p:cNvSpPr/>
                  <p:nvPr userDrawn="1"/>
                </p:nvSpPr>
                <p:spPr>
                  <a:xfrm>
                    <a:off x="8251065" y="449480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CD0DE"/>
                  </a:solidFill>
                  <a:ln w="2339" cap="flat">
                    <a:noFill/>
                    <a:prstDash val="solid"/>
                    <a:miter/>
                  </a:ln>
                </p:spPr>
                <p:txBody>
                  <a:bodyPr rtlCol="0" anchor="ctr"/>
                  <a:lstStyle/>
                  <a:p>
                    <a:endParaRPr lang="en-US" sz="2400"/>
                  </a:p>
                </p:txBody>
              </p:sp>
              <p:sp>
                <p:nvSpPr>
                  <p:cNvPr id="631" name="Freeform: Shape 630">
                    <a:extLst>
                      <a:ext uri="{FF2B5EF4-FFF2-40B4-BE49-F238E27FC236}">
                        <a16:creationId xmlns:a16="http://schemas.microsoft.com/office/drawing/2014/main" id="{22EBEC67-E503-86A2-E40C-43D18F0B8A40}"/>
                      </a:ext>
                    </a:extLst>
                  </p:cNvPr>
                  <p:cNvSpPr/>
                  <p:nvPr userDrawn="1"/>
                </p:nvSpPr>
                <p:spPr>
                  <a:xfrm>
                    <a:off x="8250574" y="449498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CCD1DE"/>
                  </a:solidFill>
                  <a:ln w="2339" cap="flat">
                    <a:noFill/>
                    <a:prstDash val="solid"/>
                    <a:miter/>
                  </a:ln>
                </p:spPr>
                <p:txBody>
                  <a:bodyPr rtlCol="0" anchor="ctr"/>
                  <a:lstStyle/>
                  <a:p>
                    <a:endParaRPr lang="en-US" sz="2400"/>
                  </a:p>
                </p:txBody>
              </p:sp>
              <p:sp>
                <p:nvSpPr>
                  <p:cNvPr id="632" name="Freeform: Shape 631">
                    <a:extLst>
                      <a:ext uri="{FF2B5EF4-FFF2-40B4-BE49-F238E27FC236}">
                        <a16:creationId xmlns:a16="http://schemas.microsoft.com/office/drawing/2014/main" id="{29F53596-6F54-0653-B888-7186DD1879E4}"/>
                      </a:ext>
                    </a:extLst>
                  </p:cNvPr>
                  <p:cNvSpPr/>
                  <p:nvPr userDrawn="1"/>
                </p:nvSpPr>
                <p:spPr>
                  <a:xfrm>
                    <a:off x="8250106" y="449517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DD1DE"/>
                  </a:solidFill>
                  <a:ln w="2339" cap="flat">
                    <a:noFill/>
                    <a:prstDash val="solid"/>
                    <a:miter/>
                  </a:ln>
                </p:spPr>
                <p:txBody>
                  <a:bodyPr rtlCol="0" anchor="ctr"/>
                  <a:lstStyle/>
                  <a:p>
                    <a:endParaRPr lang="en-US" sz="2400"/>
                  </a:p>
                </p:txBody>
              </p:sp>
              <p:sp>
                <p:nvSpPr>
                  <p:cNvPr id="633" name="Freeform: Shape 632">
                    <a:extLst>
                      <a:ext uri="{FF2B5EF4-FFF2-40B4-BE49-F238E27FC236}">
                        <a16:creationId xmlns:a16="http://schemas.microsoft.com/office/drawing/2014/main" id="{08193A3C-8206-9028-4810-43E23DACCC2D}"/>
                      </a:ext>
                    </a:extLst>
                  </p:cNvPr>
                  <p:cNvSpPr/>
                  <p:nvPr userDrawn="1"/>
                </p:nvSpPr>
                <p:spPr>
                  <a:xfrm>
                    <a:off x="8249638" y="449533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CDD1DE"/>
                  </a:solidFill>
                  <a:ln w="2339" cap="flat">
                    <a:noFill/>
                    <a:prstDash val="solid"/>
                    <a:miter/>
                  </a:ln>
                </p:spPr>
                <p:txBody>
                  <a:bodyPr rtlCol="0" anchor="ctr"/>
                  <a:lstStyle/>
                  <a:p>
                    <a:endParaRPr lang="en-US" sz="2400"/>
                  </a:p>
                </p:txBody>
              </p:sp>
              <p:sp>
                <p:nvSpPr>
                  <p:cNvPr id="634" name="Freeform: Shape 633">
                    <a:extLst>
                      <a:ext uri="{FF2B5EF4-FFF2-40B4-BE49-F238E27FC236}">
                        <a16:creationId xmlns:a16="http://schemas.microsoft.com/office/drawing/2014/main" id="{50FE1AD5-3EF9-F5C5-1259-A747D22F133F}"/>
                      </a:ext>
                    </a:extLst>
                  </p:cNvPr>
                  <p:cNvSpPr/>
                  <p:nvPr userDrawn="1"/>
                </p:nvSpPr>
                <p:spPr>
                  <a:xfrm>
                    <a:off x="8249147" y="449555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CDD2DE"/>
                  </a:solidFill>
                  <a:ln w="2339" cap="flat">
                    <a:noFill/>
                    <a:prstDash val="solid"/>
                    <a:miter/>
                  </a:ln>
                </p:spPr>
                <p:txBody>
                  <a:bodyPr rtlCol="0" anchor="ctr"/>
                  <a:lstStyle/>
                  <a:p>
                    <a:endParaRPr lang="en-US" sz="2400"/>
                  </a:p>
                </p:txBody>
              </p:sp>
              <p:sp>
                <p:nvSpPr>
                  <p:cNvPr id="635" name="Freeform: Shape 634">
                    <a:extLst>
                      <a:ext uri="{FF2B5EF4-FFF2-40B4-BE49-F238E27FC236}">
                        <a16:creationId xmlns:a16="http://schemas.microsoft.com/office/drawing/2014/main" id="{89D84B4D-E6D8-FE8C-05E9-6FF4E83D67F3}"/>
                      </a:ext>
                    </a:extLst>
                  </p:cNvPr>
                  <p:cNvSpPr/>
                  <p:nvPr userDrawn="1"/>
                </p:nvSpPr>
                <p:spPr>
                  <a:xfrm>
                    <a:off x="8248679" y="449573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DD2DF"/>
                  </a:solidFill>
                  <a:ln w="2339" cap="flat">
                    <a:noFill/>
                    <a:prstDash val="solid"/>
                    <a:miter/>
                  </a:ln>
                </p:spPr>
                <p:txBody>
                  <a:bodyPr rtlCol="0" anchor="ctr"/>
                  <a:lstStyle/>
                  <a:p>
                    <a:endParaRPr lang="en-US" sz="2400"/>
                  </a:p>
                </p:txBody>
              </p:sp>
              <p:sp>
                <p:nvSpPr>
                  <p:cNvPr id="636" name="Freeform: Shape 635">
                    <a:extLst>
                      <a:ext uri="{FF2B5EF4-FFF2-40B4-BE49-F238E27FC236}">
                        <a16:creationId xmlns:a16="http://schemas.microsoft.com/office/drawing/2014/main" id="{248CF6FB-0F4C-93AF-8264-2847C56BA5FD}"/>
                      </a:ext>
                    </a:extLst>
                  </p:cNvPr>
                  <p:cNvSpPr/>
                  <p:nvPr userDrawn="1"/>
                </p:nvSpPr>
                <p:spPr>
                  <a:xfrm>
                    <a:off x="8248211" y="449592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ED2DF"/>
                  </a:solidFill>
                  <a:ln w="2339" cap="flat">
                    <a:noFill/>
                    <a:prstDash val="solid"/>
                    <a:miter/>
                  </a:ln>
                </p:spPr>
                <p:txBody>
                  <a:bodyPr rtlCol="0" anchor="ctr"/>
                  <a:lstStyle/>
                  <a:p>
                    <a:endParaRPr lang="en-US" sz="2400"/>
                  </a:p>
                </p:txBody>
              </p:sp>
              <p:sp>
                <p:nvSpPr>
                  <p:cNvPr id="637" name="Freeform: Shape 636">
                    <a:extLst>
                      <a:ext uri="{FF2B5EF4-FFF2-40B4-BE49-F238E27FC236}">
                        <a16:creationId xmlns:a16="http://schemas.microsoft.com/office/drawing/2014/main" id="{710C9674-95DF-5E05-5641-D2056C750E2B}"/>
                      </a:ext>
                    </a:extLst>
                  </p:cNvPr>
                  <p:cNvSpPr/>
                  <p:nvPr userDrawn="1"/>
                </p:nvSpPr>
                <p:spPr>
                  <a:xfrm>
                    <a:off x="8247743" y="449611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ED2DF"/>
                  </a:solidFill>
                  <a:ln w="2339" cap="flat">
                    <a:noFill/>
                    <a:prstDash val="solid"/>
                    <a:miter/>
                  </a:ln>
                </p:spPr>
                <p:txBody>
                  <a:bodyPr rtlCol="0" anchor="ctr"/>
                  <a:lstStyle/>
                  <a:p>
                    <a:endParaRPr lang="en-US" sz="2400"/>
                  </a:p>
                </p:txBody>
              </p:sp>
              <p:sp>
                <p:nvSpPr>
                  <p:cNvPr id="638" name="Freeform: Shape 637">
                    <a:extLst>
                      <a:ext uri="{FF2B5EF4-FFF2-40B4-BE49-F238E27FC236}">
                        <a16:creationId xmlns:a16="http://schemas.microsoft.com/office/drawing/2014/main" id="{B630E2D4-BE22-FF96-D4A0-9710E279875D}"/>
                      </a:ext>
                    </a:extLst>
                  </p:cNvPr>
                  <p:cNvSpPr/>
                  <p:nvPr userDrawn="1"/>
                </p:nvSpPr>
                <p:spPr>
                  <a:xfrm>
                    <a:off x="8247275" y="449629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ED3DF"/>
                  </a:solidFill>
                  <a:ln w="2339" cap="flat">
                    <a:noFill/>
                    <a:prstDash val="solid"/>
                    <a:miter/>
                  </a:ln>
                </p:spPr>
                <p:txBody>
                  <a:bodyPr rtlCol="0" anchor="ctr"/>
                  <a:lstStyle/>
                  <a:p>
                    <a:endParaRPr lang="en-US" sz="2400"/>
                  </a:p>
                </p:txBody>
              </p:sp>
              <p:sp>
                <p:nvSpPr>
                  <p:cNvPr id="639" name="Freeform: Shape 638">
                    <a:extLst>
                      <a:ext uri="{FF2B5EF4-FFF2-40B4-BE49-F238E27FC236}">
                        <a16:creationId xmlns:a16="http://schemas.microsoft.com/office/drawing/2014/main" id="{BF8AC1D8-5138-C822-764C-B7BA4A790FCE}"/>
                      </a:ext>
                    </a:extLst>
                  </p:cNvPr>
                  <p:cNvSpPr/>
                  <p:nvPr userDrawn="1"/>
                </p:nvSpPr>
                <p:spPr>
                  <a:xfrm>
                    <a:off x="8246807" y="449648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CFD3DF"/>
                  </a:solidFill>
                  <a:ln w="2339" cap="flat">
                    <a:noFill/>
                    <a:prstDash val="solid"/>
                    <a:miter/>
                  </a:ln>
                </p:spPr>
                <p:txBody>
                  <a:bodyPr rtlCol="0" anchor="ctr"/>
                  <a:lstStyle/>
                  <a:p>
                    <a:endParaRPr lang="en-US" sz="2400"/>
                  </a:p>
                </p:txBody>
              </p:sp>
              <p:sp>
                <p:nvSpPr>
                  <p:cNvPr id="640" name="Freeform: Shape 639">
                    <a:extLst>
                      <a:ext uri="{FF2B5EF4-FFF2-40B4-BE49-F238E27FC236}">
                        <a16:creationId xmlns:a16="http://schemas.microsoft.com/office/drawing/2014/main" id="{08CE36D7-D47D-84C6-1F69-9720976C107A}"/>
                      </a:ext>
                    </a:extLst>
                  </p:cNvPr>
                  <p:cNvSpPr/>
                  <p:nvPr userDrawn="1"/>
                </p:nvSpPr>
                <p:spPr>
                  <a:xfrm>
                    <a:off x="8246339" y="449667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CFD3E0"/>
                  </a:solidFill>
                  <a:ln w="2339" cap="flat">
                    <a:noFill/>
                    <a:prstDash val="solid"/>
                    <a:miter/>
                  </a:ln>
                </p:spPr>
                <p:txBody>
                  <a:bodyPr rtlCol="0" anchor="ctr"/>
                  <a:lstStyle/>
                  <a:p>
                    <a:endParaRPr lang="en-US" sz="2400"/>
                  </a:p>
                </p:txBody>
              </p:sp>
              <p:sp>
                <p:nvSpPr>
                  <p:cNvPr id="641" name="Freeform: Shape 640">
                    <a:extLst>
                      <a:ext uri="{FF2B5EF4-FFF2-40B4-BE49-F238E27FC236}">
                        <a16:creationId xmlns:a16="http://schemas.microsoft.com/office/drawing/2014/main" id="{4C694BA1-2CD2-8A97-3CA3-49822FB7641C}"/>
                      </a:ext>
                    </a:extLst>
                  </p:cNvPr>
                  <p:cNvSpPr/>
                  <p:nvPr userDrawn="1"/>
                </p:nvSpPr>
                <p:spPr>
                  <a:xfrm>
                    <a:off x="8245871" y="449688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FD4E0"/>
                  </a:solidFill>
                  <a:ln w="2339" cap="flat">
                    <a:noFill/>
                    <a:prstDash val="solid"/>
                    <a:miter/>
                  </a:ln>
                </p:spPr>
                <p:txBody>
                  <a:bodyPr rtlCol="0" anchor="ctr"/>
                  <a:lstStyle/>
                  <a:p>
                    <a:endParaRPr lang="en-US" sz="2400"/>
                  </a:p>
                </p:txBody>
              </p:sp>
              <p:sp>
                <p:nvSpPr>
                  <p:cNvPr id="642" name="Freeform: Shape 641">
                    <a:extLst>
                      <a:ext uri="{FF2B5EF4-FFF2-40B4-BE49-F238E27FC236}">
                        <a16:creationId xmlns:a16="http://schemas.microsoft.com/office/drawing/2014/main" id="{B3FF489F-73C4-6C18-FEBC-9EA8BA6B0721}"/>
                      </a:ext>
                    </a:extLst>
                  </p:cNvPr>
                  <p:cNvSpPr/>
                  <p:nvPr userDrawn="1"/>
                </p:nvSpPr>
                <p:spPr>
                  <a:xfrm>
                    <a:off x="8245403" y="449707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0D4E0"/>
                  </a:solidFill>
                  <a:ln w="2339" cap="flat">
                    <a:noFill/>
                    <a:prstDash val="solid"/>
                    <a:miter/>
                  </a:ln>
                </p:spPr>
                <p:txBody>
                  <a:bodyPr rtlCol="0" anchor="ctr"/>
                  <a:lstStyle/>
                  <a:p>
                    <a:endParaRPr lang="en-US" sz="2400"/>
                  </a:p>
                </p:txBody>
              </p:sp>
              <p:sp>
                <p:nvSpPr>
                  <p:cNvPr id="643" name="Freeform: Shape 642">
                    <a:extLst>
                      <a:ext uri="{FF2B5EF4-FFF2-40B4-BE49-F238E27FC236}">
                        <a16:creationId xmlns:a16="http://schemas.microsoft.com/office/drawing/2014/main" id="{7E10DE55-9A8D-749F-45FD-B3AC1B409E27}"/>
                      </a:ext>
                    </a:extLst>
                  </p:cNvPr>
                  <p:cNvSpPr/>
                  <p:nvPr userDrawn="1"/>
                </p:nvSpPr>
                <p:spPr>
                  <a:xfrm>
                    <a:off x="8244935" y="449728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0D4E0"/>
                  </a:solidFill>
                  <a:ln w="2339" cap="flat">
                    <a:noFill/>
                    <a:prstDash val="solid"/>
                    <a:miter/>
                  </a:ln>
                </p:spPr>
                <p:txBody>
                  <a:bodyPr rtlCol="0" anchor="ctr"/>
                  <a:lstStyle/>
                  <a:p>
                    <a:endParaRPr lang="en-US" sz="2400"/>
                  </a:p>
                </p:txBody>
              </p:sp>
              <p:sp>
                <p:nvSpPr>
                  <p:cNvPr id="644" name="Freeform: Shape 643">
                    <a:extLst>
                      <a:ext uri="{FF2B5EF4-FFF2-40B4-BE49-F238E27FC236}">
                        <a16:creationId xmlns:a16="http://schemas.microsoft.com/office/drawing/2014/main" id="{F2AC34BC-C26C-2124-175C-98024B807AEA}"/>
                      </a:ext>
                    </a:extLst>
                  </p:cNvPr>
                  <p:cNvSpPr/>
                  <p:nvPr userDrawn="1"/>
                </p:nvSpPr>
                <p:spPr>
                  <a:xfrm>
                    <a:off x="8244490" y="449746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0D4E0"/>
                  </a:solidFill>
                  <a:ln w="2339" cap="flat">
                    <a:noFill/>
                    <a:prstDash val="solid"/>
                    <a:miter/>
                  </a:ln>
                </p:spPr>
                <p:txBody>
                  <a:bodyPr rtlCol="0" anchor="ctr"/>
                  <a:lstStyle/>
                  <a:p>
                    <a:endParaRPr lang="en-US" sz="2400"/>
                  </a:p>
                </p:txBody>
              </p:sp>
              <p:sp>
                <p:nvSpPr>
                  <p:cNvPr id="645" name="Freeform: Shape 644">
                    <a:extLst>
                      <a:ext uri="{FF2B5EF4-FFF2-40B4-BE49-F238E27FC236}">
                        <a16:creationId xmlns:a16="http://schemas.microsoft.com/office/drawing/2014/main" id="{85155C0B-564D-65EE-B384-079A10E036D2}"/>
                      </a:ext>
                    </a:extLst>
                  </p:cNvPr>
                  <p:cNvSpPr/>
                  <p:nvPr userDrawn="1"/>
                </p:nvSpPr>
                <p:spPr>
                  <a:xfrm>
                    <a:off x="8244022" y="449765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54"/>
                          <a:pt x="42097" y="21060"/>
                        </a:cubicBezTo>
                        <a:close/>
                      </a:path>
                    </a:pathLst>
                  </a:custGeom>
                  <a:solidFill>
                    <a:srgbClr val="D1D5E1"/>
                  </a:solidFill>
                  <a:ln w="2339" cap="flat">
                    <a:noFill/>
                    <a:prstDash val="solid"/>
                    <a:miter/>
                  </a:ln>
                </p:spPr>
                <p:txBody>
                  <a:bodyPr rtlCol="0" anchor="ctr"/>
                  <a:lstStyle/>
                  <a:p>
                    <a:endParaRPr lang="en-US" sz="2400"/>
                  </a:p>
                </p:txBody>
              </p:sp>
              <p:sp>
                <p:nvSpPr>
                  <p:cNvPr id="646" name="Freeform: Shape 645">
                    <a:extLst>
                      <a:ext uri="{FF2B5EF4-FFF2-40B4-BE49-F238E27FC236}">
                        <a16:creationId xmlns:a16="http://schemas.microsoft.com/office/drawing/2014/main" id="{C8F143AD-8EBE-EDDC-0288-F9516D917C80}"/>
                      </a:ext>
                    </a:extLst>
                  </p:cNvPr>
                  <p:cNvSpPr/>
                  <p:nvPr userDrawn="1"/>
                </p:nvSpPr>
                <p:spPr>
                  <a:xfrm>
                    <a:off x="8243577" y="449786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1D5E1"/>
                  </a:solidFill>
                  <a:ln w="2339" cap="flat">
                    <a:noFill/>
                    <a:prstDash val="solid"/>
                    <a:miter/>
                  </a:ln>
                </p:spPr>
                <p:txBody>
                  <a:bodyPr rtlCol="0" anchor="ctr"/>
                  <a:lstStyle/>
                  <a:p>
                    <a:endParaRPr lang="en-US" sz="2400"/>
                  </a:p>
                </p:txBody>
              </p:sp>
              <p:sp>
                <p:nvSpPr>
                  <p:cNvPr id="647" name="Freeform: Shape 646">
                    <a:extLst>
                      <a:ext uri="{FF2B5EF4-FFF2-40B4-BE49-F238E27FC236}">
                        <a16:creationId xmlns:a16="http://schemas.microsoft.com/office/drawing/2014/main" id="{20737FEC-C3B6-4B65-4EF2-B2622DBDD8B3}"/>
                      </a:ext>
                    </a:extLst>
                  </p:cNvPr>
                  <p:cNvSpPr/>
                  <p:nvPr userDrawn="1"/>
                </p:nvSpPr>
                <p:spPr>
                  <a:xfrm>
                    <a:off x="8243109" y="449807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1D5E1"/>
                  </a:solidFill>
                  <a:ln w="2339" cap="flat">
                    <a:noFill/>
                    <a:prstDash val="solid"/>
                    <a:miter/>
                  </a:ln>
                </p:spPr>
                <p:txBody>
                  <a:bodyPr rtlCol="0" anchor="ctr"/>
                  <a:lstStyle/>
                  <a:p>
                    <a:endParaRPr lang="en-US" sz="2400"/>
                  </a:p>
                </p:txBody>
              </p:sp>
              <p:sp>
                <p:nvSpPr>
                  <p:cNvPr id="648" name="Freeform: Shape 647">
                    <a:extLst>
                      <a:ext uri="{FF2B5EF4-FFF2-40B4-BE49-F238E27FC236}">
                        <a16:creationId xmlns:a16="http://schemas.microsoft.com/office/drawing/2014/main" id="{8061C05B-4D4B-F4ED-7843-5FA5B6A1007C}"/>
                      </a:ext>
                    </a:extLst>
                  </p:cNvPr>
                  <p:cNvSpPr/>
                  <p:nvPr userDrawn="1"/>
                </p:nvSpPr>
                <p:spPr>
                  <a:xfrm>
                    <a:off x="8242665" y="449826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1D6E1"/>
                  </a:solidFill>
                  <a:ln w="2339" cap="flat">
                    <a:noFill/>
                    <a:prstDash val="solid"/>
                    <a:miter/>
                  </a:ln>
                </p:spPr>
                <p:txBody>
                  <a:bodyPr rtlCol="0" anchor="ctr"/>
                  <a:lstStyle/>
                  <a:p>
                    <a:endParaRPr lang="en-US" sz="2400"/>
                  </a:p>
                </p:txBody>
              </p:sp>
              <p:sp>
                <p:nvSpPr>
                  <p:cNvPr id="649" name="Freeform: Shape 648">
                    <a:extLst>
                      <a:ext uri="{FF2B5EF4-FFF2-40B4-BE49-F238E27FC236}">
                        <a16:creationId xmlns:a16="http://schemas.microsoft.com/office/drawing/2014/main" id="{47023DDE-BFC3-D94C-90C1-48BD9EDFDAFC}"/>
                      </a:ext>
                    </a:extLst>
                  </p:cNvPr>
                  <p:cNvSpPr/>
                  <p:nvPr userDrawn="1"/>
                </p:nvSpPr>
                <p:spPr>
                  <a:xfrm>
                    <a:off x="8242220" y="449847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2D6E1"/>
                  </a:solidFill>
                  <a:ln w="2339" cap="flat">
                    <a:noFill/>
                    <a:prstDash val="solid"/>
                    <a:miter/>
                  </a:ln>
                </p:spPr>
                <p:txBody>
                  <a:bodyPr rtlCol="0" anchor="ctr"/>
                  <a:lstStyle/>
                  <a:p>
                    <a:endParaRPr lang="en-US" sz="2400"/>
                  </a:p>
                </p:txBody>
              </p:sp>
              <p:sp>
                <p:nvSpPr>
                  <p:cNvPr id="650" name="Freeform: Shape 649">
                    <a:extLst>
                      <a:ext uri="{FF2B5EF4-FFF2-40B4-BE49-F238E27FC236}">
                        <a16:creationId xmlns:a16="http://schemas.microsoft.com/office/drawing/2014/main" id="{3303DA0A-F67B-70C1-5288-E3504E3906F5}"/>
                      </a:ext>
                    </a:extLst>
                  </p:cNvPr>
                  <p:cNvSpPr/>
                  <p:nvPr userDrawn="1"/>
                </p:nvSpPr>
                <p:spPr>
                  <a:xfrm>
                    <a:off x="8241776" y="449866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D2D6E2"/>
                  </a:solidFill>
                  <a:ln w="2339" cap="flat">
                    <a:noFill/>
                    <a:prstDash val="solid"/>
                    <a:miter/>
                  </a:ln>
                </p:spPr>
                <p:txBody>
                  <a:bodyPr rtlCol="0" anchor="ctr"/>
                  <a:lstStyle/>
                  <a:p>
                    <a:endParaRPr lang="en-US" sz="2400"/>
                  </a:p>
                </p:txBody>
              </p:sp>
              <p:sp>
                <p:nvSpPr>
                  <p:cNvPr id="651" name="Freeform: Shape 650">
                    <a:extLst>
                      <a:ext uri="{FF2B5EF4-FFF2-40B4-BE49-F238E27FC236}">
                        <a16:creationId xmlns:a16="http://schemas.microsoft.com/office/drawing/2014/main" id="{2E30EC6F-9157-5232-F54B-04F683A3B98E}"/>
                      </a:ext>
                    </a:extLst>
                  </p:cNvPr>
                  <p:cNvSpPr/>
                  <p:nvPr userDrawn="1"/>
                </p:nvSpPr>
                <p:spPr>
                  <a:xfrm>
                    <a:off x="8241308" y="449887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D2D6E2"/>
                  </a:solidFill>
                  <a:ln w="2339" cap="flat">
                    <a:noFill/>
                    <a:prstDash val="solid"/>
                    <a:miter/>
                  </a:ln>
                </p:spPr>
                <p:txBody>
                  <a:bodyPr rtlCol="0" anchor="ctr"/>
                  <a:lstStyle/>
                  <a:p>
                    <a:endParaRPr lang="en-US" sz="2400"/>
                  </a:p>
                </p:txBody>
              </p:sp>
              <p:sp>
                <p:nvSpPr>
                  <p:cNvPr id="652" name="Freeform: Shape 651">
                    <a:extLst>
                      <a:ext uri="{FF2B5EF4-FFF2-40B4-BE49-F238E27FC236}">
                        <a16:creationId xmlns:a16="http://schemas.microsoft.com/office/drawing/2014/main" id="{12F0BA98-DB56-53FC-C0C4-797E396F42C6}"/>
                      </a:ext>
                    </a:extLst>
                  </p:cNvPr>
                  <p:cNvSpPr/>
                  <p:nvPr userDrawn="1"/>
                </p:nvSpPr>
                <p:spPr>
                  <a:xfrm>
                    <a:off x="8240863" y="449908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3D7E2"/>
                  </a:solidFill>
                  <a:ln w="2339" cap="flat">
                    <a:noFill/>
                    <a:prstDash val="solid"/>
                    <a:miter/>
                  </a:ln>
                </p:spPr>
                <p:txBody>
                  <a:bodyPr rtlCol="0" anchor="ctr"/>
                  <a:lstStyle/>
                  <a:p>
                    <a:endParaRPr lang="en-US" sz="2400"/>
                  </a:p>
                </p:txBody>
              </p:sp>
              <p:sp>
                <p:nvSpPr>
                  <p:cNvPr id="653" name="Freeform: Shape 652">
                    <a:extLst>
                      <a:ext uri="{FF2B5EF4-FFF2-40B4-BE49-F238E27FC236}">
                        <a16:creationId xmlns:a16="http://schemas.microsoft.com/office/drawing/2014/main" id="{925AC1CC-8232-5FCB-0118-21217C25A1B6}"/>
                      </a:ext>
                    </a:extLst>
                  </p:cNvPr>
                  <p:cNvSpPr/>
                  <p:nvPr userDrawn="1"/>
                </p:nvSpPr>
                <p:spPr>
                  <a:xfrm>
                    <a:off x="8240418" y="449929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3D7E2"/>
                  </a:solidFill>
                  <a:ln w="2339" cap="flat">
                    <a:noFill/>
                    <a:prstDash val="solid"/>
                    <a:miter/>
                  </a:ln>
                </p:spPr>
                <p:txBody>
                  <a:bodyPr rtlCol="0" anchor="ctr"/>
                  <a:lstStyle/>
                  <a:p>
                    <a:endParaRPr lang="en-US" sz="2400"/>
                  </a:p>
                </p:txBody>
              </p:sp>
              <p:sp>
                <p:nvSpPr>
                  <p:cNvPr id="654" name="Freeform: Shape 653">
                    <a:extLst>
                      <a:ext uri="{FF2B5EF4-FFF2-40B4-BE49-F238E27FC236}">
                        <a16:creationId xmlns:a16="http://schemas.microsoft.com/office/drawing/2014/main" id="{96D53BCA-81E1-8CA8-E242-A2757490FD89}"/>
                      </a:ext>
                    </a:extLst>
                  </p:cNvPr>
                  <p:cNvSpPr/>
                  <p:nvPr userDrawn="1"/>
                </p:nvSpPr>
                <p:spPr>
                  <a:xfrm>
                    <a:off x="8239997" y="449950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3D7E2"/>
                  </a:solidFill>
                  <a:ln w="2339" cap="flat">
                    <a:noFill/>
                    <a:prstDash val="solid"/>
                    <a:miter/>
                  </a:ln>
                </p:spPr>
                <p:txBody>
                  <a:bodyPr rtlCol="0" anchor="ctr"/>
                  <a:lstStyle/>
                  <a:p>
                    <a:endParaRPr lang="en-US" sz="2400"/>
                  </a:p>
                </p:txBody>
              </p:sp>
              <p:sp>
                <p:nvSpPr>
                  <p:cNvPr id="655" name="Freeform: Shape 654">
                    <a:extLst>
                      <a:ext uri="{FF2B5EF4-FFF2-40B4-BE49-F238E27FC236}">
                        <a16:creationId xmlns:a16="http://schemas.microsoft.com/office/drawing/2014/main" id="{4C5D06A8-DA0F-330F-D240-1877DDCAD384}"/>
                      </a:ext>
                    </a:extLst>
                  </p:cNvPr>
                  <p:cNvSpPr/>
                  <p:nvPr userDrawn="1"/>
                </p:nvSpPr>
                <p:spPr>
                  <a:xfrm>
                    <a:off x="8239552" y="449971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4D7E3"/>
                  </a:solidFill>
                  <a:ln w="2339" cap="flat">
                    <a:noFill/>
                    <a:prstDash val="solid"/>
                    <a:miter/>
                  </a:ln>
                </p:spPr>
                <p:txBody>
                  <a:bodyPr rtlCol="0" anchor="ctr"/>
                  <a:lstStyle/>
                  <a:p>
                    <a:endParaRPr lang="en-US" sz="2400"/>
                  </a:p>
                </p:txBody>
              </p:sp>
              <p:sp>
                <p:nvSpPr>
                  <p:cNvPr id="656" name="Freeform: Shape 655">
                    <a:extLst>
                      <a:ext uri="{FF2B5EF4-FFF2-40B4-BE49-F238E27FC236}">
                        <a16:creationId xmlns:a16="http://schemas.microsoft.com/office/drawing/2014/main" id="{E8917F63-8123-1D09-CE30-C22B79617EE8}"/>
                      </a:ext>
                    </a:extLst>
                  </p:cNvPr>
                  <p:cNvSpPr/>
                  <p:nvPr userDrawn="1"/>
                </p:nvSpPr>
                <p:spPr>
                  <a:xfrm>
                    <a:off x="8239108" y="449990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D4D8E3"/>
                  </a:solidFill>
                  <a:ln w="2339" cap="flat">
                    <a:noFill/>
                    <a:prstDash val="solid"/>
                    <a:miter/>
                  </a:ln>
                </p:spPr>
                <p:txBody>
                  <a:bodyPr rtlCol="0" anchor="ctr"/>
                  <a:lstStyle/>
                  <a:p>
                    <a:endParaRPr lang="en-US" sz="2400"/>
                  </a:p>
                </p:txBody>
              </p:sp>
              <p:sp>
                <p:nvSpPr>
                  <p:cNvPr id="657" name="Freeform: Shape 656">
                    <a:extLst>
                      <a:ext uri="{FF2B5EF4-FFF2-40B4-BE49-F238E27FC236}">
                        <a16:creationId xmlns:a16="http://schemas.microsoft.com/office/drawing/2014/main" id="{B439CB0D-B42F-C713-BABA-D1AC3D9E3BC4}"/>
                      </a:ext>
                    </a:extLst>
                  </p:cNvPr>
                  <p:cNvSpPr/>
                  <p:nvPr userDrawn="1"/>
                </p:nvSpPr>
                <p:spPr>
                  <a:xfrm>
                    <a:off x="8238663" y="450011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54"/>
                          <a:pt x="42097" y="21060"/>
                        </a:cubicBezTo>
                        <a:close/>
                      </a:path>
                    </a:pathLst>
                  </a:custGeom>
                  <a:solidFill>
                    <a:srgbClr val="D4D8E3"/>
                  </a:solidFill>
                  <a:ln w="2339" cap="flat">
                    <a:noFill/>
                    <a:prstDash val="solid"/>
                    <a:miter/>
                  </a:ln>
                </p:spPr>
                <p:txBody>
                  <a:bodyPr rtlCol="0" anchor="ctr"/>
                  <a:lstStyle/>
                  <a:p>
                    <a:endParaRPr lang="en-US" sz="2400"/>
                  </a:p>
                </p:txBody>
              </p:sp>
              <p:sp>
                <p:nvSpPr>
                  <p:cNvPr id="658" name="Freeform: Shape 657">
                    <a:extLst>
                      <a:ext uri="{FF2B5EF4-FFF2-40B4-BE49-F238E27FC236}">
                        <a16:creationId xmlns:a16="http://schemas.microsoft.com/office/drawing/2014/main" id="{2180C730-0E69-5ADA-25EC-9C151F70D55E}"/>
                      </a:ext>
                    </a:extLst>
                  </p:cNvPr>
                  <p:cNvSpPr/>
                  <p:nvPr userDrawn="1"/>
                </p:nvSpPr>
                <p:spPr>
                  <a:xfrm>
                    <a:off x="8238242" y="450032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D4D8E3"/>
                  </a:solidFill>
                  <a:ln w="2339" cap="flat">
                    <a:noFill/>
                    <a:prstDash val="solid"/>
                    <a:miter/>
                  </a:ln>
                </p:spPr>
                <p:txBody>
                  <a:bodyPr rtlCol="0" anchor="ctr"/>
                  <a:lstStyle/>
                  <a:p>
                    <a:endParaRPr lang="en-US" sz="2400"/>
                  </a:p>
                </p:txBody>
              </p:sp>
              <p:sp>
                <p:nvSpPr>
                  <p:cNvPr id="659" name="Freeform: Shape 658">
                    <a:extLst>
                      <a:ext uri="{FF2B5EF4-FFF2-40B4-BE49-F238E27FC236}">
                        <a16:creationId xmlns:a16="http://schemas.microsoft.com/office/drawing/2014/main" id="{ABA8C9E2-6400-155F-9787-64D65FC9F97F}"/>
                      </a:ext>
                    </a:extLst>
                  </p:cNvPr>
                  <p:cNvSpPr/>
                  <p:nvPr userDrawn="1"/>
                </p:nvSpPr>
                <p:spPr>
                  <a:xfrm>
                    <a:off x="8237797" y="450053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54"/>
                          <a:pt x="42097" y="21060"/>
                        </a:cubicBezTo>
                        <a:close/>
                      </a:path>
                    </a:pathLst>
                  </a:custGeom>
                  <a:solidFill>
                    <a:srgbClr val="D5D9E3"/>
                  </a:solidFill>
                  <a:ln w="2339" cap="flat">
                    <a:noFill/>
                    <a:prstDash val="solid"/>
                    <a:miter/>
                  </a:ln>
                </p:spPr>
                <p:txBody>
                  <a:bodyPr rtlCol="0" anchor="ctr"/>
                  <a:lstStyle/>
                  <a:p>
                    <a:endParaRPr lang="en-US" sz="2400"/>
                  </a:p>
                </p:txBody>
              </p:sp>
              <p:sp>
                <p:nvSpPr>
                  <p:cNvPr id="660" name="Freeform: Shape 659">
                    <a:extLst>
                      <a:ext uri="{FF2B5EF4-FFF2-40B4-BE49-F238E27FC236}">
                        <a16:creationId xmlns:a16="http://schemas.microsoft.com/office/drawing/2014/main" id="{57EACA58-2410-8D92-6FCD-385F78C762EC}"/>
                      </a:ext>
                    </a:extLst>
                  </p:cNvPr>
                  <p:cNvSpPr/>
                  <p:nvPr userDrawn="1"/>
                </p:nvSpPr>
                <p:spPr>
                  <a:xfrm>
                    <a:off x="8237376" y="450076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5D9E4"/>
                  </a:solidFill>
                  <a:ln w="2339" cap="flat">
                    <a:noFill/>
                    <a:prstDash val="solid"/>
                    <a:miter/>
                  </a:ln>
                </p:spPr>
                <p:txBody>
                  <a:bodyPr rtlCol="0" anchor="ctr"/>
                  <a:lstStyle/>
                  <a:p>
                    <a:endParaRPr lang="en-US" sz="2400"/>
                  </a:p>
                </p:txBody>
              </p:sp>
              <p:sp>
                <p:nvSpPr>
                  <p:cNvPr id="661" name="Freeform: Shape 660">
                    <a:extLst>
                      <a:ext uri="{FF2B5EF4-FFF2-40B4-BE49-F238E27FC236}">
                        <a16:creationId xmlns:a16="http://schemas.microsoft.com/office/drawing/2014/main" id="{7E7942C5-3924-CFAC-C72A-6222F004DEAD}"/>
                      </a:ext>
                    </a:extLst>
                  </p:cNvPr>
                  <p:cNvSpPr/>
                  <p:nvPr userDrawn="1"/>
                </p:nvSpPr>
                <p:spPr>
                  <a:xfrm>
                    <a:off x="8236932" y="450097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5D9E4"/>
                  </a:solidFill>
                  <a:ln w="2339" cap="flat">
                    <a:noFill/>
                    <a:prstDash val="solid"/>
                    <a:miter/>
                  </a:ln>
                </p:spPr>
                <p:txBody>
                  <a:bodyPr rtlCol="0" anchor="ctr"/>
                  <a:lstStyle/>
                  <a:p>
                    <a:endParaRPr lang="en-US" sz="2400"/>
                  </a:p>
                </p:txBody>
              </p:sp>
              <p:sp>
                <p:nvSpPr>
                  <p:cNvPr id="662" name="Freeform: Shape 661">
                    <a:extLst>
                      <a:ext uri="{FF2B5EF4-FFF2-40B4-BE49-F238E27FC236}">
                        <a16:creationId xmlns:a16="http://schemas.microsoft.com/office/drawing/2014/main" id="{8DB49B85-1AE5-F80E-7723-688D2C9B82CE}"/>
                      </a:ext>
                    </a:extLst>
                  </p:cNvPr>
                  <p:cNvSpPr/>
                  <p:nvPr userDrawn="1"/>
                </p:nvSpPr>
                <p:spPr>
                  <a:xfrm>
                    <a:off x="8236510" y="450118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6D9E4"/>
                  </a:solidFill>
                  <a:ln w="2339" cap="flat">
                    <a:noFill/>
                    <a:prstDash val="solid"/>
                    <a:miter/>
                  </a:ln>
                </p:spPr>
                <p:txBody>
                  <a:bodyPr rtlCol="0" anchor="ctr"/>
                  <a:lstStyle/>
                  <a:p>
                    <a:endParaRPr lang="en-US" sz="2400"/>
                  </a:p>
                </p:txBody>
              </p:sp>
              <p:sp>
                <p:nvSpPr>
                  <p:cNvPr id="663" name="Freeform: Shape 662">
                    <a:extLst>
                      <a:ext uri="{FF2B5EF4-FFF2-40B4-BE49-F238E27FC236}">
                        <a16:creationId xmlns:a16="http://schemas.microsoft.com/office/drawing/2014/main" id="{17F09ABA-68FB-BDE1-08F7-7851B3C611A1}"/>
                      </a:ext>
                    </a:extLst>
                  </p:cNvPr>
                  <p:cNvSpPr/>
                  <p:nvPr userDrawn="1"/>
                </p:nvSpPr>
                <p:spPr>
                  <a:xfrm>
                    <a:off x="8236089" y="450140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6DAE4"/>
                  </a:solidFill>
                  <a:ln w="2339" cap="flat">
                    <a:noFill/>
                    <a:prstDash val="solid"/>
                    <a:miter/>
                  </a:ln>
                </p:spPr>
                <p:txBody>
                  <a:bodyPr rtlCol="0" anchor="ctr"/>
                  <a:lstStyle/>
                  <a:p>
                    <a:endParaRPr lang="en-US" sz="2400"/>
                  </a:p>
                </p:txBody>
              </p:sp>
              <p:sp>
                <p:nvSpPr>
                  <p:cNvPr id="664" name="Freeform: Shape 663">
                    <a:extLst>
                      <a:ext uri="{FF2B5EF4-FFF2-40B4-BE49-F238E27FC236}">
                        <a16:creationId xmlns:a16="http://schemas.microsoft.com/office/drawing/2014/main" id="{1CB444DB-F768-65F1-69FC-FD51C9E69E81}"/>
                      </a:ext>
                    </a:extLst>
                  </p:cNvPr>
                  <p:cNvSpPr/>
                  <p:nvPr userDrawn="1"/>
                </p:nvSpPr>
                <p:spPr>
                  <a:xfrm>
                    <a:off x="8235668" y="450161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6DAE4"/>
                  </a:solidFill>
                  <a:ln w="2339" cap="flat">
                    <a:noFill/>
                    <a:prstDash val="solid"/>
                    <a:miter/>
                  </a:ln>
                </p:spPr>
                <p:txBody>
                  <a:bodyPr rtlCol="0" anchor="ctr"/>
                  <a:lstStyle/>
                  <a:p>
                    <a:endParaRPr lang="en-US" sz="2400"/>
                  </a:p>
                </p:txBody>
              </p:sp>
              <p:sp>
                <p:nvSpPr>
                  <p:cNvPr id="665" name="Freeform: Shape 664">
                    <a:extLst>
                      <a:ext uri="{FF2B5EF4-FFF2-40B4-BE49-F238E27FC236}">
                        <a16:creationId xmlns:a16="http://schemas.microsoft.com/office/drawing/2014/main" id="{8ED12C53-C062-C37E-FC15-E6BBE20633C5}"/>
                      </a:ext>
                    </a:extLst>
                  </p:cNvPr>
                  <p:cNvSpPr/>
                  <p:nvPr userDrawn="1"/>
                </p:nvSpPr>
                <p:spPr>
                  <a:xfrm>
                    <a:off x="8235247" y="450184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7DAE5"/>
                  </a:solidFill>
                  <a:ln w="2339" cap="flat">
                    <a:noFill/>
                    <a:prstDash val="solid"/>
                    <a:miter/>
                  </a:ln>
                </p:spPr>
                <p:txBody>
                  <a:bodyPr rtlCol="0" anchor="ctr"/>
                  <a:lstStyle/>
                  <a:p>
                    <a:endParaRPr lang="en-US" sz="2400"/>
                  </a:p>
                </p:txBody>
              </p:sp>
              <p:sp>
                <p:nvSpPr>
                  <p:cNvPr id="666" name="Freeform: Shape 665">
                    <a:extLst>
                      <a:ext uri="{FF2B5EF4-FFF2-40B4-BE49-F238E27FC236}">
                        <a16:creationId xmlns:a16="http://schemas.microsoft.com/office/drawing/2014/main" id="{722E0FFD-F99B-8096-A555-C06A7E4F91D7}"/>
                      </a:ext>
                    </a:extLst>
                  </p:cNvPr>
                  <p:cNvSpPr/>
                  <p:nvPr userDrawn="1"/>
                </p:nvSpPr>
                <p:spPr>
                  <a:xfrm>
                    <a:off x="8234826" y="450205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7DBE5"/>
                  </a:solidFill>
                  <a:ln w="2339" cap="flat">
                    <a:noFill/>
                    <a:prstDash val="solid"/>
                    <a:miter/>
                  </a:ln>
                </p:spPr>
                <p:txBody>
                  <a:bodyPr rtlCol="0" anchor="ctr"/>
                  <a:lstStyle/>
                  <a:p>
                    <a:endParaRPr lang="en-US" sz="2400"/>
                  </a:p>
                </p:txBody>
              </p:sp>
              <p:sp>
                <p:nvSpPr>
                  <p:cNvPr id="667" name="Freeform: Shape 666">
                    <a:extLst>
                      <a:ext uri="{FF2B5EF4-FFF2-40B4-BE49-F238E27FC236}">
                        <a16:creationId xmlns:a16="http://schemas.microsoft.com/office/drawing/2014/main" id="{2BA9600B-4E7C-FFCA-45BF-3129C0A242F0}"/>
                      </a:ext>
                    </a:extLst>
                  </p:cNvPr>
                  <p:cNvSpPr/>
                  <p:nvPr userDrawn="1"/>
                </p:nvSpPr>
                <p:spPr>
                  <a:xfrm>
                    <a:off x="8234404" y="450226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D7DBE5"/>
                  </a:solidFill>
                  <a:ln w="2339" cap="flat">
                    <a:noFill/>
                    <a:prstDash val="solid"/>
                    <a:miter/>
                  </a:ln>
                </p:spPr>
                <p:txBody>
                  <a:bodyPr rtlCol="0" anchor="ctr"/>
                  <a:lstStyle/>
                  <a:p>
                    <a:endParaRPr lang="en-US" sz="2400"/>
                  </a:p>
                </p:txBody>
              </p:sp>
              <p:sp>
                <p:nvSpPr>
                  <p:cNvPr id="668" name="Freeform: Shape 667">
                    <a:extLst>
                      <a:ext uri="{FF2B5EF4-FFF2-40B4-BE49-F238E27FC236}">
                        <a16:creationId xmlns:a16="http://schemas.microsoft.com/office/drawing/2014/main" id="{EAD42298-2F99-7AE9-A777-07BD70A0DDC3}"/>
                      </a:ext>
                    </a:extLst>
                  </p:cNvPr>
                  <p:cNvSpPr/>
                  <p:nvPr userDrawn="1"/>
                </p:nvSpPr>
                <p:spPr>
                  <a:xfrm>
                    <a:off x="8233983" y="450249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8DBE5"/>
                  </a:solidFill>
                  <a:ln w="2339" cap="flat">
                    <a:noFill/>
                    <a:prstDash val="solid"/>
                    <a:miter/>
                  </a:ln>
                </p:spPr>
                <p:txBody>
                  <a:bodyPr rtlCol="0" anchor="ctr"/>
                  <a:lstStyle/>
                  <a:p>
                    <a:endParaRPr lang="en-US" sz="2400"/>
                  </a:p>
                </p:txBody>
              </p:sp>
              <p:sp>
                <p:nvSpPr>
                  <p:cNvPr id="669" name="Freeform: Shape 668">
                    <a:extLst>
                      <a:ext uri="{FF2B5EF4-FFF2-40B4-BE49-F238E27FC236}">
                        <a16:creationId xmlns:a16="http://schemas.microsoft.com/office/drawing/2014/main" id="{128BC310-A570-D1A5-4A98-D65112E03387}"/>
                      </a:ext>
                    </a:extLst>
                  </p:cNvPr>
                  <p:cNvSpPr/>
                  <p:nvPr userDrawn="1"/>
                </p:nvSpPr>
                <p:spPr>
                  <a:xfrm>
                    <a:off x="8233585" y="450271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8DBE5"/>
                  </a:solidFill>
                  <a:ln w="2339" cap="flat">
                    <a:noFill/>
                    <a:prstDash val="solid"/>
                    <a:miter/>
                  </a:ln>
                </p:spPr>
                <p:txBody>
                  <a:bodyPr rtlCol="0" anchor="ctr"/>
                  <a:lstStyle/>
                  <a:p>
                    <a:endParaRPr lang="en-US" sz="2400"/>
                  </a:p>
                </p:txBody>
              </p:sp>
              <p:sp>
                <p:nvSpPr>
                  <p:cNvPr id="670" name="Freeform: Shape 669">
                    <a:extLst>
                      <a:ext uri="{FF2B5EF4-FFF2-40B4-BE49-F238E27FC236}">
                        <a16:creationId xmlns:a16="http://schemas.microsoft.com/office/drawing/2014/main" id="{0A0273A2-BCF9-B35C-66B6-B7AB896BB46C}"/>
                      </a:ext>
                    </a:extLst>
                  </p:cNvPr>
                  <p:cNvSpPr/>
                  <p:nvPr userDrawn="1"/>
                </p:nvSpPr>
                <p:spPr>
                  <a:xfrm>
                    <a:off x="8233164" y="450292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54"/>
                          <a:pt x="42097" y="21060"/>
                        </a:cubicBezTo>
                        <a:close/>
                      </a:path>
                    </a:pathLst>
                  </a:custGeom>
                  <a:solidFill>
                    <a:srgbClr val="D8DCE6"/>
                  </a:solidFill>
                  <a:ln w="2339" cap="flat">
                    <a:noFill/>
                    <a:prstDash val="solid"/>
                    <a:miter/>
                  </a:ln>
                </p:spPr>
                <p:txBody>
                  <a:bodyPr rtlCol="0" anchor="ctr"/>
                  <a:lstStyle/>
                  <a:p>
                    <a:endParaRPr lang="en-US" sz="2400"/>
                  </a:p>
                </p:txBody>
              </p:sp>
              <p:sp>
                <p:nvSpPr>
                  <p:cNvPr id="671" name="Freeform: Shape 670">
                    <a:extLst>
                      <a:ext uri="{FF2B5EF4-FFF2-40B4-BE49-F238E27FC236}">
                        <a16:creationId xmlns:a16="http://schemas.microsoft.com/office/drawing/2014/main" id="{2C502DDF-8257-5C47-D7A8-A47B9F56148C}"/>
                      </a:ext>
                    </a:extLst>
                  </p:cNvPr>
                  <p:cNvSpPr/>
                  <p:nvPr userDrawn="1"/>
                </p:nvSpPr>
                <p:spPr>
                  <a:xfrm>
                    <a:off x="8232766" y="450315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8DCE6"/>
                  </a:solidFill>
                  <a:ln w="2339" cap="flat">
                    <a:noFill/>
                    <a:prstDash val="solid"/>
                    <a:miter/>
                  </a:ln>
                </p:spPr>
                <p:txBody>
                  <a:bodyPr rtlCol="0" anchor="ctr"/>
                  <a:lstStyle/>
                  <a:p>
                    <a:endParaRPr lang="en-US" sz="2400"/>
                  </a:p>
                </p:txBody>
              </p:sp>
              <p:sp>
                <p:nvSpPr>
                  <p:cNvPr id="672" name="Freeform: Shape 671">
                    <a:extLst>
                      <a:ext uri="{FF2B5EF4-FFF2-40B4-BE49-F238E27FC236}">
                        <a16:creationId xmlns:a16="http://schemas.microsoft.com/office/drawing/2014/main" id="{1302409E-27B7-5266-A0FC-0B35E3F992BC}"/>
                      </a:ext>
                    </a:extLst>
                  </p:cNvPr>
                  <p:cNvSpPr/>
                  <p:nvPr userDrawn="1"/>
                </p:nvSpPr>
                <p:spPr>
                  <a:xfrm>
                    <a:off x="8232345" y="450338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9DCE6"/>
                  </a:solidFill>
                  <a:ln w="2339" cap="flat">
                    <a:noFill/>
                    <a:prstDash val="solid"/>
                    <a:miter/>
                  </a:ln>
                </p:spPr>
                <p:txBody>
                  <a:bodyPr rtlCol="0" anchor="ctr"/>
                  <a:lstStyle/>
                  <a:p>
                    <a:endParaRPr lang="en-US" sz="2400"/>
                  </a:p>
                </p:txBody>
              </p:sp>
              <p:sp>
                <p:nvSpPr>
                  <p:cNvPr id="673" name="Freeform: Shape 672">
                    <a:extLst>
                      <a:ext uri="{FF2B5EF4-FFF2-40B4-BE49-F238E27FC236}">
                        <a16:creationId xmlns:a16="http://schemas.microsoft.com/office/drawing/2014/main" id="{457BEA28-7287-A7D4-3DED-12DBD67D0B69}"/>
                      </a:ext>
                    </a:extLst>
                  </p:cNvPr>
                  <p:cNvSpPr/>
                  <p:nvPr userDrawn="1"/>
                </p:nvSpPr>
                <p:spPr>
                  <a:xfrm>
                    <a:off x="8231947" y="450359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9DCE6"/>
                  </a:solidFill>
                  <a:ln w="2339" cap="flat">
                    <a:noFill/>
                    <a:prstDash val="solid"/>
                    <a:miter/>
                  </a:ln>
                </p:spPr>
                <p:txBody>
                  <a:bodyPr rtlCol="0" anchor="ctr"/>
                  <a:lstStyle/>
                  <a:p>
                    <a:endParaRPr lang="en-US" sz="2400"/>
                  </a:p>
                </p:txBody>
              </p:sp>
              <p:sp>
                <p:nvSpPr>
                  <p:cNvPr id="674" name="Freeform: Shape 673">
                    <a:extLst>
                      <a:ext uri="{FF2B5EF4-FFF2-40B4-BE49-F238E27FC236}">
                        <a16:creationId xmlns:a16="http://schemas.microsoft.com/office/drawing/2014/main" id="{27E3455F-E8A3-0E88-C6DC-FB59D6B840EE}"/>
                      </a:ext>
                    </a:extLst>
                  </p:cNvPr>
                  <p:cNvSpPr/>
                  <p:nvPr userDrawn="1"/>
                </p:nvSpPr>
                <p:spPr>
                  <a:xfrm>
                    <a:off x="8231550" y="450383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9DDE6"/>
                  </a:solidFill>
                  <a:ln w="2339" cap="flat">
                    <a:noFill/>
                    <a:prstDash val="solid"/>
                    <a:miter/>
                  </a:ln>
                </p:spPr>
                <p:txBody>
                  <a:bodyPr rtlCol="0" anchor="ctr"/>
                  <a:lstStyle/>
                  <a:p>
                    <a:endParaRPr lang="en-US" sz="2400"/>
                  </a:p>
                </p:txBody>
              </p:sp>
              <p:sp>
                <p:nvSpPr>
                  <p:cNvPr id="675" name="Freeform: Shape 674">
                    <a:extLst>
                      <a:ext uri="{FF2B5EF4-FFF2-40B4-BE49-F238E27FC236}">
                        <a16:creationId xmlns:a16="http://schemas.microsoft.com/office/drawing/2014/main" id="{28BC0240-A859-9C5A-597B-0532851CFACB}"/>
                      </a:ext>
                    </a:extLst>
                  </p:cNvPr>
                  <p:cNvSpPr/>
                  <p:nvPr userDrawn="1"/>
                </p:nvSpPr>
                <p:spPr>
                  <a:xfrm>
                    <a:off x="8231152" y="450404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ADDE7"/>
                  </a:solidFill>
                  <a:ln w="2339" cap="flat">
                    <a:noFill/>
                    <a:prstDash val="solid"/>
                    <a:miter/>
                  </a:ln>
                </p:spPr>
                <p:txBody>
                  <a:bodyPr rtlCol="0" anchor="ctr"/>
                  <a:lstStyle/>
                  <a:p>
                    <a:endParaRPr lang="en-US" sz="2400"/>
                  </a:p>
                </p:txBody>
              </p:sp>
              <p:sp>
                <p:nvSpPr>
                  <p:cNvPr id="676" name="Freeform: Shape 675">
                    <a:extLst>
                      <a:ext uri="{FF2B5EF4-FFF2-40B4-BE49-F238E27FC236}">
                        <a16:creationId xmlns:a16="http://schemas.microsoft.com/office/drawing/2014/main" id="{7A578C52-2D13-1CC4-3245-2C51A14876BB}"/>
                      </a:ext>
                    </a:extLst>
                  </p:cNvPr>
                  <p:cNvSpPr/>
                  <p:nvPr userDrawn="1"/>
                </p:nvSpPr>
                <p:spPr>
                  <a:xfrm>
                    <a:off x="8230731" y="450427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ADDE7"/>
                  </a:solidFill>
                  <a:ln w="2339" cap="flat">
                    <a:noFill/>
                    <a:prstDash val="solid"/>
                    <a:miter/>
                  </a:ln>
                </p:spPr>
                <p:txBody>
                  <a:bodyPr rtlCol="0" anchor="ctr"/>
                  <a:lstStyle/>
                  <a:p>
                    <a:endParaRPr lang="en-US" sz="2400"/>
                  </a:p>
                </p:txBody>
              </p:sp>
              <p:sp>
                <p:nvSpPr>
                  <p:cNvPr id="677" name="Freeform: Shape 676">
                    <a:extLst>
                      <a:ext uri="{FF2B5EF4-FFF2-40B4-BE49-F238E27FC236}">
                        <a16:creationId xmlns:a16="http://schemas.microsoft.com/office/drawing/2014/main" id="{17010E2B-EECE-D08F-CB21-56D279A2C9C9}"/>
                      </a:ext>
                    </a:extLst>
                  </p:cNvPr>
                  <p:cNvSpPr/>
                  <p:nvPr userDrawn="1"/>
                </p:nvSpPr>
                <p:spPr>
                  <a:xfrm>
                    <a:off x="8230333" y="450451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ADEE7"/>
                  </a:solidFill>
                  <a:ln w="2339" cap="flat">
                    <a:noFill/>
                    <a:prstDash val="solid"/>
                    <a:miter/>
                  </a:ln>
                </p:spPr>
                <p:txBody>
                  <a:bodyPr rtlCol="0" anchor="ctr"/>
                  <a:lstStyle/>
                  <a:p>
                    <a:endParaRPr lang="en-US" sz="2400"/>
                  </a:p>
                </p:txBody>
              </p:sp>
              <p:sp>
                <p:nvSpPr>
                  <p:cNvPr id="678" name="Freeform: Shape 677">
                    <a:extLst>
                      <a:ext uri="{FF2B5EF4-FFF2-40B4-BE49-F238E27FC236}">
                        <a16:creationId xmlns:a16="http://schemas.microsoft.com/office/drawing/2014/main" id="{579E52C7-9B13-6A99-9E8A-B17A792F0DE5}"/>
                      </a:ext>
                    </a:extLst>
                  </p:cNvPr>
                  <p:cNvSpPr/>
                  <p:nvPr userDrawn="1"/>
                </p:nvSpPr>
                <p:spPr>
                  <a:xfrm>
                    <a:off x="8229958" y="450474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BDEE7"/>
                  </a:solidFill>
                  <a:ln w="2339" cap="flat">
                    <a:noFill/>
                    <a:prstDash val="solid"/>
                    <a:miter/>
                  </a:ln>
                </p:spPr>
                <p:txBody>
                  <a:bodyPr rtlCol="0" anchor="ctr"/>
                  <a:lstStyle/>
                  <a:p>
                    <a:endParaRPr lang="en-US" sz="2400"/>
                  </a:p>
                </p:txBody>
              </p:sp>
              <p:sp>
                <p:nvSpPr>
                  <p:cNvPr id="679" name="Freeform: Shape 678">
                    <a:extLst>
                      <a:ext uri="{FF2B5EF4-FFF2-40B4-BE49-F238E27FC236}">
                        <a16:creationId xmlns:a16="http://schemas.microsoft.com/office/drawing/2014/main" id="{E121E40F-1B26-6555-004C-7B0BFB7D015F}"/>
                      </a:ext>
                    </a:extLst>
                  </p:cNvPr>
                  <p:cNvSpPr/>
                  <p:nvPr userDrawn="1"/>
                </p:nvSpPr>
                <p:spPr>
                  <a:xfrm>
                    <a:off x="8229561" y="450495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BDEE7"/>
                  </a:solidFill>
                  <a:ln w="2339" cap="flat">
                    <a:noFill/>
                    <a:prstDash val="solid"/>
                    <a:miter/>
                  </a:ln>
                </p:spPr>
                <p:txBody>
                  <a:bodyPr rtlCol="0" anchor="ctr"/>
                  <a:lstStyle/>
                  <a:p>
                    <a:endParaRPr lang="en-US" sz="2400"/>
                  </a:p>
                </p:txBody>
              </p:sp>
              <p:sp>
                <p:nvSpPr>
                  <p:cNvPr id="680" name="Freeform: Shape 679">
                    <a:extLst>
                      <a:ext uri="{FF2B5EF4-FFF2-40B4-BE49-F238E27FC236}">
                        <a16:creationId xmlns:a16="http://schemas.microsoft.com/office/drawing/2014/main" id="{D2AC5DD9-5134-E44C-90E3-B9D878C450EB}"/>
                      </a:ext>
                    </a:extLst>
                  </p:cNvPr>
                  <p:cNvSpPr/>
                  <p:nvPr userDrawn="1"/>
                </p:nvSpPr>
                <p:spPr>
                  <a:xfrm>
                    <a:off x="8229163" y="450519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BDEE8"/>
                  </a:solidFill>
                  <a:ln w="2339" cap="flat">
                    <a:noFill/>
                    <a:prstDash val="solid"/>
                    <a:miter/>
                  </a:ln>
                </p:spPr>
                <p:txBody>
                  <a:bodyPr rtlCol="0" anchor="ctr"/>
                  <a:lstStyle/>
                  <a:p>
                    <a:endParaRPr lang="en-US" sz="2400"/>
                  </a:p>
                </p:txBody>
              </p:sp>
              <p:sp>
                <p:nvSpPr>
                  <p:cNvPr id="681" name="Freeform: Shape 680">
                    <a:extLst>
                      <a:ext uri="{FF2B5EF4-FFF2-40B4-BE49-F238E27FC236}">
                        <a16:creationId xmlns:a16="http://schemas.microsoft.com/office/drawing/2014/main" id="{EDEE694F-B73B-CE96-B547-F2B699D09F54}"/>
                      </a:ext>
                    </a:extLst>
                  </p:cNvPr>
                  <p:cNvSpPr/>
                  <p:nvPr userDrawn="1"/>
                </p:nvSpPr>
                <p:spPr>
                  <a:xfrm>
                    <a:off x="8228765" y="450542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CDFE8"/>
                  </a:solidFill>
                  <a:ln w="2339" cap="flat">
                    <a:noFill/>
                    <a:prstDash val="solid"/>
                    <a:miter/>
                  </a:ln>
                </p:spPr>
                <p:txBody>
                  <a:bodyPr rtlCol="0" anchor="ctr"/>
                  <a:lstStyle/>
                  <a:p>
                    <a:endParaRPr lang="en-US" sz="2400"/>
                  </a:p>
                </p:txBody>
              </p:sp>
              <p:sp>
                <p:nvSpPr>
                  <p:cNvPr id="682" name="Freeform: Shape 681">
                    <a:extLst>
                      <a:ext uri="{FF2B5EF4-FFF2-40B4-BE49-F238E27FC236}">
                        <a16:creationId xmlns:a16="http://schemas.microsoft.com/office/drawing/2014/main" id="{49A79477-F2D8-3AFA-58A5-BCF03F401402}"/>
                      </a:ext>
                    </a:extLst>
                  </p:cNvPr>
                  <p:cNvSpPr/>
                  <p:nvPr userDrawn="1"/>
                </p:nvSpPr>
                <p:spPr>
                  <a:xfrm>
                    <a:off x="8228391" y="450565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CDFE8"/>
                  </a:solidFill>
                  <a:ln w="2339" cap="flat">
                    <a:noFill/>
                    <a:prstDash val="solid"/>
                    <a:miter/>
                  </a:ln>
                </p:spPr>
                <p:txBody>
                  <a:bodyPr rtlCol="0" anchor="ctr"/>
                  <a:lstStyle/>
                  <a:p>
                    <a:endParaRPr lang="en-US" sz="2400"/>
                  </a:p>
                </p:txBody>
              </p:sp>
              <p:sp>
                <p:nvSpPr>
                  <p:cNvPr id="683" name="Freeform: Shape 682">
                    <a:extLst>
                      <a:ext uri="{FF2B5EF4-FFF2-40B4-BE49-F238E27FC236}">
                        <a16:creationId xmlns:a16="http://schemas.microsoft.com/office/drawing/2014/main" id="{F9BFF842-E039-34F0-2614-D189FCB821EE}"/>
                      </a:ext>
                    </a:extLst>
                  </p:cNvPr>
                  <p:cNvSpPr/>
                  <p:nvPr userDrawn="1"/>
                </p:nvSpPr>
                <p:spPr>
                  <a:xfrm>
                    <a:off x="8227993" y="450589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CDFE8"/>
                  </a:solidFill>
                  <a:ln w="2339" cap="flat">
                    <a:noFill/>
                    <a:prstDash val="solid"/>
                    <a:miter/>
                  </a:ln>
                </p:spPr>
                <p:txBody>
                  <a:bodyPr rtlCol="0" anchor="ctr"/>
                  <a:lstStyle/>
                  <a:p>
                    <a:endParaRPr lang="en-US" sz="2400"/>
                  </a:p>
                </p:txBody>
              </p:sp>
              <p:sp>
                <p:nvSpPr>
                  <p:cNvPr id="684" name="Freeform: Shape 683">
                    <a:extLst>
                      <a:ext uri="{FF2B5EF4-FFF2-40B4-BE49-F238E27FC236}">
                        <a16:creationId xmlns:a16="http://schemas.microsoft.com/office/drawing/2014/main" id="{6071860C-180A-1285-1F74-FBC9CBB67447}"/>
                      </a:ext>
                    </a:extLst>
                  </p:cNvPr>
                  <p:cNvSpPr/>
                  <p:nvPr userDrawn="1"/>
                </p:nvSpPr>
                <p:spPr>
                  <a:xfrm>
                    <a:off x="8227618" y="450612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CE0E8"/>
                  </a:solidFill>
                  <a:ln w="2339" cap="flat">
                    <a:noFill/>
                    <a:prstDash val="solid"/>
                    <a:miter/>
                  </a:ln>
                </p:spPr>
                <p:txBody>
                  <a:bodyPr rtlCol="0" anchor="ctr"/>
                  <a:lstStyle/>
                  <a:p>
                    <a:endParaRPr lang="en-US" sz="2400"/>
                  </a:p>
                </p:txBody>
              </p:sp>
              <p:sp>
                <p:nvSpPr>
                  <p:cNvPr id="685" name="Freeform: Shape 684">
                    <a:extLst>
                      <a:ext uri="{FF2B5EF4-FFF2-40B4-BE49-F238E27FC236}">
                        <a16:creationId xmlns:a16="http://schemas.microsoft.com/office/drawing/2014/main" id="{86D9907C-F2B0-ACC0-578C-0891DCB317E9}"/>
                      </a:ext>
                    </a:extLst>
                  </p:cNvPr>
                  <p:cNvSpPr/>
                  <p:nvPr userDrawn="1"/>
                </p:nvSpPr>
                <p:spPr>
                  <a:xfrm>
                    <a:off x="8227244" y="450636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DE0E9"/>
                  </a:solidFill>
                  <a:ln w="2339" cap="flat">
                    <a:noFill/>
                    <a:prstDash val="solid"/>
                    <a:miter/>
                  </a:ln>
                </p:spPr>
                <p:txBody>
                  <a:bodyPr rtlCol="0" anchor="ctr"/>
                  <a:lstStyle/>
                  <a:p>
                    <a:endParaRPr lang="en-US" sz="2400"/>
                  </a:p>
                </p:txBody>
              </p:sp>
              <p:sp>
                <p:nvSpPr>
                  <p:cNvPr id="686" name="Freeform: Shape 685">
                    <a:extLst>
                      <a:ext uri="{FF2B5EF4-FFF2-40B4-BE49-F238E27FC236}">
                        <a16:creationId xmlns:a16="http://schemas.microsoft.com/office/drawing/2014/main" id="{0924933F-7EA3-BF80-A043-D415589B66FC}"/>
                      </a:ext>
                    </a:extLst>
                  </p:cNvPr>
                  <p:cNvSpPr/>
                  <p:nvPr userDrawn="1"/>
                </p:nvSpPr>
                <p:spPr>
                  <a:xfrm>
                    <a:off x="8226870" y="450659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DE0E9"/>
                  </a:solidFill>
                  <a:ln w="2339" cap="flat">
                    <a:noFill/>
                    <a:prstDash val="solid"/>
                    <a:miter/>
                  </a:ln>
                </p:spPr>
                <p:txBody>
                  <a:bodyPr rtlCol="0" anchor="ctr"/>
                  <a:lstStyle/>
                  <a:p>
                    <a:endParaRPr lang="en-US" sz="2400"/>
                  </a:p>
                </p:txBody>
              </p:sp>
              <p:sp>
                <p:nvSpPr>
                  <p:cNvPr id="687" name="Freeform: Shape 686">
                    <a:extLst>
                      <a:ext uri="{FF2B5EF4-FFF2-40B4-BE49-F238E27FC236}">
                        <a16:creationId xmlns:a16="http://schemas.microsoft.com/office/drawing/2014/main" id="{CBCC6E50-B74A-3D9F-CCF4-579201008631}"/>
                      </a:ext>
                    </a:extLst>
                  </p:cNvPr>
                  <p:cNvSpPr/>
                  <p:nvPr userDrawn="1"/>
                </p:nvSpPr>
                <p:spPr>
                  <a:xfrm>
                    <a:off x="8226495" y="450682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DE0E9"/>
                  </a:solidFill>
                  <a:ln w="2339" cap="flat">
                    <a:noFill/>
                    <a:prstDash val="solid"/>
                    <a:miter/>
                  </a:ln>
                </p:spPr>
                <p:txBody>
                  <a:bodyPr rtlCol="0" anchor="ctr"/>
                  <a:lstStyle/>
                  <a:p>
                    <a:endParaRPr lang="en-US" sz="2400"/>
                  </a:p>
                </p:txBody>
              </p:sp>
              <p:sp>
                <p:nvSpPr>
                  <p:cNvPr id="688" name="Freeform: Shape 687">
                    <a:extLst>
                      <a:ext uri="{FF2B5EF4-FFF2-40B4-BE49-F238E27FC236}">
                        <a16:creationId xmlns:a16="http://schemas.microsoft.com/office/drawing/2014/main" id="{FD8B06B4-0F85-0D60-4604-8A3AC41BE8C9}"/>
                      </a:ext>
                    </a:extLst>
                  </p:cNvPr>
                  <p:cNvSpPr/>
                  <p:nvPr userDrawn="1"/>
                </p:nvSpPr>
                <p:spPr>
                  <a:xfrm>
                    <a:off x="8226121" y="450706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EE1E9"/>
                  </a:solidFill>
                  <a:ln w="2339" cap="flat">
                    <a:noFill/>
                    <a:prstDash val="solid"/>
                    <a:miter/>
                  </a:ln>
                </p:spPr>
                <p:txBody>
                  <a:bodyPr rtlCol="0" anchor="ctr"/>
                  <a:lstStyle/>
                  <a:p>
                    <a:endParaRPr lang="en-US" sz="2400"/>
                  </a:p>
                </p:txBody>
              </p:sp>
              <p:sp>
                <p:nvSpPr>
                  <p:cNvPr id="689" name="Freeform: Shape 688">
                    <a:extLst>
                      <a:ext uri="{FF2B5EF4-FFF2-40B4-BE49-F238E27FC236}">
                        <a16:creationId xmlns:a16="http://schemas.microsoft.com/office/drawing/2014/main" id="{41CAEBA4-9421-8377-BCE0-4D96F44D3A4B}"/>
                      </a:ext>
                    </a:extLst>
                  </p:cNvPr>
                  <p:cNvSpPr/>
                  <p:nvPr userDrawn="1"/>
                </p:nvSpPr>
                <p:spPr>
                  <a:xfrm>
                    <a:off x="8225746" y="450729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EE1E9"/>
                  </a:solidFill>
                  <a:ln w="2339" cap="flat">
                    <a:noFill/>
                    <a:prstDash val="solid"/>
                    <a:miter/>
                  </a:ln>
                </p:spPr>
                <p:txBody>
                  <a:bodyPr rtlCol="0" anchor="ctr"/>
                  <a:lstStyle/>
                  <a:p>
                    <a:endParaRPr lang="en-US" sz="2400"/>
                  </a:p>
                </p:txBody>
              </p:sp>
              <p:sp>
                <p:nvSpPr>
                  <p:cNvPr id="690" name="Freeform: Shape 689">
                    <a:extLst>
                      <a:ext uri="{FF2B5EF4-FFF2-40B4-BE49-F238E27FC236}">
                        <a16:creationId xmlns:a16="http://schemas.microsoft.com/office/drawing/2014/main" id="{116AE617-FE88-5210-4A09-C22C4417B137}"/>
                      </a:ext>
                    </a:extLst>
                  </p:cNvPr>
                  <p:cNvSpPr/>
                  <p:nvPr userDrawn="1"/>
                </p:nvSpPr>
                <p:spPr>
                  <a:xfrm>
                    <a:off x="8225372" y="450755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EE1EA"/>
                  </a:solidFill>
                  <a:ln w="2339" cap="flat">
                    <a:noFill/>
                    <a:prstDash val="solid"/>
                    <a:miter/>
                  </a:ln>
                </p:spPr>
                <p:txBody>
                  <a:bodyPr rtlCol="0" anchor="ctr"/>
                  <a:lstStyle/>
                  <a:p>
                    <a:endParaRPr lang="en-US" sz="2400"/>
                  </a:p>
                </p:txBody>
              </p:sp>
              <p:sp>
                <p:nvSpPr>
                  <p:cNvPr id="691" name="Freeform: Shape 690">
                    <a:extLst>
                      <a:ext uri="{FF2B5EF4-FFF2-40B4-BE49-F238E27FC236}">
                        <a16:creationId xmlns:a16="http://schemas.microsoft.com/office/drawing/2014/main" id="{3F202EBD-EB8E-10EF-C5EF-DCC442136CFA}"/>
                      </a:ext>
                    </a:extLst>
                  </p:cNvPr>
                  <p:cNvSpPr/>
                  <p:nvPr userDrawn="1"/>
                </p:nvSpPr>
                <p:spPr>
                  <a:xfrm>
                    <a:off x="8224998" y="450778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FE1EA"/>
                  </a:solidFill>
                  <a:ln w="2339" cap="flat">
                    <a:noFill/>
                    <a:prstDash val="solid"/>
                    <a:miter/>
                  </a:ln>
                </p:spPr>
                <p:txBody>
                  <a:bodyPr rtlCol="0" anchor="ctr"/>
                  <a:lstStyle/>
                  <a:p>
                    <a:endParaRPr lang="en-US" sz="2400"/>
                  </a:p>
                </p:txBody>
              </p:sp>
              <p:sp>
                <p:nvSpPr>
                  <p:cNvPr id="692" name="Freeform: Shape 691">
                    <a:extLst>
                      <a:ext uri="{FF2B5EF4-FFF2-40B4-BE49-F238E27FC236}">
                        <a16:creationId xmlns:a16="http://schemas.microsoft.com/office/drawing/2014/main" id="{6572F741-834E-451B-6CB8-161A6FC8D0E8}"/>
                      </a:ext>
                    </a:extLst>
                  </p:cNvPr>
                  <p:cNvSpPr/>
                  <p:nvPr userDrawn="1"/>
                </p:nvSpPr>
                <p:spPr>
                  <a:xfrm>
                    <a:off x="8224647" y="450802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FE2EA"/>
                  </a:solidFill>
                  <a:ln w="2339" cap="flat">
                    <a:noFill/>
                    <a:prstDash val="solid"/>
                    <a:miter/>
                  </a:ln>
                </p:spPr>
                <p:txBody>
                  <a:bodyPr rtlCol="0" anchor="ctr"/>
                  <a:lstStyle/>
                  <a:p>
                    <a:endParaRPr lang="en-US" sz="2400"/>
                  </a:p>
                </p:txBody>
              </p:sp>
              <p:sp>
                <p:nvSpPr>
                  <p:cNvPr id="693" name="Freeform: Shape 692">
                    <a:extLst>
                      <a:ext uri="{FF2B5EF4-FFF2-40B4-BE49-F238E27FC236}">
                        <a16:creationId xmlns:a16="http://schemas.microsoft.com/office/drawing/2014/main" id="{27C7F04F-3A8F-ADF6-D5E1-889FAB9D7A3D}"/>
                      </a:ext>
                    </a:extLst>
                  </p:cNvPr>
                  <p:cNvSpPr/>
                  <p:nvPr userDrawn="1"/>
                </p:nvSpPr>
                <p:spPr>
                  <a:xfrm>
                    <a:off x="8224272" y="450825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DFE2EA"/>
                  </a:solidFill>
                  <a:ln w="2339" cap="flat">
                    <a:noFill/>
                    <a:prstDash val="solid"/>
                    <a:miter/>
                  </a:ln>
                </p:spPr>
                <p:txBody>
                  <a:bodyPr rtlCol="0" anchor="ctr"/>
                  <a:lstStyle/>
                  <a:p>
                    <a:endParaRPr lang="en-US" sz="2400"/>
                  </a:p>
                </p:txBody>
              </p:sp>
              <p:sp>
                <p:nvSpPr>
                  <p:cNvPr id="694" name="Freeform: Shape 693">
                    <a:extLst>
                      <a:ext uri="{FF2B5EF4-FFF2-40B4-BE49-F238E27FC236}">
                        <a16:creationId xmlns:a16="http://schemas.microsoft.com/office/drawing/2014/main" id="{B71129C5-47E8-0FBC-FC82-0E8CAD006A9D}"/>
                      </a:ext>
                    </a:extLst>
                  </p:cNvPr>
                  <p:cNvSpPr/>
                  <p:nvPr userDrawn="1"/>
                </p:nvSpPr>
                <p:spPr>
                  <a:xfrm>
                    <a:off x="8223921" y="450851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FE2EA"/>
                  </a:solidFill>
                  <a:ln w="2339" cap="flat">
                    <a:noFill/>
                    <a:prstDash val="solid"/>
                    <a:miter/>
                  </a:ln>
                </p:spPr>
                <p:txBody>
                  <a:bodyPr rtlCol="0" anchor="ctr"/>
                  <a:lstStyle/>
                  <a:p>
                    <a:endParaRPr lang="en-US" sz="2400"/>
                  </a:p>
                </p:txBody>
              </p:sp>
              <p:sp>
                <p:nvSpPr>
                  <p:cNvPr id="695" name="Freeform: Shape 694">
                    <a:extLst>
                      <a:ext uri="{FF2B5EF4-FFF2-40B4-BE49-F238E27FC236}">
                        <a16:creationId xmlns:a16="http://schemas.microsoft.com/office/drawing/2014/main" id="{1DC50917-144B-0C07-43A1-006A999881AD}"/>
                      </a:ext>
                    </a:extLst>
                  </p:cNvPr>
                  <p:cNvSpPr/>
                  <p:nvPr userDrawn="1"/>
                </p:nvSpPr>
                <p:spPr>
                  <a:xfrm>
                    <a:off x="8223570" y="450874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0E3EB"/>
                  </a:solidFill>
                  <a:ln w="2339" cap="flat">
                    <a:noFill/>
                    <a:prstDash val="solid"/>
                    <a:miter/>
                  </a:ln>
                </p:spPr>
                <p:txBody>
                  <a:bodyPr rtlCol="0" anchor="ctr"/>
                  <a:lstStyle/>
                  <a:p>
                    <a:endParaRPr lang="en-US" sz="2400"/>
                  </a:p>
                </p:txBody>
              </p:sp>
              <p:sp>
                <p:nvSpPr>
                  <p:cNvPr id="696" name="Freeform: Shape 695">
                    <a:extLst>
                      <a:ext uri="{FF2B5EF4-FFF2-40B4-BE49-F238E27FC236}">
                        <a16:creationId xmlns:a16="http://schemas.microsoft.com/office/drawing/2014/main" id="{B73FEF94-4ED6-3CE4-6156-9690CEAF3A9E}"/>
                      </a:ext>
                    </a:extLst>
                  </p:cNvPr>
                  <p:cNvSpPr/>
                  <p:nvPr userDrawn="1"/>
                </p:nvSpPr>
                <p:spPr>
                  <a:xfrm>
                    <a:off x="8223196" y="450898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54"/>
                          <a:pt x="42097" y="21060"/>
                        </a:cubicBezTo>
                        <a:close/>
                      </a:path>
                    </a:pathLst>
                  </a:custGeom>
                  <a:solidFill>
                    <a:srgbClr val="E0E3EB"/>
                  </a:solidFill>
                  <a:ln w="2339" cap="flat">
                    <a:noFill/>
                    <a:prstDash val="solid"/>
                    <a:miter/>
                  </a:ln>
                </p:spPr>
                <p:txBody>
                  <a:bodyPr rtlCol="0" anchor="ctr"/>
                  <a:lstStyle/>
                  <a:p>
                    <a:endParaRPr lang="en-US" sz="2400"/>
                  </a:p>
                </p:txBody>
              </p:sp>
              <p:sp>
                <p:nvSpPr>
                  <p:cNvPr id="697" name="Freeform: Shape 696">
                    <a:extLst>
                      <a:ext uri="{FF2B5EF4-FFF2-40B4-BE49-F238E27FC236}">
                        <a16:creationId xmlns:a16="http://schemas.microsoft.com/office/drawing/2014/main" id="{724C5B1E-D5FD-0CED-4B92-77753B01463C}"/>
                      </a:ext>
                    </a:extLst>
                  </p:cNvPr>
                  <p:cNvSpPr/>
                  <p:nvPr userDrawn="1"/>
                </p:nvSpPr>
                <p:spPr>
                  <a:xfrm>
                    <a:off x="8222845" y="450923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0E3EB"/>
                  </a:solidFill>
                  <a:ln w="2339" cap="flat">
                    <a:noFill/>
                    <a:prstDash val="solid"/>
                    <a:miter/>
                  </a:ln>
                </p:spPr>
                <p:txBody>
                  <a:bodyPr rtlCol="0" anchor="ctr"/>
                  <a:lstStyle/>
                  <a:p>
                    <a:endParaRPr lang="en-US" sz="2400"/>
                  </a:p>
                </p:txBody>
              </p:sp>
              <p:sp>
                <p:nvSpPr>
                  <p:cNvPr id="698" name="Freeform: Shape 697">
                    <a:extLst>
                      <a:ext uri="{FF2B5EF4-FFF2-40B4-BE49-F238E27FC236}">
                        <a16:creationId xmlns:a16="http://schemas.microsoft.com/office/drawing/2014/main" id="{D6685779-9E1E-4013-8EDD-671D4B1450B2}"/>
                      </a:ext>
                    </a:extLst>
                  </p:cNvPr>
                  <p:cNvSpPr/>
                  <p:nvPr userDrawn="1"/>
                </p:nvSpPr>
                <p:spPr>
                  <a:xfrm>
                    <a:off x="8222494" y="450947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1E3EB"/>
                  </a:solidFill>
                  <a:ln w="2339" cap="flat">
                    <a:noFill/>
                    <a:prstDash val="solid"/>
                    <a:miter/>
                  </a:ln>
                </p:spPr>
                <p:txBody>
                  <a:bodyPr rtlCol="0" anchor="ctr"/>
                  <a:lstStyle/>
                  <a:p>
                    <a:endParaRPr lang="en-US" sz="2400"/>
                  </a:p>
                </p:txBody>
              </p:sp>
              <p:sp>
                <p:nvSpPr>
                  <p:cNvPr id="699" name="Freeform: Shape 698">
                    <a:extLst>
                      <a:ext uri="{FF2B5EF4-FFF2-40B4-BE49-F238E27FC236}">
                        <a16:creationId xmlns:a16="http://schemas.microsoft.com/office/drawing/2014/main" id="{BA0C2D05-8F1E-BFB6-1481-E55EFFE221A9}"/>
                      </a:ext>
                    </a:extLst>
                  </p:cNvPr>
                  <p:cNvSpPr/>
                  <p:nvPr userDrawn="1"/>
                </p:nvSpPr>
                <p:spPr>
                  <a:xfrm>
                    <a:off x="8222166" y="450973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1E4EB"/>
                  </a:solidFill>
                  <a:ln w="2339" cap="flat">
                    <a:noFill/>
                    <a:prstDash val="solid"/>
                    <a:miter/>
                  </a:ln>
                </p:spPr>
                <p:txBody>
                  <a:bodyPr rtlCol="0" anchor="ctr"/>
                  <a:lstStyle/>
                  <a:p>
                    <a:endParaRPr lang="en-US" sz="2400"/>
                  </a:p>
                </p:txBody>
              </p:sp>
              <p:sp>
                <p:nvSpPr>
                  <p:cNvPr id="700" name="Freeform: Shape 699">
                    <a:extLst>
                      <a:ext uri="{FF2B5EF4-FFF2-40B4-BE49-F238E27FC236}">
                        <a16:creationId xmlns:a16="http://schemas.microsoft.com/office/drawing/2014/main" id="{6C93E986-EDD7-D80E-717C-FFE75461BF78}"/>
                      </a:ext>
                    </a:extLst>
                  </p:cNvPr>
                  <p:cNvSpPr/>
                  <p:nvPr userDrawn="1"/>
                </p:nvSpPr>
                <p:spPr>
                  <a:xfrm>
                    <a:off x="8221815" y="450996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E1E4EC"/>
                  </a:solidFill>
                  <a:ln w="2339" cap="flat">
                    <a:noFill/>
                    <a:prstDash val="solid"/>
                    <a:miter/>
                  </a:ln>
                </p:spPr>
                <p:txBody>
                  <a:bodyPr rtlCol="0" anchor="ctr"/>
                  <a:lstStyle/>
                  <a:p>
                    <a:endParaRPr lang="en-US" sz="2400"/>
                  </a:p>
                </p:txBody>
              </p:sp>
              <p:sp>
                <p:nvSpPr>
                  <p:cNvPr id="701" name="Freeform: Shape 700">
                    <a:extLst>
                      <a:ext uri="{FF2B5EF4-FFF2-40B4-BE49-F238E27FC236}">
                        <a16:creationId xmlns:a16="http://schemas.microsoft.com/office/drawing/2014/main" id="{AC67D884-0C00-45C8-350A-9BC81D1166B0}"/>
                      </a:ext>
                    </a:extLst>
                  </p:cNvPr>
                  <p:cNvSpPr/>
                  <p:nvPr userDrawn="1"/>
                </p:nvSpPr>
                <p:spPr>
                  <a:xfrm>
                    <a:off x="8221464" y="451022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2E4EC"/>
                  </a:solidFill>
                  <a:ln w="2339" cap="flat">
                    <a:noFill/>
                    <a:prstDash val="solid"/>
                    <a:miter/>
                  </a:ln>
                </p:spPr>
                <p:txBody>
                  <a:bodyPr rtlCol="0" anchor="ctr"/>
                  <a:lstStyle/>
                  <a:p>
                    <a:endParaRPr lang="en-US" sz="2400"/>
                  </a:p>
                </p:txBody>
              </p:sp>
              <p:sp>
                <p:nvSpPr>
                  <p:cNvPr id="702" name="Freeform: Shape 701">
                    <a:extLst>
                      <a:ext uri="{FF2B5EF4-FFF2-40B4-BE49-F238E27FC236}">
                        <a16:creationId xmlns:a16="http://schemas.microsoft.com/office/drawing/2014/main" id="{257F51C0-BB05-5C03-215A-65DBF1A5C9E2}"/>
                      </a:ext>
                    </a:extLst>
                  </p:cNvPr>
                  <p:cNvSpPr/>
                  <p:nvPr userDrawn="1"/>
                </p:nvSpPr>
                <p:spPr>
                  <a:xfrm>
                    <a:off x="8221113" y="451047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2E5EC"/>
                  </a:solidFill>
                  <a:ln w="2339" cap="flat">
                    <a:noFill/>
                    <a:prstDash val="solid"/>
                    <a:miter/>
                  </a:ln>
                </p:spPr>
                <p:txBody>
                  <a:bodyPr rtlCol="0" anchor="ctr"/>
                  <a:lstStyle/>
                  <a:p>
                    <a:endParaRPr lang="en-US" sz="2400"/>
                  </a:p>
                </p:txBody>
              </p:sp>
              <p:sp>
                <p:nvSpPr>
                  <p:cNvPr id="703" name="Freeform: Shape 702">
                    <a:extLst>
                      <a:ext uri="{FF2B5EF4-FFF2-40B4-BE49-F238E27FC236}">
                        <a16:creationId xmlns:a16="http://schemas.microsoft.com/office/drawing/2014/main" id="{9B6805BA-DDC1-23DF-84B7-0C44E8A941BF}"/>
                      </a:ext>
                    </a:extLst>
                  </p:cNvPr>
                  <p:cNvSpPr/>
                  <p:nvPr userDrawn="1"/>
                </p:nvSpPr>
                <p:spPr>
                  <a:xfrm>
                    <a:off x="8220786" y="451071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2E5EC"/>
                  </a:solidFill>
                  <a:ln w="2339" cap="flat">
                    <a:noFill/>
                    <a:prstDash val="solid"/>
                    <a:miter/>
                  </a:ln>
                </p:spPr>
                <p:txBody>
                  <a:bodyPr rtlCol="0" anchor="ctr"/>
                  <a:lstStyle/>
                  <a:p>
                    <a:endParaRPr lang="en-US" sz="2400"/>
                  </a:p>
                </p:txBody>
              </p:sp>
              <p:sp>
                <p:nvSpPr>
                  <p:cNvPr id="704" name="Freeform: Shape 703">
                    <a:extLst>
                      <a:ext uri="{FF2B5EF4-FFF2-40B4-BE49-F238E27FC236}">
                        <a16:creationId xmlns:a16="http://schemas.microsoft.com/office/drawing/2014/main" id="{09A91D92-DFAF-D550-B303-652B00A8D7C3}"/>
                      </a:ext>
                    </a:extLst>
                  </p:cNvPr>
                  <p:cNvSpPr/>
                  <p:nvPr userDrawn="1"/>
                </p:nvSpPr>
                <p:spPr>
                  <a:xfrm>
                    <a:off x="8220458" y="451097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3E5EC"/>
                  </a:solidFill>
                  <a:ln w="2339" cap="flat">
                    <a:noFill/>
                    <a:prstDash val="solid"/>
                    <a:miter/>
                  </a:ln>
                </p:spPr>
                <p:txBody>
                  <a:bodyPr rtlCol="0" anchor="ctr"/>
                  <a:lstStyle/>
                  <a:p>
                    <a:endParaRPr lang="en-US" sz="2400"/>
                  </a:p>
                </p:txBody>
              </p:sp>
              <p:sp>
                <p:nvSpPr>
                  <p:cNvPr id="705" name="Freeform: Shape 704">
                    <a:extLst>
                      <a:ext uri="{FF2B5EF4-FFF2-40B4-BE49-F238E27FC236}">
                        <a16:creationId xmlns:a16="http://schemas.microsoft.com/office/drawing/2014/main" id="{42D678D0-BDB0-F2C6-0345-0E4615C1FA27}"/>
                      </a:ext>
                    </a:extLst>
                  </p:cNvPr>
                  <p:cNvSpPr/>
                  <p:nvPr userDrawn="1"/>
                </p:nvSpPr>
                <p:spPr>
                  <a:xfrm>
                    <a:off x="8220107" y="451122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3E5ED"/>
                  </a:solidFill>
                  <a:ln w="2339" cap="flat">
                    <a:noFill/>
                    <a:prstDash val="solid"/>
                    <a:miter/>
                  </a:ln>
                </p:spPr>
                <p:txBody>
                  <a:bodyPr rtlCol="0" anchor="ctr"/>
                  <a:lstStyle/>
                  <a:p>
                    <a:endParaRPr lang="en-US" sz="2400"/>
                  </a:p>
                </p:txBody>
              </p:sp>
              <p:sp>
                <p:nvSpPr>
                  <p:cNvPr id="706" name="Freeform: Shape 705">
                    <a:extLst>
                      <a:ext uri="{FF2B5EF4-FFF2-40B4-BE49-F238E27FC236}">
                        <a16:creationId xmlns:a16="http://schemas.microsoft.com/office/drawing/2014/main" id="{384351D3-3FFE-7D65-ECA0-E74BA75A924C}"/>
                      </a:ext>
                    </a:extLst>
                  </p:cNvPr>
                  <p:cNvSpPr/>
                  <p:nvPr userDrawn="1"/>
                </p:nvSpPr>
                <p:spPr>
                  <a:xfrm>
                    <a:off x="8219779" y="451146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3E6ED"/>
                  </a:solidFill>
                  <a:ln w="2339" cap="flat">
                    <a:noFill/>
                    <a:prstDash val="solid"/>
                    <a:miter/>
                  </a:ln>
                </p:spPr>
                <p:txBody>
                  <a:bodyPr rtlCol="0" anchor="ctr"/>
                  <a:lstStyle/>
                  <a:p>
                    <a:endParaRPr lang="en-US" sz="2400"/>
                  </a:p>
                </p:txBody>
              </p:sp>
              <p:sp>
                <p:nvSpPr>
                  <p:cNvPr id="707" name="Freeform: Shape 706">
                    <a:extLst>
                      <a:ext uri="{FF2B5EF4-FFF2-40B4-BE49-F238E27FC236}">
                        <a16:creationId xmlns:a16="http://schemas.microsoft.com/office/drawing/2014/main" id="{F81BD2D1-6965-A2D6-6BDB-9E88DA802E09}"/>
                      </a:ext>
                    </a:extLst>
                  </p:cNvPr>
                  <p:cNvSpPr/>
                  <p:nvPr userDrawn="1"/>
                </p:nvSpPr>
                <p:spPr>
                  <a:xfrm>
                    <a:off x="8219452" y="451171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3E6ED"/>
                  </a:solidFill>
                  <a:ln w="2339" cap="flat">
                    <a:noFill/>
                    <a:prstDash val="solid"/>
                    <a:miter/>
                  </a:ln>
                </p:spPr>
                <p:txBody>
                  <a:bodyPr rtlCol="0" anchor="ctr"/>
                  <a:lstStyle/>
                  <a:p>
                    <a:endParaRPr lang="en-US" sz="2400"/>
                  </a:p>
                </p:txBody>
              </p:sp>
              <p:sp>
                <p:nvSpPr>
                  <p:cNvPr id="708" name="Freeform: Shape 707">
                    <a:extLst>
                      <a:ext uri="{FF2B5EF4-FFF2-40B4-BE49-F238E27FC236}">
                        <a16:creationId xmlns:a16="http://schemas.microsoft.com/office/drawing/2014/main" id="{20056DDD-6C1D-9C75-94D7-B430F8DC85F8}"/>
                      </a:ext>
                    </a:extLst>
                  </p:cNvPr>
                  <p:cNvSpPr/>
                  <p:nvPr userDrawn="1"/>
                </p:nvSpPr>
                <p:spPr>
                  <a:xfrm>
                    <a:off x="8219124" y="451197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4E6ED"/>
                  </a:solidFill>
                  <a:ln w="2339" cap="flat">
                    <a:noFill/>
                    <a:prstDash val="solid"/>
                    <a:miter/>
                  </a:ln>
                </p:spPr>
                <p:txBody>
                  <a:bodyPr rtlCol="0" anchor="ctr"/>
                  <a:lstStyle/>
                  <a:p>
                    <a:endParaRPr lang="en-US" sz="2400"/>
                  </a:p>
                </p:txBody>
              </p:sp>
              <p:sp>
                <p:nvSpPr>
                  <p:cNvPr id="709" name="Freeform: Shape 708">
                    <a:extLst>
                      <a:ext uri="{FF2B5EF4-FFF2-40B4-BE49-F238E27FC236}">
                        <a16:creationId xmlns:a16="http://schemas.microsoft.com/office/drawing/2014/main" id="{BE9F9AB2-79C0-9381-5B4D-36A55CB05AB5}"/>
                      </a:ext>
                    </a:extLst>
                  </p:cNvPr>
                  <p:cNvSpPr/>
                  <p:nvPr userDrawn="1"/>
                </p:nvSpPr>
                <p:spPr>
                  <a:xfrm>
                    <a:off x="8218797" y="451223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4E6ED"/>
                  </a:solidFill>
                  <a:ln w="2339" cap="flat">
                    <a:noFill/>
                    <a:prstDash val="solid"/>
                    <a:miter/>
                  </a:ln>
                </p:spPr>
                <p:txBody>
                  <a:bodyPr rtlCol="0" anchor="ctr"/>
                  <a:lstStyle/>
                  <a:p>
                    <a:endParaRPr lang="en-US" sz="2400"/>
                  </a:p>
                </p:txBody>
              </p:sp>
              <p:sp>
                <p:nvSpPr>
                  <p:cNvPr id="710" name="Freeform: Shape 709">
                    <a:extLst>
                      <a:ext uri="{FF2B5EF4-FFF2-40B4-BE49-F238E27FC236}">
                        <a16:creationId xmlns:a16="http://schemas.microsoft.com/office/drawing/2014/main" id="{9D7D7694-D1F6-4403-E681-3C20BA9CE0D4}"/>
                      </a:ext>
                    </a:extLst>
                  </p:cNvPr>
                  <p:cNvSpPr/>
                  <p:nvPr userDrawn="1"/>
                </p:nvSpPr>
                <p:spPr>
                  <a:xfrm>
                    <a:off x="8218492" y="451249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4E7EE"/>
                  </a:solidFill>
                  <a:ln w="2339" cap="flat">
                    <a:noFill/>
                    <a:prstDash val="solid"/>
                    <a:miter/>
                  </a:ln>
                </p:spPr>
                <p:txBody>
                  <a:bodyPr rtlCol="0" anchor="ctr"/>
                  <a:lstStyle/>
                  <a:p>
                    <a:endParaRPr lang="en-US" sz="2400"/>
                  </a:p>
                </p:txBody>
              </p:sp>
              <p:sp>
                <p:nvSpPr>
                  <p:cNvPr id="711" name="Freeform: Shape 710">
                    <a:extLst>
                      <a:ext uri="{FF2B5EF4-FFF2-40B4-BE49-F238E27FC236}">
                        <a16:creationId xmlns:a16="http://schemas.microsoft.com/office/drawing/2014/main" id="{9B5CDE67-028B-180A-0713-8FB8841516C2}"/>
                      </a:ext>
                    </a:extLst>
                  </p:cNvPr>
                  <p:cNvSpPr/>
                  <p:nvPr userDrawn="1"/>
                </p:nvSpPr>
                <p:spPr>
                  <a:xfrm>
                    <a:off x="8218165" y="451274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5E7EE"/>
                  </a:solidFill>
                  <a:ln w="2339" cap="flat">
                    <a:noFill/>
                    <a:prstDash val="solid"/>
                    <a:miter/>
                  </a:ln>
                </p:spPr>
                <p:txBody>
                  <a:bodyPr rtlCol="0" anchor="ctr"/>
                  <a:lstStyle/>
                  <a:p>
                    <a:endParaRPr lang="en-US" sz="2400"/>
                  </a:p>
                </p:txBody>
              </p:sp>
              <p:sp>
                <p:nvSpPr>
                  <p:cNvPr id="712" name="Freeform: Shape 711">
                    <a:extLst>
                      <a:ext uri="{FF2B5EF4-FFF2-40B4-BE49-F238E27FC236}">
                        <a16:creationId xmlns:a16="http://schemas.microsoft.com/office/drawing/2014/main" id="{D71D966A-88E9-8084-3FE9-BCEECA04A69C}"/>
                      </a:ext>
                    </a:extLst>
                  </p:cNvPr>
                  <p:cNvSpPr/>
                  <p:nvPr userDrawn="1"/>
                </p:nvSpPr>
                <p:spPr>
                  <a:xfrm>
                    <a:off x="8217837" y="451300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5E7EE"/>
                  </a:solidFill>
                  <a:ln w="2339" cap="flat">
                    <a:noFill/>
                    <a:prstDash val="solid"/>
                    <a:miter/>
                  </a:ln>
                </p:spPr>
                <p:txBody>
                  <a:bodyPr rtlCol="0" anchor="ctr"/>
                  <a:lstStyle/>
                  <a:p>
                    <a:endParaRPr lang="en-US" sz="2400"/>
                  </a:p>
                </p:txBody>
              </p:sp>
              <p:sp>
                <p:nvSpPr>
                  <p:cNvPr id="713" name="Freeform: Shape 712">
                    <a:extLst>
                      <a:ext uri="{FF2B5EF4-FFF2-40B4-BE49-F238E27FC236}">
                        <a16:creationId xmlns:a16="http://schemas.microsoft.com/office/drawing/2014/main" id="{6B039D51-53B1-6EF9-287A-F2F0FE47F4F4}"/>
                      </a:ext>
                    </a:extLst>
                  </p:cNvPr>
                  <p:cNvSpPr/>
                  <p:nvPr userDrawn="1"/>
                </p:nvSpPr>
                <p:spPr>
                  <a:xfrm>
                    <a:off x="8217533" y="451326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5E8EE"/>
                  </a:solidFill>
                  <a:ln w="2339" cap="flat">
                    <a:noFill/>
                    <a:prstDash val="solid"/>
                    <a:miter/>
                  </a:ln>
                </p:spPr>
                <p:txBody>
                  <a:bodyPr rtlCol="0" anchor="ctr"/>
                  <a:lstStyle/>
                  <a:p>
                    <a:endParaRPr lang="en-US" sz="2400"/>
                  </a:p>
                </p:txBody>
              </p:sp>
              <p:sp>
                <p:nvSpPr>
                  <p:cNvPr id="714" name="Freeform: Shape 713">
                    <a:extLst>
                      <a:ext uri="{FF2B5EF4-FFF2-40B4-BE49-F238E27FC236}">
                        <a16:creationId xmlns:a16="http://schemas.microsoft.com/office/drawing/2014/main" id="{AD3558CE-EC06-B6BB-5A0B-666C3860D4BC}"/>
                      </a:ext>
                    </a:extLst>
                  </p:cNvPr>
                  <p:cNvSpPr/>
                  <p:nvPr userDrawn="1"/>
                </p:nvSpPr>
                <p:spPr>
                  <a:xfrm>
                    <a:off x="8217112" y="451359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6E8EE"/>
                  </a:solidFill>
                  <a:ln w="2339" cap="flat">
                    <a:noFill/>
                    <a:prstDash val="solid"/>
                    <a:miter/>
                  </a:ln>
                </p:spPr>
                <p:txBody>
                  <a:bodyPr rtlCol="0" anchor="ctr"/>
                  <a:lstStyle/>
                  <a:p>
                    <a:endParaRPr lang="en-US" sz="2400"/>
                  </a:p>
                </p:txBody>
              </p:sp>
              <p:sp>
                <p:nvSpPr>
                  <p:cNvPr id="715" name="Freeform: Shape 714">
                    <a:extLst>
                      <a:ext uri="{FF2B5EF4-FFF2-40B4-BE49-F238E27FC236}">
                        <a16:creationId xmlns:a16="http://schemas.microsoft.com/office/drawing/2014/main" id="{05A13242-A1B4-7FAA-3A78-C5DF470A9DB9}"/>
                      </a:ext>
                    </a:extLst>
                  </p:cNvPr>
                  <p:cNvSpPr/>
                  <p:nvPr userDrawn="1"/>
                </p:nvSpPr>
                <p:spPr>
                  <a:xfrm>
                    <a:off x="8216620" y="451401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6E8EF"/>
                  </a:solidFill>
                  <a:ln w="2339" cap="flat">
                    <a:noFill/>
                    <a:prstDash val="solid"/>
                    <a:miter/>
                  </a:ln>
                </p:spPr>
                <p:txBody>
                  <a:bodyPr rtlCol="0" anchor="ctr"/>
                  <a:lstStyle/>
                  <a:p>
                    <a:endParaRPr lang="en-US" sz="2400"/>
                  </a:p>
                </p:txBody>
              </p:sp>
              <p:sp>
                <p:nvSpPr>
                  <p:cNvPr id="716" name="Freeform: Shape 715">
                    <a:extLst>
                      <a:ext uri="{FF2B5EF4-FFF2-40B4-BE49-F238E27FC236}">
                        <a16:creationId xmlns:a16="http://schemas.microsoft.com/office/drawing/2014/main" id="{B6DF12CB-A161-45E5-CC24-59BAF90E1363}"/>
                      </a:ext>
                    </a:extLst>
                  </p:cNvPr>
                  <p:cNvSpPr/>
                  <p:nvPr userDrawn="1"/>
                </p:nvSpPr>
                <p:spPr>
                  <a:xfrm>
                    <a:off x="8216152" y="451441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6E8EF"/>
                  </a:solidFill>
                  <a:ln w="2339" cap="flat">
                    <a:noFill/>
                    <a:prstDash val="solid"/>
                    <a:miter/>
                  </a:ln>
                </p:spPr>
                <p:txBody>
                  <a:bodyPr rtlCol="0" anchor="ctr"/>
                  <a:lstStyle/>
                  <a:p>
                    <a:endParaRPr lang="en-US" sz="2400"/>
                  </a:p>
                </p:txBody>
              </p:sp>
              <p:sp>
                <p:nvSpPr>
                  <p:cNvPr id="717" name="Freeform: Shape 716">
                    <a:extLst>
                      <a:ext uri="{FF2B5EF4-FFF2-40B4-BE49-F238E27FC236}">
                        <a16:creationId xmlns:a16="http://schemas.microsoft.com/office/drawing/2014/main" id="{3CF734BA-B7F8-C318-1BED-CB5E42C4EFA9}"/>
                      </a:ext>
                    </a:extLst>
                  </p:cNvPr>
                  <p:cNvSpPr/>
                  <p:nvPr userDrawn="1"/>
                </p:nvSpPr>
                <p:spPr>
                  <a:xfrm>
                    <a:off x="8215684" y="451480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7E9EF"/>
                  </a:solidFill>
                  <a:ln w="2339" cap="flat">
                    <a:noFill/>
                    <a:prstDash val="solid"/>
                    <a:miter/>
                  </a:ln>
                </p:spPr>
                <p:txBody>
                  <a:bodyPr rtlCol="0" anchor="ctr"/>
                  <a:lstStyle/>
                  <a:p>
                    <a:endParaRPr lang="en-US" sz="2400"/>
                  </a:p>
                </p:txBody>
              </p:sp>
              <p:sp>
                <p:nvSpPr>
                  <p:cNvPr id="718" name="Freeform: Shape 717">
                    <a:extLst>
                      <a:ext uri="{FF2B5EF4-FFF2-40B4-BE49-F238E27FC236}">
                        <a16:creationId xmlns:a16="http://schemas.microsoft.com/office/drawing/2014/main" id="{5B2500D6-6E29-D596-39B8-207ED88FD786}"/>
                      </a:ext>
                    </a:extLst>
                  </p:cNvPr>
                  <p:cNvSpPr/>
                  <p:nvPr userDrawn="1"/>
                </p:nvSpPr>
                <p:spPr>
                  <a:xfrm>
                    <a:off x="8215193" y="451522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7E9EF"/>
                  </a:solidFill>
                  <a:ln w="2339" cap="flat">
                    <a:noFill/>
                    <a:prstDash val="solid"/>
                    <a:miter/>
                  </a:ln>
                </p:spPr>
                <p:txBody>
                  <a:bodyPr rtlCol="0" anchor="ctr"/>
                  <a:lstStyle/>
                  <a:p>
                    <a:endParaRPr lang="en-US" sz="2400"/>
                  </a:p>
                </p:txBody>
              </p:sp>
              <p:sp>
                <p:nvSpPr>
                  <p:cNvPr id="719" name="Freeform: Shape 718">
                    <a:extLst>
                      <a:ext uri="{FF2B5EF4-FFF2-40B4-BE49-F238E27FC236}">
                        <a16:creationId xmlns:a16="http://schemas.microsoft.com/office/drawing/2014/main" id="{2C81E99E-1A51-F229-0C45-A638E18308E4}"/>
                      </a:ext>
                    </a:extLst>
                  </p:cNvPr>
                  <p:cNvSpPr/>
                  <p:nvPr userDrawn="1"/>
                </p:nvSpPr>
                <p:spPr>
                  <a:xfrm>
                    <a:off x="8214725" y="451562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7E9EF"/>
                  </a:solidFill>
                  <a:ln w="2339" cap="flat">
                    <a:noFill/>
                    <a:prstDash val="solid"/>
                    <a:miter/>
                  </a:ln>
                </p:spPr>
                <p:txBody>
                  <a:bodyPr rtlCol="0" anchor="ctr"/>
                  <a:lstStyle/>
                  <a:p>
                    <a:endParaRPr lang="en-US" sz="2400"/>
                  </a:p>
                </p:txBody>
              </p:sp>
              <p:sp>
                <p:nvSpPr>
                  <p:cNvPr id="720" name="Freeform: Shape 719">
                    <a:extLst>
                      <a:ext uri="{FF2B5EF4-FFF2-40B4-BE49-F238E27FC236}">
                        <a16:creationId xmlns:a16="http://schemas.microsoft.com/office/drawing/2014/main" id="{530440E6-BA60-13D8-753A-0961975F099F}"/>
                      </a:ext>
                    </a:extLst>
                  </p:cNvPr>
                  <p:cNvSpPr/>
                  <p:nvPr userDrawn="1"/>
                </p:nvSpPr>
                <p:spPr>
                  <a:xfrm>
                    <a:off x="8214280" y="451604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7EAF0"/>
                  </a:solidFill>
                  <a:ln w="2339" cap="flat">
                    <a:noFill/>
                    <a:prstDash val="solid"/>
                    <a:miter/>
                  </a:ln>
                </p:spPr>
                <p:txBody>
                  <a:bodyPr rtlCol="0" anchor="ctr"/>
                  <a:lstStyle/>
                  <a:p>
                    <a:endParaRPr lang="en-US" sz="2400"/>
                  </a:p>
                </p:txBody>
              </p:sp>
              <p:sp>
                <p:nvSpPr>
                  <p:cNvPr id="721" name="Freeform: Shape 720">
                    <a:extLst>
                      <a:ext uri="{FF2B5EF4-FFF2-40B4-BE49-F238E27FC236}">
                        <a16:creationId xmlns:a16="http://schemas.microsoft.com/office/drawing/2014/main" id="{0123F08A-C621-3F23-46BA-C7CF6689B775}"/>
                      </a:ext>
                    </a:extLst>
                  </p:cNvPr>
                  <p:cNvSpPr/>
                  <p:nvPr userDrawn="1"/>
                </p:nvSpPr>
                <p:spPr>
                  <a:xfrm>
                    <a:off x="8213812" y="451646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8EAF0"/>
                  </a:solidFill>
                  <a:ln w="2339" cap="flat">
                    <a:noFill/>
                    <a:prstDash val="solid"/>
                    <a:miter/>
                  </a:ln>
                </p:spPr>
                <p:txBody>
                  <a:bodyPr rtlCol="0" anchor="ctr"/>
                  <a:lstStyle/>
                  <a:p>
                    <a:endParaRPr lang="en-US" sz="2400"/>
                  </a:p>
                </p:txBody>
              </p:sp>
              <p:sp>
                <p:nvSpPr>
                  <p:cNvPr id="722" name="Freeform: Shape 721">
                    <a:extLst>
                      <a:ext uri="{FF2B5EF4-FFF2-40B4-BE49-F238E27FC236}">
                        <a16:creationId xmlns:a16="http://schemas.microsoft.com/office/drawing/2014/main" id="{ECE64344-7315-EF3B-D964-D5553E0C82D8}"/>
                      </a:ext>
                    </a:extLst>
                  </p:cNvPr>
                  <p:cNvSpPr/>
                  <p:nvPr userDrawn="1"/>
                </p:nvSpPr>
                <p:spPr>
                  <a:xfrm>
                    <a:off x="8213368" y="451686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8EAF0"/>
                  </a:solidFill>
                  <a:ln w="2339" cap="flat">
                    <a:noFill/>
                    <a:prstDash val="solid"/>
                    <a:miter/>
                  </a:ln>
                </p:spPr>
                <p:txBody>
                  <a:bodyPr rtlCol="0" anchor="ctr"/>
                  <a:lstStyle/>
                  <a:p>
                    <a:endParaRPr lang="en-US" sz="2400"/>
                  </a:p>
                </p:txBody>
              </p:sp>
              <p:sp>
                <p:nvSpPr>
                  <p:cNvPr id="723" name="Freeform: Shape 722">
                    <a:extLst>
                      <a:ext uri="{FF2B5EF4-FFF2-40B4-BE49-F238E27FC236}">
                        <a16:creationId xmlns:a16="http://schemas.microsoft.com/office/drawing/2014/main" id="{8DD7F0DC-8E6C-F0A9-A256-AD96FE461221}"/>
                      </a:ext>
                    </a:extLst>
                  </p:cNvPr>
                  <p:cNvSpPr/>
                  <p:nvPr userDrawn="1"/>
                </p:nvSpPr>
                <p:spPr>
                  <a:xfrm>
                    <a:off x="8212923" y="451728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8EAF0"/>
                  </a:solidFill>
                  <a:ln w="2339" cap="flat">
                    <a:noFill/>
                    <a:prstDash val="solid"/>
                    <a:miter/>
                  </a:ln>
                </p:spPr>
                <p:txBody>
                  <a:bodyPr rtlCol="0" anchor="ctr"/>
                  <a:lstStyle/>
                  <a:p>
                    <a:endParaRPr lang="en-US" sz="2400"/>
                  </a:p>
                </p:txBody>
              </p:sp>
              <p:sp>
                <p:nvSpPr>
                  <p:cNvPr id="724" name="Freeform: Shape 723">
                    <a:extLst>
                      <a:ext uri="{FF2B5EF4-FFF2-40B4-BE49-F238E27FC236}">
                        <a16:creationId xmlns:a16="http://schemas.microsoft.com/office/drawing/2014/main" id="{02799B33-F3B7-DB87-CD26-8F9E67AFA7B1}"/>
                      </a:ext>
                    </a:extLst>
                  </p:cNvPr>
                  <p:cNvSpPr/>
                  <p:nvPr userDrawn="1"/>
                </p:nvSpPr>
                <p:spPr>
                  <a:xfrm>
                    <a:off x="8212478" y="451768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9EBF0"/>
                  </a:solidFill>
                  <a:ln w="2339" cap="flat">
                    <a:noFill/>
                    <a:prstDash val="solid"/>
                    <a:miter/>
                  </a:ln>
                </p:spPr>
                <p:txBody>
                  <a:bodyPr rtlCol="0" anchor="ctr"/>
                  <a:lstStyle/>
                  <a:p>
                    <a:endParaRPr lang="en-US" sz="2400"/>
                  </a:p>
                </p:txBody>
              </p:sp>
              <p:sp>
                <p:nvSpPr>
                  <p:cNvPr id="725" name="Freeform: Shape 724">
                    <a:extLst>
                      <a:ext uri="{FF2B5EF4-FFF2-40B4-BE49-F238E27FC236}">
                        <a16:creationId xmlns:a16="http://schemas.microsoft.com/office/drawing/2014/main" id="{AA391193-096F-D02B-BF81-A55EAEA88B73}"/>
                      </a:ext>
                    </a:extLst>
                  </p:cNvPr>
                  <p:cNvSpPr/>
                  <p:nvPr userDrawn="1"/>
                </p:nvSpPr>
                <p:spPr>
                  <a:xfrm>
                    <a:off x="8212057" y="451810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9EBF1"/>
                  </a:solidFill>
                  <a:ln w="2339" cap="flat">
                    <a:noFill/>
                    <a:prstDash val="solid"/>
                    <a:miter/>
                  </a:ln>
                </p:spPr>
                <p:txBody>
                  <a:bodyPr rtlCol="0" anchor="ctr"/>
                  <a:lstStyle/>
                  <a:p>
                    <a:endParaRPr lang="en-US" sz="2400"/>
                  </a:p>
                </p:txBody>
              </p:sp>
              <p:sp>
                <p:nvSpPr>
                  <p:cNvPr id="726" name="Freeform: Shape 725">
                    <a:extLst>
                      <a:ext uri="{FF2B5EF4-FFF2-40B4-BE49-F238E27FC236}">
                        <a16:creationId xmlns:a16="http://schemas.microsoft.com/office/drawing/2014/main" id="{B4EE2041-9F77-F493-89A4-620EDEB72431}"/>
                      </a:ext>
                    </a:extLst>
                  </p:cNvPr>
                  <p:cNvSpPr/>
                  <p:nvPr userDrawn="1"/>
                </p:nvSpPr>
                <p:spPr>
                  <a:xfrm>
                    <a:off x="8211613" y="451852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9EBF1"/>
                  </a:solidFill>
                  <a:ln w="2339" cap="flat">
                    <a:noFill/>
                    <a:prstDash val="solid"/>
                    <a:miter/>
                  </a:ln>
                </p:spPr>
                <p:txBody>
                  <a:bodyPr rtlCol="0" anchor="ctr"/>
                  <a:lstStyle/>
                  <a:p>
                    <a:endParaRPr lang="en-US" sz="2400"/>
                  </a:p>
                </p:txBody>
              </p:sp>
              <p:sp>
                <p:nvSpPr>
                  <p:cNvPr id="727" name="Freeform: Shape 726">
                    <a:extLst>
                      <a:ext uri="{FF2B5EF4-FFF2-40B4-BE49-F238E27FC236}">
                        <a16:creationId xmlns:a16="http://schemas.microsoft.com/office/drawing/2014/main" id="{37B18D5B-6B0A-6D3D-7DA0-D57DCAB38B12}"/>
                      </a:ext>
                    </a:extLst>
                  </p:cNvPr>
                  <p:cNvSpPr/>
                  <p:nvPr userDrawn="1"/>
                </p:nvSpPr>
                <p:spPr>
                  <a:xfrm>
                    <a:off x="8211191" y="451892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AECF1"/>
                  </a:solidFill>
                  <a:ln w="2339" cap="flat">
                    <a:noFill/>
                    <a:prstDash val="solid"/>
                    <a:miter/>
                  </a:ln>
                </p:spPr>
                <p:txBody>
                  <a:bodyPr rtlCol="0" anchor="ctr"/>
                  <a:lstStyle/>
                  <a:p>
                    <a:endParaRPr lang="en-US" sz="2400"/>
                  </a:p>
                </p:txBody>
              </p:sp>
              <p:sp>
                <p:nvSpPr>
                  <p:cNvPr id="728" name="Freeform: Shape 727">
                    <a:extLst>
                      <a:ext uri="{FF2B5EF4-FFF2-40B4-BE49-F238E27FC236}">
                        <a16:creationId xmlns:a16="http://schemas.microsoft.com/office/drawing/2014/main" id="{87D64452-E02A-9E79-7FFA-C86CFA9444DB}"/>
                      </a:ext>
                    </a:extLst>
                  </p:cNvPr>
                  <p:cNvSpPr/>
                  <p:nvPr userDrawn="1"/>
                </p:nvSpPr>
                <p:spPr>
                  <a:xfrm>
                    <a:off x="8210770" y="451934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AECF1"/>
                  </a:solidFill>
                  <a:ln w="2339" cap="flat">
                    <a:noFill/>
                    <a:prstDash val="solid"/>
                    <a:miter/>
                  </a:ln>
                </p:spPr>
                <p:txBody>
                  <a:bodyPr rtlCol="0" anchor="ctr"/>
                  <a:lstStyle/>
                  <a:p>
                    <a:endParaRPr lang="en-US" sz="2400"/>
                  </a:p>
                </p:txBody>
              </p:sp>
              <p:sp>
                <p:nvSpPr>
                  <p:cNvPr id="729" name="Freeform: Shape 728">
                    <a:extLst>
                      <a:ext uri="{FF2B5EF4-FFF2-40B4-BE49-F238E27FC236}">
                        <a16:creationId xmlns:a16="http://schemas.microsoft.com/office/drawing/2014/main" id="{E145CCFF-900A-6B2A-A199-FB3F2E61251D}"/>
                      </a:ext>
                    </a:extLst>
                  </p:cNvPr>
                  <p:cNvSpPr/>
                  <p:nvPr userDrawn="1"/>
                </p:nvSpPr>
                <p:spPr>
                  <a:xfrm>
                    <a:off x="8210372" y="451976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AECF1"/>
                  </a:solidFill>
                  <a:ln w="2339" cap="flat">
                    <a:noFill/>
                    <a:prstDash val="solid"/>
                    <a:miter/>
                  </a:ln>
                </p:spPr>
                <p:txBody>
                  <a:bodyPr rtlCol="0" anchor="ctr"/>
                  <a:lstStyle/>
                  <a:p>
                    <a:endParaRPr lang="en-US" sz="2400"/>
                  </a:p>
                </p:txBody>
              </p:sp>
              <p:sp>
                <p:nvSpPr>
                  <p:cNvPr id="730" name="Freeform: Shape 729">
                    <a:extLst>
                      <a:ext uri="{FF2B5EF4-FFF2-40B4-BE49-F238E27FC236}">
                        <a16:creationId xmlns:a16="http://schemas.microsoft.com/office/drawing/2014/main" id="{62BD698B-E009-1594-DD53-E8341C50B74A}"/>
                      </a:ext>
                    </a:extLst>
                  </p:cNvPr>
                  <p:cNvSpPr/>
                  <p:nvPr userDrawn="1"/>
                </p:nvSpPr>
                <p:spPr>
                  <a:xfrm>
                    <a:off x="8209951" y="452016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54"/>
                          <a:pt x="42097" y="21060"/>
                        </a:cubicBezTo>
                        <a:close/>
                      </a:path>
                    </a:pathLst>
                  </a:custGeom>
                  <a:solidFill>
                    <a:srgbClr val="EBECF2"/>
                  </a:solidFill>
                  <a:ln w="2339" cap="flat">
                    <a:noFill/>
                    <a:prstDash val="solid"/>
                    <a:miter/>
                  </a:ln>
                </p:spPr>
                <p:txBody>
                  <a:bodyPr rtlCol="0" anchor="ctr"/>
                  <a:lstStyle/>
                  <a:p>
                    <a:endParaRPr lang="en-US" sz="2400"/>
                  </a:p>
                </p:txBody>
              </p:sp>
              <p:sp>
                <p:nvSpPr>
                  <p:cNvPr id="731" name="Freeform: Shape 730">
                    <a:extLst>
                      <a:ext uri="{FF2B5EF4-FFF2-40B4-BE49-F238E27FC236}">
                        <a16:creationId xmlns:a16="http://schemas.microsoft.com/office/drawing/2014/main" id="{1E06039E-A563-065F-A90F-DE323F97AB68}"/>
                      </a:ext>
                    </a:extLst>
                  </p:cNvPr>
                  <p:cNvSpPr/>
                  <p:nvPr userDrawn="1"/>
                </p:nvSpPr>
                <p:spPr>
                  <a:xfrm>
                    <a:off x="8209553" y="452058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BEDF2"/>
                  </a:solidFill>
                  <a:ln w="2339" cap="flat">
                    <a:noFill/>
                    <a:prstDash val="solid"/>
                    <a:miter/>
                  </a:ln>
                </p:spPr>
                <p:txBody>
                  <a:bodyPr rtlCol="0" anchor="ctr"/>
                  <a:lstStyle/>
                  <a:p>
                    <a:endParaRPr lang="en-US" sz="2400"/>
                  </a:p>
                </p:txBody>
              </p:sp>
              <p:sp>
                <p:nvSpPr>
                  <p:cNvPr id="732" name="Freeform: Shape 731">
                    <a:extLst>
                      <a:ext uri="{FF2B5EF4-FFF2-40B4-BE49-F238E27FC236}">
                        <a16:creationId xmlns:a16="http://schemas.microsoft.com/office/drawing/2014/main" id="{ADD63904-A1C1-C692-D58C-C18B504DE8C8}"/>
                      </a:ext>
                    </a:extLst>
                  </p:cNvPr>
                  <p:cNvSpPr/>
                  <p:nvPr userDrawn="1"/>
                </p:nvSpPr>
                <p:spPr>
                  <a:xfrm>
                    <a:off x="8209156" y="452100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BEDF2"/>
                  </a:solidFill>
                  <a:ln w="2339" cap="flat">
                    <a:noFill/>
                    <a:prstDash val="solid"/>
                    <a:miter/>
                  </a:ln>
                </p:spPr>
                <p:txBody>
                  <a:bodyPr rtlCol="0" anchor="ctr"/>
                  <a:lstStyle/>
                  <a:p>
                    <a:endParaRPr lang="en-US" sz="2400"/>
                  </a:p>
                </p:txBody>
              </p:sp>
              <p:sp>
                <p:nvSpPr>
                  <p:cNvPr id="733" name="Freeform: Shape 732">
                    <a:extLst>
                      <a:ext uri="{FF2B5EF4-FFF2-40B4-BE49-F238E27FC236}">
                        <a16:creationId xmlns:a16="http://schemas.microsoft.com/office/drawing/2014/main" id="{7902C7FE-9241-C5B2-6307-4F792DB625FF}"/>
                      </a:ext>
                    </a:extLst>
                  </p:cNvPr>
                  <p:cNvSpPr/>
                  <p:nvPr userDrawn="1"/>
                </p:nvSpPr>
                <p:spPr>
                  <a:xfrm>
                    <a:off x="8208758" y="452143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BEDF2"/>
                  </a:solidFill>
                  <a:ln w="2339" cap="flat">
                    <a:noFill/>
                    <a:prstDash val="solid"/>
                    <a:miter/>
                  </a:ln>
                </p:spPr>
                <p:txBody>
                  <a:bodyPr rtlCol="0" anchor="ctr"/>
                  <a:lstStyle/>
                  <a:p>
                    <a:endParaRPr lang="en-US" sz="2400"/>
                  </a:p>
                </p:txBody>
              </p:sp>
              <p:sp>
                <p:nvSpPr>
                  <p:cNvPr id="734" name="Freeform: Shape 733">
                    <a:extLst>
                      <a:ext uri="{FF2B5EF4-FFF2-40B4-BE49-F238E27FC236}">
                        <a16:creationId xmlns:a16="http://schemas.microsoft.com/office/drawing/2014/main" id="{E9B67C76-8BCA-29C0-7260-DB52318BCA00}"/>
                      </a:ext>
                    </a:extLst>
                  </p:cNvPr>
                  <p:cNvSpPr/>
                  <p:nvPr userDrawn="1"/>
                </p:nvSpPr>
                <p:spPr>
                  <a:xfrm>
                    <a:off x="8208383" y="452185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CEDF2"/>
                  </a:solidFill>
                  <a:ln w="2339" cap="flat">
                    <a:noFill/>
                    <a:prstDash val="solid"/>
                    <a:miter/>
                  </a:ln>
                </p:spPr>
                <p:txBody>
                  <a:bodyPr rtlCol="0" anchor="ctr"/>
                  <a:lstStyle/>
                  <a:p>
                    <a:endParaRPr lang="en-US" sz="2400"/>
                  </a:p>
                </p:txBody>
              </p:sp>
              <p:sp>
                <p:nvSpPr>
                  <p:cNvPr id="735" name="Freeform: Shape 734">
                    <a:extLst>
                      <a:ext uri="{FF2B5EF4-FFF2-40B4-BE49-F238E27FC236}">
                        <a16:creationId xmlns:a16="http://schemas.microsoft.com/office/drawing/2014/main" id="{B4E29558-4157-0CAB-6BDC-5D74960F2450}"/>
                      </a:ext>
                    </a:extLst>
                  </p:cNvPr>
                  <p:cNvSpPr/>
                  <p:nvPr userDrawn="1"/>
                </p:nvSpPr>
                <p:spPr>
                  <a:xfrm>
                    <a:off x="8207986" y="452224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CEEF3"/>
                  </a:solidFill>
                  <a:ln w="2339" cap="flat">
                    <a:noFill/>
                    <a:prstDash val="solid"/>
                    <a:miter/>
                  </a:ln>
                </p:spPr>
                <p:txBody>
                  <a:bodyPr rtlCol="0" anchor="ctr"/>
                  <a:lstStyle/>
                  <a:p>
                    <a:endParaRPr lang="en-US" sz="2400"/>
                  </a:p>
                </p:txBody>
              </p:sp>
              <p:sp>
                <p:nvSpPr>
                  <p:cNvPr id="736" name="Freeform: Shape 735">
                    <a:extLst>
                      <a:ext uri="{FF2B5EF4-FFF2-40B4-BE49-F238E27FC236}">
                        <a16:creationId xmlns:a16="http://schemas.microsoft.com/office/drawing/2014/main" id="{78F014BB-FB9B-1B27-CA88-87B56740613E}"/>
                      </a:ext>
                    </a:extLst>
                  </p:cNvPr>
                  <p:cNvSpPr/>
                  <p:nvPr userDrawn="1"/>
                </p:nvSpPr>
                <p:spPr>
                  <a:xfrm>
                    <a:off x="8207611" y="452267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CEEF3"/>
                  </a:solidFill>
                  <a:ln w="2339" cap="flat">
                    <a:noFill/>
                    <a:prstDash val="solid"/>
                    <a:miter/>
                  </a:ln>
                </p:spPr>
                <p:txBody>
                  <a:bodyPr rtlCol="0" anchor="ctr"/>
                  <a:lstStyle/>
                  <a:p>
                    <a:endParaRPr lang="en-US" sz="2400"/>
                  </a:p>
                </p:txBody>
              </p:sp>
              <p:sp>
                <p:nvSpPr>
                  <p:cNvPr id="737" name="Freeform: Shape 736">
                    <a:extLst>
                      <a:ext uri="{FF2B5EF4-FFF2-40B4-BE49-F238E27FC236}">
                        <a16:creationId xmlns:a16="http://schemas.microsoft.com/office/drawing/2014/main" id="{07B646DA-86F7-1C53-A4AC-33A48F96AD4C}"/>
                      </a:ext>
                    </a:extLst>
                  </p:cNvPr>
                  <p:cNvSpPr/>
                  <p:nvPr userDrawn="1"/>
                </p:nvSpPr>
                <p:spPr>
                  <a:xfrm>
                    <a:off x="8207237" y="452309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DEEF3"/>
                  </a:solidFill>
                  <a:ln w="2339" cap="flat">
                    <a:noFill/>
                    <a:prstDash val="solid"/>
                    <a:miter/>
                  </a:ln>
                </p:spPr>
                <p:txBody>
                  <a:bodyPr rtlCol="0" anchor="ctr"/>
                  <a:lstStyle/>
                  <a:p>
                    <a:endParaRPr lang="en-US" sz="2400"/>
                  </a:p>
                </p:txBody>
              </p:sp>
              <p:sp>
                <p:nvSpPr>
                  <p:cNvPr id="738" name="Freeform: Shape 737">
                    <a:extLst>
                      <a:ext uri="{FF2B5EF4-FFF2-40B4-BE49-F238E27FC236}">
                        <a16:creationId xmlns:a16="http://schemas.microsoft.com/office/drawing/2014/main" id="{105E8AFB-2F94-64D9-2972-A5E9EF14EC54}"/>
                      </a:ext>
                    </a:extLst>
                  </p:cNvPr>
                  <p:cNvSpPr/>
                  <p:nvPr userDrawn="1"/>
                </p:nvSpPr>
                <p:spPr>
                  <a:xfrm>
                    <a:off x="8206886" y="452351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DEFF3"/>
                  </a:solidFill>
                  <a:ln w="2339" cap="flat">
                    <a:noFill/>
                    <a:prstDash val="solid"/>
                    <a:miter/>
                  </a:ln>
                </p:spPr>
                <p:txBody>
                  <a:bodyPr rtlCol="0" anchor="ctr"/>
                  <a:lstStyle/>
                  <a:p>
                    <a:endParaRPr lang="en-US" sz="2400"/>
                  </a:p>
                </p:txBody>
              </p:sp>
              <p:sp>
                <p:nvSpPr>
                  <p:cNvPr id="739" name="Freeform: Shape 738">
                    <a:extLst>
                      <a:ext uri="{FF2B5EF4-FFF2-40B4-BE49-F238E27FC236}">
                        <a16:creationId xmlns:a16="http://schemas.microsoft.com/office/drawing/2014/main" id="{6430BE3E-6714-854C-CF7D-196AEBB95E74}"/>
                      </a:ext>
                    </a:extLst>
                  </p:cNvPr>
                  <p:cNvSpPr/>
                  <p:nvPr userDrawn="1"/>
                </p:nvSpPr>
                <p:spPr>
                  <a:xfrm>
                    <a:off x="8206511" y="452393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DEFF3"/>
                  </a:solidFill>
                  <a:ln w="2339" cap="flat">
                    <a:noFill/>
                    <a:prstDash val="solid"/>
                    <a:miter/>
                  </a:ln>
                </p:spPr>
                <p:txBody>
                  <a:bodyPr rtlCol="0" anchor="ctr"/>
                  <a:lstStyle/>
                  <a:p>
                    <a:endParaRPr lang="en-US" sz="2400"/>
                  </a:p>
                </p:txBody>
              </p:sp>
              <p:sp>
                <p:nvSpPr>
                  <p:cNvPr id="740" name="Freeform: Shape 739">
                    <a:extLst>
                      <a:ext uri="{FF2B5EF4-FFF2-40B4-BE49-F238E27FC236}">
                        <a16:creationId xmlns:a16="http://schemas.microsoft.com/office/drawing/2014/main" id="{BABEE50B-0E2F-1F6A-2B70-A07757019066}"/>
                      </a:ext>
                    </a:extLst>
                  </p:cNvPr>
                  <p:cNvSpPr/>
                  <p:nvPr userDrawn="1"/>
                </p:nvSpPr>
                <p:spPr>
                  <a:xfrm>
                    <a:off x="8206160" y="452435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EEFF4"/>
                  </a:solidFill>
                  <a:ln w="2339" cap="flat">
                    <a:noFill/>
                    <a:prstDash val="solid"/>
                    <a:miter/>
                  </a:ln>
                </p:spPr>
                <p:txBody>
                  <a:bodyPr rtlCol="0" anchor="ctr"/>
                  <a:lstStyle/>
                  <a:p>
                    <a:endParaRPr lang="en-US" sz="2400"/>
                  </a:p>
                </p:txBody>
              </p:sp>
              <p:sp>
                <p:nvSpPr>
                  <p:cNvPr id="741" name="Freeform: Shape 740">
                    <a:extLst>
                      <a:ext uri="{FF2B5EF4-FFF2-40B4-BE49-F238E27FC236}">
                        <a16:creationId xmlns:a16="http://schemas.microsoft.com/office/drawing/2014/main" id="{4E89E0F4-30B0-F826-48A0-DA5C0431CD73}"/>
                      </a:ext>
                    </a:extLst>
                  </p:cNvPr>
                  <p:cNvSpPr/>
                  <p:nvPr userDrawn="1"/>
                </p:nvSpPr>
                <p:spPr>
                  <a:xfrm>
                    <a:off x="8205809" y="452477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EEFF4"/>
                  </a:solidFill>
                  <a:ln w="2339" cap="flat">
                    <a:noFill/>
                    <a:prstDash val="solid"/>
                    <a:miter/>
                  </a:ln>
                </p:spPr>
                <p:txBody>
                  <a:bodyPr rtlCol="0" anchor="ctr"/>
                  <a:lstStyle/>
                  <a:p>
                    <a:endParaRPr lang="en-US" sz="2400"/>
                  </a:p>
                </p:txBody>
              </p:sp>
              <p:sp>
                <p:nvSpPr>
                  <p:cNvPr id="742" name="Freeform: Shape 741">
                    <a:extLst>
                      <a:ext uri="{FF2B5EF4-FFF2-40B4-BE49-F238E27FC236}">
                        <a16:creationId xmlns:a16="http://schemas.microsoft.com/office/drawing/2014/main" id="{DF335933-9DEB-525A-1F19-6B76D501B1AD}"/>
                      </a:ext>
                    </a:extLst>
                  </p:cNvPr>
                  <p:cNvSpPr/>
                  <p:nvPr userDrawn="1"/>
                </p:nvSpPr>
                <p:spPr>
                  <a:xfrm>
                    <a:off x="8205458" y="452519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EF0F4"/>
                  </a:solidFill>
                  <a:ln w="2339" cap="flat">
                    <a:noFill/>
                    <a:prstDash val="solid"/>
                    <a:miter/>
                  </a:ln>
                </p:spPr>
                <p:txBody>
                  <a:bodyPr rtlCol="0" anchor="ctr"/>
                  <a:lstStyle/>
                  <a:p>
                    <a:endParaRPr lang="en-US" sz="2400"/>
                  </a:p>
                </p:txBody>
              </p:sp>
              <p:sp>
                <p:nvSpPr>
                  <p:cNvPr id="743" name="Freeform: Shape 742">
                    <a:extLst>
                      <a:ext uri="{FF2B5EF4-FFF2-40B4-BE49-F238E27FC236}">
                        <a16:creationId xmlns:a16="http://schemas.microsoft.com/office/drawing/2014/main" id="{AFFBEF0F-0583-396A-F5A5-9E884E366A5D}"/>
                      </a:ext>
                    </a:extLst>
                  </p:cNvPr>
                  <p:cNvSpPr/>
                  <p:nvPr userDrawn="1"/>
                </p:nvSpPr>
                <p:spPr>
                  <a:xfrm>
                    <a:off x="8205131" y="452559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EF0F4"/>
                  </a:solidFill>
                  <a:ln w="2339" cap="flat">
                    <a:noFill/>
                    <a:prstDash val="solid"/>
                    <a:miter/>
                  </a:ln>
                </p:spPr>
                <p:txBody>
                  <a:bodyPr rtlCol="0" anchor="ctr"/>
                  <a:lstStyle/>
                  <a:p>
                    <a:endParaRPr lang="en-US" sz="2400"/>
                  </a:p>
                </p:txBody>
              </p:sp>
              <p:sp>
                <p:nvSpPr>
                  <p:cNvPr id="744" name="Freeform: Shape 743">
                    <a:extLst>
                      <a:ext uri="{FF2B5EF4-FFF2-40B4-BE49-F238E27FC236}">
                        <a16:creationId xmlns:a16="http://schemas.microsoft.com/office/drawing/2014/main" id="{964FF648-190F-E01F-80A9-49F560F99386}"/>
                      </a:ext>
                    </a:extLst>
                  </p:cNvPr>
                  <p:cNvSpPr/>
                  <p:nvPr userDrawn="1"/>
                </p:nvSpPr>
                <p:spPr>
                  <a:xfrm>
                    <a:off x="8204803" y="452601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FF0F4"/>
                  </a:solidFill>
                  <a:ln w="2339" cap="flat">
                    <a:noFill/>
                    <a:prstDash val="solid"/>
                    <a:miter/>
                  </a:ln>
                </p:spPr>
                <p:txBody>
                  <a:bodyPr rtlCol="0" anchor="ctr"/>
                  <a:lstStyle/>
                  <a:p>
                    <a:endParaRPr lang="en-US" sz="2400"/>
                  </a:p>
                </p:txBody>
              </p:sp>
              <p:sp>
                <p:nvSpPr>
                  <p:cNvPr id="745" name="Freeform: Shape 744">
                    <a:extLst>
                      <a:ext uri="{FF2B5EF4-FFF2-40B4-BE49-F238E27FC236}">
                        <a16:creationId xmlns:a16="http://schemas.microsoft.com/office/drawing/2014/main" id="{00B4C766-B083-5485-56A9-0BDB227B0FF0}"/>
                      </a:ext>
                    </a:extLst>
                  </p:cNvPr>
                  <p:cNvSpPr/>
                  <p:nvPr userDrawn="1"/>
                </p:nvSpPr>
                <p:spPr>
                  <a:xfrm>
                    <a:off x="8204476" y="452643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FF1F5"/>
                  </a:solidFill>
                  <a:ln w="2339" cap="flat">
                    <a:noFill/>
                    <a:prstDash val="solid"/>
                    <a:miter/>
                  </a:ln>
                </p:spPr>
                <p:txBody>
                  <a:bodyPr rtlCol="0" anchor="ctr"/>
                  <a:lstStyle/>
                  <a:p>
                    <a:endParaRPr lang="en-US" sz="2400"/>
                  </a:p>
                </p:txBody>
              </p:sp>
              <p:sp>
                <p:nvSpPr>
                  <p:cNvPr id="746" name="Freeform: Shape 745">
                    <a:extLst>
                      <a:ext uri="{FF2B5EF4-FFF2-40B4-BE49-F238E27FC236}">
                        <a16:creationId xmlns:a16="http://schemas.microsoft.com/office/drawing/2014/main" id="{73CB966D-B422-3E72-85DE-30C373313CCE}"/>
                      </a:ext>
                    </a:extLst>
                  </p:cNvPr>
                  <p:cNvSpPr/>
                  <p:nvPr userDrawn="1"/>
                </p:nvSpPr>
                <p:spPr>
                  <a:xfrm>
                    <a:off x="8204148" y="452685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FF1F5"/>
                  </a:solidFill>
                  <a:ln w="2339" cap="flat">
                    <a:noFill/>
                    <a:prstDash val="solid"/>
                    <a:miter/>
                  </a:ln>
                </p:spPr>
                <p:txBody>
                  <a:bodyPr rtlCol="0" anchor="ctr"/>
                  <a:lstStyle/>
                  <a:p>
                    <a:endParaRPr lang="en-US" sz="2400"/>
                  </a:p>
                </p:txBody>
              </p:sp>
              <p:sp>
                <p:nvSpPr>
                  <p:cNvPr id="747" name="Freeform: Shape 746">
                    <a:extLst>
                      <a:ext uri="{FF2B5EF4-FFF2-40B4-BE49-F238E27FC236}">
                        <a16:creationId xmlns:a16="http://schemas.microsoft.com/office/drawing/2014/main" id="{567C6D6A-97DD-6430-DD81-3BAF22295BF5}"/>
                      </a:ext>
                    </a:extLst>
                  </p:cNvPr>
                  <p:cNvSpPr/>
                  <p:nvPr userDrawn="1"/>
                </p:nvSpPr>
                <p:spPr>
                  <a:xfrm>
                    <a:off x="8203820" y="452728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F0F1F5"/>
                  </a:solidFill>
                  <a:ln w="2339" cap="flat">
                    <a:noFill/>
                    <a:prstDash val="solid"/>
                    <a:miter/>
                  </a:ln>
                </p:spPr>
                <p:txBody>
                  <a:bodyPr rtlCol="0" anchor="ctr"/>
                  <a:lstStyle/>
                  <a:p>
                    <a:endParaRPr lang="en-US" sz="2400"/>
                  </a:p>
                </p:txBody>
              </p:sp>
              <p:sp>
                <p:nvSpPr>
                  <p:cNvPr id="748" name="Freeform: Shape 747">
                    <a:extLst>
                      <a:ext uri="{FF2B5EF4-FFF2-40B4-BE49-F238E27FC236}">
                        <a16:creationId xmlns:a16="http://schemas.microsoft.com/office/drawing/2014/main" id="{1DE7A111-336B-7EE2-0719-7091F0278DAB}"/>
                      </a:ext>
                    </a:extLst>
                  </p:cNvPr>
                  <p:cNvSpPr/>
                  <p:nvPr userDrawn="1"/>
                </p:nvSpPr>
                <p:spPr>
                  <a:xfrm>
                    <a:off x="8203516" y="452770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F0F1F5"/>
                  </a:solidFill>
                  <a:ln w="2339" cap="flat">
                    <a:noFill/>
                    <a:prstDash val="solid"/>
                    <a:miter/>
                  </a:ln>
                </p:spPr>
                <p:txBody>
                  <a:bodyPr rtlCol="0" anchor="ctr"/>
                  <a:lstStyle/>
                  <a:p>
                    <a:endParaRPr lang="en-US" sz="2400"/>
                  </a:p>
                </p:txBody>
              </p:sp>
              <p:sp>
                <p:nvSpPr>
                  <p:cNvPr id="749" name="Freeform: Shape 748">
                    <a:extLst>
                      <a:ext uri="{FF2B5EF4-FFF2-40B4-BE49-F238E27FC236}">
                        <a16:creationId xmlns:a16="http://schemas.microsoft.com/office/drawing/2014/main" id="{177EAFD7-77BE-7E3E-6516-D51F3139428F}"/>
                      </a:ext>
                    </a:extLst>
                  </p:cNvPr>
                  <p:cNvSpPr/>
                  <p:nvPr userDrawn="1"/>
                </p:nvSpPr>
                <p:spPr>
                  <a:xfrm>
                    <a:off x="8203212" y="452812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F0F2F5"/>
                  </a:solidFill>
                  <a:ln w="2339" cap="flat">
                    <a:noFill/>
                    <a:prstDash val="solid"/>
                    <a:miter/>
                  </a:ln>
                </p:spPr>
                <p:txBody>
                  <a:bodyPr rtlCol="0" anchor="ctr"/>
                  <a:lstStyle/>
                  <a:p>
                    <a:endParaRPr lang="en-US" sz="2400"/>
                  </a:p>
                </p:txBody>
              </p:sp>
              <p:sp>
                <p:nvSpPr>
                  <p:cNvPr id="750" name="Freeform: Shape 749">
                    <a:extLst>
                      <a:ext uri="{FF2B5EF4-FFF2-40B4-BE49-F238E27FC236}">
                        <a16:creationId xmlns:a16="http://schemas.microsoft.com/office/drawing/2014/main" id="{B99D53CD-7F38-929D-CB4E-F0B6AD369E28}"/>
                      </a:ext>
                    </a:extLst>
                  </p:cNvPr>
                  <p:cNvSpPr/>
                  <p:nvPr userDrawn="1"/>
                </p:nvSpPr>
                <p:spPr>
                  <a:xfrm>
                    <a:off x="8202908" y="452854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F1F2F6"/>
                  </a:solidFill>
                  <a:ln w="2339" cap="flat">
                    <a:noFill/>
                    <a:prstDash val="solid"/>
                    <a:miter/>
                  </a:ln>
                </p:spPr>
                <p:txBody>
                  <a:bodyPr rtlCol="0" anchor="ctr"/>
                  <a:lstStyle/>
                  <a:p>
                    <a:endParaRPr lang="en-US" sz="2400"/>
                  </a:p>
                </p:txBody>
              </p:sp>
              <p:sp>
                <p:nvSpPr>
                  <p:cNvPr id="751" name="Freeform: Shape 750">
                    <a:extLst>
                      <a:ext uri="{FF2B5EF4-FFF2-40B4-BE49-F238E27FC236}">
                        <a16:creationId xmlns:a16="http://schemas.microsoft.com/office/drawing/2014/main" id="{164A020F-3DE2-B857-B3A4-A291E1DDF3ED}"/>
                      </a:ext>
                    </a:extLst>
                  </p:cNvPr>
                  <p:cNvSpPr/>
                  <p:nvPr userDrawn="1"/>
                </p:nvSpPr>
                <p:spPr>
                  <a:xfrm>
                    <a:off x="8202604" y="452896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F1F2F6"/>
                  </a:solidFill>
                  <a:ln w="2339" cap="flat">
                    <a:noFill/>
                    <a:prstDash val="solid"/>
                    <a:miter/>
                  </a:ln>
                </p:spPr>
                <p:txBody>
                  <a:bodyPr rtlCol="0" anchor="ctr"/>
                  <a:lstStyle/>
                  <a:p>
                    <a:endParaRPr lang="en-US" sz="2400"/>
                  </a:p>
                </p:txBody>
              </p:sp>
              <p:sp>
                <p:nvSpPr>
                  <p:cNvPr id="752" name="Freeform: Shape 751">
                    <a:extLst>
                      <a:ext uri="{FF2B5EF4-FFF2-40B4-BE49-F238E27FC236}">
                        <a16:creationId xmlns:a16="http://schemas.microsoft.com/office/drawing/2014/main" id="{719FCA96-471F-E4A8-9082-3ACC5C0A9243}"/>
                      </a:ext>
                    </a:extLst>
                  </p:cNvPr>
                  <p:cNvSpPr/>
                  <p:nvPr userDrawn="1"/>
                </p:nvSpPr>
                <p:spPr>
                  <a:xfrm>
                    <a:off x="8202323" y="452938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F1F2F6"/>
                  </a:solidFill>
                  <a:ln w="2339" cap="flat">
                    <a:noFill/>
                    <a:prstDash val="solid"/>
                    <a:miter/>
                  </a:ln>
                </p:spPr>
                <p:txBody>
                  <a:bodyPr rtlCol="0" anchor="ctr"/>
                  <a:lstStyle/>
                  <a:p>
                    <a:endParaRPr lang="en-US" sz="2400"/>
                  </a:p>
                </p:txBody>
              </p:sp>
              <p:sp>
                <p:nvSpPr>
                  <p:cNvPr id="753" name="Freeform: Shape 752">
                    <a:extLst>
                      <a:ext uri="{FF2B5EF4-FFF2-40B4-BE49-F238E27FC236}">
                        <a16:creationId xmlns:a16="http://schemas.microsoft.com/office/drawing/2014/main" id="{ABBA4913-6AA9-EDD6-1E34-4E9A04E38133}"/>
                      </a:ext>
                    </a:extLst>
                  </p:cNvPr>
                  <p:cNvSpPr/>
                  <p:nvPr userDrawn="1"/>
                </p:nvSpPr>
                <p:spPr>
                  <a:xfrm>
                    <a:off x="8202042" y="452980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F2F3F6"/>
                  </a:solidFill>
                  <a:ln w="2339" cap="flat">
                    <a:noFill/>
                    <a:prstDash val="solid"/>
                    <a:miter/>
                  </a:ln>
                </p:spPr>
                <p:txBody>
                  <a:bodyPr rtlCol="0" anchor="ctr"/>
                  <a:lstStyle/>
                  <a:p>
                    <a:endParaRPr lang="en-US" sz="2400"/>
                  </a:p>
                </p:txBody>
              </p:sp>
              <p:sp>
                <p:nvSpPr>
                  <p:cNvPr id="754" name="Freeform: Shape 753">
                    <a:extLst>
                      <a:ext uri="{FF2B5EF4-FFF2-40B4-BE49-F238E27FC236}">
                        <a16:creationId xmlns:a16="http://schemas.microsoft.com/office/drawing/2014/main" id="{171A6663-CFC7-280B-91DB-87EDC478A75A}"/>
                      </a:ext>
                    </a:extLst>
                  </p:cNvPr>
                  <p:cNvSpPr/>
                  <p:nvPr userDrawn="1"/>
                </p:nvSpPr>
                <p:spPr>
                  <a:xfrm>
                    <a:off x="8201761" y="453022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F2F3F6"/>
                  </a:solidFill>
                  <a:ln w="2339" cap="flat">
                    <a:noFill/>
                    <a:prstDash val="solid"/>
                    <a:miter/>
                  </a:ln>
                </p:spPr>
                <p:txBody>
                  <a:bodyPr rtlCol="0" anchor="ctr"/>
                  <a:lstStyle/>
                  <a:p>
                    <a:endParaRPr lang="en-US" sz="2400"/>
                  </a:p>
                </p:txBody>
              </p:sp>
              <p:sp>
                <p:nvSpPr>
                  <p:cNvPr id="755" name="Freeform: Shape 754">
                    <a:extLst>
                      <a:ext uri="{FF2B5EF4-FFF2-40B4-BE49-F238E27FC236}">
                        <a16:creationId xmlns:a16="http://schemas.microsoft.com/office/drawing/2014/main" id="{00103581-97B6-5C11-7ABA-274DF3305F53}"/>
                      </a:ext>
                    </a:extLst>
                  </p:cNvPr>
                  <p:cNvSpPr/>
                  <p:nvPr userDrawn="1"/>
                </p:nvSpPr>
                <p:spPr>
                  <a:xfrm>
                    <a:off x="8201480" y="453065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F2F3F7"/>
                  </a:solidFill>
                  <a:ln w="2339" cap="flat">
                    <a:noFill/>
                    <a:prstDash val="solid"/>
                    <a:miter/>
                  </a:ln>
                </p:spPr>
                <p:txBody>
                  <a:bodyPr rtlCol="0" anchor="ctr"/>
                  <a:lstStyle/>
                  <a:p>
                    <a:endParaRPr lang="en-US" sz="2400"/>
                  </a:p>
                </p:txBody>
              </p:sp>
              <p:sp>
                <p:nvSpPr>
                  <p:cNvPr id="756" name="Freeform: Shape 755">
                    <a:extLst>
                      <a:ext uri="{FF2B5EF4-FFF2-40B4-BE49-F238E27FC236}">
                        <a16:creationId xmlns:a16="http://schemas.microsoft.com/office/drawing/2014/main" id="{148C5644-7908-1428-396B-FE9816FBADF7}"/>
                      </a:ext>
                    </a:extLst>
                  </p:cNvPr>
                  <p:cNvSpPr/>
                  <p:nvPr userDrawn="1"/>
                </p:nvSpPr>
                <p:spPr>
                  <a:xfrm>
                    <a:off x="8201223" y="453107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F2F4F7"/>
                  </a:solidFill>
                  <a:ln w="2339" cap="flat">
                    <a:noFill/>
                    <a:prstDash val="solid"/>
                    <a:miter/>
                  </a:ln>
                </p:spPr>
                <p:txBody>
                  <a:bodyPr rtlCol="0" anchor="ctr"/>
                  <a:lstStyle/>
                  <a:p>
                    <a:endParaRPr lang="en-US" sz="2400"/>
                  </a:p>
                </p:txBody>
              </p:sp>
              <p:sp>
                <p:nvSpPr>
                  <p:cNvPr id="757" name="Freeform: Shape 756">
                    <a:extLst>
                      <a:ext uri="{FF2B5EF4-FFF2-40B4-BE49-F238E27FC236}">
                        <a16:creationId xmlns:a16="http://schemas.microsoft.com/office/drawing/2014/main" id="{81A2FE6D-AA64-4D92-DF30-492D85ED508C}"/>
                      </a:ext>
                    </a:extLst>
                  </p:cNvPr>
                  <p:cNvSpPr/>
                  <p:nvPr userDrawn="1"/>
                </p:nvSpPr>
                <p:spPr>
                  <a:xfrm>
                    <a:off x="8200966" y="4531492"/>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3F4F7"/>
                  </a:solidFill>
                  <a:ln w="2339" cap="flat">
                    <a:noFill/>
                    <a:prstDash val="solid"/>
                    <a:miter/>
                  </a:ln>
                </p:spPr>
                <p:txBody>
                  <a:bodyPr rtlCol="0" anchor="ctr"/>
                  <a:lstStyle/>
                  <a:p>
                    <a:endParaRPr lang="en-US" sz="2400"/>
                  </a:p>
                </p:txBody>
              </p:sp>
              <p:sp>
                <p:nvSpPr>
                  <p:cNvPr id="758" name="Freeform: Shape 757">
                    <a:extLst>
                      <a:ext uri="{FF2B5EF4-FFF2-40B4-BE49-F238E27FC236}">
                        <a16:creationId xmlns:a16="http://schemas.microsoft.com/office/drawing/2014/main" id="{5040D10C-3134-A1F8-D47A-3275858AE233}"/>
                      </a:ext>
                    </a:extLst>
                  </p:cNvPr>
                  <p:cNvSpPr/>
                  <p:nvPr userDrawn="1"/>
                </p:nvSpPr>
                <p:spPr>
                  <a:xfrm>
                    <a:off x="8200708" y="4531913"/>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3F4F7"/>
                  </a:solidFill>
                  <a:ln w="2339" cap="flat">
                    <a:noFill/>
                    <a:prstDash val="solid"/>
                    <a:miter/>
                  </a:ln>
                </p:spPr>
                <p:txBody>
                  <a:bodyPr rtlCol="0" anchor="ctr"/>
                  <a:lstStyle/>
                  <a:p>
                    <a:endParaRPr lang="en-US" sz="2400"/>
                  </a:p>
                </p:txBody>
              </p:sp>
              <p:sp>
                <p:nvSpPr>
                  <p:cNvPr id="759" name="Freeform: Shape 758">
                    <a:extLst>
                      <a:ext uri="{FF2B5EF4-FFF2-40B4-BE49-F238E27FC236}">
                        <a16:creationId xmlns:a16="http://schemas.microsoft.com/office/drawing/2014/main" id="{C4D8C040-48AF-90FB-C35E-524E6A068D2F}"/>
                      </a:ext>
                    </a:extLst>
                  </p:cNvPr>
                  <p:cNvSpPr/>
                  <p:nvPr userDrawn="1"/>
                </p:nvSpPr>
                <p:spPr>
                  <a:xfrm>
                    <a:off x="8200474" y="4532335"/>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3F4F7"/>
                  </a:solidFill>
                  <a:ln w="2339" cap="flat">
                    <a:noFill/>
                    <a:prstDash val="solid"/>
                    <a:miter/>
                  </a:ln>
                </p:spPr>
                <p:txBody>
                  <a:bodyPr rtlCol="0" anchor="ctr"/>
                  <a:lstStyle/>
                  <a:p>
                    <a:endParaRPr lang="en-US" sz="2400"/>
                  </a:p>
                </p:txBody>
              </p:sp>
              <p:sp>
                <p:nvSpPr>
                  <p:cNvPr id="760" name="Freeform: Shape 759">
                    <a:extLst>
                      <a:ext uri="{FF2B5EF4-FFF2-40B4-BE49-F238E27FC236}">
                        <a16:creationId xmlns:a16="http://schemas.microsoft.com/office/drawing/2014/main" id="{241F8E9C-9B9B-6C9E-55B1-74F00F0D1FD0}"/>
                      </a:ext>
                    </a:extLst>
                  </p:cNvPr>
                  <p:cNvSpPr/>
                  <p:nvPr userDrawn="1"/>
                </p:nvSpPr>
                <p:spPr>
                  <a:xfrm>
                    <a:off x="8200217" y="4532756"/>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4F5F8"/>
                  </a:solidFill>
                  <a:ln w="2339" cap="flat">
                    <a:noFill/>
                    <a:prstDash val="solid"/>
                    <a:miter/>
                  </a:ln>
                </p:spPr>
                <p:txBody>
                  <a:bodyPr rtlCol="0" anchor="ctr"/>
                  <a:lstStyle/>
                  <a:p>
                    <a:endParaRPr lang="en-US" sz="2400"/>
                  </a:p>
                </p:txBody>
              </p:sp>
              <p:sp>
                <p:nvSpPr>
                  <p:cNvPr id="761" name="Freeform: Shape 760">
                    <a:extLst>
                      <a:ext uri="{FF2B5EF4-FFF2-40B4-BE49-F238E27FC236}">
                        <a16:creationId xmlns:a16="http://schemas.microsoft.com/office/drawing/2014/main" id="{3600960D-55DD-D942-EDD4-C5ED50231E97}"/>
                      </a:ext>
                    </a:extLst>
                  </p:cNvPr>
                  <p:cNvSpPr/>
                  <p:nvPr userDrawn="1"/>
                </p:nvSpPr>
                <p:spPr>
                  <a:xfrm>
                    <a:off x="8199983" y="4533177"/>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4F5F8"/>
                  </a:solidFill>
                  <a:ln w="2339" cap="flat">
                    <a:noFill/>
                    <a:prstDash val="solid"/>
                    <a:miter/>
                  </a:ln>
                </p:spPr>
                <p:txBody>
                  <a:bodyPr rtlCol="0" anchor="ctr"/>
                  <a:lstStyle/>
                  <a:p>
                    <a:endParaRPr lang="en-US" sz="2400"/>
                  </a:p>
                </p:txBody>
              </p:sp>
              <p:sp>
                <p:nvSpPr>
                  <p:cNvPr id="762" name="Freeform: Shape 761">
                    <a:extLst>
                      <a:ext uri="{FF2B5EF4-FFF2-40B4-BE49-F238E27FC236}">
                        <a16:creationId xmlns:a16="http://schemas.microsoft.com/office/drawing/2014/main" id="{FEADE57B-965E-7D4D-A799-1D12DA348D1F}"/>
                      </a:ext>
                    </a:extLst>
                  </p:cNvPr>
                  <p:cNvSpPr/>
                  <p:nvPr userDrawn="1"/>
                </p:nvSpPr>
                <p:spPr>
                  <a:xfrm>
                    <a:off x="8199749" y="4533598"/>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4F5F8"/>
                  </a:solidFill>
                  <a:ln w="2339" cap="flat">
                    <a:noFill/>
                    <a:prstDash val="solid"/>
                    <a:miter/>
                  </a:ln>
                </p:spPr>
                <p:txBody>
                  <a:bodyPr rtlCol="0" anchor="ctr"/>
                  <a:lstStyle/>
                  <a:p>
                    <a:endParaRPr lang="en-US" sz="2400"/>
                  </a:p>
                </p:txBody>
              </p:sp>
              <p:sp>
                <p:nvSpPr>
                  <p:cNvPr id="763" name="Freeform: Shape 762">
                    <a:extLst>
                      <a:ext uri="{FF2B5EF4-FFF2-40B4-BE49-F238E27FC236}">
                        <a16:creationId xmlns:a16="http://schemas.microsoft.com/office/drawing/2014/main" id="{9B9E1BC2-3F88-DD81-63C5-77EB25F71D29}"/>
                      </a:ext>
                    </a:extLst>
                  </p:cNvPr>
                  <p:cNvSpPr/>
                  <p:nvPr userDrawn="1"/>
                </p:nvSpPr>
                <p:spPr>
                  <a:xfrm>
                    <a:off x="8199515" y="4534019"/>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5F6F8"/>
                  </a:solidFill>
                  <a:ln w="2339" cap="flat">
                    <a:noFill/>
                    <a:prstDash val="solid"/>
                    <a:miter/>
                  </a:ln>
                </p:spPr>
                <p:txBody>
                  <a:bodyPr rtlCol="0" anchor="ctr"/>
                  <a:lstStyle/>
                  <a:p>
                    <a:endParaRPr lang="en-US" sz="2400"/>
                  </a:p>
                </p:txBody>
              </p:sp>
              <p:sp>
                <p:nvSpPr>
                  <p:cNvPr id="764" name="Freeform: Shape 763">
                    <a:extLst>
                      <a:ext uri="{FF2B5EF4-FFF2-40B4-BE49-F238E27FC236}">
                        <a16:creationId xmlns:a16="http://schemas.microsoft.com/office/drawing/2014/main" id="{4A353150-94AF-561D-8678-2A150291810D}"/>
                      </a:ext>
                    </a:extLst>
                  </p:cNvPr>
                  <p:cNvSpPr/>
                  <p:nvPr userDrawn="1"/>
                </p:nvSpPr>
                <p:spPr>
                  <a:xfrm>
                    <a:off x="8199281" y="4534441"/>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5F6F8"/>
                  </a:solidFill>
                  <a:ln w="2339" cap="flat">
                    <a:noFill/>
                    <a:prstDash val="solid"/>
                    <a:miter/>
                  </a:ln>
                </p:spPr>
                <p:txBody>
                  <a:bodyPr rtlCol="0" anchor="ctr"/>
                  <a:lstStyle/>
                  <a:p>
                    <a:endParaRPr lang="en-US" sz="2400"/>
                  </a:p>
                </p:txBody>
              </p:sp>
              <p:sp>
                <p:nvSpPr>
                  <p:cNvPr id="765" name="Freeform: Shape 764">
                    <a:extLst>
                      <a:ext uri="{FF2B5EF4-FFF2-40B4-BE49-F238E27FC236}">
                        <a16:creationId xmlns:a16="http://schemas.microsoft.com/office/drawing/2014/main" id="{520D25E5-65AF-1E79-90AF-E21114B4F380}"/>
                      </a:ext>
                    </a:extLst>
                  </p:cNvPr>
                  <p:cNvSpPr/>
                  <p:nvPr userDrawn="1"/>
                </p:nvSpPr>
                <p:spPr>
                  <a:xfrm>
                    <a:off x="8199070" y="4534838"/>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23"/>
                          <a:pt x="42074" y="9430"/>
                          <a:pt x="42074" y="21060"/>
                        </a:cubicBezTo>
                        <a:close/>
                      </a:path>
                    </a:pathLst>
                  </a:custGeom>
                  <a:solidFill>
                    <a:srgbClr val="F5F6F9"/>
                  </a:solidFill>
                  <a:ln w="2339" cap="flat">
                    <a:noFill/>
                    <a:prstDash val="solid"/>
                    <a:miter/>
                  </a:ln>
                </p:spPr>
                <p:txBody>
                  <a:bodyPr rtlCol="0" anchor="ctr"/>
                  <a:lstStyle/>
                  <a:p>
                    <a:endParaRPr lang="en-US" sz="2400"/>
                  </a:p>
                </p:txBody>
              </p:sp>
              <p:sp>
                <p:nvSpPr>
                  <p:cNvPr id="766" name="Freeform: Shape 765">
                    <a:extLst>
                      <a:ext uri="{FF2B5EF4-FFF2-40B4-BE49-F238E27FC236}">
                        <a16:creationId xmlns:a16="http://schemas.microsoft.com/office/drawing/2014/main" id="{F7EAC157-9DF1-B8DC-025E-51C0F889DE75}"/>
                      </a:ext>
                    </a:extLst>
                  </p:cNvPr>
                  <p:cNvSpPr/>
                  <p:nvPr userDrawn="1"/>
                </p:nvSpPr>
                <p:spPr>
                  <a:xfrm>
                    <a:off x="8198860" y="4535260"/>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23"/>
                          <a:pt x="42074" y="9430"/>
                          <a:pt x="42074" y="21060"/>
                        </a:cubicBezTo>
                        <a:close/>
                      </a:path>
                    </a:pathLst>
                  </a:custGeom>
                  <a:solidFill>
                    <a:srgbClr val="F6F6F9"/>
                  </a:solidFill>
                  <a:ln w="2339" cap="flat">
                    <a:noFill/>
                    <a:prstDash val="solid"/>
                    <a:miter/>
                  </a:ln>
                </p:spPr>
                <p:txBody>
                  <a:bodyPr rtlCol="0" anchor="ctr"/>
                  <a:lstStyle/>
                  <a:p>
                    <a:endParaRPr lang="en-US" sz="2400"/>
                  </a:p>
                </p:txBody>
              </p:sp>
              <p:sp>
                <p:nvSpPr>
                  <p:cNvPr id="767" name="Freeform: Shape 766">
                    <a:extLst>
                      <a:ext uri="{FF2B5EF4-FFF2-40B4-BE49-F238E27FC236}">
                        <a16:creationId xmlns:a16="http://schemas.microsoft.com/office/drawing/2014/main" id="{E2593326-1E22-87FC-F40C-1AA7E74DD935}"/>
                      </a:ext>
                    </a:extLst>
                  </p:cNvPr>
                  <p:cNvSpPr/>
                  <p:nvPr userDrawn="1"/>
                </p:nvSpPr>
                <p:spPr>
                  <a:xfrm>
                    <a:off x="8198649" y="4535681"/>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23"/>
                          <a:pt x="42074" y="9430"/>
                          <a:pt x="42074" y="21060"/>
                        </a:cubicBezTo>
                        <a:close/>
                      </a:path>
                    </a:pathLst>
                  </a:custGeom>
                  <a:solidFill>
                    <a:srgbClr val="F6F7F9"/>
                  </a:solidFill>
                  <a:ln w="2339" cap="flat">
                    <a:noFill/>
                    <a:prstDash val="solid"/>
                    <a:miter/>
                  </a:ln>
                </p:spPr>
                <p:txBody>
                  <a:bodyPr rtlCol="0" anchor="ctr"/>
                  <a:lstStyle/>
                  <a:p>
                    <a:endParaRPr lang="en-US" sz="2400"/>
                  </a:p>
                </p:txBody>
              </p:sp>
              <p:sp>
                <p:nvSpPr>
                  <p:cNvPr id="768" name="Freeform: Shape 767">
                    <a:extLst>
                      <a:ext uri="{FF2B5EF4-FFF2-40B4-BE49-F238E27FC236}">
                        <a16:creationId xmlns:a16="http://schemas.microsoft.com/office/drawing/2014/main" id="{C3AE38FA-48FD-CD52-A78C-9745E303DB4A}"/>
                      </a:ext>
                    </a:extLst>
                  </p:cNvPr>
                  <p:cNvSpPr/>
                  <p:nvPr userDrawn="1"/>
                </p:nvSpPr>
                <p:spPr>
                  <a:xfrm>
                    <a:off x="8198438" y="4536102"/>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23"/>
                          <a:pt x="42074" y="9430"/>
                          <a:pt x="42074" y="21060"/>
                        </a:cubicBezTo>
                        <a:close/>
                      </a:path>
                    </a:pathLst>
                  </a:custGeom>
                  <a:solidFill>
                    <a:srgbClr val="F6F7F9"/>
                  </a:solidFill>
                  <a:ln w="2339" cap="flat">
                    <a:noFill/>
                    <a:prstDash val="solid"/>
                    <a:miter/>
                  </a:ln>
                </p:spPr>
                <p:txBody>
                  <a:bodyPr rtlCol="0" anchor="ctr"/>
                  <a:lstStyle/>
                  <a:p>
                    <a:endParaRPr lang="en-US" sz="2400"/>
                  </a:p>
                </p:txBody>
              </p:sp>
              <p:sp>
                <p:nvSpPr>
                  <p:cNvPr id="769" name="Freeform: Shape 768">
                    <a:extLst>
                      <a:ext uri="{FF2B5EF4-FFF2-40B4-BE49-F238E27FC236}">
                        <a16:creationId xmlns:a16="http://schemas.microsoft.com/office/drawing/2014/main" id="{9C1F9F00-85F9-B821-FD3F-C7C4DB53B9A4}"/>
                      </a:ext>
                    </a:extLst>
                  </p:cNvPr>
                  <p:cNvSpPr/>
                  <p:nvPr userDrawn="1"/>
                </p:nvSpPr>
                <p:spPr>
                  <a:xfrm>
                    <a:off x="8198251" y="4536523"/>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6F7F9"/>
                  </a:solidFill>
                  <a:ln w="2339" cap="flat">
                    <a:noFill/>
                    <a:prstDash val="solid"/>
                    <a:miter/>
                  </a:ln>
                </p:spPr>
                <p:txBody>
                  <a:bodyPr rtlCol="0" anchor="ctr"/>
                  <a:lstStyle/>
                  <a:p>
                    <a:endParaRPr lang="en-US" sz="2400"/>
                  </a:p>
                </p:txBody>
              </p:sp>
              <p:sp>
                <p:nvSpPr>
                  <p:cNvPr id="770" name="Freeform: Shape 769">
                    <a:extLst>
                      <a:ext uri="{FF2B5EF4-FFF2-40B4-BE49-F238E27FC236}">
                        <a16:creationId xmlns:a16="http://schemas.microsoft.com/office/drawing/2014/main" id="{4E09F77E-A3A3-E178-4A4C-52A3FD8926D4}"/>
                      </a:ext>
                    </a:extLst>
                  </p:cNvPr>
                  <p:cNvSpPr/>
                  <p:nvPr userDrawn="1"/>
                </p:nvSpPr>
                <p:spPr>
                  <a:xfrm>
                    <a:off x="8198064" y="4536945"/>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7F7FA"/>
                  </a:solidFill>
                  <a:ln w="2339" cap="flat">
                    <a:noFill/>
                    <a:prstDash val="solid"/>
                    <a:miter/>
                  </a:ln>
                </p:spPr>
                <p:txBody>
                  <a:bodyPr rtlCol="0" anchor="ctr"/>
                  <a:lstStyle/>
                  <a:p>
                    <a:endParaRPr lang="en-US" sz="2400"/>
                  </a:p>
                </p:txBody>
              </p:sp>
              <p:sp>
                <p:nvSpPr>
                  <p:cNvPr id="771" name="Freeform: Shape 770">
                    <a:extLst>
                      <a:ext uri="{FF2B5EF4-FFF2-40B4-BE49-F238E27FC236}">
                        <a16:creationId xmlns:a16="http://schemas.microsoft.com/office/drawing/2014/main" id="{F85CEDBB-C700-2911-1079-1761FD6A52AB}"/>
                      </a:ext>
                    </a:extLst>
                  </p:cNvPr>
                  <p:cNvSpPr/>
                  <p:nvPr userDrawn="1"/>
                </p:nvSpPr>
                <p:spPr>
                  <a:xfrm>
                    <a:off x="8197877" y="4537366"/>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7F8FA"/>
                  </a:solidFill>
                  <a:ln w="2339" cap="flat">
                    <a:noFill/>
                    <a:prstDash val="solid"/>
                    <a:miter/>
                  </a:ln>
                </p:spPr>
                <p:txBody>
                  <a:bodyPr rtlCol="0" anchor="ctr"/>
                  <a:lstStyle/>
                  <a:p>
                    <a:endParaRPr lang="en-US" sz="2400"/>
                  </a:p>
                </p:txBody>
              </p:sp>
              <p:sp>
                <p:nvSpPr>
                  <p:cNvPr id="772" name="Freeform: Shape 771">
                    <a:extLst>
                      <a:ext uri="{FF2B5EF4-FFF2-40B4-BE49-F238E27FC236}">
                        <a16:creationId xmlns:a16="http://schemas.microsoft.com/office/drawing/2014/main" id="{260329DF-77F3-316E-A46D-7AAFF787BFB7}"/>
                      </a:ext>
                    </a:extLst>
                  </p:cNvPr>
                  <p:cNvSpPr/>
                  <p:nvPr userDrawn="1"/>
                </p:nvSpPr>
                <p:spPr>
                  <a:xfrm>
                    <a:off x="8197690" y="4537787"/>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7F8FA"/>
                  </a:solidFill>
                  <a:ln w="2339" cap="flat">
                    <a:noFill/>
                    <a:prstDash val="solid"/>
                    <a:miter/>
                  </a:ln>
                </p:spPr>
                <p:txBody>
                  <a:bodyPr rtlCol="0" anchor="ctr"/>
                  <a:lstStyle/>
                  <a:p>
                    <a:endParaRPr lang="en-US" sz="2400"/>
                  </a:p>
                </p:txBody>
              </p:sp>
              <p:sp>
                <p:nvSpPr>
                  <p:cNvPr id="773" name="Freeform: Shape 772">
                    <a:extLst>
                      <a:ext uri="{FF2B5EF4-FFF2-40B4-BE49-F238E27FC236}">
                        <a16:creationId xmlns:a16="http://schemas.microsoft.com/office/drawing/2014/main" id="{9DDAEABC-58DA-852B-1259-FA359C1F02AD}"/>
                      </a:ext>
                    </a:extLst>
                  </p:cNvPr>
                  <p:cNvSpPr/>
                  <p:nvPr userDrawn="1"/>
                </p:nvSpPr>
                <p:spPr>
                  <a:xfrm>
                    <a:off x="8197526" y="4538208"/>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8F8FA"/>
                  </a:solidFill>
                  <a:ln w="2339" cap="flat">
                    <a:noFill/>
                    <a:prstDash val="solid"/>
                    <a:miter/>
                  </a:ln>
                </p:spPr>
                <p:txBody>
                  <a:bodyPr rtlCol="0" anchor="ctr"/>
                  <a:lstStyle/>
                  <a:p>
                    <a:endParaRPr lang="en-US" sz="2400"/>
                  </a:p>
                </p:txBody>
              </p:sp>
              <p:sp>
                <p:nvSpPr>
                  <p:cNvPr id="774" name="Freeform: Shape 773">
                    <a:extLst>
                      <a:ext uri="{FF2B5EF4-FFF2-40B4-BE49-F238E27FC236}">
                        <a16:creationId xmlns:a16="http://schemas.microsoft.com/office/drawing/2014/main" id="{E64DCFFD-6783-FC7F-FD2C-996B9A320A4A}"/>
                      </a:ext>
                    </a:extLst>
                  </p:cNvPr>
                  <p:cNvSpPr/>
                  <p:nvPr userDrawn="1"/>
                </p:nvSpPr>
                <p:spPr>
                  <a:xfrm>
                    <a:off x="8197362" y="4538629"/>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8F9FA"/>
                  </a:solidFill>
                  <a:ln w="2339" cap="flat">
                    <a:noFill/>
                    <a:prstDash val="solid"/>
                    <a:miter/>
                  </a:ln>
                </p:spPr>
                <p:txBody>
                  <a:bodyPr rtlCol="0" anchor="ctr"/>
                  <a:lstStyle/>
                  <a:p>
                    <a:endParaRPr lang="en-US" sz="2400"/>
                  </a:p>
                </p:txBody>
              </p:sp>
              <p:sp>
                <p:nvSpPr>
                  <p:cNvPr id="775" name="Freeform: Shape 774">
                    <a:extLst>
                      <a:ext uri="{FF2B5EF4-FFF2-40B4-BE49-F238E27FC236}">
                        <a16:creationId xmlns:a16="http://schemas.microsoft.com/office/drawing/2014/main" id="{B273A2CB-1471-1D08-CF6F-F5430B62F764}"/>
                      </a:ext>
                    </a:extLst>
                  </p:cNvPr>
                  <p:cNvSpPr/>
                  <p:nvPr userDrawn="1"/>
                </p:nvSpPr>
                <p:spPr>
                  <a:xfrm>
                    <a:off x="8197198" y="4539027"/>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23"/>
                          <a:pt x="42074" y="9430"/>
                          <a:pt x="42074" y="21060"/>
                        </a:cubicBezTo>
                        <a:close/>
                      </a:path>
                    </a:pathLst>
                  </a:custGeom>
                  <a:solidFill>
                    <a:srgbClr val="F8F9FB"/>
                  </a:solidFill>
                  <a:ln w="2339" cap="flat">
                    <a:noFill/>
                    <a:prstDash val="solid"/>
                    <a:miter/>
                  </a:ln>
                </p:spPr>
                <p:txBody>
                  <a:bodyPr rtlCol="0" anchor="ctr"/>
                  <a:lstStyle/>
                  <a:p>
                    <a:endParaRPr lang="en-US" sz="2400"/>
                  </a:p>
                </p:txBody>
              </p:sp>
              <p:sp>
                <p:nvSpPr>
                  <p:cNvPr id="776" name="Freeform: Shape 775">
                    <a:extLst>
                      <a:ext uri="{FF2B5EF4-FFF2-40B4-BE49-F238E27FC236}">
                        <a16:creationId xmlns:a16="http://schemas.microsoft.com/office/drawing/2014/main" id="{61EA3DAF-DE29-14B9-8C85-AF439357F687}"/>
                      </a:ext>
                    </a:extLst>
                  </p:cNvPr>
                  <p:cNvSpPr/>
                  <p:nvPr userDrawn="1"/>
                </p:nvSpPr>
                <p:spPr>
                  <a:xfrm>
                    <a:off x="8197034" y="4539448"/>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23"/>
                          <a:pt x="42074" y="9430"/>
                          <a:pt x="42074" y="21060"/>
                        </a:cubicBezTo>
                        <a:close/>
                      </a:path>
                    </a:pathLst>
                  </a:custGeom>
                  <a:solidFill>
                    <a:srgbClr val="F9F9FB"/>
                  </a:solidFill>
                  <a:ln w="2339" cap="flat">
                    <a:noFill/>
                    <a:prstDash val="solid"/>
                    <a:miter/>
                  </a:ln>
                </p:spPr>
                <p:txBody>
                  <a:bodyPr rtlCol="0" anchor="ctr"/>
                  <a:lstStyle/>
                  <a:p>
                    <a:endParaRPr lang="en-US" sz="2400"/>
                  </a:p>
                </p:txBody>
              </p:sp>
              <p:sp>
                <p:nvSpPr>
                  <p:cNvPr id="777" name="Freeform: Shape 776">
                    <a:extLst>
                      <a:ext uri="{FF2B5EF4-FFF2-40B4-BE49-F238E27FC236}">
                        <a16:creationId xmlns:a16="http://schemas.microsoft.com/office/drawing/2014/main" id="{AC1C32A9-30AE-D1BC-B27E-7A5CD65E9B32}"/>
                      </a:ext>
                    </a:extLst>
                  </p:cNvPr>
                  <p:cNvSpPr/>
                  <p:nvPr userDrawn="1"/>
                </p:nvSpPr>
                <p:spPr>
                  <a:xfrm>
                    <a:off x="8196871" y="4539870"/>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9F9FB"/>
                  </a:solidFill>
                  <a:ln w="2339" cap="flat">
                    <a:noFill/>
                    <a:prstDash val="solid"/>
                    <a:miter/>
                  </a:ln>
                </p:spPr>
                <p:txBody>
                  <a:bodyPr rtlCol="0" anchor="ctr"/>
                  <a:lstStyle/>
                  <a:p>
                    <a:endParaRPr lang="en-US" sz="2400"/>
                  </a:p>
                </p:txBody>
              </p:sp>
              <p:sp>
                <p:nvSpPr>
                  <p:cNvPr id="778" name="Freeform: Shape 777">
                    <a:extLst>
                      <a:ext uri="{FF2B5EF4-FFF2-40B4-BE49-F238E27FC236}">
                        <a16:creationId xmlns:a16="http://schemas.microsoft.com/office/drawing/2014/main" id="{5DBC0E52-C0E4-5EB8-A59D-2456F8712018}"/>
                      </a:ext>
                    </a:extLst>
                  </p:cNvPr>
                  <p:cNvSpPr/>
                  <p:nvPr userDrawn="1"/>
                </p:nvSpPr>
                <p:spPr>
                  <a:xfrm>
                    <a:off x="8196730" y="4540291"/>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9FAFB"/>
                  </a:solidFill>
                  <a:ln w="2339" cap="flat">
                    <a:noFill/>
                    <a:prstDash val="solid"/>
                    <a:miter/>
                  </a:ln>
                </p:spPr>
                <p:txBody>
                  <a:bodyPr rtlCol="0" anchor="ctr"/>
                  <a:lstStyle/>
                  <a:p>
                    <a:endParaRPr lang="en-US" sz="2400"/>
                  </a:p>
                </p:txBody>
              </p:sp>
              <p:sp>
                <p:nvSpPr>
                  <p:cNvPr id="779" name="Freeform: Shape 778">
                    <a:extLst>
                      <a:ext uri="{FF2B5EF4-FFF2-40B4-BE49-F238E27FC236}">
                        <a16:creationId xmlns:a16="http://schemas.microsoft.com/office/drawing/2014/main" id="{895483E8-FCEB-2C4C-D9FC-CFA72085F206}"/>
                      </a:ext>
                    </a:extLst>
                  </p:cNvPr>
                  <p:cNvSpPr/>
                  <p:nvPr userDrawn="1"/>
                </p:nvSpPr>
                <p:spPr>
                  <a:xfrm>
                    <a:off x="8196590" y="4540712"/>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9FAFB"/>
                  </a:solidFill>
                  <a:ln w="2339" cap="flat">
                    <a:noFill/>
                    <a:prstDash val="solid"/>
                    <a:miter/>
                  </a:ln>
                </p:spPr>
                <p:txBody>
                  <a:bodyPr rtlCol="0" anchor="ctr"/>
                  <a:lstStyle/>
                  <a:p>
                    <a:endParaRPr lang="en-US" sz="2400"/>
                  </a:p>
                </p:txBody>
              </p:sp>
              <p:sp>
                <p:nvSpPr>
                  <p:cNvPr id="780" name="Freeform: Shape 779">
                    <a:extLst>
                      <a:ext uri="{FF2B5EF4-FFF2-40B4-BE49-F238E27FC236}">
                        <a16:creationId xmlns:a16="http://schemas.microsoft.com/office/drawing/2014/main" id="{4F66D95D-80DB-7F7F-790B-78C4BD734941}"/>
                      </a:ext>
                    </a:extLst>
                  </p:cNvPr>
                  <p:cNvSpPr/>
                  <p:nvPr userDrawn="1"/>
                </p:nvSpPr>
                <p:spPr>
                  <a:xfrm>
                    <a:off x="8196449" y="4541133"/>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07"/>
                          <a:pt x="42074" y="21060"/>
                        </a:cubicBezTo>
                        <a:close/>
                      </a:path>
                    </a:pathLst>
                  </a:custGeom>
                  <a:solidFill>
                    <a:srgbClr val="FAFAFC"/>
                  </a:solidFill>
                  <a:ln w="2339" cap="flat">
                    <a:noFill/>
                    <a:prstDash val="solid"/>
                    <a:miter/>
                  </a:ln>
                </p:spPr>
                <p:txBody>
                  <a:bodyPr rtlCol="0" anchor="ctr"/>
                  <a:lstStyle/>
                  <a:p>
                    <a:endParaRPr lang="en-US" sz="2400"/>
                  </a:p>
                </p:txBody>
              </p:sp>
              <p:sp>
                <p:nvSpPr>
                  <p:cNvPr id="781" name="Freeform: Shape 780">
                    <a:extLst>
                      <a:ext uri="{FF2B5EF4-FFF2-40B4-BE49-F238E27FC236}">
                        <a16:creationId xmlns:a16="http://schemas.microsoft.com/office/drawing/2014/main" id="{7DC62FA3-0157-F14A-4E75-9DF8D4F3C991}"/>
                      </a:ext>
                    </a:extLst>
                  </p:cNvPr>
                  <p:cNvSpPr/>
                  <p:nvPr userDrawn="1"/>
                </p:nvSpPr>
                <p:spPr>
                  <a:xfrm>
                    <a:off x="8196332" y="4541531"/>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23"/>
                          <a:pt x="42074" y="9430"/>
                          <a:pt x="42074" y="21060"/>
                        </a:cubicBezTo>
                        <a:close/>
                      </a:path>
                    </a:pathLst>
                  </a:custGeom>
                  <a:solidFill>
                    <a:srgbClr val="FAFBFC"/>
                  </a:solidFill>
                  <a:ln w="2339" cap="flat">
                    <a:noFill/>
                    <a:prstDash val="solid"/>
                    <a:miter/>
                  </a:ln>
                </p:spPr>
                <p:txBody>
                  <a:bodyPr rtlCol="0" anchor="ctr"/>
                  <a:lstStyle/>
                  <a:p>
                    <a:endParaRPr lang="en-US" sz="2400"/>
                  </a:p>
                </p:txBody>
              </p:sp>
              <p:sp>
                <p:nvSpPr>
                  <p:cNvPr id="782" name="Freeform: Shape 781">
                    <a:extLst>
                      <a:ext uri="{FF2B5EF4-FFF2-40B4-BE49-F238E27FC236}">
                        <a16:creationId xmlns:a16="http://schemas.microsoft.com/office/drawing/2014/main" id="{99B6A069-1075-DD91-6AF4-A99123EB8138}"/>
                      </a:ext>
                    </a:extLst>
                  </p:cNvPr>
                  <p:cNvSpPr/>
                  <p:nvPr userDrawn="1"/>
                </p:nvSpPr>
                <p:spPr>
                  <a:xfrm>
                    <a:off x="8196215" y="4541952"/>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AFBFC"/>
                  </a:solidFill>
                  <a:ln w="2339" cap="flat">
                    <a:noFill/>
                    <a:prstDash val="solid"/>
                    <a:miter/>
                  </a:ln>
                </p:spPr>
                <p:txBody>
                  <a:bodyPr rtlCol="0" anchor="ctr"/>
                  <a:lstStyle/>
                  <a:p>
                    <a:endParaRPr lang="en-US" sz="2400"/>
                  </a:p>
                </p:txBody>
              </p:sp>
              <p:sp>
                <p:nvSpPr>
                  <p:cNvPr id="783" name="Freeform: Shape 782">
                    <a:extLst>
                      <a:ext uri="{FF2B5EF4-FFF2-40B4-BE49-F238E27FC236}">
                        <a16:creationId xmlns:a16="http://schemas.microsoft.com/office/drawing/2014/main" id="{DDC37512-AC22-5F18-2500-DCB7D175D662}"/>
                      </a:ext>
                    </a:extLst>
                  </p:cNvPr>
                  <p:cNvSpPr/>
                  <p:nvPr userDrawn="1"/>
                </p:nvSpPr>
                <p:spPr>
                  <a:xfrm>
                    <a:off x="8196098" y="4542373"/>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BFBFC"/>
                  </a:solidFill>
                  <a:ln w="2339" cap="flat">
                    <a:noFill/>
                    <a:prstDash val="solid"/>
                    <a:miter/>
                  </a:ln>
                </p:spPr>
                <p:txBody>
                  <a:bodyPr rtlCol="0" anchor="ctr"/>
                  <a:lstStyle/>
                  <a:p>
                    <a:endParaRPr lang="en-US" sz="2400"/>
                  </a:p>
                </p:txBody>
              </p:sp>
              <p:sp>
                <p:nvSpPr>
                  <p:cNvPr id="784" name="Freeform: Shape 783">
                    <a:extLst>
                      <a:ext uri="{FF2B5EF4-FFF2-40B4-BE49-F238E27FC236}">
                        <a16:creationId xmlns:a16="http://schemas.microsoft.com/office/drawing/2014/main" id="{7628D5DD-0507-17AA-9222-AF25BDE88216}"/>
                      </a:ext>
                    </a:extLst>
                  </p:cNvPr>
                  <p:cNvSpPr/>
                  <p:nvPr userDrawn="1"/>
                </p:nvSpPr>
                <p:spPr>
                  <a:xfrm>
                    <a:off x="8195981" y="4542771"/>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23"/>
                          <a:pt x="42074" y="9430"/>
                          <a:pt x="42074" y="21060"/>
                        </a:cubicBezTo>
                        <a:close/>
                      </a:path>
                    </a:pathLst>
                  </a:custGeom>
                  <a:solidFill>
                    <a:srgbClr val="FBFBFC"/>
                  </a:solidFill>
                  <a:ln w="2339" cap="flat">
                    <a:noFill/>
                    <a:prstDash val="solid"/>
                    <a:miter/>
                  </a:ln>
                </p:spPr>
                <p:txBody>
                  <a:bodyPr rtlCol="0" anchor="ctr"/>
                  <a:lstStyle/>
                  <a:p>
                    <a:endParaRPr lang="en-US" sz="2400"/>
                  </a:p>
                </p:txBody>
              </p:sp>
              <p:sp>
                <p:nvSpPr>
                  <p:cNvPr id="785" name="Freeform: Shape 784">
                    <a:extLst>
                      <a:ext uri="{FF2B5EF4-FFF2-40B4-BE49-F238E27FC236}">
                        <a16:creationId xmlns:a16="http://schemas.microsoft.com/office/drawing/2014/main" id="{44312CD4-142B-A9A1-10F2-FAB0C78A6D00}"/>
                      </a:ext>
                    </a:extLst>
                  </p:cNvPr>
                  <p:cNvSpPr/>
                  <p:nvPr userDrawn="1"/>
                </p:nvSpPr>
                <p:spPr>
                  <a:xfrm>
                    <a:off x="8195864" y="4543192"/>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BFCFD"/>
                  </a:solidFill>
                  <a:ln w="2339" cap="flat">
                    <a:noFill/>
                    <a:prstDash val="solid"/>
                    <a:miter/>
                  </a:ln>
                </p:spPr>
                <p:txBody>
                  <a:bodyPr rtlCol="0" anchor="ctr"/>
                  <a:lstStyle/>
                  <a:p>
                    <a:endParaRPr lang="en-US" sz="2400"/>
                  </a:p>
                </p:txBody>
              </p:sp>
              <p:sp>
                <p:nvSpPr>
                  <p:cNvPr id="786" name="Freeform: Shape 785">
                    <a:extLst>
                      <a:ext uri="{FF2B5EF4-FFF2-40B4-BE49-F238E27FC236}">
                        <a16:creationId xmlns:a16="http://schemas.microsoft.com/office/drawing/2014/main" id="{BF2B258C-C495-3C7E-65BC-1C06AB3B5FA8}"/>
                      </a:ext>
                    </a:extLst>
                  </p:cNvPr>
                  <p:cNvSpPr/>
                  <p:nvPr userDrawn="1"/>
                </p:nvSpPr>
                <p:spPr>
                  <a:xfrm>
                    <a:off x="8195771" y="4543614"/>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CFCFD"/>
                  </a:solidFill>
                  <a:ln w="2339" cap="flat">
                    <a:noFill/>
                    <a:prstDash val="solid"/>
                    <a:miter/>
                  </a:ln>
                </p:spPr>
                <p:txBody>
                  <a:bodyPr rtlCol="0" anchor="ctr"/>
                  <a:lstStyle/>
                  <a:p>
                    <a:endParaRPr lang="en-US" sz="2400"/>
                  </a:p>
                </p:txBody>
              </p:sp>
              <p:sp>
                <p:nvSpPr>
                  <p:cNvPr id="787" name="Freeform: Shape 786">
                    <a:extLst>
                      <a:ext uri="{FF2B5EF4-FFF2-40B4-BE49-F238E27FC236}">
                        <a16:creationId xmlns:a16="http://schemas.microsoft.com/office/drawing/2014/main" id="{128662C9-1199-E5F6-DE12-C8EE5AE305BC}"/>
                      </a:ext>
                    </a:extLst>
                  </p:cNvPr>
                  <p:cNvSpPr/>
                  <p:nvPr userDrawn="1"/>
                </p:nvSpPr>
                <p:spPr>
                  <a:xfrm>
                    <a:off x="8195677" y="4544035"/>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07"/>
                          <a:pt x="42074" y="21060"/>
                        </a:cubicBezTo>
                        <a:close/>
                      </a:path>
                    </a:pathLst>
                  </a:custGeom>
                  <a:solidFill>
                    <a:srgbClr val="FCFCFD"/>
                  </a:solidFill>
                  <a:ln w="2339" cap="flat">
                    <a:noFill/>
                    <a:prstDash val="solid"/>
                    <a:miter/>
                  </a:ln>
                </p:spPr>
                <p:txBody>
                  <a:bodyPr rtlCol="0" anchor="ctr"/>
                  <a:lstStyle/>
                  <a:p>
                    <a:endParaRPr lang="en-US" sz="2400"/>
                  </a:p>
                </p:txBody>
              </p:sp>
              <p:sp>
                <p:nvSpPr>
                  <p:cNvPr id="788" name="Freeform: Shape 787">
                    <a:extLst>
                      <a:ext uri="{FF2B5EF4-FFF2-40B4-BE49-F238E27FC236}">
                        <a16:creationId xmlns:a16="http://schemas.microsoft.com/office/drawing/2014/main" id="{27741F1D-87ED-80FB-D398-DA9D4AF978FF}"/>
                      </a:ext>
                    </a:extLst>
                  </p:cNvPr>
                  <p:cNvSpPr/>
                  <p:nvPr userDrawn="1"/>
                </p:nvSpPr>
                <p:spPr>
                  <a:xfrm>
                    <a:off x="8195584" y="4544433"/>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CFCFD"/>
                  </a:solidFill>
                  <a:ln w="2339" cap="flat">
                    <a:noFill/>
                    <a:prstDash val="solid"/>
                    <a:miter/>
                  </a:ln>
                </p:spPr>
                <p:txBody>
                  <a:bodyPr rtlCol="0" anchor="ctr"/>
                  <a:lstStyle/>
                  <a:p>
                    <a:endParaRPr lang="en-US" sz="2400"/>
                  </a:p>
                </p:txBody>
              </p:sp>
              <p:sp>
                <p:nvSpPr>
                  <p:cNvPr id="789" name="Freeform: Shape 788">
                    <a:extLst>
                      <a:ext uri="{FF2B5EF4-FFF2-40B4-BE49-F238E27FC236}">
                        <a16:creationId xmlns:a16="http://schemas.microsoft.com/office/drawing/2014/main" id="{E730A6D6-4F58-B26F-1FB4-C23A2945B5AB}"/>
                      </a:ext>
                    </a:extLst>
                  </p:cNvPr>
                  <p:cNvSpPr/>
                  <p:nvPr userDrawn="1"/>
                </p:nvSpPr>
                <p:spPr>
                  <a:xfrm>
                    <a:off x="8195490" y="4544854"/>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DFDFD"/>
                  </a:solidFill>
                  <a:ln w="2339" cap="flat">
                    <a:noFill/>
                    <a:prstDash val="solid"/>
                    <a:miter/>
                  </a:ln>
                </p:spPr>
                <p:txBody>
                  <a:bodyPr rtlCol="0" anchor="ctr"/>
                  <a:lstStyle/>
                  <a:p>
                    <a:endParaRPr lang="en-US" sz="2400"/>
                  </a:p>
                </p:txBody>
              </p:sp>
              <p:sp>
                <p:nvSpPr>
                  <p:cNvPr id="790" name="Freeform: Shape 789">
                    <a:extLst>
                      <a:ext uri="{FF2B5EF4-FFF2-40B4-BE49-F238E27FC236}">
                        <a16:creationId xmlns:a16="http://schemas.microsoft.com/office/drawing/2014/main" id="{68259089-61B5-BB40-535E-BBD2D9B0696E}"/>
                      </a:ext>
                    </a:extLst>
                  </p:cNvPr>
                  <p:cNvSpPr/>
                  <p:nvPr userDrawn="1"/>
                </p:nvSpPr>
                <p:spPr>
                  <a:xfrm>
                    <a:off x="8195420" y="4545252"/>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23"/>
                          <a:pt x="42074" y="9430"/>
                          <a:pt x="42074" y="21060"/>
                        </a:cubicBezTo>
                        <a:close/>
                      </a:path>
                    </a:pathLst>
                  </a:custGeom>
                  <a:solidFill>
                    <a:srgbClr val="FDFDFE"/>
                  </a:solidFill>
                  <a:ln w="2339" cap="flat">
                    <a:noFill/>
                    <a:prstDash val="solid"/>
                    <a:miter/>
                  </a:ln>
                </p:spPr>
                <p:txBody>
                  <a:bodyPr rtlCol="0" anchor="ctr"/>
                  <a:lstStyle/>
                  <a:p>
                    <a:endParaRPr lang="en-US" sz="2400"/>
                  </a:p>
                </p:txBody>
              </p:sp>
              <p:sp>
                <p:nvSpPr>
                  <p:cNvPr id="791" name="Freeform: Shape 790">
                    <a:extLst>
                      <a:ext uri="{FF2B5EF4-FFF2-40B4-BE49-F238E27FC236}">
                        <a16:creationId xmlns:a16="http://schemas.microsoft.com/office/drawing/2014/main" id="{D1AB3285-EBD5-D9DF-5986-8FAAB1322376}"/>
                      </a:ext>
                    </a:extLst>
                  </p:cNvPr>
                  <p:cNvSpPr/>
                  <p:nvPr userDrawn="1"/>
                </p:nvSpPr>
                <p:spPr>
                  <a:xfrm>
                    <a:off x="8195350" y="4545673"/>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DFDFE"/>
                  </a:solidFill>
                  <a:ln w="2339" cap="flat">
                    <a:noFill/>
                    <a:prstDash val="solid"/>
                    <a:miter/>
                  </a:ln>
                </p:spPr>
                <p:txBody>
                  <a:bodyPr rtlCol="0" anchor="ctr"/>
                  <a:lstStyle/>
                  <a:p>
                    <a:endParaRPr lang="en-US" sz="2400"/>
                  </a:p>
                </p:txBody>
              </p:sp>
              <p:sp>
                <p:nvSpPr>
                  <p:cNvPr id="792" name="Freeform: Shape 791">
                    <a:extLst>
                      <a:ext uri="{FF2B5EF4-FFF2-40B4-BE49-F238E27FC236}">
                        <a16:creationId xmlns:a16="http://schemas.microsoft.com/office/drawing/2014/main" id="{FFB86897-0B8F-6244-A2B9-F96181AA9222}"/>
                      </a:ext>
                    </a:extLst>
                  </p:cNvPr>
                  <p:cNvSpPr/>
                  <p:nvPr userDrawn="1"/>
                </p:nvSpPr>
                <p:spPr>
                  <a:xfrm>
                    <a:off x="8195279" y="4546071"/>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23"/>
                          <a:pt x="42074" y="9430"/>
                          <a:pt x="42074" y="21060"/>
                        </a:cubicBezTo>
                        <a:close/>
                      </a:path>
                    </a:pathLst>
                  </a:custGeom>
                  <a:solidFill>
                    <a:srgbClr val="FDFEFE"/>
                  </a:solidFill>
                  <a:ln w="2339" cap="flat">
                    <a:noFill/>
                    <a:prstDash val="solid"/>
                    <a:miter/>
                  </a:ln>
                </p:spPr>
                <p:txBody>
                  <a:bodyPr rtlCol="0" anchor="ctr"/>
                  <a:lstStyle/>
                  <a:p>
                    <a:endParaRPr lang="en-US" sz="2400"/>
                  </a:p>
                </p:txBody>
              </p:sp>
              <p:sp>
                <p:nvSpPr>
                  <p:cNvPr id="793" name="Freeform: Shape 792">
                    <a:extLst>
                      <a:ext uri="{FF2B5EF4-FFF2-40B4-BE49-F238E27FC236}">
                        <a16:creationId xmlns:a16="http://schemas.microsoft.com/office/drawing/2014/main" id="{C8CADA43-38A7-FEED-4B0F-A5E7EE2CC868}"/>
                      </a:ext>
                    </a:extLst>
                  </p:cNvPr>
                  <p:cNvSpPr/>
                  <p:nvPr userDrawn="1"/>
                </p:nvSpPr>
                <p:spPr>
                  <a:xfrm>
                    <a:off x="8195233" y="4546492"/>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EFEFE"/>
                  </a:solidFill>
                  <a:ln w="2339" cap="flat">
                    <a:noFill/>
                    <a:prstDash val="solid"/>
                    <a:miter/>
                  </a:ln>
                </p:spPr>
                <p:txBody>
                  <a:bodyPr rtlCol="0" anchor="ctr"/>
                  <a:lstStyle/>
                  <a:p>
                    <a:endParaRPr lang="en-US" sz="2400"/>
                  </a:p>
                </p:txBody>
              </p:sp>
              <p:sp>
                <p:nvSpPr>
                  <p:cNvPr id="794" name="Freeform: Shape 793">
                    <a:extLst>
                      <a:ext uri="{FF2B5EF4-FFF2-40B4-BE49-F238E27FC236}">
                        <a16:creationId xmlns:a16="http://schemas.microsoft.com/office/drawing/2014/main" id="{C5B888CC-9BE6-AD6D-1BC2-E54C9AED0EDE}"/>
                      </a:ext>
                    </a:extLst>
                  </p:cNvPr>
                  <p:cNvSpPr/>
                  <p:nvPr userDrawn="1"/>
                </p:nvSpPr>
                <p:spPr>
                  <a:xfrm>
                    <a:off x="8195162" y="4546890"/>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23"/>
                          <a:pt x="42074" y="9430"/>
                          <a:pt x="42074" y="21060"/>
                        </a:cubicBezTo>
                        <a:close/>
                      </a:path>
                    </a:pathLst>
                  </a:custGeom>
                  <a:solidFill>
                    <a:srgbClr val="FEFEFE"/>
                  </a:solidFill>
                  <a:ln w="2339" cap="flat">
                    <a:noFill/>
                    <a:prstDash val="solid"/>
                    <a:miter/>
                  </a:ln>
                </p:spPr>
                <p:txBody>
                  <a:bodyPr rtlCol="0" anchor="ctr"/>
                  <a:lstStyle/>
                  <a:p>
                    <a:endParaRPr lang="en-US" sz="2400"/>
                  </a:p>
                </p:txBody>
              </p:sp>
              <p:sp>
                <p:nvSpPr>
                  <p:cNvPr id="795" name="Freeform: Shape 794">
                    <a:extLst>
                      <a:ext uri="{FF2B5EF4-FFF2-40B4-BE49-F238E27FC236}">
                        <a16:creationId xmlns:a16="http://schemas.microsoft.com/office/drawing/2014/main" id="{0D2A4F54-FFFE-7280-B4FD-0DED9E738478}"/>
                      </a:ext>
                    </a:extLst>
                  </p:cNvPr>
                  <p:cNvSpPr/>
                  <p:nvPr userDrawn="1"/>
                </p:nvSpPr>
                <p:spPr>
                  <a:xfrm>
                    <a:off x="8195116" y="4547311"/>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EFEFF"/>
                  </a:solidFill>
                  <a:ln w="2339" cap="flat">
                    <a:noFill/>
                    <a:prstDash val="solid"/>
                    <a:miter/>
                  </a:ln>
                </p:spPr>
                <p:txBody>
                  <a:bodyPr rtlCol="0" anchor="ctr"/>
                  <a:lstStyle/>
                  <a:p>
                    <a:endParaRPr lang="en-US" sz="2400"/>
                  </a:p>
                </p:txBody>
              </p:sp>
              <p:sp>
                <p:nvSpPr>
                  <p:cNvPr id="796" name="Freeform: Shape 795">
                    <a:extLst>
                      <a:ext uri="{FF2B5EF4-FFF2-40B4-BE49-F238E27FC236}">
                        <a16:creationId xmlns:a16="http://schemas.microsoft.com/office/drawing/2014/main" id="{94108A76-BB67-DD4E-E8E7-9BB6B3DF6626}"/>
                      </a:ext>
                    </a:extLst>
                  </p:cNvPr>
                  <p:cNvSpPr/>
                  <p:nvPr userDrawn="1"/>
                </p:nvSpPr>
                <p:spPr>
                  <a:xfrm>
                    <a:off x="8195069" y="4547709"/>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23"/>
                          <a:pt x="42074" y="9430"/>
                          <a:pt x="42074" y="21060"/>
                        </a:cubicBezTo>
                        <a:close/>
                      </a:path>
                    </a:pathLst>
                  </a:custGeom>
                  <a:solidFill>
                    <a:srgbClr val="FFFFFF"/>
                  </a:solidFill>
                  <a:ln w="2339" cap="flat">
                    <a:noFill/>
                    <a:prstDash val="solid"/>
                    <a:miter/>
                  </a:ln>
                </p:spPr>
                <p:txBody>
                  <a:bodyPr rtlCol="0" anchor="ctr"/>
                  <a:lstStyle/>
                  <a:p>
                    <a:endParaRPr lang="en-US" sz="2400"/>
                  </a:p>
                </p:txBody>
              </p:sp>
              <p:sp>
                <p:nvSpPr>
                  <p:cNvPr id="797" name="Freeform: Shape 796">
                    <a:extLst>
                      <a:ext uri="{FF2B5EF4-FFF2-40B4-BE49-F238E27FC236}">
                        <a16:creationId xmlns:a16="http://schemas.microsoft.com/office/drawing/2014/main" id="{32343370-D8A6-368C-45D2-8CFF6B95A804}"/>
                      </a:ext>
                    </a:extLst>
                  </p:cNvPr>
                  <p:cNvSpPr/>
                  <p:nvPr userDrawn="1"/>
                </p:nvSpPr>
                <p:spPr>
                  <a:xfrm>
                    <a:off x="8195045" y="4548130"/>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FFFFF"/>
                  </a:solidFill>
                  <a:ln w="2339" cap="flat">
                    <a:noFill/>
                    <a:prstDash val="solid"/>
                    <a:miter/>
                  </a:ln>
                </p:spPr>
                <p:txBody>
                  <a:bodyPr rtlCol="0" anchor="ctr"/>
                  <a:lstStyle/>
                  <a:p>
                    <a:endParaRPr lang="en-US" sz="2400"/>
                  </a:p>
                </p:txBody>
              </p:sp>
            </p:grpSp>
            <p:grpSp>
              <p:nvGrpSpPr>
                <p:cNvPr id="798" name="Graphic 4">
                  <a:extLst>
                    <a:ext uri="{FF2B5EF4-FFF2-40B4-BE49-F238E27FC236}">
                      <a16:creationId xmlns:a16="http://schemas.microsoft.com/office/drawing/2014/main" id="{49498D74-2319-C3AA-1A1F-A570ED918020}"/>
                    </a:ext>
                  </a:extLst>
                </p:cNvPr>
                <p:cNvGrpSpPr/>
                <p:nvPr userDrawn="1"/>
              </p:nvGrpSpPr>
              <p:grpSpPr>
                <a:xfrm>
                  <a:off x="8382317" y="4482867"/>
                  <a:ext cx="144917" cy="107360"/>
                  <a:chOff x="8382317" y="4482867"/>
                  <a:chExt cx="144917" cy="107359"/>
                </a:xfrm>
              </p:grpSpPr>
              <p:sp>
                <p:nvSpPr>
                  <p:cNvPr id="799" name="Freeform: Shape 798">
                    <a:extLst>
                      <a:ext uri="{FF2B5EF4-FFF2-40B4-BE49-F238E27FC236}">
                        <a16:creationId xmlns:a16="http://schemas.microsoft.com/office/drawing/2014/main" id="{ED981670-0184-7700-BB91-53B97CEE0F22}"/>
                      </a:ext>
                    </a:extLst>
                  </p:cNvPr>
                  <p:cNvSpPr/>
                  <p:nvPr userDrawn="1"/>
                </p:nvSpPr>
                <p:spPr>
                  <a:xfrm>
                    <a:off x="8382317" y="4482867"/>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1B8CC"/>
                  </a:solidFill>
                  <a:ln w="2339" cap="flat">
                    <a:noFill/>
                    <a:prstDash val="solid"/>
                    <a:miter/>
                  </a:ln>
                </p:spPr>
                <p:txBody>
                  <a:bodyPr rtlCol="0" anchor="ctr"/>
                  <a:lstStyle/>
                  <a:p>
                    <a:endParaRPr lang="en-US" sz="2400"/>
                  </a:p>
                </p:txBody>
              </p:sp>
              <p:sp>
                <p:nvSpPr>
                  <p:cNvPr id="800" name="Freeform: Shape 799">
                    <a:extLst>
                      <a:ext uri="{FF2B5EF4-FFF2-40B4-BE49-F238E27FC236}">
                        <a16:creationId xmlns:a16="http://schemas.microsoft.com/office/drawing/2014/main" id="{AFCD6D97-A79B-04DA-23CA-1EA93533E7F5}"/>
                      </a:ext>
                    </a:extLst>
                  </p:cNvPr>
                  <p:cNvSpPr/>
                  <p:nvPr userDrawn="1"/>
                </p:nvSpPr>
                <p:spPr>
                  <a:xfrm>
                    <a:off x="8382902" y="4482937"/>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0"/>
                          <a:pt x="0" y="9430"/>
                          <a:pt x="0" y="21037"/>
                        </a:cubicBezTo>
                        <a:close/>
                      </a:path>
                    </a:pathLst>
                  </a:custGeom>
                  <a:solidFill>
                    <a:srgbClr val="B1B8CC"/>
                  </a:solidFill>
                  <a:ln w="2339" cap="flat">
                    <a:noFill/>
                    <a:prstDash val="solid"/>
                    <a:miter/>
                  </a:ln>
                </p:spPr>
                <p:txBody>
                  <a:bodyPr rtlCol="0" anchor="ctr"/>
                  <a:lstStyle/>
                  <a:p>
                    <a:endParaRPr lang="en-US" sz="2400"/>
                  </a:p>
                </p:txBody>
              </p:sp>
              <p:sp>
                <p:nvSpPr>
                  <p:cNvPr id="801" name="Freeform: Shape 800">
                    <a:extLst>
                      <a:ext uri="{FF2B5EF4-FFF2-40B4-BE49-F238E27FC236}">
                        <a16:creationId xmlns:a16="http://schemas.microsoft.com/office/drawing/2014/main" id="{A743CDEC-67F4-3441-2DFE-279E91FAD764}"/>
                      </a:ext>
                    </a:extLst>
                  </p:cNvPr>
                  <p:cNvSpPr/>
                  <p:nvPr userDrawn="1"/>
                </p:nvSpPr>
                <p:spPr>
                  <a:xfrm>
                    <a:off x="8383464" y="4483031"/>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0"/>
                          <a:pt x="0" y="9407"/>
                          <a:pt x="0" y="21037"/>
                        </a:cubicBezTo>
                        <a:close/>
                      </a:path>
                    </a:pathLst>
                  </a:custGeom>
                  <a:solidFill>
                    <a:srgbClr val="B2B9CC"/>
                  </a:solidFill>
                  <a:ln w="2339" cap="flat">
                    <a:noFill/>
                    <a:prstDash val="solid"/>
                    <a:miter/>
                  </a:ln>
                </p:spPr>
                <p:txBody>
                  <a:bodyPr rtlCol="0" anchor="ctr"/>
                  <a:lstStyle/>
                  <a:p>
                    <a:endParaRPr lang="en-US" sz="2400"/>
                  </a:p>
                </p:txBody>
              </p:sp>
              <p:sp>
                <p:nvSpPr>
                  <p:cNvPr id="802" name="Freeform: Shape 801">
                    <a:extLst>
                      <a:ext uri="{FF2B5EF4-FFF2-40B4-BE49-F238E27FC236}">
                        <a16:creationId xmlns:a16="http://schemas.microsoft.com/office/drawing/2014/main" id="{2603FD01-BD6E-D78B-D332-F1BAB32D2458}"/>
                      </a:ext>
                    </a:extLst>
                  </p:cNvPr>
                  <p:cNvSpPr/>
                  <p:nvPr userDrawn="1"/>
                </p:nvSpPr>
                <p:spPr>
                  <a:xfrm>
                    <a:off x="8384025" y="448312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2B9CD"/>
                  </a:solidFill>
                  <a:ln w="2339" cap="flat">
                    <a:noFill/>
                    <a:prstDash val="solid"/>
                    <a:miter/>
                  </a:ln>
                </p:spPr>
                <p:txBody>
                  <a:bodyPr rtlCol="0" anchor="ctr"/>
                  <a:lstStyle/>
                  <a:p>
                    <a:endParaRPr lang="en-US" sz="2400"/>
                  </a:p>
                </p:txBody>
              </p:sp>
              <p:sp>
                <p:nvSpPr>
                  <p:cNvPr id="803" name="Freeform: Shape 802">
                    <a:extLst>
                      <a:ext uri="{FF2B5EF4-FFF2-40B4-BE49-F238E27FC236}">
                        <a16:creationId xmlns:a16="http://schemas.microsoft.com/office/drawing/2014/main" id="{C5B4CED5-AC2F-87AD-A39F-0BDECFF309E2}"/>
                      </a:ext>
                    </a:extLst>
                  </p:cNvPr>
                  <p:cNvSpPr/>
                  <p:nvPr userDrawn="1"/>
                </p:nvSpPr>
                <p:spPr>
                  <a:xfrm>
                    <a:off x="8384587" y="4483218"/>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2B9CD"/>
                  </a:solidFill>
                  <a:ln w="2339" cap="flat">
                    <a:noFill/>
                    <a:prstDash val="solid"/>
                    <a:miter/>
                  </a:ln>
                </p:spPr>
                <p:txBody>
                  <a:bodyPr rtlCol="0" anchor="ctr"/>
                  <a:lstStyle/>
                  <a:p>
                    <a:endParaRPr lang="en-US" sz="2400"/>
                  </a:p>
                </p:txBody>
              </p:sp>
              <p:sp>
                <p:nvSpPr>
                  <p:cNvPr id="804" name="Freeform: Shape 803">
                    <a:extLst>
                      <a:ext uri="{FF2B5EF4-FFF2-40B4-BE49-F238E27FC236}">
                        <a16:creationId xmlns:a16="http://schemas.microsoft.com/office/drawing/2014/main" id="{CAEC5832-65AC-06B3-CA58-C6252632C95F}"/>
                      </a:ext>
                    </a:extLst>
                  </p:cNvPr>
                  <p:cNvSpPr/>
                  <p:nvPr userDrawn="1"/>
                </p:nvSpPr>
                <p:spPr>
                  <a:xfrm>
                    <a:off x="8385148" y="4483288"/>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B3B9CD"/>
                  </a:solidFill>
                  <a:ln w="2339" cap="flat">
                    <a:noFill/>
                    <a:prstDash val="solid"/>
                    <a:miter/>
                  </a:ln>
                </p:spPr>
                <p:txBody>
                  <a:bodyPr rtlCol="0" anchor="ctr"/>
                  <a:lstStyle/>
                  <a:p>
                    <a:endParaRPr lang="en-US" sz="2400"/>
                  </a:p>
                </p:txBody>
              </p:sp>
              <p:sp>
                <p:nvSpPr>
                  <p:cNvPr id="805" name="Freeform: Shape 804">
                    <a:extLst>
                      <a:ext uri="{FF2B5EF4-FFF2-40B4-BE49-F238E27FC236}">
                        <a16:creationId xmlns:a16="http://schemas.microsoft.com/office/drawing/2014/main" id="{B71FDBD8-6C93-FD72-06A0-63655161C631}"/>
                      </a:ext>
                    </a:extLst>
                  </p:cNvPr>
                  <p:cNvSpPr/>
                  <p:nvPr userDrawn="1"/>
                </p:nvSpPr>
                <p:spPr>
                  <a:xfrm>
                    <a:off x="8385710" y="4483382"/>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3BACD"/>
                  </a:solidFill>
                  <a:ln w="2339" cap="flat">
                    <a:noFill/>
                    <a:prstDash val="solid"/>
                    <a:miter/>
                  </a:ln>
                </p:spPr>
                <p:txBody>
                  <a:bodyPr rtlCol="0" anchor="ctr"/>
                  <a:lstStyle/>
                  <a:p>
                    <a:endParaRPr lang="en-US" sz="2400"/>
                  </a:p>
                </p:txBody>
              </p:sp>
              <p:sp>
                <p:nvSpPr>
                  <p:cNvPr id="806" name="Freeform: Shape 805">
                    <a:extLst>
                      <a:ext uri="{FF2B5EF4-FFF2-40B4-BE49-F238E27FC236}">
                        <a16:creationId xmlns:a16="http://schemas.microsoft.com/office/drawing/2014/main" id="{7FA4A341-1B3D-4B9D-C9A2-ECF23B873006}"/>
                      </a:ext>
                    </a:extLst>
                  </p:cNvPr>
                  <p:cNvSpPr/>
                  <p:nvPr userDrawn="1"/>
                </p:nvSpPr>
                <p:spPr>
                  <a:xfrm>
                    <a:off x="8386272" y="4483475"/>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3BACD"/>
                  </a:solidFill>
                  <a:ln w="2339" cap="flat">
                    <a:noFill/>
                    <a:prstDash val="solid"/>
                    <a:miter/>
                  </a:ln>
                </p:spPr>
                <p:txBody>
                  <a:bodyPr rtlCol="0" anchor="ctr"/>
                  <a:lstStyle/>
                  <a:p>
                    <a:endParaRPr lang="en-US" sz="2400"/>
                  </a:p>
                </p:txBody>
              </p:sp>
              <p:sp>
                <p:nvSpPr>
                  <p:cNvPr id="807" name="Freeform: Shape 806">
                    <a:extLst>
                      <a:ext uri="{FF2B5EF4-FFF2-40B4-BE49-F238E27FC236}">
                        <a16:creationId xmlns:a16="http://schemas.microsoft.com/office/drawing/2014/main" id="{907757A9-B29D-11C1-2F69-B5F02AF3991D}"/>
                      </a:ext>
                    </a:extLst>
                  </p:cNvPr>
                  <p:cNvSpPr/>
                  <p:nvPr userDrawn="1"/>
                </p:nvSpPr>
                <p:spPr>
                  <a:xfrm>
                    <a:off x="8386833" y="4483569"/>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3BACE"/>
                  </a:solidFill>
                  <a:ln w="2339" cap="flat">
                    <a:noFill/>
                    <a:prstDash val="solid"/>
                    <a:miter/>
                  </a:ln>
                </p:spPr>
                <p:txBody>
                  <a:bodyPr rtlCol="0" anchor="ctr"/>
                  <a:lstStyle/>
                  <a:p>
                    <a:endParaRPr lang="en-US" sz="2400"/>
                  </a:p>
                </p:txBody>
              </p:sp>
              <p:sp>
                <p:nvSpPr>
                  <p:cNvPr id="808" name="Freeform: Shape 807">
                    <a:extLst>
                      <a:ext uri="{FF2B5EF4-FFF2-40B4-BE49-F238E27FC236}">
                        <a16:creationId xmlns:a16="http://schemas.microsoft.com/office/drawing/2014/main" id="{25D3B317-3A83-47A3-833B-9DC216025290}"/>
                      </a:ext>
                    </a:extLst>
                  </p:cNvPr>
                  <p:cNvSpPr/>
                  <p:nvPr userDrawn="1"/>
                </p:nvSpPr>
                <p:spPr>
                  <a:xfrm>
                    <a:off x="8387395" y="4483662"/>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4BBCE"/>
                  </a:solidFill>
                  <a:ln w="2339" cap="flat">
                    <a:noFill/>
                    <a:prstDash val="solid"/>
                    <a:miter/>
                  </a:ln>
                </p:spPr>
                <p:txBody>
                  <a:bodyPr rtlCol="0" anchor="ctr"/>
                  <a:lstStyle/>
                  <a:p>
                    <a:endParaRPr lang="en-US" sz="2400"/>
                  </a:p>
                </p:txBody>
              </p:sp>
              <p:sp>
                <p:nvSpPr>
                  <p:cNvPr id="809" name="Freeform: Shape 808">
                    <a:extLst>
                      <a:ext uri="{FF2B5EF4-FFF2-40B4-BE49-F238E27FC236}">
                        <a16:creationId xmlns:a16="http://schemas.microsoft.com/office/drawing/2014/main" id="{C3C666BD-CB0F-7D1E-666B-E5E7A55FB1CB}"/>
                      </a:ext>
                    </a:extLst>
                  </p:cNvPr>
                  <p:cNvSpPr/>
                  <p:nvPr userDrawn="1"/>
                </p:nvSpPr>
                <p:spPr>
                  <a:xfrm>
                    <a:off x="8387956" y="448375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B4BBCE"/>
                  </a:solidFill>
                  <a:ln w="2339" cap="flat">
                    <a:noFill/>
                    <a:prstDash val="solid"/>
                    <a:miter/>
                  </a:ln>
                </p:spPr>
                <p:txBody>
                  <a:bodyPr rtlCol="0" anchor="ctr"/>
                  <a:lstStyle/>
                  <a:p>
                    <a:endParaRPr lang="en-US" sz="2400"/>
                  </a:p>
                </p:txBody>
              </p:sp>
              <p:sp>
                <p:nvSpPr>
                  <p:cNvPr id="810" name="Freeform: Shape 809">
                    <a:extLst>
                      <a:ext uri="{FF2B5EF4-FFF2-40B4-BE49-F238E27FC236}">
                        <a16:creationId xmlns:a16="http://schemas.microsoft.com/office/drawing/2014/main" id="{37A87CAF-D1AA-440B-8A47-1971216A4DDF}"/>
                      </a:ext>
                    </a:extLst>
                  </p:cNvPr>
                  <p:cNvSpPr/>
                  <p:nvPr userDrawn="1"/>
                </p:nvSpPr>
                <p:spPr>
                  <a:xfrm>
                    <a:off x="8388518" y="4483850"/>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B4BBCE"/>
                  </a:solidFill>
                  <a:ln w="2339" cap="flat">
                    <a:noFill/>
                    <a:prstDash val="solid"/>
                    <a:miter/>
                  </a:ln>
                </p:spPr>
                <p:txBody>
                  <a:bodyPr rtlCol="0" anchor="ctr"/>
                  <a:lstStyle/>
                  <a:p>
                    <a:endParaRPr lang="en-US" sz="2400"/>
                  </a:p>
                </p:txBody>
              </p:sp>
              <p:sp>
                <p:nvSpPr>
                  <p:cNvPr id="811" name="Freeform: Shape 810">
                    <a:extLst>
                      <a:ext uri="{FF2B5EF4-FFF2-40B4-BE49-F238E27FC236}">
                        <a16:creationId xmlns:a16="http://schemas.microsoft.com/office/drawing/2014/main" id="{AFD77177-AF02-C5BC-2635-01732B3AA46A}"/>
                      </a:ext>
                    </a:extLst>
                  </p:cNvPr>
                  <p:cNvSpPr/>
                  <p:nvPr userDrawn="1"/>
                </p:nvSpPr>
                <p:spPr>
                  <a:xfrm>
                    <a:off x="8389080" y="448396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5BBCE"/>
                  </a:solidFill>
                  <a:ln w="2339" cap="flat">
                    <a:noFill/>
                    <a:prstDash val="solid"/>
                    <a:miter/>
                  </a:ln>
                </p:spPr>
                <p:txBody>
                  <a:bodyPr rtlCol="0" anchor="ctr"/>
                  <a:lstStyle/>
                  <a:p>
                    <a:endParaRPr lang="en-US" sz="2400"/>
                  </a:p>
                </p:txBody>
              </p:sp>
              <p:sp>
                <p:nvSpPr>
                  <p:cNvPr id="812" name="Freeform: Shape 811">
                    <a:extLst>
                      <a:ext uri="{FF2B5EF4-FFF2-40B4-BE49-F238E27FC236}">
                        <a16:creationId xmlns:a16="http://schemas.microsoft.com/office/drawing/2014/main" id="{1E67FAE5-43C7-B346-5BFB-EB448F1FC87E}"/>
                      </a:ext>
                    </a:extLst>
                  </p:cNvPr>
                  <p:cNvSpPr/>
                  <p:nvPr userDrawn="1"/>
                </p:nvSpPr>
                <p:spPr>
                  <a:xfrm>
                    <a:off x="8389641" y="4484060"/>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5BCCF"/>
                  </a:solidFill>
                  <a:ln w="2339" cap="flat">
                    <a:noFill/>
                    <a:prstDash val="solid"/>
                    <a:miter/>
                  </a:ln>
                </p:spPr>
                <p:txBody>
                  <a:bodyPr rtlCol="0" anchor="ctr"/>
                  <a:lstStyle/>
                  <a:p>
                    <a:endParaRPr lang="en-US" sz="2400"/>
                  </a:p>
                </p:txBody>
              </p:sp>
              <p:sp>
                <p:nvSpPr>
                  <p:cNvPr id="813" name="Freeform: Shape 812">
                    <a:extLst>
                      <a:ext uri="{FF2B5EF4-FFF2-40B4-BE49-F238E27FC236}">
                        <a16:creationId xmlns:a16="http://schemas.microsoft.com/office/drawing/2014/main" id="{A4D46D91-55AF-0104-B25E-3211F1702156}"/>
                      </a:ext>
                    </a:extLst>
                  </p:cNvPr>
                  <p:cNvSpPr/>
                  <p:nvPr userDrawn="1"/>
                </p:nvSpPr>
                <p:spPr>
                  <a:xfrm>
                    <a:off x="8390203" y="448415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5BCCF"/>
                  </a:solidFill>
                  <a:ln w="2339" cap="flat">
                    <a:noFill/>
                    <a:prstDash val="solid"/>
                    <a:miter/>
                  </a:ln>
                </p:spPr>
                <p:txBody>
                  <a:bodyPr rtlCol="0" anchor="ctr"/>
                  <a:lstStyle/>
                  <a:p>
                    <a:endParaRPr lang="en-US" sz="2400"/>
                  </a:p>
                </p:txBody>
              </p:sp>
              <p:sp>
                <p:nvSpPr>
                  <p:cNvPr id="814" name="Freeform: Shape 813">
                    <a:extLst>
                      <a:ext uri="{FF2B5EF4-FFF2-40B4-BE49-F238E27FC236}">
                        <a16:creationId xmlns:a16="http://schemas.microsoft.com/office/drawing/2014/main" id="{96B013E7-75B3-858E-DE06-8C55F0263CD3}"/>
                      </a:ext>
                    </a:extLst>
                  </p:cNvPr>
                  <p:cNvSpPr/>
                  <p:nvPr userDrawn="1"/>
                </p:nvSpPr>
                <p:spPr>
                  <a:xfrm>
                    <a:off x="8390764" y="4484247"/>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B6BCCF"/>
                  </a:solidFill>
                  <a:ln w="2339" cap="flat">
                    <a:noFill/>
                    <a:prstDash val="solid"/>
                    <a:miter/>
                  </a:ln>
                </p:spPr>
                <p:txBody>
                  <a:bodyPr rtlCol="0" anchor="ctr"/>
                  <a:lstStyle/>
                  <a:p>
                    <a:endParaRPr lang="en-US" sz="2400"/>
                  </a:p>
                </p:txBody>
              </p:sp>
              <p:sp>
                <p:nvSpPr>
                  <p:cNvPr id="815" name="Freeform: Shape 814">
                    <a:extLst>
                      <a:ext uri="{FF2B5EF4-FFF2-40B4-BE49-F238E27FC236}">
                        <a16:creationId xmlns:a16="http://schemas.microsoft.com/office/drawing/2014/main" id="{A8AE9EBE-06C9-AA58-9693-C2B56F78E931}"/>
                      </a:ext>
                    </a:extLst>
                  </p:cNvPr>
                  <p:cNvSpPr/>
                  <p:nvPr userDrawn="1"/>
                </p:nvSpPr>
                <p:spPr>
                  <a:xfrm>
                    <a:off x="8391326" y="448436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6BCCF"/>
                  </a:solidFill>
                  <a:ln w="2339" cap="flat">
                    <a:noFill/>
                    <a:prstDash val="solid"/>
                    <a:miter/>
                  </a:ln>
                </p:spPr>
                <p:txBody>
                  <a:bodyPr rtlCol="0" anchor="ctr"/>
                  <a:lstStyle/>
                  <a:p>
                    <a:endParaRPr lang="en-US" sz="2400"/>
                  </a:p>
                </p:txBody>
              </p:sp>
              <p:sp>
                <p:nvSpPr>
                  <p:cNvPr id="816" name="Freeform: Shape 815">
                    <a:extLst>
                      <a:ext uri="{FF2B5EF4-FFF2-40B4-BE49-F238E27FC236}">
                        <a16:creationId xmlns:a16="http://schemas.microsoft.com/office/drawing/2014/main" id="{BFCD30C8-9835-07FA-7E0A-8093F88C3F67}"/>
                      </a:ext>
                    </a:extLst>
                  </p:cNvPr>
                  <p:cNvSpPr/>
                  <p:nvPr userDrawn="1"/>
                </p:nvSpPr>
                <p:spPr>
                  <a:xfrm>
                    <a:off x="8391888" y="4484458"/>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0"/>
                          <a:pt x="0" y="9430"/>
                          <a:pt x="0" y="21037"/>
                        </a:cubicBezTo>
                        <a:close/>
                      </a:path>
                    </a:pathLst>
                  </a:custGeom>
                  <a:solidFill>
                    <a:srgbClr val="B6BDCF"/>
                  </a:solidFill>
                  <a:ln w="2339" cap="flat">
                    <a:noFill/>
                    <a:prstDash val="solid"/>
                    <a:miter/>
                  </a:ln>
                </p:spPr>
                <p:txBody>
                  <a:bodyPr rtlCol="0" anchor="ctr"/>
                  <a:lstStyle/>
                  <a:p>
                    <a:endParaRPr lang="en-US" sz="2400"/>
                  </a:p>
                </p:txBody>
              </p:sp>
              <p:sp>
                <p:nvSpPr>
                  <p:cNvPr id="817" name="Freeform: Shape 816">
                    <a:extLst>
                      <a:ext uri="{FF2B5EF4-FFF2-40B4-BE49-F238E27FC236}">
                        <a16:creationId xmlns:a16="http://schemas.microsoft.com/office/drawing/2014/main" id="{6D01859F-E64F-AF73-0866-9BC07D131FCF}"/>
                      </a:ext>
                    </a:extLst>
                  </p:cNvPr>
                  <p:cNvSpPr/>
                  <p:nvPr userDrawn="1"/>
                </p:nvSpPr>
                <p:spPr>
                  <a:xfrm>
                    <a:off x="8392449" y="4484575"/>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23"/>
                          <a:pt x="0" y="9407"/>
                          <a:pt x="0" y="21037"/>
                        </a:cubicBezTo>
                        <a:close/>
                      </a:path>
                    </a:pathLst>
                  </a:custGeom>
                  <a:solidFill>
                    <a:srgbClr val="B7BDD0"/>
                  </a:solidFill>
                  <a:ln w="2339" cap="flat">
                    <a:noFill/>
                    <a:prstDash val="solid"/>
                    <a:miter/>
                  </a:ln>
                </p:spPr>
                <p:txBody>
                  <a:bodyPr rtlCol="0" anchor="ctr"/>
                  <a:lstStyle/>
                  <a:p>
                    <a:endParaRPr lang="en-US" sz="2400"/>
                  </a:p>
                </p:txBody>
              </p:sp>
              <p:sp>
                <p:nvSpPr>
                  <p:cNvPr id="818" name="Freeform: Shape 817">
                    <a:extLst>
                      <a:ext uri="{FF2B5EF4-FFF2-40B4-BE49-F238E27FC236}">
                        <a16:creationId xmlns:a16="http://schemas.microsoft.com/office/drawing/2014/main" id="{75FBFA9A-8FCD-D9C9-46E3-72D4A4F5AACA}"/>
                      </a:ext>
                    </a:extLst>
                  </p:cNvPr>
                  <p:cNvSpPr/>
                  <p:nvPr userDrawn="1"/>
                </p:nvSpPr>
                <p:spPr>
                  <a:xfrm>
                    <a:off x="8392987" y="4484669"/>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B7BDD0"/>
                  </a:solidFill>
                  <a:ln w="2339" cap="flat">
                    <a:noFill/>
                    <a:prstDash val="solid"/>
                    <a:miter/>
                  </a:ln>
                </p:spPr>
                <p:txBody>
                  <a:bodyPr rtlCol="0" anchor="ctr"/>
                  <a:lstStyle/>
                  <a:p>
                    <a:endParaRPr lang="en-US" sz="2400"/>
                  </a:p>
                </p:txBody>
              </p:sp>
              <p:sp>
                <p:nvSpPr>
                  <p:cNvPr id="819" name="Freeform: Shape 818">
                    <a:extLst>
                      <a:ext uri="{FF2B5EF4-FFF2-40B4-BE49-F238E27FC236}">
                        <a16:creationId xmlns:a16="http://schemas.microsoft.com/office/drawing/2014/main" id="{9E481C85-8E2E-F969-0175-1C3A5D6A5C6A}"/>
                      </a:ext>
                    </a:extLst>
                  </p:cNvPr>
                  <p:cNvSpPr/>
                  <p:nvPr userDrawn="1"/>
                </p:nvSpPr>
                <p:spPr>
                  <a:xfrm>
                    <a:off x="8393549" y="448478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7BED0"/>
                  </a:solidFill>
                  <a:ln w="2339" cap="flat">
                    <a:noFill/>
                    <a:prstDash val="solid"/>
                    <a:miter/>
                  </a:ln>
                </p:spPr>
                <p:txBody>
                  <a:bodyPr rtlCol="0" anchor="ctr"/>
                  <a:lstStyle/>
                  <a:p>
                    <a:endParaRPr lang="en-US" sz="2400"/>
                  </a:p>
                </p:txBody>
              </p:sp>
              <p:sp>
                <p:nvSpPr>
                  <p:cNvPr id="820" name="Freeform: Shape 819">
                    <a:extLst>
                      <a:ext uri="{FF2B5EF4-FFF2-40B4-BE49-F238E27FC236}">
                        <a16:creationId xmlns:a16="http://schemas.microsoft.com/office/drawing/2014/main" id="{8B0188C3-962F-ACA0-337A-FD574CDF28AA}"/>
                      </a:ext>
                    </a:extLst>
                  </p:cNvPr>
                  <p:cNvSpPr/>
                  <p:nvPr userDrawn="1"/>
                </p:nvSpPr>
                <p:spPr>
                  <a:xfrm>
                    <a:off x="8394111" y="4484902"/>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7BED0"/>
                  </a:solidFill>
                  <a:ln w="2339" cap="flat">
                    <a:noFill/>
                    <a:prstDash val="solid"/>
                    <a:miter/>
                  </a:ln>
                </p:spPr>
                <p:txBody>
                  <a:bodyPr rtlCol="0" anchor="ctr"/>
                  <a:lstStyle/>
                  <a:p>
                    <a:endParaRPr lang="en-US" sz="2400"/>
                  </a:p>
                </p:txBody>
              </p:sp>
              <p:sp>
                <p:nvSpPr>
                  <p:cNvPr id="821" name="Freeform: Shape 820">
                    <a:extLst>
                      <a:ext uri="{FF2B5EF4-FFF2-40B4-BE49-F238E27FC236}">
                        <a16:creationId xmlns:a16="http://schemas.microsoft.com/office/drawing/2014/main" id="{E5D30E73-5334-3B26-98D5-822AC06C9907}"/>
                      </a:ext>
                    </a:extLst>
                  </p:cNvPr>
                  <p:cNvSpPr/>
                  <p:nvPr userDrawn="1"/>
                </p:nvSpPr>
                <p:spPr>
                  <a:xfrm>
                    <a:off x="8394672" y="448499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0"/>
                          <a:pt x="0" y="9430"/>
                          <a:pt x="0" y="21037"/>
                        </a:cubicBezTo>
                        <a:close/>
                      </a:path>
                    </a:pathLst>
                  </a:custGeom>
                  <a:solidFill>
                    <a:srgbClr val="B8BED0"/>
                  </a:solidFill>
                  <a:ln w="2339" cap="flat">
                    <a:noFill/>
                    <a:prstDash val="solid"/>
                    <a:miter/>
                  </a:ln>
                </p:spPr>
                <p:txBody>
                  <a:bodyPr rtlCol="0" anchor="ctr"/>
                  <a:lstStyle/>
                  <a:p>
                    <a:endParaRPr lang="en-US" sz="2400"/>
                  </a:p>
                </p:txBody>
              </p:sp>
              <p:sp>
                <p:nvSpPr>
                  <p:cNvPr id="822" name="Freeform: Shape 821">
                    <a:extLst>
                      <a:ext uri="{FF2B5EF4-FFF2-40B4-BE49-F238E27FC236}">
                        <a16:creationId xmlns:a16="http://schemas.microsoft.com/office/drawing/2014/main" id="{8287E318-89EE-BEF5-B3BA-E404BCFCA284}"/>
                      </a:ext>
                    </a:extLst>
                  </p:cNvPr>
                  <p:cNvSpPr/>
                  <p:nvPr userDrawn="1"/>
                </p:nvSpPr>
                <p:spPr>
                  <a:xfrm>
                    <a:off x="8395210" y="4485113"/>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8BED1"/>
                  </a:solidFill>
                  <a:ln w="2339" cap="flat">
                    <a:noFill/>
                    <a:prstDash val="solid"/>
                    <a:miter/>
                  </a:ln>
                </p:spPr>
                <p:txBody>
                  <a:bodyPr rtlCol="0" anchor="ctr"/>
                  <a:lstStyle/>
                  <a:p>
                    <a:endParaRPr lang="en-US" sz="2400"/>
                  </a:p>
                </p:txBody>
              </p:sp>
              <p:sp>
                <p:nvSpPr>
                  <p:cNvPr id="823" name="Freeform: Shape 822">
                    <a:extLst>
                      <a:ext uri="{FF2B5EF4-FFF2-40B4-BE49-F238E27FC236}">
                        <a16:creationId xmlns:a16="http://schemas.microsoft.com/office/drawing/2014/main" id="{F1A7959F-D35D-0294-D045-FF9A344C268C}"/>
                      </a:ext>
                    </a:extLst>
                  </p:cNvPr>
                  <p:cNvSpPr/>
                  <p:nvPr userDrawn="1"/>
                </p:nvSpPr>
                <p:spPr>
                  <a:xfrm>
                    <a:off x="8395772" y="4485230"/>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8BFD1"/>
                  </a:solidFill>
                  <a:ln w="2339" cap="flat">
                    <a:noFill/>
                    <a:prstDash val="solid"/>
                    <a:miter/>
                  </a:ln>
                </p:spPr>
                <p:txBody>
                  <a:bodyPr rtlCol="0" anchor="ctr"/>
                  <a:lstStyle/>
                  <a:p>
                    <a:endParaRPr lang="en-US" sz="2400"/>
                  </a:p>
                </p:txBody>
              </p:sp>
              <p:sp>
                <p:nvSpPr>
                  <p:cNvPr id="824" name="Freeform: Shape 823">
                    <a:extLst>
                      <a:ext uri="{FF2B5EF4-FFF2-40B4-BE49-F238E27FC236}">
                        <a16:creationId xmlns:a16="http://schemas.microsoft.com/office/drawing/2014/main" id="{460FD42E-6EF6-FF8E-6E33-78B02CCFCB1E}"/>
                      </a:ext>
                    </a:extLst>
                  </p:cNvPr>
                  <p:cNvSpPr/>
                  <p:nvPr userDrawn="1"/>
                </p:nvSpPr>
                <p:spPr>
                  <a:xfrm>
                    <a:off x="8396310" y="4485347"/>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9BFD1"/>
                  </a:solidFill>
                  <a:ln w="2339" cap="flat">
                    <a:noFill/>
                    <a:prstDash val="solid"/>
                    <a:miter/>
                  </a:ln>
                </p:spPr>
                <p:txBody>
                  <a:bodyPr rtlCol="0" anchor="ctr"/>
                  <a:lstStyle/>
                  <a:p>
                    <a:endParaRPr lang="en-US" sz="2400"/>
                  </a:p>
                </p:txBody>
              </p:sp>
              <p:sp>
                <p:nvSpPr>
                  <p:cNvPr id="825" name="Freeform: Shape 824">
                    <a:extLst>
                      <a:ext uri="{FF2B5EF4-FFF2-40B4-BE49-F238E27FC236}">
                        <a16:creationId xmlns:a16="http://schemas.microsoft.com/office/drawing/2014/main" id="{C6013E4B-79BA-15D3-4906-D2953694CDB5}"/>
                      </a:ext>
                    </a:extLst>
                  </p:cNvPr>
                  <p:cNvSpPr/>
                  <p:nvPr userDrawn="1"/>
                </p:nvSpPr>
                <p:spPr>
                  <a:xfrm>
                    <a:off x="8396872" y="448546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9BFD1"/>
                  </a:solidFill>
                  <a:ln w="2339" cap="flat">
                    <a:noFill/>
                    <a:prstDash val="solid"/>
                    <a:miter/>
                  </a:ln>
                </p:spPr>
                <p:txBody>
                  <a:bodyPr rtlCol="0" anchor="ctr"/>
                  <a:lstStyle/>
                  <a:p>
                    <a:endParaRPr lang="en-US" sz="2400"/>
                  </a:p>
                </p:txBody>
              </p:sp>
              <p:sp>
                <p:nvSpPr>
                  <p:cNvPr id="826" name="Freeform: Shape 825">
                    <a:extLst>
                      <a:ext uri="{FF2B5EF4-FFF2-40B4-BE49-F238E27FC236}">
                        <a16:creationId xmlns:a16="http://schemas.microsoft.com/office/drawing/2014/main" id="{D9578A16-99DA-BC11-1374-41067FDA3787}"/>
                      </a:ext>
                    </a:extLst>
                  </p:cNvPr>
                  <p:cNvSpPr/>
                  <p:nvPr userDrawn="1"/>
                </p:nvSpPr>
                <p:spPr>
                  <a:xfrm>
                    <a:off x="8397433" y="4485581"/>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23"/>
                          <a:pt x="0" y="9407"/>
                          <a:pt x="0" y="21037"/>
                        </a:cubicBezTo>
                        <a:close/>
                      </a:path>
                    </a:pathLst>
                  </a:custGeom>
                  <a:solidFill>
                    <a:srgbClr val="B9C0D1"/>
                  </a:solidFill>
                  <a:ln w="2339" cap="flat">
                    <a:noFill/>
                    <a:prstDash val="solid"/>
                    <a:miter/>
                  </a:ln>
                </p:spPr>
                <p:txBody>
                  <a:bodyPr rtlCol="0" anchor="ctr"/>
                  <a:lstStyle/>
                  <a:p>
                    <a:endParaRPr lang="en-US" sz="2400"/>
                  </a:p>
                </p:txBody>
              </p:sp>
              <p:sp>
                <p:nvSpPr>
                  <p:cNvPr id="827" name="Freeform: Shape 826">
                    <a:extLst>
                      <a:ext uri="{FF2B5EF4-FFF2-40B4-BE49-F238E27FC236}">
                        <a16:creationId xmlns:a16="http://schemas.microsoft.com/office/drawing/2014/main" id="{6E551B56-094C-D344-905D-403FC9DD1F37}"/>
                      </a:ext>
                    </a:extLst>
                  </p:cNvPr>
                  <p:cNvSpPr/>
                  <p:nvPr userDrawn="1"/>
                </p:nvSpPr>
                <p:spPr>
                  <a:xfrm>
                    <a:off x="8397972" y="4485698"/>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AC0D2"/>
                  </a:solidFill>
                  <a:ln w="2339" cap="flat">
                    <a:noFill/>
                    <a:prstDash val="solid"/>
                    <a:miter/>
                  </a:ln>
                </p:spPr>
                <p:txBody>
                  <a:bodyPr rtlCol="0" anchor="ctr"/>
                  <a:lstStyle/>
                  <a:p>
                    <a:endParaRPr lang="en-US" sz="2400"/>
                  </a:p>
                </p:txBody>
              </p:sp>
              <p:sp>
                <p:nvSpPr>
                  <p:cNvPr id="828" name="Freeform: Shape 827">
                    <a:extLst>
                      <a:ext uri="{FF2B5EF4-FFF2-40B4-BE49-F238E27FC236}">
                        <a16:creationId xmlns:a16="http://schemas.microsoft.com/office/drawing/2014/main" id="{CA3A2033-581F-3E22-AE3C-F9B2125FAC1C}"/>
                      </a:ext>
                    </a:extLst>
                  </p:cNvPr>
                  <p:cNvSpPr/>
                  <p:nvPr userDrawn="1"/>
                </p:nvSpPr>
                <p:spPr>
                  <a:xfrm>
                    <a:off x="8398510" y="4485815"/>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AC0D2"/>
                  </a:solidFill>
                  <a:ln w="2339" cap="flat">
                    <a:noFill/>
                    <a:prstDash val="solid"/>
                    <a:miter/>
                  </a:ln>
                </p:spPr>
                <p:txBody>
                  <a:bodyPr rtlCol="0" anchor="ctr"/>
                  <a:lstStyle/>
                  <a:p>
                    <a:endParaRPr lang="en-US" sz="2400"/>
                  </a:p>
                </p:txBody>
              </p:sp>
              <p:sp>
                <p:nvSpPr>
                  <p:cNvPr id="829" name="Freeform: Shape 828">
                    <a:extLst>
                      <a:ext uri="{FF2B5EF4-FFF2-40B4-BE49-F238E27FC236}">
                        <a16:creationId xmlns:a16="http://schemas.microsoft.com/office/drawing/2014/main" id="{157CAD30-32CB-104C-4B5E-8B76B2BABEF2}"/>
                      </a:ext>
                    </a:extLst>
                  </p:cNvPr>
                  <p:cNvSpPr/>
                  <p:nvPr userDrawn="1"/>
                </p:nvSpPr>
                <p:spPr>
                  <a:xfrm>
                    <a:off x="8399071" y="4485932"/>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AC0D2"/>
                  </a:solidFill>
                  <a:ln w="2339" cap="flat">
                    <a:noFill/>
                    <a:prstDash val="solid"/>
                    <a:miter/>
                  </a:ln>
                </p:spPr>
                <p:txBody>
                  <a:bodyPr rtlCol="0" anchor="ctr"/>
                  <a:lstStyle/>
                  <a:p>
                    <a:endParaRPr lang="en-US" sz="2400"/>
                  </a:p>
                </p:txBody>
              </p:sp>
              <p:sp>
                <p:nvSpPr>
                  <p:cNvPr id="830" name="Freeform: Shape 829">
                    <a:extLst>
                      <a:ext uri="{FF2B5EF4-FFF2-40B4-BE49-F238E27FC236}">
                        <a16:creationId xmlns:a16="http://schemas.microsoft.com/office/drawing/2014/main" id="{A70FFF44-4A6C-4BBE-5319-C65E941BCB1C}"/>
                      </a:ext>
                    </a:extLst>
                  </p:cNvPr>
                  <p:cNvSpPr/>
                  <p:nvPr userDrawn="1"/>
                </p:nvSpPr>
                <p:spPr>
                  <a:xfrm>
                    <a:off x="8399610" y="4486049"/>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AC1D2"/>
                  </a:solidFill>
                  <a:ln w="2339" cap="flat">
                    <a:noFill/>
                    <a:prstDash val="solid"/>
                    <a:miter/>
                  </a:ln>
                </p:spPr>
                <p:txBody>
                  <a:bodyPr rtlCol="0" anchor="ctr"/>
                  <a:lstStyle/>
                  <a:p>
                    <a:endParaRPr lang="en-US" sz="2400"/>
                  </a:p>
                </p:txBody>
              </p:sp>
              <p:sp>
                <p:nvSpPr>
                  <p:cNvPr id="831" name="Freeform: Shape 830">
                    <a:extLst>
                      <a:ext uri="{FF2B5EF4-FFF2-40B4-BE49-F238E27FC236}">
                        <a16:creationId xmlns:a16="http://schemas.microsoft.com/office/drawing/2014/main" id="{5FE05EE7-8A3D-7BCA-384A-24FEF10B894C}"/>
                      </a:ext>
                    </a:extLst>
                  </p:cNvPr>
                  <p:cNvSpPr/>
                  <p:nvPr userDrawn="1"/>
                </p:nvSpPr>
                <p:spPr>
                  <a:xfrm>
                    <a:off x="8400171" y="448616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0"/>
                          <a:pt x="0" y="9430"/>
                          <a:pt x="0" y="21037"/>
                        </a:cubicBezTo>
                        <a:close/>
                      </a:path>
                    </a:pathLst>
                  </a:custGeom>
                  <a:solidFill>
                    <a:srgbClr val="BBC1D2"/>
                  </a:solidFill>
                  <a:ln w="2339" cap="flat">
                    <a:noFill/>
                    <a:prstDash val="solid"/>
                    <a:miter/>
                  </a:ln>
                </p:spPr>
                <p:txBody>
                  <a:bodyPr rtlCol="0" anchor="ctr"/>
                  <a:lstStyle/>
                  <a:p>
                    <a:endParaRPr lang="en-US" sz="2400"/>
                  </a:p>
                </p:txBody>
              </p:sp>
              <p:sp>
                <p:nvSpPr>
                  <p:cNvPr id="832" name="Freeform: Shape 831">
                    <a:extLst>
                      <a:ext uri="{FF2B5EF4-FFF2-40B4-BE49-F238E27FC236}">
                        <a16:creationId xmlns:a16="http://schemas.microsoft.com/office/drawing/2014/main" id="{C19DA6E9-56D2-ADD2-8EC5-59C957A75399}"/>
                      </a:ext>
                    </a:extLst>
                  </p:cNvPr>
                  <p:cNvSpPr/>
                  <p:nvPr userDrawn="1"/>
                </p:nvSpPr>
                <p:spPr>
                  <a:xfrm>
                    <a:off x="8400710" y="448630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BC1D3"/>
                  </a:solidFill>
                  <a:ln w="2339" cap="flat">
                    <a:noFill/>
                    <a:prstDash val="solid"/>
                    <a:miter/>
                  </a:ln>
                </p:spPr>
                <p:txBody>
                  <a:bodyPr rtlCol="0" anchor="ctr"/>
                  <a:lstStyle/>
                  <a:p>
                    <a:endParaRPr lang="en-US" sz="2400"/>
                  </a:p>
                </p:txBody>
              </p:sp>
              <p:sp>
                <p:nvSpPr>
                  <p:cNvPr id="833" name="Freeform: Shape 832">
                    <a:extLst>
                      <a:ext uri="{FF2B5EF4-FFF2-40B4-BE49-F238E27FC236}">
                        <a16:creationId xmlns:a16="http://schemas.microsoft.com/office/drawing/2014/main" id="{048E643D-BB9A-CDE9-5AED-39BB7B61873B}"/>
                      </a:ext>
                    </a:extLst>
                  </p:cNvPr>
                  <p:cNvSpPr/>
                  <p:nvPr userDrawn="1"/>
                </p:nvSpPr>
                <p:spPr>
                  <a:xfrm>
                    <a:off x="8401248" y="448642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BC1D3"/>
                  </a:solidFill>
                  <a:ln w="2339" cap="flat">
                    <a:noFill/>
                    <a:prstDash val="solid"/>
                    <a:miter/>
                  </a:ln>
                </p:spPr>
                <p:txBody>
                  <a:bodyPr rtlCol="0" anchor="ctr"/>
                  <a:lstStyle/>
                  <a:p>
                    <a:endParaRPr lang="en-US" sz="2400"/>
                  </a:p>
                </p:txBody>
              </p:sp>
              <p:sp>
                <p:nvSpPr>
                  <p:cNvPr id="834" name="Freeform: Shape 833">
                    <a:extLst>
                      <a:ext uri="{FF2B5EF4-FFF2-40B4-BE49-F238E27FC236}">
                        <a16:creationId xmlns:a16="http://schemas.microsoft.com/office/drawing/2014/main" id="{5EFF1AA5-6A9E-124C-55FA-090BD2D8A595}"/>
                      </a:ext>
                    </a:extLst>
                  </p:cNvPr>
                  <p:cNvSpPr/>
                  <p:nvPr userDrawn="1"/>
                </p:nvSpPr>
                <p:spPr>
                  <a:xfrm>
                    <a:off x="8401809" y="4486541"/>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0"/>
                          <a:pt x="0" y="9430"/>
                          <a:pt x="0" y="21037"/>
                        </a:cubicBezTo>
                        <a:close/>
                      </a:path>
                    </a:pathLst>
                  </a:custGeom>
                  <a:solidFill>
                    <a:srgbClr val="BCC2D3"/>
                  </a:solidFill>
                  <a:ln w="2339" cap="flat">
                    <a:noFill/>
                    <a:prstDash val="solid"/>
                    <a:miter/>
                  </a:ln>
                </p:spPr>
                <p:txBody>
                  <a:bodyPr rtlCol="0" anchor="ctr"/>
                  <a:lstStyle/>
                  <a:p>
                    <a:endParaRPr lang="en-US" sz="2400"/>
                  </a:p>
                </p:txBody>
              </p:sp>
              <p:sp>
                <p:nvSpPr>
                  <p:cNvPr id="835" name="Freeform: Shape 834">
                    <a:extLst>
                      <a:ext uri="{FF2B5EF4-FFF2-40B4-BE49-F238E27FC236}">
                        <a16:creationId xmlns:a16="http://schemas.microsoft.com/office/drawing/2014/main" id="{2057DB7E-882D-C15C-C85F-CEE8953764F3}"/>
                      </a:ext>
                    </a:extLst>
                  </p:cNvPr>
                  <p:cNvSpPr/>
                  <p:nvPr userDrawn="1"/>
                </p:nvSpPr>
                <p:spPr>
                  <a:xfrm>
                    <a:off x="8402348" y="4486681"/>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23"/>
                          <a:pt x="0" y="9407"/>
                          <a:pt x="0" y="21037"/>
                        </a:cubicBezTo>
                        <a:close/>
                      </a:path>
                    </a:pathLst>
                  </a:custGeom>
                  <a:solidFill>
                    <a:srgbClr val="BCC2D3"/>
                  </a:solidFill>
                  <a:ln w="2339" cap="flat">
                    <a:noFill/>
                    <a:prstDash val="solid"/>
                    <a:miter/>
                  </a:ln>
                </p:spPr>
                <p:txBody>
                  <a:bodyPr rtlCol="0" anchor="ctr"/>
                  <a:lstStyle/>
                  <a:p>
                    <a:endParaRPr lang="en-US" sz="2400"/>
                  </a:p>
                </p:txBody>
              </p:sp>
              <p:sp>
                <p:nvSpPr>
                  <p:cNvPr id="836" name="Freeform: Shape 835">
                    <a:extLst>
                      <a:ext uri="{FF2B5EF4-FFF2-40B4-BE49-F238E27FC236}">
                        <a16:creationId xmlns:a16="http://schemas.microsoft.com/office/drawing/2014/main" id="{0F9BA9CF-E824-4367-83F9-06F26B4B5A21}"/>
                      </a:ext>
                    </a:extLst>
                  </p:cNvPr>
                  <p:cNvSpPr/>
                  <p:nvPr userDrawn="1"/>
                </p:nvSpPr>
                <p:spPr>
                  <a:xfrm>
                    <a:off x="8402886" y="4486798"/>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CC2D3"/>
                  </a:solidFill>
                  <a:ln w="2339" cap="flat">
                    <a:noFill/>
                    <a:prstDash val="solid"/>
                    <a:miter/>
                  </a:ln>
                </p:spPr>
                <p:txBody>
                  <a:bodyPr rtlCol="0" anchor="ctr"/>
                  <a:lstStyle/>
                  <a:p>
                    <a:endParaRPr lang="en-US" sz="2400"/>
                  </a:p>
                </p:txBody>
              </p:sp>
              <p:sp>
                <p:nvSpPr>
                  <p:cNvPr id="837" name="Freeform: Shape 836">
                    <a:extLst>
                      <a:ext uri="{FF2B5EF4-FFF2-40B4-BE49-F238E27FC236}">
                        <a16:creationId xmlns:a16="http://schemas.microsoft.com/office/drawing/2014/main" id="{8AFD96C4-B6D8-DB12-BE1E-9F57749702DC}"/>
                      </a:ext>
                    </a:extLst>
                  </p:cNvPr>
                  <p:cNvSpPr/>
                  <p:nvPr userDrawn="1"/>
                </p:nvSpPr>
                <p:spPr>
                  <a:xfrm>
                    <a:off x="8403424" y="4486938"/>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DC3D4"/>
                  </a:solidFill>
                  <a:ln w="2339" cap="flat">
                    <a:noFill/>
                    <a:prstDash val="solid"/>
                    <a:miter/>
                  </a:ln>
                </p:spPr>
                <p:txBody>
                  <a:bodyPr rtlCol="0" anchor="ctr"/>
                  <a:lstStyle/>
                  <a:p>
                    <a:endParaRPr lang="en-US" sz="2400"/>
                  </a:p>
                </p:txBody>
              </p:sp>
              <p:sp>
                <p:nvSpPr>
                  <p:cNvPr id="838" name="Freeform: Shape 837">
                    <a:extLst>
                      <a:ext uri="{FF2B5EF4-FFF2-40B4-BE49-F238E27FC236}">
                        <a16:creationId xmlns:a16="http://schemas.microsoft.com/office/drawing/2014/main" id="{3EE365E8-4802-CC0F-F5C7-9A1D5F7C9F5E}"/>
                      </a:ext>
                    </a:extLst>
                  </p:cNvPr>
                  <p:cNvSpPr/>
                  <p:nvPr userDrawn="1"/>
                </p:nvSpPr>
                <p:spPr>
                  <a:xfrm>
                    <a:off x="8403962" y="4487055"/>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BDC3D4"/>
                  </a:solidFill>
                  <a:ln w="2339" cap="flat">
                    <a:noFill/>
                    <a:prstDash val="solid"/>
                    <a:miter/>
                  </a:ln>
                </p:spPr>
                <p:txBody>
                  <a:bodyPr rtlCol="0" anchor="ctr"/>
                  <a:lstStyle/>
                  <a:p>
                    <a:endParaRPr lang="en-US" sz="2400"/>
                  </a:p>
                </p:txBody>
              </p:sp>
              <p:sp>
                <p:nvSpPr>
                  <p:cNvPr id="839" name="Freeform: Shape 838">
                    <a:extLst>
                      <a:ext uri="{FF2B5EF4-FFF2-40B4-BE49-F238E27FC236}">
                        <a16:creationId xmlns:a16="http://schemas.microsoft.com/office/drawing/2014/main" id="{5910B7F1-5ED5-C08F-C038-202B397650B9}"/>
                      </a:ext>
                    </a:extLst>
                  </p:cNvPr>
                  <p:cNvSpPr/>
                  <p:nvPr userDrawn="1"/>
                </p:nvSpPr>
                <p:spPr>
                  <a:xfrm>
                    <a:off x="8404500" y="448719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DC3D4"/>
                  </a:solidFill>
                  <a:ln w="2339" cap="flat">
                    <a:noFill/>
                    <a:prstDash val="solid"/>
                    <a:miter/>
                  </a:ln>
                </p:spPr>
                <p:txBody>
                  <a:bodyPr rtlCol="0" anchor="ctr"/>
                  <a:lstStyle/>
                  <a:p>
                    <a:endParaRPr lang="en-US" sz="2400"/>
                  </a:p>
                </p:txBody>
              </p:sp>
              <p:sp>
                <p:nvSpPr>
                  <p:cNvPr id="840" name="Freeform: Shape 839">
                    <a:extLst>
                      <a:ext uri="{FF2B5EF4-FFF2-40B4-BE49-F238E27FC236}">
                        <a16:creationId xmlns:a16="http://schemas.microsoft.com/office/drawing/2014/main" id="{8D799E99-DA44-405A-1171-AC3A15E35F72}"/>
                      </a:ext>
                    </a:extLst>
                  </p:cNvPr>
                  <p:cNvSpPr/>
                  <p:nvPr userDrawn="1"/>
                </p:nvSpPr>
                <p:spPr>
                  <a:xfrm>
                    <a:off x="8405039" y="448733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EC3D4"/>
                  </a:solidFill>
                  <a:ln w="2339" cap="flat">
                    <a:noFill/>
                    <a:prstDash val="solid"/>
                    <a:miter/>
                  </a:ln>
                </p:spPr>
                <p:txBody>
                  <a:bodyPr rtlCol="0" anchor="ctr"/>
                  <a:lstStyle/>
                  <a:p>
                    <a:endParaRPr lang="en-US" sz="2400"/>
                  </a:p>
                </p:txBody>
              </p:sp>
              <p:sp>
                <p:nvSpPr>
                  <p:cNvPr id="841" name="Freeform: Shape 840">
                    <a:extLst>
                      <a:ext uri="{FF2B5EF4-FFF2-40B4-BE49-F238E27FC236}">
                        <a16:creationId xmlns:a16="http://schemas.microsoft.com/office/drawing/2014/main" id="{9256EC53-9C03-7590-A50A-6E8B2A0E72E5}"/>
                      </a:ext>
                    </a:extLst>
                  </p:cNvPr>
                  <p:cNvSpPr/>
                  <p:nvPr userDrawn="1"/>
                </p:nvSpPr>
                <p:spPr>
                  <a:xfrm>
                    <a:off x="8405577" y="4487453"/>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BEC4D4"/>
                  </a:solidFill>
                  <a:ln w="2339" cap="flat">
                    <a:noFill/>
                    <a:prstDash val="solid"/>
                    <a:miter/>
                  </a:ln>
                </p:spPr>
                <p:txBody>
                  <a:bodyPr rtlCol="0" anchor="ctr"/>
                  <a:lstStyle/>
                  <a:p>
                    <a:endParaRPr lang="en-US" sz="2400"/>
                  </a:p>
                </p:txBody>
              </p:sp>
              <p:sp>
                <p:nvSpPr>
                  <p:cNvPr id="842" name="Freeform: Shape 841">
                    <a:extLst>
                      <a:ext uri="{FF2B5EF4-FFF2-40B4-BE49-F238E27FC236}">
                        <a16:creationId xmlns:a16="http://schemas.microsoft.com/office/drawing/2014/main" id="{F11D2210-2940-CBBE-0031-25FF37698592}"/>
                      </a:ext>
                    </a:extLst>
                  </p:cNvPr>
                  <p:cNvSpPr/>
                  <p:nvPr userDrawn="1"/>
                </p:nvSpPr>
                <p:spPr>
                  <a:xfrm>
                    <a:off x="8406115" y="448759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EC4D5"/>
                  </a:solidFill>
                  <a:ln w="2339" cap="flat">
                    <a:noFill/>
                    <a:prstDash val="solid"/>
                    <a:miter/>
                  </a:ln>
                </p:spPr>
                <p:txBody>
                  <a:bodyPr rtlCol="0" anchor="ctr"/>
                  <a:lstStyle/>
                  <a:p>
                    <a:endParaRPr lang="en-US" sz="2400"/>
                  </a:p>
                </p:txBody>
              </p:sp>
              <p:sp>
                <p:nvSpPr>
                  <p:cNvPr id="843" name="Freeform: Shape 842">
                    <a:extLst>
                      <a:ext uri="{FF2B5EF4-FFF2-40B4-BE49-F238E27FC236}">
                        <a16:creationId xmlns:a16="http://schemas.microsoft.com/office/drawing/2014/main" id="{F5AB854B-BCB3-A8AE-A500-7795B30DEEF6}"/>
                      </a:ext>
                    </a:extLst>
                  </p:cNvPr>
                  <p:cNvSpPr/>
                  <p:nvPr userDrawn="1"/>
                </p:nvSpPr>
                <p:spPr>
                  <a:xfrm>
                    <a:off x="8406653" y="448773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EC4D5"/>
                  </a:solidFill>
                  <a:ln w="2339" cap="flat">
                    <a:noFill/>
                    <a:prstDash val="solid"/>
                    <a:miter/>
                  </a:ln>
                </p:spPr>
                <p:txBody>
                  <a:bodyPr rtlCol="0" anchor="ctr"/>
                  <a:lstStyle/>
                  <a:p>
                    <a:endParaRPr lang="en-US" sz="2400"/>
                  </a:p>
                </p:txBody>
              </p:sp>
              <p:sp>
                <p:nvSpPr>
                  <p:cNvPr id="844" name="Freeform: Shape 843">
                    <a:extLst>
                      <a:ext uri="{FF2B5EF4-FFF2-40B4-BE49-F238E27FC236}">
                        <a16:creationId xmlns:a16="http://schemas.microsoft.com/office/drawing/2014/main" id="{C0B303FC-B5CA-D754-7899-EBBABFFC5ED0}"/>
                      </a:ext>
                    </a:extLst>
                  </p:cNvPr>
                  <p:cNvSpPr/>
                  <p:nvPr userDrawn="1"/>
                </p:nvSpPr>
                <p:spPr>
                  <a:xfrm>
                    <a:off x="8407191" y="448787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FC5D5"/>
                  </a:solidFill>
                  <a:ln w="2339" cap="flat">
                    <a:noFill/>
                    <a:prstDash val="solid"/>
                    <a:miter/>
                  </a:ln>
                </p:spPr>
                <p:txBody>
                  <a:bodyPr rtlCol="0" anchor="ctr"/>
                  <a:lstStyle/>
                  <a:p>
                    <a:endParaRPr lang="en-US" sz="2400"/>
                  </a:p>
                </p:txBody>
              </p:sp>
              <p:sp>
                <p:nvSpPr>
                  <p:cNvPr id="845" name="Freeform: Shape 844">
                    <a:extLst>
                      <a:ext uri="{FF2B5EF4-FFF2-40B4-BE49-F238E27FC236}">
                        <a16:creationId xmlns:a16="http://schemas.microsoft.com/office/drawing/2014/main" id="{3BB9BC76-6BEC-4A52-201B-57F6B080E13F}"/>
                      </a:ext>
                    </a:extLst>
                  </p:cNvPr>
                  <p:cNvSpPr/>
                  <p:nvPr userDrawn="1"/>
                </p:nvSpPr>
                <p:spPr>
                  <a:xfrm>
                    <a:off x="8407730" y="4488015"/>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FC5D5"/>
                  </a:solidFill>
                  <a:ln w="2339" cap="flat">
                    <a:noFill/>
                    <a:prstDash val="solid"/>
                    <a:miter/>
                  </a:ln>
                </p:spPr>
                <p:txBody>
                  <a:bodyPr rtlCol="0" anchor="ctr"/>
                  <a:lstStyle/>
                  <a:p>
                    <a:endParaRPr lang="en-US" sz="2400"/>
                  </a:p>
                </p:txBody>
              </p:sp>
              <p:sp>
                <p:nvSpPr>
                  <p:cNvPr id="846" name="Freeform: Shape 845">
                    <a:extLst>
                      <a:ext uri="{FF2B5EF4-FFF2-40B4-BE49-F238E27FC236}">
                        <a16:creationId xmlns:a16="http://schemas.microsoft.com/office/drawing/2014/main" id="{659083FE-EB8F-7C25-C6C8-B429E530F2FF}"/>
                      </a:ext>
                    </a:extLst>
                  </p:cNvPr>
                  <p:cNvSpPr/>
                  <p:nvPr userDrawn="1"/>
                </p:nvSpPr>
                <p:spPr>
                  <a:xfrm>
                    <a:off x="8408268" y="4488155"/>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23"/>
                          <a:pt x="0" y="9407"/>
                          <a:pt x="0" y="21037"/>
                        </a:cubicBezTo>
                        <a:close/>
                      </a:path>
                    </a:pathLst>
                  </a:custGeom>
                  <a:solidFill>
                    <a:srgbClr val="BFC5D5"/>
                  </a:solidFill>
                  <a:ln w="2339" cap="flat">
                    <a:noFill/>
                    <a:prstDash val="solid"/>
                    <a:miter/>
                  </a:ln>
                </p:spPr>
                <p:txBody>
                  <a:bodyPr rtlCol="0" anchor="ctr"/>
                  <a:lstStyle/>
                  <a:p>
                    <a:endParaRPr lang="en-US" sz="2400"/>
                  </a:p>
                </p:txBody>
              </p:sp>
              <p:sp>
                <p:nvSpPr>
                  <p:cNvPr id="847" name="Freeform: Shape 846">
                    <a:extLst>
                      <a:ext uri="{FF2B5EF4-FFF2-40B4-BE49-F238E27FC236}">
                        <a16:creationId xmlns:a16="http://schemas.microsoft.com/office/drawing/2014/main" id="{EA6B1AEA-70F1-FEB4-8EBE-C5D903A79D1F}"/>
                      </a:ext>
                    </a:extLst>
                  </p:cNvPr>
                  <p:cNvSpPr/>
                  <p:nvPr userDrawn="1"/>
                </p:nvSpPr>
                <p:spPr>
                  <a:xfrm>
                    <a:off x="8408783" y="448829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C0C5D6"/>
                  </a:solidFill>
                  <a:ln w="2339" cap="flat">
                    <a:noFill/>
                    <a:prstDash val="solid"/>
                    <a:miter/>
                  </a:ln>
                </p:spPr>
                <p:txBody>
                  <a:bodyPr rtlCol="0" anchor="ctr"/>
                  <a:lstStyle/>
                  <a:p>
                    <a:endParaRPr lang="en-US" sz="2400"/>
                  </a:p>
                </p:txBody>
              </p:sp>
              <p:sp>
                <p:nvSpPr>
                  <p:cNvPr id="848" name="Freeform: Shape 847">
                    <a:extLst>
                      <a:ext uri="{FF2B5EF4-FFF2-40B4-BE49-F238E27FC236}">
                        <a16:creationId xmlns:a16="http://schemas.microsoft.com/office/drawing/2014/main" id="{0A1764A2-D464-6BE7-3553-9C9FF80D9878}"/>
                      </a:ext>
                    </a:extLst>
                  </p:cNvPr>
                  <p:cNvSpPr/>
                  <p:nvPr userDrawn="1"/>
                </p:nvSpPr>
                <p:spPr>
                  <a:xfrm>
                    <a:off x="8409321" y="448843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C0C6D6"/>
                  </a:solidFill>
                  <a:ln w="2339" cap="flat">
                    <a:noFill/>
                    <a:prstDash val="solid"/>
                    <a:miter/>
                  </a:ln>
                </p:spPr>
                <p:txBody>
                  <a:bodyPr rtlCol="0" anchor="ctr"/>
                  <a:lstStyle/>
                  <a:p>
                    <a:endParaRPr lang="en-US" sz="2400"/>
                  </a:p>
                </p:txBody>
              </p:sp>
              <p:sp>
                <p:nvSpPr>
                  <p:cNvPr id="849" name="Freeform: Shape 848">
                    <a:extLst>
                      <a:ext uri="{FF2B5EF4-FFF2-40B4-BE49-F238E27FC236}">
                        <a16:creationId xmlns:a16="http://schemas.microsoft.com/office/drawing/2014/main" id="{DDA6F555-DED0-B628-C531-2946B2081C9E}"/>
                      </a:ext>
                    </a:extLst>
                  </p:cNvPr>
                  <p:cNvSpPr/>
                  <p:nvPr userDrawn="1"/>
                </p:nvSpPr>
                <p:spPr>
                  <a:xfrm>
                    <a:off x="8409859" y="448857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23"/>
                          <a:pt x="0" y="9407"/>
                          <a:pt x="0" y="21037"/>
                        </a:cubicBezTo>
                        <a:close/>
                      </a:path>
                    </a:pathLst>
                  </a:custGeom>
                  <a:solidFill>
                    <a:srgbClr val="C0C6D6"/>
                  </a:solidFill>
                  <a:ln w="2339" cap="flat">
                    <a:noFill/>
                    <a:prstDash val="solid"/>
                    <a:miter/>
                  </a:ln>
                </p:spPr>
                <p:txBody>
                  <a:bodyPr rtlCol="0" anchor="ctr"/>
                  <a:lstStyle/>
                  <a:p>
                    <a:endParaRPr lang="en-US" sz="2400"/>
                  </a:p>
                </p:txBody>
              </p:sp>
              <p:sp>
                <p:nvSpPr>
                  <p:cNvPr id="850" name="Freeform: Shape 849">
                    <a:extLst>
                      <a:ext uri="{FF2B5EF4-FFF2-40B4-BE49-F238E27FC236}">
                        <a16:creationId xmlns:a16="http://schemas.microsoft.com/office/drawing/2014/main" id="{22276E79-7A3A-FB21-11ED-C4FFC1CD16AF}"/>
                      </a:ext>
                    </a:extLst>
                  </p:cNvPr>
                  <p:cNvSpPr/>
                  <p:nvPr userDrawn="1"/>
                </p:nvSpPr>
                <p:spPr>
                  <a:xfrm>
                    <a:off x="8410374" y="4488717"/>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C1C6D6"/>
                  </a:solidFill>
                  <a:ln w="2339" cap="flat">
                    <a:noFill/>
                    <a:prstDash val="solid"/>
                    <a:miter/>
                  </a:ln>
                </p:spPr>
                <p:txBody>
                  <a:bodyPr rtlCol="0" anchor="ctr"/>
                  <a:lstStyle/>
                  <a:p>
                    <a:endParaRPr lang="en-US" sz="2400"/>
                  </a:p>
                </p:txBody>
              </p:sp>
              <p:sp>
                <p:nvSpPr>
                  <p:cNvPr id="851" name="Freeform: Shape 850">
                    <a:extLst>
                      <a:ext uri="{FF2B5EF4-FFF2-40B4-BE49-F238E27FC236}">
                        <a16:creationId xmlns:a16="http://schemas.microsoft.com/office/drawing/2014/main" id="{04654498-BC42-A1F2-7BE0-5F028B4B9443}"/>
                      </a:ext>
                    </a:extLst>
                  </p:cNvPr>
                  <p:cNvSpPr/>
                  <p:nvPr userDrawn="1"/>
                </p:nvSpPr>
                <p:spPr>
                  <a:xfrm>
                    <a:off x="8410912" y="4488857"/>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C1C6D6"/>
                  </a:solidFill>
                  <a:ln w="2339" cap="flat">
                    <a:noFill/>
                    <a:prstDash val="solid"/>
                    <a:miter/>
                  </a:ln>
                </p:spPr>
                <p:txBody>
                  <a:bodyPr rtlCol="0" anchor="ctr"/>
                  <a:lstStyle/>
                  <a:p>
                    <a:endParaRPr lang="en-US" sz="2400"/>
                  </a:p>
                </p:txBody>
              </p:sp>
              <p:sp>
                <p:nvSpPr>
                  <p:cNvPr id="852" name="Freeform: Shape 851">
                    <a:extLst>
                      <a:ext uri="{FF2B5EF4-FFF2-40B4-BE49-F238E27FC236}">
                        <a16:creationId xmlns:a16="http://schemas.microsoft.com/office/drawing/2014/main" id="{958F8095-7DA7-E28C-4882-5F8EE281F5CE}"/>
                      </a:ext>
                    </a:extLst>
                  </p:cNvPr>
                  <p:cNvSpPr/>
                  <p:nvPr userDrawn="1"/>
                </p:nvSpPr>
                <p:spPr>
                  <a:xfrm>
                    <a:off x="8411427" y="4489021"/>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C1C7D7"/>
                  </a:solidFill>
                  <a:ln w="2339" cap="flat">
                    <a:noFill/>
                    <a:prstDash val="solid"/>
                    <a:miter/>
                  </a:ln>
                </p:spPr>
                <p:txBody>
                  <a:bodyPr rtlCol="0" anchor="ctr"/>
                  <a:lstStyle/>
                  <a:p>
                    <a:endParaRPr lang="en-US" sz="2400"/>
                  </a:p>
                </p:txBody>
              </p:sp>
              <p:sp>
                <p:nvSpPr>
                  <p:cNvPr id="853" name="Freeform: Shape 852">
                    <a:extLst>
                      <a:ext uri="{FF2B5EF4-FFF2-40B4-BE49-F238E27FC236}">
                        <a16:creationId xmlns:a16="http://schemas.microsoft.com/office/drawing/2014/main" id="{9786332B-9271-F134-7006-2F9A26F44F5E}"/>
                      </a:ext>
                    </a:extLst>
                  </p:cNvPr>
                  <p:cNvSpPr/>
                  <p:nvPr userDrawn="1"/>
                </p:nvSpPr>
                <p:spPr>
                  <a:xfrm>
                    <a:off x="8411965" y="4489161"/>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C2C7D7"/>
                  </a:solidFill>
                  <a:ln w="2339" cap="flat">
                    <a:noFill/>
                    <a:prstDash val="solid"/>
                    <a:miter/>
                  </a:ln>
                </p:spPr>
                <p:txBody>
                  <a:bodyPr rtlCol="0" anchor="ctr"/>
                  <a:lstStyle/>
                  <a:p>
                    <a:endParaRPr lang="en-US" sz="2400"/>
                  </a:p>
                </p:txBody>
              </p:sp>
              <p:sp>
                <p:nvSpPr>
                  <p:cNvPr id="854" name="Freeform: Shape 853">
                    <a:extLst>
                      <a:ext uri="{FF2B5EF4-FFF2-40B4-BE49-F238E27FC236}">
                        <a16:creationId xmlns:a16="http://schemas.microsoft.com/office/drawing/2014/main" id="{4BF7D09D-3D14-A4F6-FE82-7020366617E4}"/>
                      </a:ext>
                    </a:extLst>
                  </p:cNvPr>
                  <p:cNvSpPr/>
                  <p:nvPr userDrawn="1"/>
                </p:nvSpPr>
                <p:spPr>
                  <a:xfrm>
                    <a:off x="8412480" y="4489302"/>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C2C7D7"/>
                  </a:solidFill>
                  <a:ln w="2339" cap="flat">
                    <a:noFill/>
                    <a:prstDash val="solid"/>
                    <a:miter/>
                  </a:ln>
                </p:spPr>
                <p:txBody>
                  <a:bodyPr rtlCol="0" anchor="ctr"/>
                  <a:lstStyle/>
                  <a:p>
                    <a:endParaRPr lang="en-US" sz="2400"/>
                  </a:p>
                </p:txBody>
              </p:sp>
              <p:sp>
                <p:nvSpPr>
                  <p:cNvPr id="855" name="Freeform: Shape 854">
                    <a:extLst>
                      <a:ext uri="{FF2B5EF4-FFF2-40B4-BE49-F238E27FC236}">
                        <a16:creationId xmlns:a16="http://schemas.microsoft.com/office/drawing/2014/main" id="{4B591B4B-BF6E-5804-EA83-FC7029A39165}"/>
                      </a:ext>
                    </a:extLst>
                  </p:cNvPr>
                  <p:cNvSpPr/>
                  <p:nvPr userDrawn="1"/>
                </p:nvSpPr>
                <p:spPr>
                  <a:xfrm>
                    <a:off x="8413018" y="448946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23"/>
                          <a:pt x="0" y="9407"/>
                          <a:pt x="0" y="21037"/>
                        </a:cubicBezTo>
                        <a:close/>
                      </a:path>
                    </a:pathLst>
                  </a:custGeom>
                  <a:solidFill>
                    <a:srgbClr val="C2C8D7"/>
                  </a:solidFill>
                  <a:ln w="2339" cap="flat">
                    <a:noFill/>
                    <a:prstDash val="solid"/>
                    <a:miter/>
                  </a:ln>
                </p:spPr>
                <p:txBody>
                  <a:bodyPr rtlCol="0" anchor="ctr"/>
                  <a:lstStyle/>
                  <a:p>
                    <a:endParaRPr lang="en-US" sz="2400"/>
                  </a:p>
                </p:txBody>
              </p:sp>
              <p:sp>
                <p:nvSpPr>
                  <p:cNvPr id="856" name="Freeform: Shape 855">
                    <a:extLst>
                      <a:ext uri="{FF2B5EF4-FFF2-40B4-BE49-F238E27FC236}">
                        <a16:creationId xmlns:a16="http://schemas.microsoft.com/office/drawing/2014/main" id="{78283B6F-BAAB-5909-5DF8-E51B1E2551C5}"/>
                      </a:ext>
                    </a:extLst>
                  </p:cNvPr>
                  <p:cNvSpPr/>
                  <p:nvPr userDrawn="1"/>
                </p:nvSpPr>
                <p:spPr>
                  <a:xfrm>
                    <a:off x="8413533" y="448960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C2C8D7"/>
                  </a:solidFill>
                  <a:ln w="2339" cap="flat">
                    <a:noFill/>
                    <a:prstDash val="solid"/>
                    <a:miter/>
                  </a:ln>
                </p:spPr>
                <p:txBody>
                  <a:bodyPr rtlCol="0" anchor="ctr"/>
                  <a:lstStyle/>
                  <a:p>
                    <a:endParaRPr lang="en-US" sz="2400"/>
                  </a:p>
                </p:txBody>
              </p:sp>
              <p:sp>
                <p:nvSpPr>
                  <p:cNvPr id="857" name="Freeform: Shape 856">
                    <a:extLst>
                      <a:ext uri="{FF2B5EF4-FFF2-40B4-BE49-F238E27FC236}">
                        <a16:creationId xmlns:a16="http://schemas.microsoft.com/office/drawing/2014/main" id="{08C4D59F-BC70-5B90-D5CD-55C8A665867D}"/>
                      </a:ext>
                    </a:extLst>
                  </p:cNvPr>
                  <p:cNvSpPr/>
                  <p:nvPr userDrawn="1"/>
                </p:nvSpPr>
                <p:spPr>
                  <a:xfrm>
                    <a:off x="8414048" y="4489770"/>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C3C8D8"/>
                  </a:solidFill>
                  <a:ln w="2339" cap="flat">
                    <a:noFill/>
                    <a:prstDash val="solid"/>
                    <a:miter/>
                  </a:ln>
                </p:spPr>
                <p:txBody>
                  <a:bodyPr rtlCol="0" anchor="ctr"/>
                  <a:lstStyle/>
                  <a:p>
                    <a:endParaRPr lang="en-US" sz="2400"/>
                  </a:p>
                </p:txBody>
              </p:sp>
              <p:sp>
                <p:nvSpPr>
                  <p:cNvPr id="858" name="Freeform: Shape 857">
                    <a:extLst>
                      <a:ext uri="{FF2B5EF4-FFF2-40B4-BE49-F238E27FC236}">
                        <a16:creationId xmlns:a16="http://schemas.microsoft.com/office/drawing/2014/main" id="{6D51AA62-AC32-569D-E67D-2E03CAB8A84F}"/>
                      </a:ext>
                    </a:extLst>
                  </p:cNvPr>
                  <p:cNvSpPr/>
                  <p:nvPr userDrawn="1"/>
                </p:nvSpPr>
                <p:spPr>
                  <a:xfrm>
                    <a:off x="8414586" y="4489910"/>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0"/>
                          <a:pt x="0" y="9407"/>
                          <a:pt x="0" y="21037"/>
                        </a:cubicBezTo>
                        <a:close/>
                      </a:path>
                    </a:pathLst>
                  </a:custGeom>
                  <a:solidFill>
                    <a:srgbClr val="C3C8D8"/>
                  </a:solidFill>
                  <a:ln w="2339" cap="flat">
                    <a:noFill/>
                    <a:prstDash val="solid"/>
                    <a:miter/>
                  </a:ln>
                </p:spPr>
                <p:txBody>
                  <a:bodyPr rtlCol="0" anchor="ctr"/>
                  <a:lstStyle/>
                  <a:p>
                    <a:endParaRPr lang="en-US" sz="2400"/>
                  </a:p>
                </p:txBody>
              </p:sp>
              <p:sp>
                <p:nvSpPr>
                  <p:cNvPr id="859" name="Freeform: Shape 858">
                    <a:extLst>
                      <a:ext uri="{FF2B5EF4-FFF2-40B4-BE49-F238E27FC236}">
                        <a16:creationId xmlns:a16="http://schemas.microsoft.com/office/drawing/2014/main" id="{D904A4AE-4ED8-4764-D11F-DD1FE3F0D3C5}"/>
                      </a:ext>
                    </a:extLst>
                  </p:cNvPr>
                  <p:cNvSpPr/>
                  <p:nvPr userDrawn="1"/>
                </p:nvSpPr>
                <p:spPr>
                  <a:xfrm>
                    <a:off x="8415101" y="449007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23"/>
                          <a:pt x="0" y="9407"/>
                          <a:pt x="0" y="21037"/>
                        </a:cubicBezTo>
                        <a:close/>
                      </a:path>
                    </a:pathLst>
                  </a:custGeom>
                  <a:solidFill>
                    <a:srgbClr val="C3C9D8"/>
                  </a:solidFill>
                  <a:ln w="2339" cap="flat">
                    <a:noFill/>
                    <a:prstDash val="solid"/>
                    <a:miter/>
                  </a:ln>
                </p:spPr>
                <p:txBody>
                  <a:bodyPr rtlCol="0" anchor="ctr"/>
                  <a:lstStyle/>
                  <a:p>
                    <a:endParaRPr lang="en-US" sz="2400"/>
                  </a:p>
                </p:txBody>
              </p:sp>
              <p:sp>
                <p:nvSpPr>
                  <p:cNvPr id="860" name="Freeform: Shape 859">
                    <a:extLst>
                      <a:ext uri="{FF2B5EF4-FFF2-40B4-BE49-F238E27FC236}">
                        <a16:creationId xmlns:a16="http://schemas.microsoft.com/office/drawing/2014/main" id="{45F1FB6D-F422-870A-B5F0-0D89C2B0A539}"/>
                      </a:ext>
                    </a:extLst>
                  </p:cNvPr>
                  <p:cNvSpPr/>
                  <p:nvPr userDrawn="1"/>
                </p:nvSpPr>
                <p:spPr>
                  <a:xfrm>
                    <a:off x="8415615" y="449021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C4C9D8"/>
                  </a:solidFill>
                  <a:ln w="2339" cap="flat">
                    <a:noFill/>
                    <a:prstDash val="solid"/>
                    <a:miter/>
                  </a:ln>
                </p:spPr>
                <p:txBody>
                  <a:bodyPr rtlCol="0" anchor="ctr"/>
                  <a:lstStyle/>
                  <a:p>
                    <a:endParaRPr lang="en-US" sz="2400"/>
                  </a:p>
                </p:txBody>
              </p:sp>
              <p:sp>
                <p:nvSpPr>
                  <p:cNvPr id="861" name="Freeform: Shape 860">
                    <a:extLst>
                      <a:ext uri="{FF2B5EF4-FFF2-40B4-BE49-F238E27FC236}">
                        <a16:creationId xmlns:a16="http://schemas.microsoft.com/office/drawing/2014/main" id="{23B395E6-4835-3B7B-5894-8A63E69E528E}"/>
                      </a:ext>
                    </a:extLst>
                  </p:cNvPr>
                  <p:cNvSpPr/>
                  <p:nvPr userDrawn="1"/>
                </p:nvSpPr>
                <p:spPr>
                  <a:xfrm>
                    <a:off x="8416130" y="4490378"/>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C4C9D8"/>
                  </a:solidFill>
                  <a:ln w="2339" cap="flat">
                    <a:noFill/>
                    <a:prstDash val="solid"/>
                    <a:miter/>
                  </a:ln>
                </p:spPr>
                <p:txBody>
                  <a:bodyPr rtlCol="0" anchor="ctr"/>
                  <a:lstStyle/>
                  <a:p>
                    <a:endParaRPr lang="en-US" sz="2400"/>
                  </a:p>
                </p:txBody>
              </p:sp>
              <p:sp>
                <p:nvSpPr>
                  <p:cNvPr id="862" name="Freeform: Shape 861">
                    <a:extLst>
                      <a:ext uri="{FF2B5EF4-FFF2-40B4-BE49-F238E27FC236}">
                        <a16:creationId xmlns:a16="http://schemas.microsoft.com/office/drawing/2014/main" id="{95BAA7CE-2085-AAB2-A2BE-B6E433DA4AFD}"/>
                      </a:ext>
                    </a:extLst>
                  </p:cNvPr>
                  <p:cNvSpPr/>
                  <p:nvPr userDrawn="1"/>
                </p:nvSpPr>
                <p:spPr>
                  <a:xfrm>
                    <a:off x="8416645" y="4490542"/>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C4CAD9"/>
                  </a:solidFill>
                  <a:ln w="2339" cap="flat">
                    <a:noFill/>
                    <a:prstDash val="solid"/>
                    <a:miter/>
                  </a:ln>
                </p:spPr>
                <p:txBody>
                  <a:bodyPr rtlCol="0" anchor="ctr"/>
                  <a:lstStyle/>
                  <a:p>
                    <a:endParaRPr lang="en-US" sz="2400"/>
                  </a:p>
                </p:txBody>
              </p:sp>
              <p:sp>
                <p:nvSpPr>
                  <p:cNvPr id="863" name="Freeform: Shape 862">
                    <a:extLst>
                      <a:ext uri="{FF2B5EF4-FFF2-40B4-BE49-F238E27FC236}">
                        <a16:creationId xmlns:a16="http://schemas.microsoft.com/office/drawing/2014/main" id="{C10789A2-787A-EBED-C201-C593E8E8696C}"/>
                      </a:ext>
                    </a:extLst>
                  </p:cNvPr>
                  <p:cNvSpPr/>
                  <p:nvPr userDrawn="1"/>
                </p:nvSpPr>
                <p:spPr>
                  <a:xfrm>
                    <a:off x="8417160" y="449070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C5CAD9"/>
                  </a:solidFill>
                  <a:ln w="2339" cap="flat">
                    <a:noFill/>
                    <a:prstDash val="solid"/>
                    <a:miter/>
                  </a:ln>
                </p:spPr>
                <p:txBody>
                  <a:bodyPr rtlCol="0" anchor="ctr"/>
                  <a:lstStyle/>
                  <a:p>
                    <a:endParaRPr lang="en-US" sz="2400"/>
                  </a:p>
                </p:txBody>
              </p:sp>
              <p:sp>
                <p:nvSpPr>
                  <p:cNvPr id="864" name="Freeform: Shape 863">
                    <a:extLst>
                      <a:ext uri="{FF2B5EF4-FFF2-40B4-BE49-F238E27FC236}">
                        <a16:creationId xmlns:a16="http://schemas.microsoft.com/office/drawing/2014/main" id="{4E0B2950-1FAC-CC3B-8457-9E41294E48D6}"/>
                      </a:ext>
                    </a:extLst>
                  </p:cNvPr>
                  <p:cNvSpPr/>
                  <p:nvPr userDrawn="1"/>
                </p:nvSpPr>
                <p:spPr>
                  <a:xfrm>
                    <a:off x="8417675" y="449082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C5CAD9"/>
                  </a:solidFill>
                  <a:ln w="2339" cap="flat">
                    <a:noFill/>
                    <a:prstDash val="solid"/>
                    <a:miter/>
                  </a:ln>
                </p:spPr>
                <p:txBody>
                  <a:bodyPr rtlCol="0" anchor="ctr"/>
                  <a:lstStyle/>
                  <a:p>
                    <a:endParaRPr lang="en-US" sz="2400"/>
                  </a:p>
                </p:txBody>
              </p:sp>
              <p:sp>
                <p:nvSpPr>
                  <p:cNvPr id="865" name="Freeform: Shape 864">
                    <a:extLst>
                      <a:ext uri="{FF2B5EF4-FFF2-40B4-BE49-F238E27FC236}">
                        <a16:creationId xmlns:a16="http://schemas.microsoft.com/office/drawing/2014/main" id="{A7520080-8CBB-862E-85DF-31F98A8D343B}"/>
                      </a:ext>
                    </a:extLst>
                  </p:cNvPr>
                  <p:cNvSpPr/>
                  <p:nvPr userDrawn="1"/>
                </p:nvSpPr>
                <p:spPr>
                  <a:xfrm>
                    <a:off x="8418189" y="449098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C5CAD9"/>
                  </a:solidFill>
                  <a:ln w="2339" cap="flat">
                    <a:noFill/>
                    <a:prstDash val="solid"/>
                    <a:miter/>
                  </a:ln>
                </p:spPr>
                <p:txBody>
                  <a:bodyPr rtlCol="0" anchor="ctr"/>
                  <a:lstStyle/>
                  <a:p>
                    <a:endParaRPr lang="en-US" sz="2400"/>
                  </a:p>
                </p:txBody>
              </p:sp>
              <p:sp>
                <p:nvSpPr>
                  <p:cNvPr id="866" name="Freeform: Shape 865">
                    <a:extLst>
                      <a:ext uri="{FF2B5EF4-FFF2-40B4-BE49-F238E27FC236}">
                        <a16:creationId xmlns:a16="http://schemas.microsoft.com/office/drawing/2014/main" id="{8D26C55F-873B-CB8F-1B11-A53BB444926B}"/>
                      </a:ext>
                    </a:extLst>
                  </p:cNvPr>
                  <p:cNvSpPr/>
                  <p:nvPr userDrawn="1"/>
                </p:nvSpPr>
                <p:spPr>
                  <a:xfrm>
                    <a:off x="8418704" y="449115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C5CBD9"/>
                  </a:solidFill>
                  <a:ln w="2339" cap="flat">
                    <a:noFill/>
                    <a:prstDash val="solid"/>
                    <a:miter/>
                  </a:ln>
                </p:spPr>
                <p:txBody>
                  <a:bodyPr rtlCol="0" anchor="ctr"/>
                  <a:lstStyle/>
                  <a:p>
                    <a:endParaRPr lang="en-US" sz="2400"/>
                  </a:p>
                </p:txBody>
              </p:sp>
              <p:sp>
                <p:nvSpPr>
                  <p:cNvPr id="867" name="Freeform: Shape 866">
                    <a:extLst>
                      <a:ext uri="{FF2B5EF4-FFF2-40B4-BE49-F238E27FC236}">
                        <a16:creationId xmlns:a16="http://schemas.microsoft.com/office/drawing/2014/main" id="{824F8609-66A0-AEFA-FD25-222C8A762E8A}"/>
                      </a:ext>
                    </a:extLst>
                  </p:cNvPr>
                  <p:cNvSpPr/>
                  <p:nvPr userDrawn="1"/>
                </p:nvSpPr>
                <p:spPr>
                  <a:xfrm>
                    <a:off x="8419196" y="449131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6CBDA"/>
                  </a:solidFill>
                  <a:ln w="2339" cap="flat">
                    <a:noFill/>
                    <a:prstDash val="solid"/>
                    <a:miter/>
                  </a:ln>
                </p:spPr>
                <p:txBody>
                  <a:bodyPr rtlCol="0" anchor="ctr"/>
                  <a:lstStyle/>
                  <a:p>
                    <a:endParaRPr lang="en-US" sz="2400"/>
                  </a:p>
                </p:txBody>
              </p:sp>
              <p:sp>
                <p:nvSpPr>
                  <p:cNvPr id="868" name="Freeform: Shape 867">
                    <a:extLst>
                      <a:ext uri="{FF2B5EF4-FFF2-40B4-BE49-F238E27FC236}">
                        <a16:creationId xmlns:a16="http://schemas.microsoft.com/office/drawing/2014/main" id="{D41610E8-20E8-D8BD-F1FE-01A1280B0F90}"/>
                      </a:ext>
                    </a:extLst>
                  </p:cNvPr>
                  <p:cNvSpPr/>
                  <p:nvPr userDrawn="1"/>
                </p:nvSpPr>
                <p:spPr>
                  <a:xfrm>
                    <a:off x="8419710" y="449147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6CBDA"/>
                  </a:solidFill>
                  <a:ln w="2339" cap="flat">
                    <a:noFill/>
                    <a:prstDash val="solid"/>
                    <a:miter/>
                  </a:ln>
                </p:spPr>
                <p:txBody>
                  <a:bodyPr rtlCol="0" anchor="ctr"/>
                  <a:lstStyle/>
                  <a:p>
                    <a:endParaRPr lang="en-US" sz="2400"/>
                  </a:p>
                </p:txBody>
              </p:sp>
              <p:sp>
                <p:nvSpPr>
                  <p:cNvPr id="869" name="Freeform: Shape 868">
                    <a:extLst>
                      <a:ext uri="{FF2B5EF4-FFF2-40B4-BE49-F238E27FC236}">
                        <a16:creationId xmlns:a16="http://schemas.microsoft.com/office/drawing/2014/main" id="{1C33F9D1-29FA-23CF-8615-D71EBC57365E}"/>
                      </a:ext>
                    </a:extLst>
                  </p:cNvPr>
                  <p:cNvSpPr/>
                  <p:nvPr userDrawn="1"/>
                </p:nvSpPr>
                <p:spPr>
                  <a:xfrm>
                    <a:off x="8420225" y="449164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C6CBDA"/>
                  </a:solidFill>
                  <a:ln w="2339" cap="flat">
                    <a:noFill/>
                    <a:prstDash val="solid"/>
                    <a:miter/>
                  </a:ln>
                </p:spPr>
                <p:txBody>
                  <a:bodyPr rtlCol="0" anchor="ctr"/>
                  <a:lstStyle/>
                  <a:p>
                    <a:endParaRPr lang="en-US" sz="2400"/>
                  </a:p>
                </p:txBody>
              </p:sp>
              <p:sp>
                <p:nvSpPr>
                  <p:cNvPr id="870" name="Freeform: Shape 869">
                    <a:extLst>
                      <a:ext uri="{FF2B5EF4-FFF2-40B4-BE49-F238E27FC236}">
                        <a16:creationId xmlns:a16="http://schemas.microsoft.com/office/drawing/2014/main" id="{CB54DB4E-2EB8-780B-4A0D-1984A93BABC3}"/>
                      </a:ext>
                    </a:extLst>
                  </p:cNvPr>
                  <p:cNvSpPr/>
                  <p:nvPr userDrawn="1"/>
                </p:nvSpPr>
                <p:spPr>
                  <a:xfrm>
                    <a:off x="8420717" y="449180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7CCDA"/>
                  </a:solidFill>
                  <a:ln w="2339" cap="flat">
                    <a:noFill/>
                    <a:prstDash val="solid"/>
                    <a:miter/>
                  </a:ln>
                </p:spPr>
                <p:txBody>
                  <a:bodyPr rtlCol="0" anchor="ctr"/>
                  <a:lstStyle/>
                  <a:p>
                    <a:endParaRPr lang="en-US" sz="2400"/>
                  </a:p>
                </p:txBody>
              </p:sp>
              <p:sp>
                <p:nvSpPr>
                  <p:cNvPr id="871" name="Freeform: Shape 870">
                    <a:extLst>
                      <a:ext uri="{FF2B5EF4-FFF2-40B4-BE49-F238E27FC236}">
                        <a16:creationId xmlns:a16="http://schemas.microsoft.com/office/drawing/2014/main" id="{8AEBC39F-77A1-2AF3-D747-089C31353F59}"/>
                      </a:ext>
                    </a:extLst>
                  </p:cNvPr>
                  <p:cNvSpPr/>
                  <p:nvPr userDrawn="1"/>
                </p:nvSpPr>
                <p:spPr>
                  <a:xfrm>
                    <a:off x="8421231" y="449196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C7CCDA"/>
                  </a:solidFill>
                  <a:ln w="2339" cap="flat">
                    <a:noFill/>
                    <a:prstDash val="solid"/>
                    <a:miter/>
                  </a:ln>
                </p:spPr>
                <p:txBody>
                  <a:bodyPr rtlCol="0" anchor="ctr"/>
                  <a:lstStyle/>
                  <a:p>
                    <a:endParaRPr lang="en-US" sz="2400"/>
                  </a:p>
                </p:txBody>
              </p:sp>
              <p:sp>
                <p:nvSpPr>
                  <p:cNvPr id="872" name="Freeform: Shape 871">
                    <a:extLst>
                      <a:ext uri="{FF2B5EF4-FFF2-40B4-BE49-F238E27FC236}">
                        <a16:creationId xmlns:a16="http://schemas.microsoft.com/office/drawing/2014/main" id="{DFBE6E34-0237-0905-D05E-7F72801362CC}"/>
                      </a:ext>
                    </a:extLst>
                  </p:cNvPr>
                  <p:cNvSpPr/>
                  <p:nvPr userDrawn="1"/>
                </p:nvSpPr>
                <p:spPr>
                  <a:xfrm>
                    <a:off x="8421723" y="449215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7CCDB"/>
                  </a:solidFill>
                  <a:ln w="2339" cap="flat">
                    <a:noFill/>
                    <a:prstDash val="solid"/>
                    <a:miter/>
                  </a:ln>
                </p:spPr>
                <p:txBody>
                  <a:bodyPr rtlCol="0" anchor="ctr"/>
                  <a:lstStyle/>
                  <a:p>
                    <a:endParaRPr lang="en-US" sz="2400"/>
                  </a:p>
                </p:txBody>
              </p:sp>
              <p:sp>
                <p:nvSpPr>
                  <p:cNvPr id="873" name="Freeform: Shape 872">
                    <a:extLst>
                      <a:ext uri="{FF2B5EF4-FFF2-40B4-BE49-F238E27FC236}">
                        <a16:creationId xmlns:a16="http://schemas.microsoft.com/office/drawing/2014/main" id="{6462F41C-84A7-90DA-A6B2-1EF25E4E0064}"/>
                      </a:ext>
                    </a:extLst>
                  </p:cNvPr>
                  <p:cNvSpPr/>
                  <p:nvPr userDrawn="1"/>
                </p:nvSpPr>
                <p:spPr>
                  <a:xfrm>
                    <a:off x="8422238" y="449232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8CDDB"/>
                  </a:solidFill>
                  <a:ln w="2339" cap="flat">
                    <a:noFill/>
                    <a:prstDash val="solid"/>
                    <a:miter/>
                  </a:ln>
                </p:spPr>
                <p:txBody>
                  <a:bodyPr rtlCol="0" anchor="ctr"/>
                  <a:lstStyle/>
                  <a:p>
                    <a:endParaRPr lang="en-US" sz="2400"/>
                  </a:p>
                </p:txBody>
              </p:sp>
              <p:sp>
                <p:nvSpPr>
                  <p:cNvPr id="874" name="Freeform: Shape 873">
                    <a:extLst>
                      <a:ext uri="{FF2B5EF4-FFF2-40B4-BE49-F238E27FC236}">
                        <a16:creationId xmlns:a16="http://schemas.microsoft.com/office/drawing/2014/main" id="{27E56B92-D8E3-103B-9228-F9115276E1D8}"/>
                      </a:ext>
                    </a:extLst>
                  </p:cNvPr>
                  <p:cNvSpPr/>
                  <p:nvPr userDrawn="1"/>
                </p:nvSpPr>
                <p:spPr>
                  <a:xfrm>
                    <a:off x="8422729" y="449248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8CDDB"/>
                  </a:solidFill>
                  <a:ln w="2339" cap="flat">
                    <a:noFill/>
                    <a:prstDash val="solid"/>
                    <a:miter/>
                  </a:ln>
                </p:spPr>
                <p:txBody>
                  <a:bodyPr rtlCol="0" anchor="ctr"/>
                  <a:lstStyle/>
                  <a:p>
                    <a:endParaRPr lang="en-US" sz="2400"/>
                  </a:p>
                </p:txBody>
              </p:sp>
              <p:sp>
                <p:nvSpPr>
                  <p:cNvPr id="875" name="Freeform: Shape 874">
                    <a:extLst>
                      <a:ext uri="{FF2B5EF4-FFF2-40B4-BE49-F238E27FC236}">
                        <a16:creationId xmlns:a16="http://schemas.microsoft.com/office/drawing/2014/main" id="{CC052A4A-2E65-D62B-7FE4-8212AC58AC3C}"/>
                      </a:ext>
                    </a:extLst>
                  </p:cNvPr>
                  <p:cNvSpPr/>
                  <p:nvPr userDrawn="1"/>
                </p:nvSpPr>
                <p:spPr>
                  <a:xfrm>
                    <a:off x="8423244" y="449264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54"/>
                          <a:pt x="0" y="21060"/>
                        </a:cubicBezTo>
                        <a:close/>
                      </a:path>
                    </a:pathLst>
                  </a:custGeom>
                  <a:solidFill>
                    <a:srgbClr val="C8CDDB"/>
                  </a:solidFill>
                  <a:ln w="2339" cap="flat">
                    <a:noFill/>
                    <a:prstDash val="solid"/>
                    <a:miter/>
                  </a:ln>
                </p:spPr>
                <p:txBody>
                  <a:bodyPr rtlCol="0" anchor="ctr"/>
                  <a:lstStyle/>
                  <a:p>
                    <a:endParaRPr lang="en-US" sz="2400"/>
                  </a:p>
                </p:txBody>
              </p:sp>
              <p:sp>
                <p:nvSpPr>
                  <p:cNvPr id="876" name="Freeform: Shape 875">
                    <a:extLst>
                      <a:ext uri="{FF2B5EF4-FFF2-40B4-BE49-F238E27FC236}">
                        <a16:creationId xmlns:a16="http://schemas.microsoft.com/office/drawing/2014/main" id="{CC0EF91D-6EE0-7BA4-CC12-C25D05098596}"/>
                      </a:ext>
                    </a:extLst>
                  </p:cNvPr>
                  <p:cNvSpPr/>
                  <p:nvPr userDrawn="1"/>
                </p:nvSpPr>
                <p:spPr>
                  <a:xfrm>
                    <a:off x="8423735" y="449283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C9CDDB"/>
                  </a:solidFill>
                  <a:ln w="2339" cap="flat">
                    <a:noFill/>
                    <a:prstDash val="solid"/>
                    <a:miter/>
                  </a:ln>
                </p:spPr>
                <p:txBody>
                  <a:bodyPr rtlCol="0" anchor="ctr"/>
                  <a:lstStyle/>
                  <a:p>
                    <a:endParaRPr lang="en-US" sz="2400"/>
                  </a:p>
                </p:txBody>
              </p:sp>
              <p:sp>
                <p:nvSpPr>
                  <p:cNvPr id="877" name="Freeform: Shape 876">
                    <a:extLst>
                      <a:ext uri="{FF2B5EF4-FFF2-40B4-BE49-F238E27FC236}">
                        <a16:creationId xmlns:a16="http://schemas.microsoft.com/office/drawing/2014/main" id="{E34E9EFD-90B1-4930-578F-D18C1777D63E}"/>
                      </a:ext>
                    </a:extLst>
                  </p:cNvPr>
                  <p:cNvSpPr/>
                  <p:nvPr userDrawn="1"/>
                </p:nvSpPr>
                <p:spPr>
                  <a:xfrm>
                    <a:off x="8424227" y="449299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9CEDC"/>
                  </a:solidFill>
                  <a:ln w="2339" cap="flat">
                    <a:noFill/>
                    <a:prstDash val="solid"/>
                    <a:miter/>
                  </a:ln>
                </p:spPr>
                <p:txBody>
                  <a:bodyPr rtlCol="0" anchor="ctr"/>
                  <a:lstStyle/>
                  <a:p>
                    <a:endParaRPr lang="en-US" sz="2400"/>
                  </a:p>
                </p:txBody>
              </p:sp>
              <p:sp>
                <p:nvSpPr>
                  <p:cNvPr id="878" name="Freeform: Shape 877">
                    <a:extLst>
                      <a:ext uri="{FF2B5EF4-FFF2-40B4-BE49-F238E27FC236}">
                        <a16:creationId xmlns:a16="http://schemas.microsoft.com/office/drawing/2014/main" id="{3710BC05-9019-8603-904F-09F4D2B99D1F}"/>
                      </a:ext>
                    </a:extLst>
                  </p:cNvPr>
                  <p:cNvSpPr/>
                  <p:nvPr userDrawn="1"/>
                </p:nvSpPr>
                <p:spPr>
                  <a:xfrm>
                    <a:off x="8424718" y="449318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9CEDC"/>
                  </a:solidFill>
                  <a:ln w="2339" cap="flat">
                    <a:noFill/>
                    <a:prstDash val="solid"/>
                    <a:miter/>
                  </a:ln>
                </p:spPr>
                <p:txBody>
                  <a:bodyPr rtlCol="0" anchor="ctr"/>
                  <a:lstStyle/>
                  <a:p>
                    <a:endParaRPr lang="en-US" sz="2400"/>
                  </a:p>
                </p:txBody>
              </p:sp>
              <p:sp>
                <p:nvSpPr>
                  <p:cNvPr id="879" name="Freeform: Shape 878">
                    <a:extLst>
                      <a:ext uri="{FF2B5EF4-FFF2-40B4-BE49-F238E27FC236}">
                        <a16:creationId xmlns:a16="http://schemas.microsoft.com/office/drawing/2014/main" id="{BD230C9C-6882-72EB-739D-45768FD559BC}"/>
                      </a:ext>
                    </a:extLst>
                  </p:cNvPr>
                  <p:cNvSpPr/>
                  <p:nvPr userDrawn="1"/>
                </p:nvSpPr>
                <p:spPr>
                  <a:xfrm>
                    <a:off x="8425209" y="449335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9CEDC"/>
                  </a:solidFill>
                  <a:ln w="2339" cap="flat">
                    <a:noFill/>
                    <a:prstDash val="solid"/>
                    <a:miter/>
                  </a:ln>
                </p:spPr>
                <p:txBody>
                  <a:bodyPr rtlCol="0" anchor="ctr"/>
                  <a:lstStyle/>
                  <a:p>
                    <a:endParaRPr lang="en-US" sz="2400"/>
                  </a:p>
                </p:txBody>
              </p:sp>
              <p:sp>
                <p:nvSpPr>
                  <p:cNvPr id="880" name="Freeform: Shape 879">
                    <a:extLst>
                      <a:ext uri="{FF2B5EF4-FFF2-40B4-BE49-F238E27FC236}">
                        <a16:creationId xmlns:a16="http://schemas.microsoft.com/office/drawing/2014/main" id="{538E637C-7F58-D595-AFC5-294D7062EBFC}"/>
                      </a:ext>
                    </a:extLst>
                  </p:cNvPr>
                  <p:cNvSpPr/>
                  <p:nvPr userDrawn="1"/>
                </p:nvSpPr>
                <p:spPr>
                  <a:xfrm>
                    <a:off x="8425701" y="449353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ACFDC"/>
                  </a:solidFill>
                  <a:ln w="2339" cap="flat">
                    <a:noFill/>
                    <a:prstDash val="solid"/>
                    <a:miter/>
                  </a:ln>
                </p:spPr>
                <p:txBody>
                  <a:bodyPr rtlCol="0" anchor="ctr"/>
                  <a:lstStyle/>
                  <a:p>
                    <a:endParaRPr lang="en-US" sz="2400"/>
                  </a:p>
                </p:txBody>
              </p:sp>
              <p:sp>
                <p:nvSpPr>
                  <p:cNvPr id="881" name="Freeform: Shape 880">
                    <a:extLst>
                      <a:ext uri="{FF2B5EF4-FFF2-40B4-BE49-F238E27FC236}">
                        <a16:creationId xmlns:a16="http://schemas.microsoft.com/office/drawing/2014/main" id="{39C1380E-35A8-FE77-02BD-CBD73EB0B3CD}"/>
                      </a:ext>
                    </a:extLst>
                  </p:cNvPr>
                  <p:cNvSpPr/>
                  <p:nvPr userDrawn="1"/>
                </p:nvSpPr>
                <p:spPr>
                  <a:xfrm>
                    <a:off x="8426192" y="449370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ACFDC"/>
                  </a:solidFill>
                  <a:ln w="2339" cap="flat">
                    <a:noFill/>
                    <a:prstDash val="solid"/>
                    <a:miter/>
                  </a:ln>
                </p:spPr>
                <p:txBody>
                  <a:bodyPr rtlCol="0" anchor="ctr"/>
                  <a:lstStyle/>
                  <a:p>
                    <a:endParaRPr lang="en-US" sz="2400"/>
                  </a:p>
                </p:txBody>
              </p:sp>
              <p:sp>
                <p:nvSpPr>
                  <p:cNvPr id="882" name="Freeform: Shape 881">
                    <a:extLst>
                      <a:ext uri="{FF2B5EF4-FFF2-40B4-BE49-F238E27FC236}">
                        <a16:creationId xmlns:a16="http://schemas.microsoft.com/office/drawing/2014/main" id="{74CAF148-0156-EB79-103E-BBF0671487B9}"/>
                      </a:ext>
                    </a:extLst>
                  </p:cNvPr>
                  <p:cNvSpPr/>
                  <p:nvPr userDrawn="1"/>
                </p:nvSpPr>
                <p:spPr>
                  <a:xfrm>
                    <a:off x="8426684" y="449388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ACFDD"/>
                  </a:solidFill>
                  <a:ln w="2339" cap="flat">
                    <a:noFill/>
                    <a:prstDash val="solid"/>
                    <a:miter/>
                  </a:ln>
                </p:spPr>
                <p:txBody>
                  <a:bodyPr rtlCol="0" anchor="ctr"/>
                  <a:lstStyle/>
                  <a:p>
                    <a:endParaRPr lang="en-US" sz="2400"/>
                  </a:p>
                </p:txBody>
              </p:sp>
              <p:sp>
                <p:nvSpPr>
                  <p:cNvPr id="883" name="Freeform: Shape 882">
                    <a:extLst>
                      <a:ext uri="{FF2B5EF4-FFF2-40B4-BE49-F238E27FC236}">
                        <a16:creationId xmlns:a16="http://schemas.microsoft.com/office/drawing/2014/main" id="{6B805E67-270E-1FAF-F913-8FBE26C012E0}"/>
                      </a:ext>
                    </a:extLst>
                  </p:cNvPr>
                  <p:cNvSpPr/>
                  <p:nvPr userDrawn="1"/>
                </p:nvSpPr>
                <p:spPr>
                  <a:xfrm>
                    <a:off x="8427175" y="449407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BCFDD"/>
                  </a:solidFill>
                  <a:ln w="2339" cap="flat">
                    <a:noFill/>
                    <a:prstDash val="solid"/>
                    <a:miter/>
                  </a:ln>
                </p:spPr>
                <p:txBody>
                  <a:bodyPr rtlCol="0" anchor="ctr"/>
                  <a:lstStyle/>
                  <a:p>
                    <a:endParaRPr lang="en-US" sz="2400"/>
                  </a:p>
                </p:txBody>
              </p:sp>
              <p:sp>
                <p:nvSpPr>
                  <p:cNvPr id="884" name="Freeform: Shape 883">
                    <a:extLst>
                      <a:ext uri="{FF2B5EF4-FFF2-40B4-BE49-F238E27FC236}">
                        <a16:creationId xmlns:a16="http://schemas.microsoft.com/office/drawing/2014/main" id="{CB0B7843-6C1D-DB03-56F8-A72F6CA33C17}"/>
                      </a:ext>
                    </a:extLst>
                  </p:cNvPr>
                  <p:cNvSpPr/>
                  <p:nvPr userDrawn="1"/>
                </p:nvSpPr>
                <p:spPr>
                  <a:xfrm>
                    <a:off x="8427666" y="449423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CBD0DD"/>
                  </a:solidFill>
                  <a:ln w="2339" cap="flat">
                    <a:noFill/>
                    <a:prstDash val="solid"/>
                    <a:miter/>
                  </a:ln>
                </p:spPr>
                <p:txBody>
                  <a:bodyPr rtlCol="0" anchor="ctr"/>
                  <a:lstStyle/>
                  <a:p>
                    <a:endParaRPr lang="en-US" sz="2400"/>
                  </a:p>
                </p:txBody>
              </p:sp>
              <p:sp>
                <p:nvSpPr>
                  <p:cNvPr id="885" name="Freeform: Shape 884">
                    <a:extLst>
                      <a:ext uri="{FF2B5EF4-FFF2-40B4-BE49-F238E27FC236}">
                        <a16:creationId xmlns:a16="http://schemas.microsoft.com/office/drawing/2014/main" id="{A8F563A2-23E5-1A9F-1F3C-70FE0EA8A917}"/>
                      </a:ext>
                    </a:extLst>
                  </p:cNvPr>
                  <p:cNvSpPr/>
                  <p:nvPr userDrawn="1"/>
                </p:nvSpPr>
                <p:spPr>
                  <a:xfrm>
                    <a:off x="8428135" y="449442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BD0DD"/>
                  </a:solidFill>
                  <a:ln w="2339" cap="flat">
                    <a:noFill/>
                    <a:prstDash val="solid"/>
                    <a:miter/>
                  </a:ln>
                </p:spPr>
                <p:txBody>
                  <a:bodyPr rtlCol="0" anchor="ctr"/>
                  <a:lstStyle/>
                  <a:p>
                    <a:endParaRPr lang="en-US" sz="2400"/>
                  </a:p>
                </p:txBody>
              </p:sp>
              <p:sp>
                <p:nvSpPr>
                  <p:cNvPr id="886" name="Freeform: Shape 885">
                    <a:extLst>
                      <a:ext uri="{FF2B5EF4-FFF2-40B4-BE49-F238E27FC236}">
                        <a16:creationId xmlns:a16="http://schemas.microsoft.com/office/drawing/2014/main" id="{DD024ABE-FBFF-96C9-B00B-A4D3D73D02B4}"/>
                      </a:ext>
                    </a:extLst>
                  </p:cNvPr>
                  <p:cNvSpPr/>
                  <p:nvPr userDrawn="1"/>
                </p:nvSpPr>
                <p:spPr>
                  <a:xfrm>
                    <a:off x="8428626" y="449461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CD0DD"/>
                  </a:solidFill>
                  <a:ln w="2339" cap="flat">
                    <a:noFill/>
                    <a:prstDash val="solid"/>
                    <a:miter/>
                  </a:ln>
                </p:spPr>
                <p:txBody>
                  <a:bodyPr rtlCol="0" anchor="ctr"/>
                  <a:lstStyle/>
                  <a:p>
                    <a:endParaRPr lang="en-US" sz="2400"/>
                  </a:p>
                </p:txBody>
              </p:sp>
              <p:sp>
                <p:nvSpPr>
                  <p:cNvPr id="887" name="Freeform: Shape 886">
                    <a:extLst>
                      <a:ext uri="{FF2B5EF4-FFF2-40B4-BE49-F238E27FC236}">
                        <a16:creationId xmlns:a16="http://schemas.microsoft.com/office/drawing/2014/main" id="{CC6109E6-DF2E-4D68-2977-895C494B1021}"/>
                      </a:ext>
                    </a:extLst>
                  </p:cNvPr>
                  <p:cNvSpPr/>
                  <p:nvPr userDrawn="1"/>
                </p:nvSpPr>
                <p:spPr>
                  <a:xfrm>
                    <a:off x="8429117" y="449480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CCD0DE"/>
                  </a:solidFill>
                  <a:ln w="2339" cap="flat">
                    <a:noFill/>
                    <a:prstDash val="solid"/>
                    <a:miter/>
                  </a:ln>
                </p:spPr>
                <p:txBody>
                  <a:bodyPr rtlCol="0" anchor="ctr"/>
                  <a:lstStyle/>
                  <a:p>
                    <a:endParaRPr lang="en-US" sz="2400"/>
                  </a:p>
                </p:txBody>
              </p:sp>
              <p:sp>
                <p:nvSpPr>
                  <p:cNvPr id="888" name="Freeform: Shape 887">
                    <a:extLst>
                      <a:ext uri="{FF2B5EF4-FFF2-40B4-BE49-F238E27FC236}">
                        <a16:creationId xmlns:a16="http://schemas.microsoft.com/office/drawing/2014/main" id="{542F8F32-9BD4-C341-CB0F-2AE02775B79A}"/>
                      </a:ext>
                    </a:extLst>
                  </p:cNvPr>
                  <p:cNvSpPr/>
                  <p:nvPr userDrawn="1"/>
                </p:nvSpPr>
                <p:spPr>
                  <a:xfrm>
                    <a:off x="8429585" y="449498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CD1DE"/>
                  </a:solidFill>
                  <a:ln w="2339" cap="flat">
                    <a:noFill/>
                    <a:prstDash val="solid"/>
                    <a:miter/>
                  </a:ln>
                </p:spPr>
                <p:txBody>
                  <a:bodyPr rtlCol="0" anchor="ctr"/>
                  <a:lstStyle/>
                  <a:p>
                    <a:endParaRPr lang="en-US" sz="2400"/>
                  </a:p>
                </p:txBody>
              </p:sp>
              <p:sp>
                <p:nvSpPr>
                  <p:cNvPr id="889" name="Freeform: Shape 888">
                    <a:extLst>
                      <a:ext uri="{FF2B5EF4-FFF2-40B4-BE49-F238E27FC236}">
                        <a16:creationId xmlns:a16="http://schemas.microsoft.com/office/drawing/2014/main" id="{65554A78-99EF-B443-98B3-9017BC0E5C4C}"/>
                      </a:ext>
                    </a:extLst>
                  </p:cNvPr>
                  <p:cNvSpPr/>
                  <p:nvPr userDrawn="1"/>
                </p:nvSpPr>
                <p:spPr>
                  <a:xfrm>
                    <a:off x="8430077" y="449517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CDD1DE"/>
                  </a:solidFill>
                  <a:ln w="2339" cap="flat">
                    <a:noFill/>
                    <a:prstDash val="solid"/>
                    <a:miter/>
                  </a:ln>
                </p:spPr>
                <p:txBody>
                  <a:bodyPr rtlCol="0" anchor="ctr"/>
                  <a:lstStyle/>
                  <a:p>
                    <a:endParaRPr lang="en-US" sz="2400"/>
                  </a:p>
                </p:txBody>
              </p:sp>
              <p:sp>
                <p:nvSpPr>
                  <p:cNvPr id="890" name="Freeform: Shape 889">
                    <a:extLst>
                      <a:ext uri="{FF2B5EF4-FFF2-40B4-BE49-F238E27FC236}">
                        <a16:creationId xmlns:a16="http://schemas.microsoft.com/office/drawing/2014/main" id="{35E7468F-FF5C-5C67-F77D-452CBA9872D8}"/>
                      </a:ext>
                    </a:extLst>
                  </p:cNvPr>
                  <p:cNvSpPr/>
                  <p:nvPr userDrawn="1"/>
                </p:nvSpPr>
                <p:spPr>
                  <a:xfrm>
                    <a:off x="8430545" y="449533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CDD1DE"/>
                  </a:solidFill>
                  <a:ln w="2339" cap="flat">
                    <a:noFill/>
                    <a:prstDash val="solid"/>
                    <a:miter/>
                  </a:ln>
                </p:spPr>
                <p:txBody>
                  <a:bodyPr rtlCol="0" anchor="ctr"/>
                  <a:lstStyle/>
                  <a:p>
                    <a:endParaRPr lang="en-US" sz="2400"/>
                  </a:p>
                </p:txBody>
              </p:sp>
              <p:sp>
                <p:nvSpPr>
                  <p:cNvPr id="891" name="Freeform: Shape 890">
                    <a:extLst>
                      <a:ext uri="{FF2B5EF4-FFF2-40B4-BE49-F238E27FC236}">
                        <a16:creationId xmlns:a16="http://schemas.microsoft.com/office/drawing/2014/main" id="{47DC11BC-9403-376F-A9F9-972E1A071684}"/>
                      </a:ext>
                    </a:extLst>
                  </p:cNvPr>
                  <p:cNvSpPr/>
                  <p:nvPr userDrawn="1"/>
                </p:nvSpPr>
                <p:spPr>
                  <a:xfrm>
                    <a:off x="8431013" y="449555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DD2DE"/>
                  </a:solidFill>
                  <a:ln w="2339" cap="flat">
                    <a:noFill/>
                    <a:prstDash val="solid"/>
                    <a:miter/>
                  </a:ln>
                </p:spPr>
                <p:txBody>
                  <a:bodyPr rtlCol="0" anchor="ctr"/>
                  <a:lstStyle/>
                  <a:p>
                    <a:endParaRPr lang="en-US" sz="2400"/>
                  </a:p>
                </p:txBody>
              </p:sp>
              <p:sp>
                <p:nvSpPr>
                  <p:cNvPr id="892" name="Freeform: Shape 891">
                    <a:extLst>
                      <a:ext uri="{FF2B5EF4-FFF2-40B4-BE49-F238E27FC236}">
                        <a16:creationId xmlns:a16="http://schemas.microsoft.com/office/drawing/2014/main" id="{CA5CD9E6-BF9D-5FB1-5984-83A65AE7333D}"/>
                      </a:ext>
                    </a:extLst>
                  </p:cNvPr>
                  <p:cNvSpPr/>
                  <p:nvPr userDrawn="1"/>
                </p:nvSpPr>
                <p:spPr>
                  <a:xfrm>
                    <a:off x="8431504" y="449573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CDD2DF"/>
                  </a:solidFill>
                  <a:ln w="2339" cap="flat">
                    <a:noFill/>
                    <a:prstDash val="solid"/>
                    <a:miter/>
                  </a:ln>
                </p:spPr>
                <p:txBody>
                  <a:bodyPr rtlCol="0" anchor="ctr"/>
                  <a:lstStyle/>
                  <a:p>
                    <a:endParaRPr lang="en-US" sz="2400"/>
                  </a:p>
                </p:txBody>
              </p:sp>
              <p:sp>
                <p:nvSpPr>
                  <p:cNvPr id="893" name="Freeform: Shape 892">
                    <a:extLst>
                      <a:ext uri="{FF2B5EF4-FFF2-40B4-BE49-F238E27FC236}">
                        <a16:creationId xmlns:a16="http://schemas.microsoft.com/office/drawing/2014/main" id="{579BCED4-664D-19F1-2359-686FEF494FB6}"/>
                      </a:ext>
                    </a:extLst>
                  </p:cNvPr>
                  <p:cNvSpPr/>
                  <p:nvPr userDrawn="1"/>
                </p:nvSpPr>
                <p:spPr>
                  <a:xfrm>
                    <a:off x="8431972" y="449592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ED2DF"/>
                  </a:solidFill>
                  <a:ln w="2339" cap="flat">
                    <a:noFill/>
                    <a:prstDash val="solid"/>
                    <a:miter/>
                  </a:ln>
                </p:spPr>
                <p:txBody>
                  <a:bodyPr rtlCol="0" anchor="ctr"/>
                  <a:lstStyle/>
                  <a:p>
                    <a:endParaRPr lang="en-US" sz="2400"/>
                  </a:p>
                </p:txBody>
              </p:sp>
              <p:sp>
                <p:nvSpPr>
                  <p:cNvPr id="894" name="Freeform: Shape 893">
                    <a:extLst>
                      <a:ext uri="{FF2B5EF4-FFF2-40B4-BE49-F238E27FC236}">
                        <a16:creationId xmlns:a16="http://schemas.microsoft.com/office/drawing/2014/main" id="{D4D82079-4C9E-EDE7-7BB9-E74E708884FA}"/>
                      </a:ext>
                    </a:extLst>
                  </p:cNvPr>
                  <p:cNvSpPr/>
                  <p:nvPr userDrawn="1"/>
                </p:nvSpPr>
                <p:spPr>
                  <a:xfrm>
                    <a:off x="8432440" y="449611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ED2DF"/>
                  </a:solidFill>
                  <a:ln w="2339" cap="flat">
                    <a:noFill/>
                    <a:prstDash val="solid"/>
                    <a:miter/>
                  </a:ln>
                </p:spPr>
                <p:txBody>
                  <a:bodyPr rtlCol="0" anchor="ctr"/>
                  <a:lstStyle/>
                  <a:p>
                    <a:endParaRPr lang="en-US" sz="2400"/>
                  </a:p>
                </p:txBody>
              </p:sp>
              <p:sp>
                <p:nvSpPr>
                  <p:cNvPr id="895" name="Freeform: Shape 894">
                    <a:extLst>
                      <a:ext uri="{FF2B5EF4-FFF2-40B4-BE49-F238E27FC236}">
                        <a16:creationId xmlns:a16="http://schemas.microsoft.com/office/drawing/2014/main" id="{387BA735-9AE2-4AA9-4CB5-F2FDBA3F6D9C}"/>
                      </a:ext>
                    </a:extLst>
                  </p:cNvPr>
                  <p:cNvSpPr/>
                  <p:nvPr userDrawn="1"/>
                </p:nvSpPr>
                <p:spPr>
                  <a:xfrm>
                    <a:off x="8432908" y="449629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ED3DF"/>
                  </a:solidFill>
                  <a:ln w="2339" cap="flat">
                    <a:noFill/>
                    <a:prstDash val="solid"/>
                    <a:miter/>
                  </a:ln>
                </p:spPr>
                <p:txBody>
                  <a:bodyPr rtlCol="0" anchor="ctr"/>
                  <a:lstStyle/>
                  <a:p>
                    <a:endParaRPr lang="en-US" sz="2400"/>
                  </a:p>
                </p:txBody>
              </p:sp>
              <p:sp>
                <p:nvSpPr>
                  <p:cNvPr id="896" name="Freeform: Shape 895">
                    <a:extLst>
                      <a:ext uri="{FF2B5EF4-FFF2-40B4-BE49-F238E27FC236}">
                        <a16:creationId xmlns:a16="http://schemas.microsoft.com/office/drawing/2014/main" id="{7FAC67CF-5EF6-4AA4-9002-F74A19BC8760}"/>
                      </a:ext>
                    </a:extLst>
                  </p:cNvPr>
                  <p:cNvSpPr/>
                  <p:nvPr userDrawn="1"/>
                </p:nvSpPr>
                <p:spPr>
                  <a:xfrm>
                    <a:off x="8433376" y="449648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FD3DF"/>
                  </a:solidFill>
                  <a:ln w="2339" cap="flat">
                    <a:noFill/>
                    <a:prstDash val="solid"/>
                    <a:miter/>
                  </a:ln>
                </p:spPr>
                <p:txBody>
                  <a:bodyPr rtlCol="0" anchor="ctr"/>
                  <a:lstStyle/>
                  <a:p>
                    <a:endParaRPr lang="en-US" sz="2400"/>
                  </a:p>
                </p:txBody>
              </p:sp>
              <p:sp>
                <p:nvSpPr>
                  <p:cNvPr id="897" name="Freeform: Shape 896">
                    <a:extLst>
                      <a:ext uri="{FF2B5EF4-FFF2-40B4-BE49-F238E27FC236}">
                        <a16:creationId xmlns:a16="http://schemas.microsoft.com/office/drawing/2014/main" id="{D67B2A48-7AFA-5555-2E3A-0DF0078B6A17}"/>
                      </a:ext>
                    </a:extLst>
                  </p:cNvPr>
                  <p:cNvSpPr/>
                  <p:nvPr userDrawn="1"/>
                </p:nvSpPr>
                <p:spPr>
                  <a:xfrm>
                    <a:off x="8433844" y="449667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CFD3E0"/>
                  </a:solidFill>
                  <a:ln w="2339" cap="flat">
                    <a:noFill/>
                    <a:prstDash val="solid"/>
                    <a:miter/>
                  </a:ln>
                </p:spPr>
                <p:txBody>
                  <a:bodyPr rtlCol="0" anchor="ctr"/>
                  <a:lstStyle/>
                  <a:p>
                    <a:endParaRPr lang="en-US" sz="2400"/>
                  </a:p>
                </p:txBody>
              </p:sp>
              <p:sp>
                <p:nvSpPr>
                  <p:cNvPr id="898" name="Freeform: Shape 897">
                    <a:extLst>
                      <a:ext uri="{FF2B5EF4-FFF2-40B4-BE49-F238E27FC236}">
                        <a16:creationId xmlns:a16="http://schemas.microsoft.com/office/drawing/2014/main" id="{44D75258-8BC6-00F0-6360-DF72F2EE3DA8}"/>
                      </a:ext>
                    </a:extLst>
                  </p:cNvPr>
                  <p:cNvSpPr/>
                  <p:nvPr userDrawn="1"/>
                </p:nvSpPr>
                <p:spPr>
                  <a:xfrm>
                    <a:off x="8434312" y="449688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CFD4E0"/>
                  </a:solidFill>
                  <a:ln w="2339" cap="flat">
                    <a:noFill/>
                    <a:prstDash val="solid"/>
                    <a:miter/>
                  </a:ln>
                </p:spPr>
                <p:txBody>
                  <a:bodyPr rtlCol="0" anchor="ctr"/>
                  <a:lstStyle/>
                  <a:p>
                    <a:endParaRPr lang="en-US" sz="2400"/>
                  </a:p>
                </p:txBody>
              </p:sp>
              <p:sp>
                <p:nvSpPr>
                  <p:cNvPr id="899" name="Freeform: Shape 898">
                    <a:extLst>
                      <a:ext uri="{FF2B5EF4-FFF2-40B4-BE49-F238E27FC236}">
                        <a16:creationId xmlns:a16="http://schemas.microsoft.com/office/drawing/2014/main" id="{B497346A-6618-B7A6-4AA1-2920EE7006A2}"/>
                      </a:ext>
                    </a:extLst>
                  </p:cNvPr>
                  <p:cNvSpPr/>
                  <p:nvPr userDrawn="1"/>
                </p:nvSpPr>
                <p:spPr>
                  <a:xfrm>
                    <a:off x="8434780" y="449707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D0D4E0"/>
                  </a:solidFill>
                  <a:ln w="2339" cap="flat">
                    <a:noFill/>
                    <a:prstDash val="solid"/>
                    <a:miter/>
                  </a:ln>
                </p:spPr>
                <p:txBody>
                  <a:bodyPr rtlCol="0" anchor="ctr"/>
                  <a:lstStyle/>
                  <a:p>
                    <a:endParaRPr lang="en-US" sz="2400"/>
                  </a:p>
                </p:txBody>
              </p:sp>
              <p:sp>
                <p:nvSpPr>
                  <p:cNvPr id="900" name="Freeform: Shape 899">
                    <a:extLst>
                      <a:ext uri="{FF2B5EF4-FFF2-40B4-BE49-F238E27FC236}">
                        <a16:creationId xmlns:a16="http://schemas.microsoft.com/office/drawing/2014/main" id="{31BA75B6-AAEE-5A41-E8D6-C6C154FFDFDA}"/>
                      </a:ext>
                    </a:extLst>
                  </p:cNvPr>
                  <p:cNvSpPr/>
                  <p:nvPr userDrawn="1"/>
                </p:nvSpPr>
                <p:spPr>
                  <a:xfrm>
                    <a:off x="8435225" y="449728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0D4E0"/>
                  </a:solidFill>
                  <a:ln w="2339" cap="flat">
                    <a:noFill/>
                    <a:prstDash val="solid"/>
                    <a:miter/>
                  </a:ln>
                </p:spPr>
                <p:txBody>
                  <a:bodyPr rtlCol="0" anchor="ctr"/>
                  <a:lstStyle/>
                  <a:p>
                    <a:endParaRPr lang="en-US" sz="2400"/>
                  </a:p>
                </p:txBody>
              </p:sp>
              <p:sp>
                <p:nvSpPr>
                  <p:cNvPr id="901" name="Freeform: Shape 900">
                    <a:extLst>
                      <a:ext uri="{FF2B5EF4-FFF2-40B4-BE49-F238E27FC236}">
                        <a16:creationId xmlns:a16="http://schemas.microsoft.com/office/drawing/2014/main" id="{E94671A1-D71A-C225-72B4-A7A29B885E82}"/>
                      </a:ext>
                    </a:extLst>
                  </p:cNvPr>
                  <p:cNvSpPr/>
                  <p:nvPr userDrawn="1"/>
                </p:nvSpPr>
                <p:spPr>
                  <a:xfrm>
                    <a:off x="8435693" y="449746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0D4E0"/>
                  </a:solidFill>
                  <a:ln w="2339" cap="flat">
                    <a:noFill/>
                    <a:prstDash val="solid"/>
                    <a:miter/>
                  </a:ln>
                </p:spPr>
                <p:txBody>
                  <a:bodyPr rtlCol="0" anchor="ctr"/>
                  <a:lstStyle/>
                  <a:p>
                    <a:endParaRPr lang="en-US" sz="2400"/>
                  </a:p>
                </p:txBody>
              </p:sp>
              <p:sp>
                <p:nvSpPr>
                  <p:cNvPr id="902" name="Freeform: Shape 901">
                    <a:extLst>
                      <a:ext uri="{FF2B5EF4-FFF2-40B4-BE49-F238E27FC236}">
                        <a16:creationId xmlns:a16="http://schemas.microsoft.com/office/drawing/2014/main" id="{CC79461D-881C-9765-2EEC-DDA5FF5D1131}"/>
                      </a:ext>
                    </a:extLst>
                  </p:cNvPr>
                  <p:cNvSpPr/>
                  <p:nvPr userDrawn="1"/>
                </p:nvSpPr>
                <p:spPr>
                  <a:xfrm>
                    <a:off x="8436137" y="449765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D1D5E1"/>
                  </a:solidFill>
                  <a:ln w="2339" cap="flat">
                    <a:noFill/>
                    <a:prstDash val="solid"/>
                    <a:miter/>
                  </a:ln>
                </p:spPr>
                <p:txBody>
                  <a:bodyPr rtlCol="0" anchor="ctr"/>
                  <a:lstStyle/>
                  <a:p>
                    <a:endParaRPr lang="en-US" sz="2400"/>
                  </a:p>
                </p:txBody>
              </p:sp>
              <p:sp>
                <p:nvSpPr>
                  <p:cNvPr id="903" name="Freeform: Shape 902">
                    <a:extLst>
                      <a:ext uri="{FF2B5EF4-FFF2-40B4-BE49-F238E27FC236}">
                        <a16:creationId xmlns:a16="http://schemas.microsoft.com/office/drawing/2014/main" id="{317140F9-6B32-91D9-0D99-59FBFAA7BAE9}"/>
                      </a:ext>
                    </a:extLst>
                  </p:cNvPr>
                  <p:cNvSpPr/>
                  <p:nvPr userDrawn="1"/>
                </p:nvSpPr>
                <p:spPr>
                  <a:xfrm>
                    <a:off x="8436605" y="449786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1D5E1"/>
                  </a:solidFill>
                  <a:ln w="2339" cap="flat">
                    <a:noFill/>
                    <a:prstDash val="solid"/>
                    <a:miter/>
                  </a:ln>
                </p:spPr>
                <p:txBody>
                  <a:bodyPr rtlCol="0" anchor="ctr"/>
                  <a:lstStyle/>
                  <a:p>
                    <a:endParaRPr lang="en-US" sz="2400"/>
                  </a:p>
                </p:txBody>
              </p:sp>
              <p:sp>
                <p:nvSpPr>
                  <p:cNvPr id="904" name="Freeform: Shape 903">
                    <a:extLst>
                      <a:ext uri="{FF2B5EF4-FFF2-40B4-BE49-F238E27FC236}">
                        <a16:creationId xmlns:a16="http://schemas.microsoft.com/office/drawing/2014/main" id="{88DA5E3F-53B7-1249-B30B-95033805CFE9}"/>
                      </a:ext>
                    </a:extLst>
                  </p:cNvPr>
                  <p:cNvSpPr/>
                  <p:nvPr userDrawn="1"/>
                </p:nvSpPr>
                <p:spPr>
                  <a:xfrm>
                    <a:off x="8437050" y="449807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1D5E1"/>
                  </a:solidFill>
                  <a:ln w="2339" cap="flat">
                    <a:noFill/>
                    <a:prstDash val="solid"/>
                    <a:miter/>
                  </a:ln>
                </p:spPr>
                <p:txBody>
                  <a:bodyPr rtlCol="0" anchor="ctr"/>
                  <a:lstStyle/>
                  <a:p>
                    <a:endParaRPr lang="en-US" sz="2400"/>
                  </a:p>
                </p:txBody>
              </p:sp>
              <p:sp>
                <p:nvSpPr>
                  <p:cNvPr id="905" name="Freeform: Shape 904">
                    <a:extLst>
                      <a:ext uri="{FF2B5EF4-FFF2-40B4-BE49-F238E27FC236}">
                        <a16:creationId xmlns:a16="http://schemas.microsoft.com/office/drawing/2014/main" id="{72BEB366-F796-A016-9FA8-D5AFD8CF8366}"/>
                      </a:ext>
                    </a:extLst>
                  </p:cNvPr>
                  <p:cNvSpPr/>
                  <p:nvPr userDrawn="1"/>
                </p:nvSpPr>
                <p:spPr>
                  <a:xfrm>
                    <a:off x="8437518" y="449826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D1D6E1"/>
                  </a:solidFill>
                  <a:ln w="2339" cap="flat">
                    <a:noFill/>
                    <a:prstDash val="solid"/>
                    <a:miter/>
                  </a:ln>
                </p:spPr>
                <p:txBody>
                  <a:bodyPr rtlCol="0" anchor="ctr"/>
                  <a:lstStyle/>
                  <a:p>
                    <a:endParaRPr lang="en-US" sz="2400"/>
                  </a:p>
                </p:txBody>
              </p:sp>
              <p:sp>
                <p:nvSpPr>
                  <p:cNvPr id="906" name="Freeform: Shape 905">
                    <a:extLst>
                      <a:ext uri="{FF2B5EF4-FFF2-40B4-BE49-F238E27FC236}">
                        <a16:creationId xmlns:a16="http://schemas.microsoft.com/office/drawing/2014/main" id="{E9B09D97-9CC2-C3E5-8F62-495B6CEBE0AA}"/>
                      </a:ext>
                    </a:extLst>
                  </p:cNvPr>
                  <p:cNvSpPr/>
                  <p:nvPr userDrawn="1"/>
                </p:nvSpPr>
                <p:spPr>
                  <a:xfrm>
                    <a:off x="8437963" y="449847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2D6E1"/>
                  </a:solidFill>
                  <a:ln w="2339" cap="flat">
                    <a:noFill/>
                    <a:prstDash val="solid"/>
                    <a:miter/>
                  </a:ln>
                </p:spPr>
                <p:txBody>
                  <a:bodyPr rtlCol="0" anchor="ctr"/>
                  <a:lstStyle/>
                  <a:p>
                    <a:endParaRPr lang="en-US" sz="2400"/>
                  </a:p>
                </p:txBody>
              </p:sp>
              <p:sp>
                <p:nvSpPr>
                  <p:cNvPr id="907" name="Freeform: Shape 906">
                    <a:extLst>
                      <a:ext uri="{FF2B5EF4-FFF2-40B4-BE49-F238E27FC236}">
                        <a16:creationId xmlns:a16="http://schemas.microsoft.com/office/drawing/2014/main" id="{0E67A3BB-2513-210B-6DB5-0674F47CF87B}"/>
                      </a:ext>
                    </a:extLst>
                  </p:cNvPr>
                  <p:cNvSpPr/>
                  <p:nvPr userDrawn="1"/>
                </p:nvSpPr>
                <p:spPr>
                  <a:xfrm>
                    <a:off x="8438407" y="449866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D2D6E2"/>
                  </a:solidFill>
                  <a:ln w="2339" cap="flat">
                    <a:noFill/>
                    <a:prstDash val="solid"/>
                    <a:miter/>
                  </a:ln>
                </p:spPr>
                <p:txBody>
                  <a:bodyPr rtlCol="0" anchor="ctr"/>
                  <a:lstStyle/>
                  <a:p>
                    <a:endParaRPr lang="en-US" sz="2400"/>
                  </a:p>
                </p:txBody>
              </p:sp>
              <p:sp>
                <p:nvSpPr>
                  <p:cNvPr id="908" name="Freeform: Shape 907">
                    <a:extLst>
                      <a:ext uri="{FF2B5EF4-FFF2-40B4-BE49-F238E27FC236}">
                        <a16:creationId xmlns:a16="http://schemas.microsoft.com/office/drawing/2014/main" id="{B5B74263-768D-5B49-4478-F9AA77A19E16}"/>
                      </a:ext>
                    </a:extLst>
                  </p:cNvPr>
                  <p:cNvSpPr/>
                  <p:nvPr userDrawn="1"/>
                </p:nvSpPr>
                <p:spPr>
                  <a:xfrm>
                    <a:off x="8438852" y="449887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D2D6E2"/>
                  </a:solidFill>
                  <a:ln w="2339" cap="flat">
                    <a:noFill/>
                    <a:prstDash val="solid"/>
                    <a:miter/>
                  </a:ln>
                </p:spPr>
                <p:txBody>
                  <a:bodyPr rtlCol="0" anchor="ctr"/>
                  <a:lstStyle/>
                  <a:p>
                    <a:endParaRPr lang="en-US" sz="2400"/>
                  </a:p>
                </p:txBody>
              </p:sp>
              <p:sp>
                <p:nvSpPr>
                  <p:cNvPr id="909" name="Freeform: Shape 908">
                    <a:extLst>
                      <a:ext uri="{FF2B5EF4-FFF2-40B4-BE49-F238E27FC236}">
                        <a16:creationId xmlns:a16="http://schemas.microsoft.com/office/drawing/2014/main" id="{1E26EC0A-849F-F746-1601-7D396621F567}"/>
                      </a:ext>
                    </a:extLst>
                  </p:cNvPr>
                  <p:cNvSpPr/>
                  <p:nvPr userDrawn="1"/>
                </p:nvSpPr>
                <p:spPr>
                  <a:xfrm>
                    <a:off x="8439296" y="449908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3D7E2"/>
                  </a:solidFill>
                  <a:ln w="2339" cap="flat">
                    <a:noFill/>
                    <a:prstDash val="solid"/>
                    <a:miter/>
                  </a:ln>
                </p:spPr>
                <p:txBody>
                  <a:bodyPr rtlCol="0" anchor="ctr"/>
                  <a:lstStyle/>
                  <a:p>
                    <a:endParaRPr lang="en-US" sz="2400"/>
                  </a:p>
                </p:txBody>
              </p:sp>
              <p:sp>
                <p:nvSpPr>
                  <p:cNvPr id="910" name="Freeform: Shape 909">
                    <a:extLst>
                      <a:ext uri="{FF2B5EF4-FFF2-40B4-BE49-F238E27FC236}">
                        <a16:creationId xmlns:a16="http://schemas.microsoft.com/office/drawing/2014/main" id="{3C768C6D-05FE-94FF-E48D-0456AF22F7F4}"/>
                      </a:ext>
                    </a:extLst>
                  </p:cNvPr>
                  <p:cNvSpPr/>
                  <p:nvPr userDrawn="1"/>
                </p:nvSpPr>
                <p:spPr>
                  <a:xfrm>
                    <a:off x="8439741" y="449929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3D7E2"/>
                  </a:solidFill>
                  <a:ln w="2339" cap="flat">
                    <a:noFill/>
                    <a:prstDash val="solid"/>
                    <a:miter/>
                  </a:ln>
                </p:spPr>
                <p:txBody>
                  <a:bodyPr rtlCol="0" anchor="ctr"/>
                  <a:lstStyle/>
                  <a:p>
                    <a:endParaRPr lang="en-US" sz="2400"/>
                  </a:p>
                </p:txBody>
              </p:sp>
              <p:sp>
                <p:nvSpPr>
                  <p:cNvPr id="911" name="Freeform: Shape 910">
                    <a:extLst>
                      <a:ext uri="{FF2B5EF4-FFF2-40B4-BE49-F238E27FC236}">
                        <a16:creationId xmlns:a16="http://schemas.microsoft.com/office/drawing/2014/main" id="{447B57AF-B87E-212A-F453-692C01A3E657}"/>
                      </a:ext>
                    </a:extLst>
                  </p:cNvPr>
                  <p:cNvSpPr/>
                  <p:nvPr userDrawn="1"/>
                </p:nvSpPr>
                <p:spPr>
                  <a:xfrm>
                    <a:off x="8440186" y="449950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3D7E2"/>
                  </a:solidFill>
                  <a:ln w="2339" cap="flat">
                    <a:noFill/>
                    <a:prstDash val="solid"/>
                    <a:miter/>
                  </a:ln>
                </p:spPr>
                <p:txBody>
                  <a:bodyPr rtlCol="0" anchor="ctr"/>
                  <a:lstStyle/>
                  <a:p>
                    <a:endParaRPr lang="en-US" sz="2400"/>
                  </a:p>
                </p:txBody>
              </p:sp>
              <p:sp>
                <p:nvSpPr>
                  <p:cNvPr id="912" name="Freeform: Shape 911">
                    <a:extLst>
                      <a:ext uri="{FF2B5EF4-FFF2-40B4-BE49-F238E27FC236}">
                        <a16:creationId xmlns:a16="http://schemas.microsoft.com/office/drawing/2014/main" id="{09ADDD01-3C1D-4107-B2DD-A6DC75AD7291}"/>
                      </a:ext>
                    </a:extLst>
                  </p:cNvPr>
                  <p:cNvSpPr/>
                  <p:nvPr userDrawn="1"/>
                </p:nvSpPr>
                <p:spPr>
                  <a:xfrm>
                    <a:off x="8440630" y="449971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4D7E3"/>
                  </a:solidFill>
                  <a:ln w="2339" cap="flat">
                    <a:noFill/>
                    <a:prstDash val="solid"/>
                    <a:miter/>
                  </a:ln>
                </p:spPr>
                <p:txBody>
                  <a:bodyPr rtlCol="0" anchor="ctr"/>
                  <a:lstStyle/>
                  <a:p>
                    <a:endParaRPr lang="en-US" sz="2400"/>
                  </a:p>
                </p:txBody>
              </p:sp>
              <p:sp>
                <p:nvSpPr>
                  <p:cNvPr id="913" name="Freeform: Shape 912">
                    <a:extLst>
                      <a:ext uri="{FF2B5EF4-FFF2-40B4-BE49-F238E27FC236}">
                        <a16:creationId xmlns:a16="http://schemas.microsoft.com/office/drawing/2014/main" id="{49ECFA28-6E60-5D66-352C-A373040DFE07}"/>
                      </a:ext>
                    </a:extLst>
                  </p:cNvPr>
                  <p:cNvSpPr/>
                  <p:nvPr userDrawn="1"/>
                </p:nvSpPr>
                <p:spPr>
                  <a:xfrm>
                    <a:off x="8441075" y="449990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54"/>
                          <a:pt x="0" y="21060"/>
                        </a:cubicBezTo>
                        <a:close/>
                      </a:path>
                    </a:pathLst>
                  </a:custGeom>
                  <a:solidFill>
                    <a:srgbClr val="D4D8E3"/>
                  </a:solidFill>
                  <a:ln w="2339" cap="flat">
                    <a:noFill/>
                    <a:prstDash val="solid"/>
                    <a:miter/>
                  </a:ln>
                </p:spPr>
                <p:txBody>
                  <a:bodyPr rtlCol="0" anchor="ctr"/>
                  <a:lstStyle/>
                  <a:p>
                    <a:endParaRPr lang="en-US" sz="2400"/>
                  </a:p>
                </p:txBody>
              </p:sp>
              <p:sp>
                <p:nvSpPr>
                  <p:cNvPr id="914" name="Freeform: Shape 913">
                    <a:extLst>
                      <a:ext uri="{FF2B5EF4-FFF2-40B4-BE49-F238E27FC236}">
                        <a16:creationId xmlns:a16="http://schemas.microsoft.com/office/drawing/2014/main" id="{80E5080D-784F-7A7F-3539-FEBE4F69994E}"/>
                      </a:ext>
                    </a:extLst>
                  </p:cNvPr>
                  <p:cNvSpPr/>
                  <p:nvPr userDrawn="1"/>
                </p:nvSpPr>
                <p:spPr>
                  <a:xfrm>
                    <a:off x="8441496" y="450011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D4D8E3"/>
                  </a:solidFill>
                  <a:ln w="2339" cap="flat">
                    <a:noFill/>
                    <a:prstDash val="solid"/>
                    <a:miter/>
                  </a:ln>
                </p:spPr>
                <p:txBody>
                  <a:bodyPr rtlCol="0" anchor="ctr"/>
                  <a:lstStyle/>
                  <a:p>
                    <a:endParaRPr lang="en-US" sz="2400"/>
                  </a:p>
                </p:txBody>
              </p:sp>
              <p:sp>
                <p:nvSpPr>
                  <p:cNvPr id="915" name="Freeform: Shape 914">
                    <a:extLst>
                      <a:ext uri="{FF2B5EF4-FFF2-40B4-BE49-F238E27FC236}">
                        <a16:creationId xmlns:a16="http://schemas.microsoft.com/office/drawing/2014/main" id="{6AD61782-E667-BCFA-0988-C982F13D7779}"/>
                      </a:ext>
                    </a:extLst>
                  </p:cNvPr>
                  <p:cNvSpPr/>
                  <p:nvPr userDrawn="1"/>
                </p:nvSpPr>
                <p:spPr>
                  <a:xfrm>
                    <a:off x="8441941" y="450032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D4D8E3"/>
                  </a:solidFill>
                  <a:ln w="2339" cap="flat">
                    <a:noFill/>
                    <a:prstDash val="solid"/>
                    <a:miter/>
                  </a:ln>
                </p:spPr>
                <p:txBody>
                  <a:bodyPr rtlCol="0" anchor="ctr"/>
                  <a:lstStyle/>
                  <a:p>
                    <a:endParaRPr lang="en-US" sz="2400"/>
                  </a:p>
                </p:txBody>
              </p:sp>
              <p:sp>
                <p:nvSpPr>
                  <p:cNvPr id="916" name="Freeform: Shape 915">
                    <a:extLst>
                      <a:ext uri="{FF2B5EF4-FFF2-40B4-BE49-F238E27FC236}">
                        <a16:creationId xmlns:a16="http://schemas.microsoft.com/office/drawing/2014/main" id="{5EB87722-1393-AC01-62D4-BE28ED69510D}"/>
                      </a:ext>
                    </a:extLst>
                  </p:cNvPr>
                  <p:cNvSpPr/>
                  <p:nvPr userDrawn="1"/>
                </p:nvSpPr>
                <p:spPr>
                  <a:xfrm>
                    <a:off x="8442362" y="450053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D5D9E3"/>
                  </a:solidFill>
                  <a:ln w="2339" cap="flat">
                    <a:noFill/>
                    <a:prstDash val="solid"/>
                    <a:miter/>
                  </a:ln>
                </p:spPr>
                <p:txBody>
                  <a:bodyPr rtlCol="0" anchor="ctr"/>
                  <a:lstStyle/>
                  <a:p>
                    <a:endParaRPr lang="en-US" sz="2400"/>
                  </a:p>
                </p:txBody>
              </p:sp>
              <p:sp>
                <p:nvSpPr>
                  <p:cNvPr id="917" name="Freeform: Shape 916">
                    <a:extLst>
                      <a:ext uri="{FF2B5EF4-FFF2-40B4-BE49-F238E27FC236}">
                        <a16:creationId xmlns:a16="http://schemas.microsoft.com/office/drawing/2014/main" id="{1005C013-B726-ADCE-325A-4F9091B31183}"/>
                      </a:ext>
                    </a:extLst>
                  </p:cNvPr>
                  <p:cNvSpPr/>
                  <p:nvPr userDrawn="1"/>
                </p:nvSpPr>
                <p:spPr>
                  <a:xfrm>
                    <a:off x="8442806" y="450076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5D9E4"/>
                  </a:solidFill>
                  <a:ln w="2339" cap="flat">
                    <a:noFill/>
                    <a:prstDash val="solid"/>
                    <a:miter/>
                  </a:ln>
                </p:spPr>
                <p:txBody>
                  <a:bodyPr rtlCol="0" anchor="ctr"/>
                  <a:lstStyle/>
                  <a:p>
                    <a:endParaRPr lang="en-US" sz="2400"/>
                  </a:p>
                </p:txBody>
              </p:sp>
              <p:sp>
                <p:nvSpPr>
                  <p:cNvPr id="918" name="Freeform: Shape 917">
                    <a:extLst>
                      <a:ext uri="{FF2B5EF4-FFF2-40B4-BE49-F238E27FC236}">
                        <a16:creationId xmlns:a16="http://schemas.microsoft.com/office/drawing/2014/main" id="{40C6F805-9B2D-383F-D28F-6A41AA579AA0}"/>
                      </a:ext>
                    </a:extLst>
                  </p:cNvPr>
                  <p:cNvSpPr/>
                  <p:nvPr userDrawn="1"/>
                </p:nvSpPr>
                <p:spPr>
                  <a:xfrm>
                    <a:off x="8443228" y="450097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5D9E4"/>
                  </a:solidFill>
                  <a:ln w="2339" cap="flat">
                    <a:noFill/>
                    <a:prstDash val="solid"/>
                    <a:miter/>
                  </a:ln>
                </p:spPr>
                <p:txBody>
                  <a:bodyPr rtlCol="0" anchor="ctr"/>
                  <a:lstStyle/>
                  <a:p>
                    <a:endParaRPr lang="en-US" sz="2400"/>
                  </a:p>
                </p:txBody>
              </p:sp>
              <p:sp>
                <p:nvSpPr>
                  <p:cNvPr id="919" name="Freeform: Shape 918">
                    <a:extLst>
                      <a:ext uri="{FF2B5EF4-FFF2-40B4-BE49-F238E27FC236}">
                        <a16:creationId xmlns:a16="http://schemas.microsoft.com/office/drawing/2014/main" id="{2373CAB1-5F4F-F642-6095-004FB5C3D277}"/>
                      </a:ext>
                    </a:extLst>
                  </p:cNvPr>
                  <p:cNvSpPr/>
                  <p:nvPr userDrawn="1"/>
                </p:nvSpPr>
                <p:spPr>
                  <a:xfrm>
                    <a:off x="8443649" y="450118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6D9E4"/>
                  </a:solidFill>
                  <a:ln w="2339" cap="flat">
                    <a:noFill/>
                    <a:prstDash val="solid"/>
                    <a:miter/>
                  </a:ln>
                </p:spPr>
                <p:txBody>
                  <a:bodyPr rtlCol="0" anchor="ctr"/>
                  <a:lstStyle/>
                  <a:p>
                    <a:endParaRPr lang="en-US" sz="2400"/>
                  </a:p>
                </p:txBody>
              </p:sp>
              <p:sp>
                <p:nvSpPr>
                  <p:cNvPr id="920" name="Freeform: Shape 919">
                    <a:extLst>
                      <a:ext uri="{FF2B5EF4-FFF2-40B4-BE49-F238E27FC236}">
                        <a16:creationId xmlns:a16="http://schemas.microsoft.com/office/drawing/2014/main" id="{57191449-B726-314C-89C2-ACB9DE4D319B}"/>
                      </a:ext>
                    </a:extLst>
                  </p:cNvPr>
                  <p:cNvSpPr/>
                  <p:nvPr userDrawn="1"/>
                </p:nvSpPr>
                <p:spPr>
                  <a:xfrm>
                    <a:off x="8444093" y="450140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6DAE4"/>
                  </a:solidFill>
                  <a:ln w="2339" cap="flat">
                    <a:noFill/>
                    <a:prstDash val="solid"/>
                    <a:miter/>
                  </a:ln>
                </p:spPr>
                <p:txBody>
                  <a:bodyPr rtlCol="0" anchor="ctr"/>
                  <a:lstStyle/>
                  <a:p>
                    <a:endParaRPr lang="en-US" sz="2400"/>
                  </a:p>
                </p:txBody>
              </p:sp>
              <p:sp>
                <p:nvSpPr>
                  <p:cNvPr id="921" name="Freeform: Shape 920">
                    <a:extLst>
                      <a:ext uri="{FF2B5EF4-FFF2-40B4-BE49-F238E27FC236}">
                        <a16:creationId xmlns:a16="http://schemas.microsoft.com/office/drawing/2014/main" id="{76052370-0938-A7DF-AE19-A070DB0EBAA3}"/>
                      </a:ext>
                    </a:extLst>
                  </p:cNvPr>
                  <p:cNvSpPr/>
                  <p:nvPr userDrawn="1"/>
                </p:nvSpPr>
                <p:spPr>
                  <a:xfrm>
                    <a:off x="8444515" y="450161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D6DAE4"/>
                  </a:solidFill>
                  <a:ln w="2339" cap="flat">
                    <a:noFill/>
                    <a:prstDash val="solid"/>
                    <a:miter/>
                  </a:ln>
                </p:spPr>
                <p:txBody>
                  <a:bodyPr rtlCol="0" anchor="ctr"/>
                  <a:lstStyle/>
                  <a:p>
                    <a:endParaRPr lang="en-US" sz="2400"/>
                  </a:p>
                </p:txBody>
              </p:sp>
              <p:sp>
                <p:nvSpPr>
                  <p:cNvPr id="922" name="Freeform: Shape 921">
                    <a:extLst>
                      <a:ext uri="{FF2B5EF4-FFF2-40B4-BE49-F238E27FC236}">
                        <a16:creationId xmlns:a16="http://schemas.microsoft.com/office/drawing/2014/main" id="{F30868A0-E902-DCCC-7DDB-62AE33942AB8}"/>
                      </a:ext>
                    </a:extLst>
                  </p:cNvPr>
                  <p:cNvSpPr/>
                  <p:nvPr userDrawn="1"/>
                </p:nvSpPr>
                <p:spPr>
                  <a:xfrm>
                    <a:off x="8444936" y="450184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7DAE5"/>
                  </a:solidFill>
                  <a:ln w="2339" cap="flat">
                    <a:noFill/>
                    <a:prstDash val="solid"/>
                    <a:miter/>
                  </a:ln>
                </p:spPr>
                <p:txBody>
                  <a:bodyPr rtlCol="0" anchor="ctr"/>
                  <a:lstStyle/>
                  <a:p>
                    <a:endParaRPr lang="en-US" sz="2400"/>
                  </a:p>
                </p:txBody>
              </p:sp>
              <p:sp>
                <p:nvSpPr>
                  <p:cNvPr id="923" name="Freeform: Shape 922">
                    <a:extLst>
                      <a:ext uri="{FF2B5EF4-FFF2-40B4-BE49-F238E27FC236}">
                        <a16:creationId xmlns:a16="http://schemas.microsoft.com/office/drawing/2014/main" id="{DB5C1F4D-C501-B17B-A208-821331D44835}"/>
                      </a:ext>
                    </a:extLst>
                  </p:cNvPr>
                  <p:cNvSpPr/>
                  <p:nvPr userDrawn="1"/>
                </p:nvSpPr>
                <p:spPr>
                  <a:xfrm>
                    <a:off x="8445357" y="450205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7DBE5"/>
                  </a:solidFill>
                  <a:ln w="2339" cap="flat">
                    <a:noFill/>
                    <a:prstDash val="solid"/>
                    <a:miter/>
                  </a:ln>
                </p:spPr>
                <p:txBody>
                  <a:bodyPr rtlCol="0" anchor="ctr"/>
                  <a:lstStyle/>
                  <a:p>
                    <a:endParaRPr lang="en-US" sz="2400"/>
                  </a:p>
                </p:txBody>
              </p:sp>
              <p:sp>
                <p:nvSpPr>
                  <p:cNvPr id="924" name="Freeform: Shape 923">
                    <a:extLst>
                      <a:ext uri="{FF2B5EF4-FFF2-40B4-BE49-F238E27FC236}">
                        <a16:creationId xmlns:a16="http://schemas.microsoft.com/office/drawing/2014/main" id="{E779F81D-7FED-2163-1837-0637B2535894}"/>
                      </a:ext>
                    </a:extLst>
                  </p:cNvPr>
                  <p:cNvSpPr/>
                  <p:nvPr userDrawn="1"/>
                </p:nvSpPr>
                <p:spPr>
                  <a:xfrm>
                    <a:off x="8445778" y="450226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D7DBE5"/>
                  </a:solidFill>
                  <a:ln w="2339" cap="flat">
                    <a:noFill/>
                    <a:prstDash val="solid"/>
                    <a:miter/>
                  </a:ln>
                </p:spPr>
                <p:txBody>
                  <a:bodyPr rtlCol="0" anchor="ctr"/>
                  <a:lstStyle/>
                  <a:p>
                    <a:endParaRPr lang="en-US" sz="2400"/>
                  </a:p>
                </p:txBody>
              </p:sp>
              <p:sp>
                <p:nvSpPr>
                  <p:cNvPr id="925" name="Freeform: Shape 924">
                    <a:extLst>
                      <a:ext uri="{FF2B5EF4-FFF2-40B4-BE49-F238E27FC236}">
                        <a16:creationId xmlns:a16="http://schemas.microsoft.com/office/drawing/2014/main" id="{E2BCB807-1BA6-4869-0612-A672E8EA5D5E}"/>
                      </a:ext>
                    </a:extLst>
                  </p:cNvPr>
                  <p:cNvSpPr/>
                  <p:nvPr userDrawn="1"/>
                </p:nvSpPr>
                <p:spPr>
                  <a:xfrm>
                    <a:off x="8446176" y="450249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8DBE5"/>
                  </a:solidFill>
                  <a:ln w="2339" cap="flat">
                    <a:noFill/>
                    <a:prstDash val="solid"/>
                    <a:miter/>
                  </a:ln>
                </p:spPr>
                <p:txBody>
                  <a:bodyPr rtlCol="0" anchor="ctr"/>
                  <a:lstStyle/>
                  <a:p>
                    <a:endParaRPr lang="en-US" sz="2400"/>
                  </a:p>
                </p:txBody>
              </p:sp>
              <p:sp>
                <p:nvSpPr>
                  <p:cNvPr id="926" name="Freeform: Shape 925">
                    <a:extLst>
                      <a:ext uri="{FF2B5EF4-FFF2-40B4-BE49-F238E27FC236}">
                        <a16:creationId xmlns:a16="http://schemas.microsoft.com/office/drawing/2014/main" id="{9EA56BA2-E5F3-0F75-F497-46C2DD356064}"/>
                      </a:ext>
                    </a:extLst>
                  </p:cNvPr>
                  <p:cNvSpPr/>
                  <p:nvPr userDrawn="1"/>
                </p:nvSpPr>
                <p:spPr>
                  <a:xfrm>
                    <a:off x="8446597" y="450271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8DBE5"/>
                  </a:solidFill>
                  <a:ln w="2339" cap="flat">
                    <a:noFill/>
                    <a:prstDash val="solid"/>
                    <a:miter/>
                  </a:ln>
                </p:spPr>
                <p:txBody>
                  <a:bodyPr rtlCol="0" anchor="ctr"/>
                  <a:lstStyle/>
                  <a:p>
                    <a:endParaRPr lang="en-US" sz="2400"/>
                  </a:p>
                </p:txBody>
              </p:sp>
              <p:sp>
                <p:nvSpPr>
                  <p:cNvPr id="927" name="Freeform: Shape 926">
                    <a:extLst>
                      <a:ext uri="{FF2B5EF4-FFF2-40B4-BE49-F238E27FC236}">
                        <a16:creationId xmlns:a16="http://schemas.microsoft.com/office/drawing/2014/main" id="{97036C6D-8D9E-3305-E783-49717FFA213B}"/>
                      </a:ext>
                    </a:extLst>
                  </p:cNvPr>
                  <p:cNvSpPr/>
                  <p:nvPr userDrawn="1"/>
                </p:nvSpPr>
                <p:spPr>
                  <a:xfrm>
                    <a:off x="8447018" y="450292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54"/>
                          <a:pt x="0" y="21060"/>
                        </a:cubicBezTo>
                        <a:close/>
                      </a:path>
                    </a:pathLst>
                  </a:custGeom>
                  <a:solidFill>
                    <a:srgbClr val="D8DCE6"/>
                  </a:solidFill>
                  <a:ln w="2339" cap="flat">
                    <a:noFill/>
                    <a:prstDash val="solid"/>
                    <a:miter/>
                  </a:ln>
                </p:spPr>
                <p:txBody>
                  <a:bodyPr rtlCol="0" anchor="ctr"/>
                  <a:lstStyle/>
                  <a:p>
                    <a:endParaRPr lang="en-US" sz="2400"/>
                  </a:p>
                </p:txBody>
              </p:sp>
              <p:sp>
                <p:nvSpPr>
                  <p:cNvPr id="928" name="Freeform: Shape 927">
                    <a:extLst>
                      <a:ext uri="{FF2B5EF4-FFF2-40B4-BE49-F238E27FC236}">
                        <a16:creationId xmlns:a16="http://schemas.microsoft.com/office/drawing/2014/main" id="{4F317B40-2457-BB6C-5C25-365080F9665C}"/>
                      </a:ext>
                    </a:extLst>
                  </p:cNvPr>
                  <p:cNvSpPr/>
                  <p:nvPr userDrawn="1"/>
                </p:nvSpPr>
                <p:spPr>
                  <a:xfrm>
                    <a:off x="8447416" y="450315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8DCE6"/>
                  </a:solidFill>
                  <a:ln w="2339" cap="flat">
                    <a:noFill/>
                    <a:prstDash val="solid"/>
                    <a:miter/>
                  </a:ln>
                </p:spPr>
                <p:txBody>
                  <a:bodyPr rtlCol="0" anchor="ctr"/>
                  <a:lstStyle/>
                  <a:p>
                    <a:endParaRPr lang="en-US" sz="2400"/>
                  </a:p>
                </p:txBody>
              </p:sp>
              <p:sp>
                <p:nvSpPr>
                  <p:cNvPr id="929" name="Freeform: Shape 928">
                    <a:extLst>
                      <a:ext uri="{FF2B5EF4-FFF2-40B4-BE49-F238E27FC236}">
                        <a16:creationId xmlns:a16="http://schemas.microsoft.com/office/drawing/2014/main" id="{25527935-2B70-BEF1-97CD-D9C6428FF8A5}"/>
                      </a:ext>
                    </a:extLst>
                  </p:cNvPr>
                  <p:cNvSpPr/>
                  <p:nvPr userDrawn="1"/>
                </p:nvSpPr>
                <p:spPr>
                  <a:xfrm>
                    <a:off x="8447814" y="450338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9DCE6"/>
                  </a:solidFill>
                  <a:ln w="2339" cap="flat">
                    <a:noFill/>
                    <a:prstDash val="solid"/>
                    <a:miter/>
                  </a:ln>
                </p:spPr>
                <p:txBody>
                  <a:bodyPr rtlCol="0" anchor="ctr"/>
                  <a:lstStyle/>
                  <a:p>
                    <a:endParaRPr lang="en-US" sz="2400"/>
                  </a:p>
                </p:txBody>
              </p:sp>
              <p:sp>
                <p:nvSpPr>
                  <p:cNvPr id="930" name="Freeform: Shape 929">
                    <a:extLst>
                      <a:ext uri="{FF2B5EF4-FFF2-40B4-BE49-F238E27FC236}">
                        <a16:creationId xmlns:a16="http://schemas.microsoft.com/office/drawing/2014/main" id="{8848F30F-C4A6-A77C-B721-B630B1BE3DD4}"/>
                      </a:ext>
                    </a:extLst>
                  </p:cNvPr>
                  <p:cNvSpPr/>
                  <p:nvPr userDrawn="1"/>
                </p:nvSpPr>
                <p:spPr>
                  <a:xfrm>
                    <a:off x="8448235" y="450359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9DCE6"/>
                  </a:solidFill>
                  <a:ln w="2339" cap="flat">
                    <a:noFill/>
                    <a:prstDash val="solid"/>
                    <a:miter/>
                  </a:ln>
                </p:spPr>
                <p:txBody>
                  <a:bodyPr rtlCol="0" anchor="ctr"/>
                  <a:lstStyle/>
                  <a:p>
                    <a:endParaRPr lang="en-US" sz="2400"/>
                  </a:p>
                </p:txBody>
              </p:sp>
              <p:sp>
                <p:nvSpPr>
                  <p:cNvPr id="931" name="Freeform: Shape 930">
                    <a:extLst>
                      <a:ext uri="{FF2B5EF4-FFF2-40B4-BE49-F238E27FC236}">
                        <a16:creationId xmlns:a16="http://schemas.microsoft.com/office/drawing/2014/main" id="{E80F882F-B8FA-78D1-C04B-13EAA618CFDA}"/>
                      </a:ext>
                    </a:extLst>
                  </p:cNvPr>
                  <p:cNvSpPr/>
                  <p:nvPr userDrawn="1"/>
                </p:nvSpPr>
                <p:spPr>
                  <a:xfrm>
                    <a:off x="8448633" y="450383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9DDE6"/>
                  </a:solidFill>
                  <a:ln w="2339" cap="flat">
                    <a:noFill/>
                    <a:prstDash val="solid"/>
                    <a:miter/>
                  </a:ln>
                </p:spPr>
                <p:txBody>
                  <a:bodyPr rtlCol="0" anchor="ctr"/>
                  <a:lstStyle/>
                  <a:p>
                    <a:endParaRPr lang="en-US" sz="2400"/>
                  </a:p>
                </p:txBody>
              </p:sp>
              <p:sp>
                <p:nvSpPr>
                  <p:cNvPr id="932" name="Freeform: Shape 931">
                    <a:extLst>
                      <a:ext uri="{FF2B5EF4-FFF2-40B4-BE49-F238E27FC236}">
                        <a16:creationId xmlns:a16="http://schemas.microsoft.com/office/drawing/2014/main" id="{293E4E42-DC25-0318-74A2-41F98837FEAC}"/>
                      </a:ext>
                    </a:extLst>
                  </p:cNvPr>
                  <p:cNvSpPr/>
                  <p:nvPr userDrawn="1"/>
                </p:nvSpPr>
                <p:spPr>
                  <a:xfrm>
                    <a:off x="8449031" y="450404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DADDE7"/>
                  </a:solidFill>
                  <a:ln w="2339" cap="flat">
                    <a:noFill/>
                    <a:prstDash val="solid"/>
                    <a:miter/>
                  </a:ln>
                </p:spPr>
                <p:txBody>
                  <a:bodyPr rtlCol="0" anchor="ctr"/>
                  <a:lstStyle/>
                  <a:p>
                    <a:endParaRPr lang="en-US" sz="2400"/>
                  </a:p>
                </p:txBody>
              </p:sp>
              <p:sp>
                <p:nvSpPr>
                  <p:cNvPr id="933" name="Freeform: Shape 932">
                    <a:extLst>
                      <a:ext uri="{FF2B5EF4-FFF2-40B4-BE49-F238E27FC236}">
                        <a16:creationId xmlns:a16="http://schemas.microsoft.com/office/drawing/2014/main" id="{15F44ECE-47DA-059D-BD49-7F7D9E502194}"/>
                      </a:ext>
                    </a:extLst>
                  </p:cNvPr>
                  <p:cNvSpPr/>
                  <p:nvPr userDrawn="1"/>
                </p:nvSpPr>
                <p:spPr>
                  <a:xfrm>
                    <a:off x="8449429" y="450427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ADDE7"/>
                  </a:solidFill>
                  <a:ln w="2339" cap="flat">
                    <a:noFill/>
                    <a:prstDash val="solid"/>
                    <a:miter/>
                  </a:ln>
                </p:spPr>
                <p:txBody>
                  <a:bodyPr rtlCol="0" anchor="ctr"/>
                  <a:lstStyle/>
                  <a:p>
                    <a:endParaRPr lang="en-US" sz="2400"/>
                  </a:p>
                </p:txBody>
              </p:sp>
              <p:sp>
                <p:nvSpPr>
                  <p:cNvPr id="934" name="Freeform: Shape 933">
                    <a:extLst>
                      <a:ext uri="{FF2B5EF4-FFF2-40B4-BE49-F238E27FC236}">
                        <a16:creationId xmlns:a16="http://schemas.microsoft.com/office/drawing/2014/main" id="{3C7849D3-F813-0624-EAD8-65E6337DE60D}"/>
                      </a:ext>
                    </a:extLst>
                  </p:cNvPr>
                  <p:cNvSpPr/>
                  <p:nvPr userDrawn="1"/>
                </p:nvSpPr>
                <p:spPr>
                  <a:xfrm>
                    <a:off x="8449826" y="450451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ADEE7"/>
                  </a:solidFill>
                  <a:ln w="2339" cap="flat">
                    <a:noFill/>
                    <a:prstDash val="solid"/>
                    <a:miter/>
                  </a:ln>
                </p:spPr>
                <p:txBody>
                  <a:bodyPr rtlCol="0" anchor="ctr"/>
                  <a:lstStyle/>
                  <a:p>
                    <a:endParaRPr lang="en-US" sz="2400"/>
                  </a:p>
                </p:txBody>
              </p:sp>
              <p:sp>
                <p:nvSpPr>
                  <p:cNvPr id="935" name="Freeform: Shape 934">
                    <a:extLst>
                      <a:ext uri="{FF2B5EF4-FFF2-40B4-BE49-F238E27FC236}">
                        <a16:creationId xmlns:a16="http://schemas.microsoft.com/office/drawing/2014/main" id="{62A53650-F6F1-721F-768E-6EE4D2517B4F}"/>
                      </a:ext>
                    </a:extLst>
                  </p:cNvPr>
                  <p:cNvSpPr/>
                  <p:nvPr userDrawn="1"/>
                </p:nvSpPr>
                <p:spPr>
                  <a:xfrm>
                    <a:off x="8450224" y="450474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BDEE7"/>
                  </a:solidFill>
                  <a:ln w="2339" cap="flat">
                    <a:noFill/>
                    <a:prstDash val="solid"/>
                    <a:miter/>
                  </a:ln>
                </p:spPr>
                <p:txBody>
                  <a:bodyPr rtlCol="0" anchor="ctr"/>
                  <a:lstStyle/>
                  <a:p>
                    <a:endParaRPr lang="en-US" sz="2400"/>
                  </a:p>
                </p:txBody>
              </p:sp>
              <p:sp>
                <p:nvSpPr>
                  <p:cNvPr id="936" name="Freeform: Shape 935">
                    <a:extLst>
                      <a:ext uri="{FF2B5EF4-FFF2-40B4-BE49-F238E27FC236}">
                        <a16:creationId xmlns:a16="http://schemas.microsoft.com/office/drawing/2014/main" id="{A9782070-1B2D-3254-46BF-08BA05E18D24}"/>
                      </a:ext>
                    </a:extLst>
                  </p:cNvPr>
                  <p:cNvSpPr/>
                  <p:nvPr userDrawn="1"/>
                </p:nvSpPr>
                <p:spPr>
                  <a:xfrm>
                    <a:off x="8450622" y="450495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DBDEE7"/>
                  </a:solidFill>
                  <a:ln w="2339" cap="flat">
                    <a:noFill/>
                    <a:prstDash val="solid"/>
                    <a:miter/>
                  </a:ln>
                </p:spPr>
                <p:txBody>
                  <a:bodyPr rtlCol="0" anchor="ctr"/>
                  <a:lstStyle/>
                  <a:p>
                    <a:endParaRPr lang="en-US" sz="2400"/>
                  </a:p>
                </p:txBody>
              </p:sp>
              <p:sp>
                <p:nvSpPr>
                  <p:cNvPr id="937" name="Freeform: Shape 936">
                    <a:extLst>
                      <a:ext uri="{FF2B5EF4-FFF2-40B4-BE49-F238E27FC236}">
                        <a16:creationId xmlns:a16="http://schemas.microsoft.com/office/drawing/2014/main" id="{DCA20766-C89C-5A2E-BF11-E5C63EF9226C}"/>
                      </a:ext>
                    </a:extLst>
                  </p:cNvPr>
                  <p:cNvSpPr/>
                  <p:nvPr userDrawn="1"/>
                </p:nvSpPr>
                <p:spPr>
                  <a:xfrm>
                    <a:off x="8451020" y="450519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DBDEE8"/>
                  </a:solidFill>
                  <a:ln w="2339" cap="flat">
                    <a:noFill/>
                    <a:prstDash val="solid"/>
                    <a:miter/>
                  </a:ln>
                </p:spPr>
                <p:txBody>
                  <a:bodyPr rtlCol="0" anchor="ctr"/>
                  <a:lstStyle/>
                  <a:p>
                    <a:endParaRPr lang="en-US" sz="2400"/>
                  </a:p>
                </p:txBody>
              </p:sp>
              <p:sp>
                <p:nvSpPr>
                  <p:cNvPr id="938" name="Freeform: Shape 937">
                    <a:extLst>
                      <a:ext uri="{FF2B5EF4-FFF2-40B4-BE49-F238E27FC236}">
                        <a16:creationId xmlns:a16="http://schemas.microsoft.com/office/drawing/2014/main" id="{DBF41ED7-7EAA-F471-57E7-6D1214663879}"/>
                      </a:ext>
                    </a:extLst>
                  </p:cNvPr>
                  <p:cNvSpPr/>
                  <p:nvPr userDrawn="1"/>
                </p:nvSpPr>
                <p:spPr>
                  <a:xfrm>
                    <a:off x="8451394" y="450542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CDFE8"/>
                  </a:solidFill>
                  <a:ln w="2339" cap="flat">
                    <a:noFill/>
                    <a:prstDash val="solid"/>
                    <a:miter/>
                  </a:ln>
                </p:spPr>
                <p:txBody>
                  <a:bodyPr rtlCol="0" anchor="ctr"/>
                  <a:lstStyle/>
                  <a:p>
                    <a:endParaRPr lang="en-US" sz="2400"/>
                  </a:p>
                </p:txBody>
              </p:sp>
              <p:sp>
                <p:nvSpPr>
                  <p:cNvPr id="939" name="Freeform: Shape 938">
                    <a:extLst>
                      <a:ext uri="{FF2B5EF4-FFF2-40B4-BE49-F238E27FC236}">
                        <a16:creationId xmlns:a16="http://schemas.microsoft.com/office/drawing/2014/main" id="{072AF2B1-3B71-926F-BBAA-40FAE8AB66F4}"/>
                      </a:ext>
                    </a:extLst>
                  </p:cNvPr>
                  <p:cNvSpPr/>
                  <p:nvPr userDrawn="1"/>
                </p:nvSpPr>
                <p:spPr>
                  <a:xfrm>
                    <a:off x="8451792" y="450565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CDFE8"/>
                  </a:solidFill>
                  <a:ln w="2339" cap="flat">
                    <a:noFill/>
                    <a:prstDash val="solid"/>
                    <a:miter/>
                  </a:ln>
                </p:spPr>
                <p:txBody>
                  <a:bodyPr rtlCol="0" anchor="ctr"/>
                  <a:lstStyle/>
                  <a:p>
                    <a:endParaRPr lang="en-US" sz="2400"/>
                  </a:p>
                </p:txBody>
              </p:sp>
              <p:sp>
                <p:nvSpPr>
                  <p:cNvPr id="940" name="Freeform: Shape 939">
                    <a:extLst>
                      <a:ext uri="{FF2B5EF4-FFF2-40B4-BE49-F238E27FC236}">
                        <a16:creationId xmlns:a16="http://schemas.microsoft.com/office/drawing/2014/main" id="{1306D3BC-B9E2-38DC-32E1-5C53F28501E3}"/>
                      </a:ext>
                    </a:extLst>
                  </p:cNvPr>
                  <p:cNvSpPr/>
                  <p:nvPr userDrawn="1"/>
                </p:nvSpPr>
                <p:spPr>
                  <a:xfrm>
                    <a:off x="8452166" y="450589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CDFE8"/>
                  </a:solidFill>
                  <a:ln w="2339" cap="flat">
                    <a:noFill/>
                    <a:prstDash val="solid"/>
                    <a:miter/>
                  </a:ln>
                </p:spPr>
                <p:txBody>
                  <a:bodyPr rtlCol="0" anchor="ctr"/>
                  <a:lstStyle/>
                  <a:p>
                    <a:endParaRPr lang="en-US" sz="2400"/>
                  </a:p>
                </p:txBody>
              </p:sp>
              <p:sp>
                <p:nvSpPr>
                  <p:cNvPr id="941" name="Freeform: Shape 940">
                    <a:extLst>
                      <a:ext uri="{FF2B5EF4-FFF2-40B4-BE49-F238E27FC236}">
                        <a16:creationId xmlns:a16="http://schemas.microsoft.com/office/drawing/2014/main" id="{5D7AA9BD-4577-F62C-36E3-DBB981B288D3}"/>
                      </a:ext>
                    </a:extLst>
                  </p:cNvPr>
                  <p:cNvSpPr/>
                  <p:nvPr userDrawn="1"/>
                </p:nvSpPr>
                <p:spPr>
                  <a:xfrm>
                    <a:off x="8452564" y="450612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CE0E8"/>
                  </a:solidFill>
                  <a:ln w="2339" cap="flat">
                    <a:noFill/>
                    <a:prstDash val="solid"/>
                    <a:miter/>
                  </a:ln>
                </p:spPr>
                <p:txBody>
                  <a:bodyPr rtlCol="0" anchor="ctr"/>
                  <a:lstStyle/>
                  <a:p>
                    <a:endParaRPr lang="en-US" sz="2400"/>
                  </a:p>
                </p:txBody>
              </p:sp>
              <p:sp>
                <p:nvSpPr>
                  <p:cNvPr id="942" name="Freeform: Shape 941">
                    <a:extLst>
                      <a:ext uri="{FF2B5EF4-FFF2-40B4-BE49-F238E27FC236}">
                        <a16:creationId xmlns:a16="http://schemas.microsoft.com/office/drawing/2014/main" id="{9D2CB7A1-4458-EDB0-9A12-6252C04CE48F}"/>
                      </a:ext>
                    </a:extLst>
                  </p:cNvPr>
                  <p:cNvSpPr/>
                  <p:nvPr userDrawn="1"/>
                </p:nvSpPr>
                <p:spPr>
                  <a:xfrm>
                    <a:off x="8452939" y="450636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DE0E9"/>
                  </a:solidFill>
                  <a:ln w="2339" cap="flat">
                    <a:noFill/>
                    <a:prstDash val="solid"/>
                    <a:miter/>
                  </a:ln>
                </p:spPr>
                <p:txBody>
                  <a:bodyPr rtlCol="0" anchor="ctr"/>
                  <a:lstStyle/>
                  <a:p>
                    <a:endParaRPr lang="en-US" sz="2400"/>
                  </a:p>
                </p:txBody>
              </p:sp>
              <p:sp>
                <p:nvSpPr>
                  <p:cNvPr id="943" name="Freeform: Shape 942">
                    <a:extLst>
                      <a:ext uri="{FF2B5EF4-FFF2-40B4-BE49-F238E27FC236}">
                        <a16:creationId xmlns:a16="http://schemas.microsoft.com/office/drawing/2014/main" id="{DAC2492B-AC6A-9D3B-6BD3-2760EDDD1465}"/>
                      </a:ext>
                    </a:extLst>
                  </p:cNvPr>
                  <p:cNvSpPr/>
                  <p:nvPr userDrawn="1"/>
                </p:nvSpPr>
                <p:spPr>
                  <a:xfrm>
                    <a:off x="8453313" y="450659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DE0E9"/>
                  </a:solidFill>
                  <a:ln w="2339" cap="flat">
                    <a:noFill/>
                    <a:prstDash val="solid"/>
                    <a:miter/>
                  </a:ln>
                </p:spPr>
                <p:txBody>
                  <a:bodyPr rtlCol="0" anchor="ctr"/>
                  <a:lstStyle/>
                  <a:p>
                    <a:endParaRPr lang="en-US" sz="2400"/>
                  </a:p>
                </p:txBody>
              </p:sp>
              <p:sp>
                <p:nvSpPr>
                  <p:cNvPr id="944" name="Freeform: Shape 943">
                    <a:extLst>
                      <a:ext uri="{FF2B5EF4-FFF2-40B4-BE49-F238E27FC236}">
                        <a16:creationId xmlns:a16="http://schemas.microsoft.com/office/drawing/2014/main" id="{D31316E1-3209-371E-9AA5-C5FB9A3A30BB}"/>
                      </a:ext>
                    </a:extLst>
                  </p:cNvPr>
                  <p:cNvSpPr/>
                  <p:nvPr userDrawn="1"/>
                </p:nvSpPr>
                <p:spPr>
                  <a:xfrm>
                    <a:off x="8453688" y="450682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DE0E9"/>
                  </a:solidFill>
                  <a:ln w="2339" cap="flat">
                    <a:noFill/>
                    <a:prstDash val="solid"/>
                    <a:miter/>
                  </a:ln>
                </p:spPr>
                <p:txBody>
                  <a:bodyPr rtlCol="0" anchor="ctr"/>
                  <a:lstStyle/>
                  <a:p>
                    <a:endParaRPr lang="en-US" sz="2400"/>
                  </a:p>
                </p:txBody>
              </p:sp>
              <p:sp>
                <p:nvSpPr>
                  <p:cNvPr id="945" name="Freeform: Shape 944">
                    <a:extLst>
                      <a:ext uri="{FF2B5EF4-FFF2-40B4-BE49-F238E27FC236}">
                        <a16:creationId xmlns:a16="http://schemas.microsoft.com/office/drawing/2014/main" id="{FF2DA409-4A25-7A87-89C3-BEBCAE49F852}"/>
                      </a:ext>
                    </a:extLst>
                  </p:cNvPr>
                  <p:cNvSpPr/>
                  <p:nvPr userDrawn="1"/>
                </p:nvSpPr>
                <p:spPr>
                  <a:xfrm>
                    <a:off x="8454062" y="450706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DEE1E9"/>
                  </a:solidFill>
                  <a:ln w="2339" cap="flat">
                    <a:noFill/>
                    <a:prstDash val="solid"/>
                    <a:miter/>
                  </a:ln>
                </p:spPr>
                <p:txBody>
                  <a:bodyPr rtlCol="0" anchor="ctr"/>
                  <a:lstStyle/>
                  <a:p>
                    <a:endParaRPr lang="en-US" sz="2400"/>
                  </a:p>
                </p:txBody>
              </p:sp>
              <p:sp>
                <p:nvSpPr>
                  <p:cNvPr id="946" name="Freeform: Shape 945">
                    <a:extLst>
                      <a:ext uri="{FF2B5EF4-FFF2-40B4-BE49-F238E27FC236}">
                        <a16:creationId xmlns:a16="http://schemas.microsoft.com/office/drawing/2014/main" id="{44CE82E9-E55B-2745-FCFE-0DDAED1D5B41}"/>
                      </a:ext>
                    </a:extLst>
                  </p:cNvPr>
                  <p:cNvSpPr/>
                  <p:nvPr userDrawn="1"/>
                </p:nvSpPr>
                <p:spPr>
                  <a:xfrm>
                    <a:off x="8454436" y="450729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DEE1E9"/>
                  </a:solidFill>
                  <a:ln w="2339" cap="flat">
                    <a:noFill/>
                    <a:prstDash val="solid"/>
                    <a:miter/>
                  </a:ln>
                </p:spPr>
                <p:txBody>
                  <a:bodyPr rtlCol="0" anchor="ctr"/>
                  <a:lstStyle/>
                  <a:p>
                    <a:endParaRPr lang="en-US" sz="2400"/>
                  </a:p>
                </p:txBody>
              </p:sp>
              <p:sp>
                <p:nvSpPr>
                  <p:cNvPr id="947" name="Freeform: Shape 946">
                    <a:extLst>
                      <a:ext uri="{FF2B5EF4-FFF2-40B4-BE49-F238E27FC236}">
                        <a16:creationId xmlns:a16="http://schemas.microsoft.com/office/drawing/2014/main" id="{11340C73-1BE4-6CB2-2E45-DDA38BD59BC1}"/>
                      </a:ext>
                    </a:extLst>
                  </p:cNvPr>
                  <p:cNvSpPr/>
                  <p:nvPr userDrawn="1"/>
                </p:nvSpPr>
                <p:spPr>
                  <a:xfrm>
                    <a:off x="8454811" y="450755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EE1EA"/>
                  </a:solidFill>
                  <a:ln w="2339" cap="flat">
                    <a:noFill/>
                    <a:prstDash val="solid"/>
                    <a:miter/>
                  </a:ln>
                </p:spPr>
                <p:txBody>
                  <a:bodyPr rtlCol="0" anchor="ctr"/>
                  <a:lstStyle/>
                  <a:p>
                    <a:endParaRPr lang="en-US" sz="2400"/>
                  </a:p>
                </p:txBody>
              </p:sp>
              <p:sp>
                <p:nvSpPr>
                  <p:cNvPr id="948" name="Freeform: Shape 947">
                    <a:extLst>
                      <a:ext uri="{FF2B5EF4-FFF2-40B4-BE49-F238E27FC236}">
                        <a16:creationId xmlns:a16="http://schemas.microsoft.com/office/drawing/2014/main" id="{2CE64EAA-C8A1-4027-D7E4-98A6BA6EF860}"/>
                      </a:ext>
                    </a:extLst>
                  </p:cNvPr>
                  <p:cNvSpPr/>
                  <p:nvPr userDrawn="1"/>
                </p:nvSpPr>
                <p:spPr>
                  <a:xfrm>
                    <a:off x="8455162" y="450778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FE1EA"/>
                  </a:solidFill>
                  <a:ln w="2339" cap="flat">
                    <a:noFill/>
                    <a:prstDash val="solid"/>
                    <a:miter/>
                  </a:ln>
                </p:spPr>
                <p:txBody>
                  <a:bodyPr rtlCol="0" anchor="ctr"/>
                  <a:lstStyle/>
                  <a:p>
                    <a:endParaRPr lang="en-US" sz="2400"/>
                  </a:p>
                </p:txBody>
              </p:sp>
              <p:sp>
                <p:nvSpPr>
                  <p:cNvPr id="949" name="Freeform: Shape 948">
                    <a:extLst>
                      <a:ext uri="{FF2B5EF4-FFF2-40B4-BE49-F238E27FC236}">
                        <a16:creationId xmlns:a16="http://schemas.microsoft.com/office/drawing/2014/main" id="{2A023FEF-6EFE-1A52-E554-9E56A2E230A6}"/>
                      </a:ext>
                    </a:extLst>
                  </p:cNvPr>
                  <p:cNvSpPr/>
                  <p:nvPr userDrawn="1"/>
                </p:nvSpPr>
                <p:spPr>
                  <a:xfrm>
                    <a:off x="8455536" y="450802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FE2EA"/>
                  </a:solidFill>
                  <a:ln w="2339" cap="flat">
                    <a:noFill/>
                    <a:prstDash val="solid"/>
                    <a:miter/>
                  </a:ln>
                </p:spPr>
                <p:txBody>
                  <a:bodyPr rtlCol="0" anchor="ctr"/>
                  <a:lstStyle/>
                  <a:p>
                    <a:endParaRPr lang="en-US" sz="2400"/>
                  </a:p>
                </p:txBody>
              </p:sp>
              <p:sp>
                <p:nvSpPr>
                  <p:cNvPr id="950" name="Freeform: Shape 949">
                    <a:extLst>
                      <a:ext uri="{FF2B5EF4-FFF2-40B4-BE49-F238E27FC236}">
                        <a16:creationId xmlns:a16="http://schemas.microsoft.com/office/drawing/2014/main" id="{FDFC78E0-92B0-D66B-D64F-DF37775721A6}"/>
                      </a:ext>
                    </a:extLst>
                  </p:cNvPr>
                  <p:cNvSpPr/>
                  <p:nvPr userDrawn="1"/>
                </p:nvSpPr>
                <p:spPr>
                  <a:xfrm>
                    <a:off x="8455887" y="450825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DFE2EA"/>
                  </a:solidFill>
                  <a:ln w="2339" cap="flat">
                    <a:noFill/>
                    <a:prstDash val="solid"/>
                    <a:miter/>
                  </a:ln>
                </p:spPr>
                <p:txBody>
                  <a:bodyPr rtlCol="0" anchor="ctr"/>
                  <a:lstStyle/>
                  <a:p>
                    <a:endParaRPr lang="en-US" sz="2400"/>
                  </a:p>
                </p:txBody>
              </p:sp>
              <p:sp>
                <p:nvSpPr>
                  <p:cNvPr id="951" name="Freeform: Shape 950">
                    <a:extLst>
                      <a:ext uri="{FF2B5EF4-FFF2-40B4-BE49-F238E27FC236}">
                        <a16:creationId xmlns:a16="http://schemas.microsoft.com/office/drawing/2014/main" id="{BCD7E394-700D-5ACD-E5BD-D3B3EE169BBF}"/>
                      </a:ext>
                    </a:extLst>
                  </p:cNvPr>
                  <p:cNvSpPr/>
                  <p:nvPr userDrawn="1"/>
                </p:nvSpPr>
                <p:spPr>
                  <a:xfrm>
                    <a:off x="8456262" y="450851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FE2EA"/>
                  </a:solidFill>
                  <a:ln w="2339" cap="flat">
                    <a:noFill/>
                    <a:prstDash val="solid"/>
                    <a:miter/>
                  </a:ln>
                </p:spPr>
                <p:txBody>
                  <a:bodyPr rtlCol="0" anchor="ctr"/>
                  <a:lstStyle/>
                  <a:p>
                    <a:endParaRPr lang="en-US" sz="2400"/>
                  </a:p>
                </p:txBody>
              </p:sp>
              <p:sp>
                <p:nvSpPr>
                  <p:cNvPr id="952" name="Freeform: Shape 951">
                    <a:extLst>
                      <a:ext uri="{FF2B5EF4-FFF2-40B4-BE49-F238E27FC236}">
                        <a16:creationId xmlns:a16="http://schemas.microsoft.com/office/drawing/2014/main" id="{FE53081B-25F7-72D8-5C50-FF6C4D8F58B8}"/>
                      </a:ext>
                    </a:extLst>
                  </p:cNvPr>
                  <p:cNvSpPr/>
                  <p:nvPr userDrawn="1"/>
                </p:nvSpPr>
                <p:spPr>
                  <a:xfrm>
                    <a:off x="8456613" y="450874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0E3EB"/>
                  </a:solidFill>
                  <a:ln w="2339" cap="flat">
                    <a:noFill/>
                    <a:prstDash val="solid"/>
                    <a:miter/>
                  </a:ln>
                </p:spPr>
                <p:txBody>
                  <a:bodyPr rtlCol="0" anchor="ctr"/>
                  <a:lstStyle/>
                  <a:p>
                    <a:endParaRPr lang="en-US" sz="2400"/>
                  </a:p>
                </p:txBody>
              </p:sp>
              <p:sp>
                <p:nvSpPr>
                  <p:cNvPr id="953" name="Freeform: Shape 952">
                    <a:extLst>
                      <a:ext uri="{FF2B5EF4-FFF2-40B4-BE49-F238E27FC236}">
                        <a16:creationId xmlns:a16="http://schemas.microsoft.com/office/drawing/2014/main" id="{F7F8A831-E6DA-1DF8-879A-FF4DE40CA74F}"/>
                      </a:ext>
                    </a:extLst>
                  </p:cNvPr>
                  <p:cNvSpPr/>
                  <p:nvPr userDrawn="1"/>
                </p:nvSpPr>
                <p:spPr>
                  <a:xfrm>
                    <a:off x="8456964" y="450898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E0E3EB"/>
                  </a:solidFill>
                  <a:ln w="2339" cap="flat">
                    <a:noFill/>
                    <a:prstDash val="solid"/>
                    <a:miter/>
                  </a:ln>
                </p:spPr>
                <p:txBody>
                  <a:bodyPr rtlCol="0" anchor="ctr"/>
                  <a:lstStyle/>
                  <a:p>
                    <a:endParaRPr lang="en-US" sz="2400"/>
                  </a:p>
                </p:txBody>
              </p:sp>
              <p:sp>
                <p:nvSpPr>
                  <p:cNvPr id="954" name="Freeform: Shape 953">
                    <a:extLst>
                      <a:ext uri="{FF2B5EF4-FFF2-40B4-BE49-F238E27FC236}">
                        <a16:creationId xmlns:a16="http://schemas.microsoft.com/office/drawing/2014/main" id="{CB398E73-E71A-4D81-CA5E-A6BD93D17970}"/>
                      </a:ext>
                    </a:extLst>
                  </p:cNvPr>
                  <p:cNvSpPr/>
                  <p:nvPr userDrawn="1"/>
                </p:nvSpPr>
                <p:spPr>
                  <a:xfrm>
                    <a:off x="8457315" y="450923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0E3EB"/>
                  </a:solidFill>
                  <a:ln w="2339" cap="flat">
                    <a:noFill/>
                    <a:prstDash val="solid"/>
                    <a:miter/>
                  </a:ln>
                </p:spPr>
                <p:txBody>
                  <a:bodyPr rtlCol="0" anchor="ctr"/>
                  <a:lstStyle/>
                  <a:p>
                    <a:endParaRPr lang="en-US" sz="2400"/>
                  </a:p>
                </p:txBody>
              </p:sp>
              <p:sp>
                <p:nvSpPr>
                  <p:cNvPr id="955" name="Freeform: Shape 954">
                    <a:extLst>
                      <a:ext uri="{FF2B5EF4-FFF2-40B4-BE49-F238E27FC236}">
                        <a16:creationId xmlns:a16="http://schemas.microsoft.com/office/drawing/2014/main" id="{4B6ED1E3-D19B-6068-DC9B-4AD028F49208}"/>
                      </a:ext>
                    </a:extLst>
                  </p:cNvPr>
                  <p:cNvSpPr/>
                  <p:nvPr userDrawn="1"/>
                </p:nvSpPr>
                <p:spPr>
                  <a:xfrm>
                    <a:off x="8457666" y="450947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1E3EB"/>
                  </a:solidFill>
                  <a:ln w="2339" cap="flat">
                    <a:noFill/>
                    <a:prstDash val="solid"/>
                    <a:miter/>
                  </a:ln>
                </p:spPr>
                <p:txBody>
                  <a:bodyPr rtlCol="0" anchor="ctr"/>
                  <a:lstStyle/>
                  <a:p>
                    <a:endParaRPr lang="en-US" sz="2400"/>
                  </a:p>
                </p:txBody>
              </p:sp>
              <p:sp>
                <p:nvSpPr>
                  <p:cNvPr id="956" name="Freeform: Shape 955">
                    <a:extLst>
                      <a:ext uri="{FF2B5EF4-FFF2-40B4-BE49-F238E27FC236}">
                        <a16:creationId xmlns:a16="http://schemas.microsoft.com/office/drawing/2014/main" id="{379073DE-B9A8-F322-1DD6-6CE272A2CE75}"/>
                      </a:ext>
                    </a:extLst>
                  </p:cNvPr>
                  <p:cNvSpPr/>
                  <p:nvPr userDrawn="1"/>
                </p:nvSpPr>
                <p:spPr>
                  <a:xfrm>
                    <a:off x="8458017" y="450973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1E4EB"/>
                  </a:solidFill>
                  <a:ln w="2339" cap="flat">
                    <a:noFill/>
                    <a:prstDash val="solid"/>
                    <a:miter/>
                  </a:ln>
                </p:spPr>
                <p:txBody>
                  <a:bodyPr rtlCol="0" anchor="ctr"/>
                  <a:lstStyle/>
                  <a:p>
                    <a:endParaRPr lang="en-US" sz="2400"/>
                  </a:p>
                </p:txBody>
              </p:sp>
              <p:sp>
                <p:nvSpPr>
                  <p:cNvPr id="957" name="Freeform: Shape 956">
                    <a:extLst>
                      <a:ext uri="{FF2B5EF4-FFF2-40B4-BE49-F238E27FC236}">
                        <a16:creationId xmlns:a16="http://schemas.microsoft.com/office/drawing/2014/main" id="{06E77F15-1863-432E-885C-5CE4D5BE55F4}"/>
                      </a:ext>
                    </a:extLst>
                  </p:cNvPr>
                  <p:cNvSpPr/>
                  <p:nvPr userDrawn="1"/>
                </p:nvSpPr>
                <p:spPr>
                  <a:xfrm>
                    <a:off x="8458368" y="450996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E1E4EC"/>
                  </a:solidFill>
                  <a:ln w="2339" cap="flat">
                    <a:noFill/>
                    <a:prstDash val="solid"/>
                    <a:miter/>
                  </a:ln>
                </p:spPr>
                <p:txBody>
                  <a:bodyPr rtlCol="0" anchor="ctr"/>
                  <a:lstStyle/>
                  <a:p>
                    <a:endParaRPr lang="en-US" sz="2400"/>
                  </a:p>
                </p:txBody>
              </p:sp>
              <p:sp>
                <p:nvSpPr>
                  <p:cNvPr id="958" name="Freeform: Shape 957">
                    <a:extLst>
                      <a:ext uri="{FF2B5EF4-FFF2-40B4-BE49-F238E27FC236}">
                        <a16:creationId xmlns:a16="http://schemas.microsoft.com/office/drawing/2014/main" id="{2D603F83-6B8E-1CB4-7693-7D02CA50011A}"/>
                      </a:ext>
                    </a:extLst>
                  </p:cNvPr>
                  <p:cNvSpPr/>
                  <p:nvPr userDrawn="1"/>
                </p:nvSpPr>
                <p:spPr>
                  <a:xfrm>
                    <a:off x="8458719" y="451022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2E4EC"/>
                  </a:solidFill>
                  <a:ln w="2339" cap="flat">
                    <a:noFill/>
                    <a:prstDash val="solid"/>
                    <a:miter/>
                  </a:ln>
                </p:spPr>
                <p:txBody>
                  <a:bodyPr rtlCol="0" anchor="ctr"/>
                  <a:lstStyle/>
                  <a:p>
                    <a:endParaRPr lang="en-US" sz="2400"/>
                  </a:p>
                </p:txBody>
              </p:sp>
              <p:sp>
                <p:nvSpPr>
                  <p:cNvPr id="959" name="Freeform: Shape 958">
                    <a:extLst>
                      <a:ext uri="{FF2B5EF4-FFF2-40B4-BE49-F238E27FC236}">
                        <a16:creationId xmlns:a16="http://schemas.microsoft.com/office/drawing/2014/main" id="{122D61D7-E09F-814C-D8DD-2766EB68C185}"/>
                      </a:ext>
                    </a:extLst>
                  </p:cNvPr>
                  <p:cNvSpPr/>
                  <p:nvPr userDrawn="1"/>
                </p:nvSpPr>
                <p:spPr>
                  <a:xfrm>
                    <a:off x="8459046" y="451047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2E5EC"/>
                  </a:solidFill>
                  <a:ln w="2339" cap="flat">
                    <a:noFill/>
                    <a:prstDash val="solid"/>
                    <a:miter/>
                  </a:ln>
                </p:spPr>
                <p:txBody>
                  <a:bodyPr rtlCol="0" anchor="ctr"/>
                  <a:lstStyle/>
                  <a:p>
                    <a:endParaRPr lang="en-US" sz="2400"/>
                  </a:p>
                </p:txBody>
              </p:sp>
              <p:sp>
                <p:nvSpPr>
                  <p:cNvPr id="960" name="Freeform: Shape 959">
                    <a:extLst>
                      <a:ext uri="{FF2B5EF4-FFF2-40B4-BE49-F238E27FC236}">
                        <a16:creationId xmlns:a16="http://schemas.microsoft.com/office/drawing/2014/main" id="{77FAE8ED-4B03-1AB5-9A73-F94E39D93AA2}"/>
                      </a:ext>
                    </a:extLst>
                  </p:cNvPr>
                  <p:cNvSpPr/>
                  <p:nvPr userDrawn="1"/>
                </p:nvSpPr>
                <p:spPr>
                  <a:xfrm>
                    <a:off x="8459397" y="451071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E2E5EC"/>
                  </a:solidFill>
                  <a:ln w="2339" cap="flat">
                    <a:noFill/>
                    <a:prstDash val="solid"/>
                    <a:miter/>
                  </a:ln>
                </p:spPr>
                <p:txBody>
                  <a:bodyPr rtlCol="0" anchor="ctr"/>
                  <a:lstStyle/>
                  <a:p>
                    <a:endParaRPr lang="en-US" sz="2400"/>
                  </a:p>
                </p:txBody>
              </p:sp>
              <p:sp>
                <p:nvSpPr>
                  <p:cNvPr id="961" name="Freeform: Shape 960">
                    <a:extLst>
                      <a:ext uri="{FF2B5EF4-FFF2-40B4-BE49-F238E27FC236}">
                        <a16:creationId xmlns:a16="http://schemas.microsoft.com/office/drawing/2014/main" id="{0F965DD5-0BD9-A002-59B3-63D65267EC78}"/>
                      </a:ext>
                    </a:extLst>
                  </p:cNvPr>
                  <p:cNvSpPr/>
                  <p:nvPr userDrawn="1"/>
                </p:nvSpPr>
                <p:spPr>
                  <a:xfrm>
                    <a:off x="8459725" y="451097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3E5EC"/>
                  </a:solidFill>
                  <a:ln w="2339" cap="flat">
                    <a:noFill/>
                    <a:prstDash val="solid"/>
                    <a:miter/>
                  </a:ln>
                </p:spPr>
                <p:txBody>
                  <a:bodyPr rtlCol="0" anchor="ctr"/>
                  <a:lstStyle/>
                  <a:p>
                    <a:endParaRPr lang="en-US" sz="2400"/>
                  </a:p>
                </p:txBody>
              </p:sp>
              <p:sp>
                <p:nvSpPr>
                  <p:cNvPr id="962" name="Freeform: Shape 961">
                    <a:extLst>
                      <a:ext uri="{FF2B5EF4-FFF2-40B4-BE49-F238E27FC236}">
                        <a16:creationId xmlns:a16="http://schemas.microsoft.com/office/drawing/2014/main" id="{B1A9ED6F-EB51-AED4-9E0B-57DD98EC0A8B}"/>
                      </a:ext>
                    </a:extLst>
                  </p:cNvPr>
                  <p:cNvSpPr/>
                  <p:nvPr userDrawn="1"/>
                </p:nvSpPr>
                <p:spPr>
                  <a:xfrm>
                    <a:off x="8460052" y="451122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3E5ED"/>
                  </a:solidFill>
                  <a:ln w="2339" cap="flat">
                    <a:noFill/>
                    <a:prstDash val="solid"/>
                    <a:miter/>
                  </a:ln>
                </p:spPr>
                <p:txBody>
                  <a:bodyPr rtlCol="0" anchor="ctr"/>
                  <a:lstStyle/>
                  <a:p>
                    <a:endParaRPr lang="en-US" sz="2400"/>
                  </a:p>
                </p:txBody>
              </p:sp>
              <p:sp>
                <p:nvSpPr>
                  <p:cNvPr id="963" name="Freeform: Shape 962">
                    <a:extLst>
                      <a:ext uri="{FF2B5EF4-FFF2-40B4-BE49-F238E27FC236}">
                        <a16:creationId xmlns:a16="http://schemas.microsoft.com/office/drawing/2014/main" id="{401EB0CC-34C3-8C9D-D20B-F635DBF042E7}"/>
                      </a:ext>
                    </a:extLst>
                  </p:cNvPr>
                  <p:cNvSpPr/>
                  <p:nvPr userDrawn="1"/>
                </p:nvSpPr>
                <p:spPr>
                  <a:xfrm>
                    <a:off x="8460403" y="451146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E3E6ED"/>
                  </a:solidFill>
                  <a:ln w="2339" cap="flat">
                    <a:noFill/>
                    <a:prstDash val="solid"/>
                    <a:miter/>
                  </a:ln>
                </p:spPr>
                <p:txBody>
                  <a:bodyPr rtlCol="0" anchor="ctr"/>
                  <a:lstStyle/>
                  <a:p>
                    <a:endParaRPr lang="en-US" sz="2400"/>
                  </a:p>
                </p:txBody>
              </p:sp>
              <p:sp>
                <p:nvSpPr>
                  <p:cNvPr id="964" name="Freeform: Shape 963">
                    <a:extLst>
                      <a:ext uri="{FF2B5EF4-FFF2-40B4-BE49-F238E27FC236}">
                        <a16:creationId xmlns:a16="http://schemas.microsoft.com/office/drawing/2014/main" id="{0F7E5136-751E-B318-DC64-0521097B537B}"/>
                      </a:ext>
                    </a:extLst>
                  </p:cNvPr>
                  <p:cNvSpPr/>
                  <p:nvPr userDrawn="1"/>
                </p:nvSpPr>
                <p:spPr>
                  <a:xfrm>
                    <a:off x="8460731" y="451171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E3E6ED"/>
                  </a:solidFill>
                  <a:ln w="2339" cap="flat">
                    <a:noFill/>
                    <a:prstDash val="solid"/>
                    <a:miter/>
                  </a:ln>
                </p:spPr>
                <p:txBody>
                  <a:bodyPr rtlCol="0" anchor="ctr"/>
                  <a:lstStyle/>
                  <a:p>
                    <a:endParaRPr lang="en-US" sz="2400"/>
                  </a:p>
                </p:txBody>
              </p:sp>
              <p:sp>
                <p:nvSpPr>
                  <p:cNvPr id="965" name="Freeform: Shape 964">
                    <a:extLst>
                      <a:ext uri="{FF2B5EF4-FFF2-40B4-BE49-F238E27FC236}">
                        <a16:creationId xmlns:a16="http://schemas.microsoft.com/office/drawing/2014/main" id="{6354F34F-7223-69F8-15CB-8F71288BC5CF}"/>
                      </a:ext>
                    </a:extLst>
                  </p:cNvPr>
                  <p:cNvSpPr/>
                  <p:nvPr userDrawn="1"/>
                </p:nvSpPr>
                <p:spPr>
                  <a:xfrm>
                    <a:off x="8461059" y="451197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4E6ED"/>
                  </a:solidFill>
                  <a:ln w="2339" cap="flat">
                    <a:noFill/>
                    <a:prstDash val="solid"/>
                    <a:miter/>
                  </a:ln>
                </p:spPr>
                <p:txBody>
                  <a:bodyPr rtlCol="0" anchor="ctr"/>
                  <a:lstStyle/>
                  <a:p>
                    <a:endParaRPr lang="en-US" sz="2400"/>
                  </a:p>
                </p:txBody>
              </p:sp>
              <p:sp>
                <p:nvSpPr>
                  <p:cNvPr id="966" name="Freeform: Shape 965">
                    <a:extLst>
                      <a:ext uri="{FF2B5EF4-FFF2-40B4-BE49-F238E27FC236}">
                        <a16:creationId xmlns:a16="http://schemas.microsoft.com/office/drawing/2014/main" id="{550007E3-BEE6-4D34-19B8-FD8B34661ADB}"/>
                      </a:ext>
                    </a:extLst>
                  </p:cNvPr>
                  <p:cNvSpPr/>
                  <p:nvPr userDrawn="1"/>
                </p:nvSpPr>
                <p:spPr>
                  <a:xfrm>
                    <a:off x="8461363" y="451223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4E6ED"/>
                  </a:solidFill>
                  <a:ln w="2339" cap="flat">
                    <a:noFill/>
                    <a:prstDash val="solid"/>
                    <a:miter/>
                  </a:ln>
                </p:spPr>
                <p:txBody>
                  <a:bodyPr rtlCol="0" anchor="ctr"/>
                  <a:lstStyle/>
                  <a:p>
                    <a:endParaRPr lang="en-US" sz="2400"/>
                  </a:p>
                </p:txBody>
              </p:sp>
              <p:sp>
                <p:nvSpPr>
                  <p:cNvPr id="967" name="Freeform: Shape 966">
                    <a:extLst>
                      <a:ext uri="{FF2B5EF4-FFF2-40B4-BE49-F238E27FC236}">
                        <a16:creationId xmlns:a16="http://schemas.microsoft.com/office/drawing/2014/main" id="{5D6D1901-C4F3-079C-012F-1F275290BB82}"/>
                      </a:ext>
                    </a:extLst>
                  </p:cNvPr>
                  <p:cNvSpPr/>
                  <p:nvPr userDrawn="1"/>
                </p:nvSpPr>
                <p:spPr>
                  <a:xfrm>
                    <a:off x="8461690" y="451249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4E7EE"/>
                  </a:solidFill>
                  <a:ln w="2339" cap="flat">
                    <a:noFill/>
                    <a:prstDash val="solid"/>
                    <a:miter/>
                  </a:ln>
                </p:spPr>
                <p:txBody>
                  <a:bodyPr rtlCol="0" anchor="ctr"/>
                  <a:lstStyle/>
                  <a:p>
                    <a:endParaRPr lang="en-US" sz="2400"/>
                  </a:p>
                </p:txBody>
              </p:sp>
              <p:sp>
                <p:nvSpPr>
                  <p:cNvPr id="968" name="Freeform: Shape 967">
                    <a:extLst>
                      <a:ext uri="{FF2B5EF4-FFF2-40B4-BE49-F238E27FC236}">
                        <a16:creationId xmlns:a16="http://schemas.microsoft.com/office/drawing/2014/main" id="{99A93F18-9870-F506-72CB-4A277BA45A6F}"/>
                      </a:ext>
                    </a:extLst>
                  </p:cNvPr>
                  <p:cNvSpPr/>
                  <p:nvPr userDrawn="1"/>
                </p:nvSpPr>
                <p:spPr>
                  <a:xfrm>
                    <a:off x="8462018" y="451274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5E7EE"/>
                  </a:solidFill>
                  <a:ln w="2339" cap="flat">
                    <a:noFill/>
                    <a:prstDash val="solid"/>
                    <a:miter/>
                  </a:ln>
                </p:spPr>
                <p:txBody>
                  <a:bodyPr rtlCol="0" anchor="ctr"/>
                  <a:lstStyle/>
                  <a:p>
                    <a:endParaRPr lang="en-US" sz="2400"/>
                  </a:p>
                </p:txBody>
              </p:sp>
              <p:sp>
                <p:nvSpPr>
                  <p:cNvPr id="969" name="Freeform: Shape 968">
                    <a:extLst>
                      <a:ext uri="{FF2B5EF4-FFF2-40B4-BE49-F238E27FC236}">
                        <a16:creationId xmlns:a16="http://schemas.microsoft.com/office/drawing/2014/main" id="{E91C529F-9CAB-246F-2F31-DEA6DA51B1EB}"/>
                      </a:ext>
                    </a:extLst>
                  </p:cNvPr>
                  <p:cNvSpPr/>
                  <p:nvPr userDrawn="1"/>
                </p:nvSpPr>
                <p:spPr>
                  <a:xfrm>
                    <a:off x="8462322" y="451300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5E7EE"/>
                  </a:solidFill>
                  <a:ln w="2339" cap="flat">
                    <a:noFill/>
                    <a:prstDash val="solid"/>
                    <a:miter/>
                  </a:ln>
                </p:spPr>
                <p:txBody>
                  <a:bodyPr rtlCol="0" anchor="ctr"/>
                  <a:lstStyle/>
                  <a:p>
                    <a:endParaRPr lang="en-US" sz="2400"/>
                  </a:p>
                </p:txBody>
              </p:sp>
              <p:sp>
                <p:nvSpPr>
                  <p:cNvPr id="970" name="Freeform: Shape 969">
                    <a:extLst>
                      <a:ext uri="{FF2B5EF4-FFF2-40B4-BE49-F238E27FC236}">
                        <a16:creationId xmlns:a16="http://schemas.microsoft.com/office/drawing/2014/main" id="{09809AC8-6E92-3975-1E36-C2D5347E41FA}"/>
                      </a:ext>
                    </a:extLst>
                  </p:cNvPr>
                  <p:cNvSpPr/>
                  <p:nvPr userDrawn="1"/>
                </p:nvSpPr>
                <p:spPr>
                  <a:xfrm>
                    <a:off x="8462650" y="451326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5E8EE"/>
                  </a:solidFill>
                  <a:ln w="2339" cap="flat">
                    <a:noFill/>
                    <a:prstDash val="solid"/>
                    <a:miter/>
                  </a:ln>
                </p:spPr>
                <p:txBody>
                  <a:bodyPr rtlCol="0" anchor="ctr"/>
                  <a:lstStyle/>
                  <a:p>
                    <a:endParaRPr lang="en-US" sz="2400"/>
                  </a:p>
                </p:txBody>
              </p:sp>
              <p:sp>
                <p:nvSpPr>
                  <p:cNvPr id="971" name="Freeform: Shape 970">
                    <a:extLst>
                      <a:ext uri="{FF2B5EF4-FFF2-40B4-BE49-F238E27FC236}">
                        <a16:creationId xmlns:a16="http://schemas.microsoft.com/office/drawing/2014/main" id="{834C9F74-C980-1DC6-72B9-E2F4C41C8C50}"/>
                      </a:ext>
                    </a:extLst>
                  </p:cNvPr>
                  <p:cNvSpPr/>
                  <p:nvPr userDrawn="1"/>
                </p:nvSpPr>
                <p:spPr>
                  <a:xfrm>
                    <a:off x="8463048" y="451359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6E8EE"/>
                  </a:solidFill>
                  <a:ln w="2339" cap="flat">
                    <a:noFill/>
                    <a:prstDash val="solid"/>
                    <a:miter/>
                  </a:ln>
                </p:spPr>
                <p:txBody>
                  <a:bodyPr rtlCol="0" anchor="ctr"/>
                  <a:lstStyle/>
                  <a:p>
                    <a:endParaRPr lang="en-US" sz="2400"/>
                  </a:p>
                </p:txBody>
              </p:sp>
              <p:sp>
                <p:nvSpPr>
                  <p:cNvPr id="972" name="Freeform: Shape 971">
                    <a:extLst>
                      <a:ext uri="{FF2B5EF4-FFF2-40B4-BE49-F238E27FC236}">
                        <a16:creationId xmlns:a16="http://schemas.microsoft.com/office/drawing/2014/main" id="{D821B8B4-41E2-FC61-7CC5-C9A6CBD65C81}"/>
                      </a:ext>
                    </a:extLst>
                  </p:cNvPr>
                  <p:cNvSpPr/>
                  <p:nvPr userDrawn="1"/>
                </p:nvSpPr>
                <p:spPr>
                  <a:xfrm>
                    <a:off x="8463539" y="451401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6E8EF"/>
                  </a:solidFill>
                  <a:ln w="2339" cap="flat">
                    <a:noFill/>
                    <a:prstDash val="solid"/>
                    <a:miter/>
                  </a:ln>
                </p:spPr>
                <p:txBody>
                  <a:bodyPr rtlCol="0" anchor="ctr"/>
                  <a:lstStyle/>
                  <a:p>
                    <a:endParaRPr lang="en-US" sz="2400"/>
                  </a:p>
                </p:txBody>
              </p:sp>
              <p:sp>
                <p:nvSpPr>
                  <p:cNvPr id="973" name="Freeform: Shape 972">
                    <a:extLst>
                      <a:ext uri="{FF2B5EF4-FFF2-40B4-BE49-F238E27FC236}">
                        <a16:creationId xmlns:a16="http://schemas.microsoft.com/office/drawing/2014/main" id="{14053C4C-81A2-483E-88EE-79AB398AC32B}"/>
                      </a:ext>
                    </a:extLst>
                  </p:cNvPr>
                  <p:cNvSpPr/>
                  <p:nvPr userDrawn="1"/>
                </p:nvSpPr>
                <p:spPr>
                  <a:xfrm>
                    <a:off x="8464030" y="451441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6E8EF"/>
                  </a:solidFill>
                  <a:ln w="2339" cap="flat">
                    <a:noFill/>
                    <a:prstDash val="solid"/>
                    <a:miter/>
                  </a:ln>
                </p:spPr>
                <p:txBody>
                  <a:bodyPr rtlCol="0" anchor="ctr"/>
                  <a:lstStyle/>
                  <a:p>
                    <a:endParaRPr lang="en-US" sz="2400"/>
                  </a:p>
                </p:txBody>
              </p:sp>
              <p:sp>
                <p:nvSpPr>
                  <p:cNvPr id="974" name="Freeform: Shape 973">
                    <a:extLst>
                      <a:ext uri="{FF2B5EF4-FFF2-40B4-BE49-F238E27FC236}">
                        <a16:creationId xmlns:a16="http://schemas.microsoft.com/office/drawing/2014/main" id="{B35AF947-66F8-9A19-2461-984BED40A8E6}"/>
                      </a:ext>
                    </a:extLst>
                  </p:cNvPr>
                  <p:cNvSpPr/>
                  <p:nvPr userDrawn="1"/>
                </p:nvSpPr>
                <p:spPr>
                  <a:xfrm>
                    <a:off x="8464498" y="451480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7E9EF"/>
                  </a:solidFill>
                  <a:ln w="2339" cap="flat">
                    <a:noFill/>
                    <a:prstDash val="solid"/>
                    <a:miter/>
                  </a:ln>
                </p:spPr>
                <p:txBody>
                  <a:bodyPr rtlCol="0" anchor="ctr"/>
                  <a:lstStyle/>
                  <a:p>
                    <a:endParaRPr lang="en-US" sz="2400"/>
                  </a:p>
                </p:txBody>
              </p:sp>
              <p:sp>
                <p:nvSpPr>
                  <p:cNvPr id="975" name="Freeform: Shape 974">
                    <a:extLst>
                      <a:ext uri="{FF2B5EF4-FFF2-40B4-BE49-F238E27FC236}">
                        <a16:creationId xmlns:a16="http://schemas.microsoft.com/office/drawing/2014/main" id="{FF43E442-E477-973B-D47B-AB6A83F8B647}"/>
                      </a:ext>
                    </a:extLst>
                  </p:cNvPr>
                  <p:cNvSpPr/>
                  <p:nvPr userDrawn="1"/>
                </p:nvSpPr>
                <p:spPr>
                  <a:xfrm>
                    <a:off x="8464966" y="451522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7E9EF"/>
                  </a:solidFill>
                  <a:ln w="2339" cap="flat">
                    <a:noFill/>
                    <a:prstDash val="solid"/>
                    <a:miter/>
                  </a:ln>
                </p:spPr>
                <p:txBody>
                  <a:bodyPr rtlCol="0" anchor="ctr"/>
                  <a:lstStyle/>
                  <a:p>
                    <a:endParaRPr lang="en-US" sz="2400"/>
                  </a:p>
                </p:txBody>
              </p:sp>
              <p:sp>
                <p:nvSpPr>
                  <p:cNvPr id="976" name="Freeform: Shape 975">
                    <a:extLst>
                      <a:ext uri="{FF2B5EF4-FFF2-40B4-BE49-F238E27FC236}">
                        <a16:creationId xmlns:a16="http://schemas.microsoft.com/office/drawing/2014/main" id="{34DC1118-46B4-C3E6-BDFC-3CE2AAFA72AA}"/>
                      </a:ext>
                    </a:extLst>
                  </p:cNvPr>
                  <p:cNvSpPr/>
                  <p:nvPr userDrawn="1"/>
                </p:nvSpPr>
                <p:spPr>
                  <a:xfrm>
                    <a:off x="8465434" y="451562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7E9EF"/>
                  </a:solidFill>
                  <a:ln w="2339" cap="flat">
                    <a:noFill/>
                    <a:prstDash val="solid"/>
                    <a:miter/>
                  </a:ln>
                </p:spPr>
                <p:txBody>
                  <a:bodyPr rtlCol="0" anchor="ctr"/>
                  <a:lstStyle/>
                  <a:p>
                    <a:endParaRPr lang="en-US" sz="2400"/>
                  </a:p>
                </p:txBody>
              </p:sp>
              <p:sp>
                <p:nvSpPr>
                  <p:cNvPr id="977" name="Freeform: Shape 976">
                    <a:extLst>
                      <a:ext uri="{FF2B5EF4-FFF2-40B4-BE49-F238E27FC236}">
                        <a16:creationId xmlns:a16="http://schemas.microsoft.com/office/drawing/2014/main" id="{6FFB2309-565E-6DA9-7BED-CCE281F06D2B}"/>
                      </a:ext>
                    </a:extLst>
                  </p:cNvPr>
                  <p:cNvSpPr/>
                  <p:nvPr userDrawn="1"/>
                </p:nvSpPr>
                <p:spPr>
                  <a:xfrm>
                    <a:off x="8465902" y="451604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7EAF0"/>
                  </a:solidFill>
                  <a:ln w="2339" cap="flat">
                    <a:noFill/>
                    <a:prstDash val="solid"/>
                    <a:miter/>
                  </a:ln>
                </p:spPr>
                <p:txBody>
                  <a:bodyPr rtlCol="0" anchor="ctr"/>
                  <a:lstStyle/>
                  <a:p>
                    <a:endParaRPr lang="en-US" sz="2400"/>
                  </a:p>
                </p:txBody>
              </p:sp>
              <p:sp>
                <p:nvSpPr>
                  <p:cNvPr id="978" name="Freeform: Shape 977">
                    <a:extLst>
                      <a:ext uri="{FF2B5EF4-FFF2-40B4-BE49-F238E27FC236}">
                        <a16:creationId xmlns:a16="http://schemas.microsoft.com/office/drawing/2014/main" id="{B2B049B7-F572-CB48-CAB5-14648C0DA6DE}"/>
                      </a:ext>
                    </a:extLst>
                  </p:cNvPr>
                  <p:cNvSpPr/>
                  <p:nvPr userDrawn="1"/>
                </p:nvSpPr>
                <p:spPr>
                  <a:xfrm>
                    <a:off x="8466347" y="451646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8EAF0"/>
                  </a:solidFill>
                  <a:ln w="2339" cap="flat">
                    <a:noFill/>
                    <a:prstDash val="solid"/>
                    <a:miter/>
                  </a:ln>
                </p:spPr>
                <p:txBody>
                  <a:bodyPr rtlCol="0" anchor="ctr"/>
                  <a:lstStyle/>
                  <a:p>
                    <a:endParaRPr lang="en-US" sz="2400"/>
                  </a:p>
                </p:txBody>
              </p:sp>
              <p:sp>
                <p:nvSpPr>
                  <p:cNvPr id="979" name="Freeform: Shape 978">
                    <a:extLst>
                      <a:ext uri="{FF2B5EF4-FFF2-40B4-BE49-F238E27FC236}">
                        <a16:creationId xmlns:a16="http://schemas.microsoft.com/office/drawing/2014/main" id="{FF3F2FFD-8AA3-6538-AD74-4FABB2CF827D}"/>
                      </a:ext>
                    </a:extLst>
                  </p:cNvPr>
                  <p:cNvSpPr/>
                  <p:nvPr userDrawn="1"/>
                </p:nvSpPr>
                <p:spPr>
                  <a:xfrm>
                    <a:off x="8466815" y="451686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8EAF0"/>
                  </a:solidFill>
                  <a:ln w="2339" cap="flat">
                    <a:noFill/>
                    <a:prstDash val="solid"/>
                    <a:miter/>
                  </a:ln>
                </p:spPr>
                <p:txBody>
                  <a:bodyPr rtlCol="0" anchor="ctr"/>
                  <a:lstStyle/>
                  <a:p>
                    <a:endParaRPr lang="en-US" sz="2400"/>
                  </a:p>
                </p:txBody>
              </p:sp>
              <p:sp>
                <p:nvSpPr>
                  <p:cNvPr id="980" name="Freeform: Shape 979">
                    <a:extLst>
                      <a:ext uri="{FF2B5EF4-FFF2-40B4-BE49-F238E27FC236}">
                        <a16:creationId xmlns:a16="http://schemas.microsoft.com/office/drawing/2014/main" id="{8D4115D2-F2C2-EB65-41DD-6FC8DEA836E5}"/>
                      </a:ext>
                    </a:extLst>
                  </p:cNvPr>
                  <p:cNvSpPr/>
                  <p:nvPr userDrawn="1"/>
                </p:nvSpPr>
                <p:spPr>
                  <a:xfrm>
                    <a:off x="8467260" y="451728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8EAF0"/>
                  </a:solidFill>
                  <a:ln w="2339" cap="flat">
                    <a:noFill/>
                    <a:prstDash val="solid"/>
                    <a:miter/>
                  </a:ln>
                </p:spPr>
                <p:txBody>
                  <a:bodyPr rtlCol="0" anchor="ctr"/>
                  <a:lstStyle/>
                  <a:p>
                    <a:endParaRPr lang="en-US" sz="2400"/>
                  </a:p>
                </p:txBody>
              </p:sp>
              <p:sp>
                <p:nvSpPr>
                  <p:cNvPr id="981" name="Freeform: Shape 980">
                    <a:extLst>
                      <a:ext uri="{FF2B5EF4-FFF2-40B4-BE49-F238E27FC236}">
                        <a16:creationId xmlns:a16="http://schemas.microsoft.com/office/drawing/2014/main" id="{05832684-AB76-7ACD-5514-A4744845CC07}"/>
                      </a:ext>
                    </a:extLst>
                  </p:cNvPr>
                  <p:cNvSpPr/>
                  <p:nvPr userDrawn="1"/>
                </p:nvSpPr>
                <p:spPr>
                  <a:xfrm>
                    <a:off x="8467681" y="451768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9EBF0"/>
                  </a:solidFill>
                  <a:ln w="2339" cap="flat">
                    <a:noFill/>
                    <a:prstDash val="solid"/>
                    <a:miter/>
                  </a:ln>
                </p:spPr>
                <p:txBody>
                  <a:bodyPr rtlCol="0" anchor="ctr"/>
                  <a:lstStyle/>
                  <a:p>
                    <a:endParaRPr lang="en-US" sz="2400"/>
                  </a:p>
                </p:txBody>
              </p:sp>
              <p:sp>
                <p:nvSpPr>
                  <p:cNvPr id="982" name="Freeform: Shape 981">
                    <a:extLst>
                      <a:ext uri="{FF2B5EF4-FFF2-40B4-BE49-F238E27FC236}">
                        <a16:creationId xmlns:a16="http://schemas.microsoft.com/office/drawing/2014/main" id="{86051811-2FA5-15BB-8437-0EE3CE35ACF1}"/>
                      </a:ext>
                    </a:extLst>
                  </p:cNvPr>
                  <p:cNvSpPr/>
                  <p:nvPr userDrawn="1"/>
                </p:nvSpPr>
                <p:spPr>
                  <a:xfrm>
                    <a:off x="8468125" y="451810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9EBF1"/>
                  </a:solidFill>
                  <a:ln w="2339" cap="flat">
                    <a:noFill/>
                    <a:prstDash val="solid"/>
                    <a:miter/>
                  </a:ln>
                </p:spPr>
                <p:txBody>
                  <a:bodyPr rtlCol="0" anchor="ctr"/>
                  <a:lstStyle/>
                  <a:p>
                    <a:endParaRPr lang="en-US" sz="2400"/>
                  </a:p>
                </p:txBody>
              </p:sp>
              <p:sp>
                <p:nvSpPr>
                  <p:cNvPr id="983" name="Freeform: Shape 982">
                    <a:extLst>
                      <a:ext uri="{FF2B5EF4-FFF2-40B4-BE49-F238E27FC236}">
                        <a16:creationId xmlns:a16="http://schemas.microsoft.com/office/drawing/2014/main" id="{9CADCE94-3E83-30FC-E90B-72745F846ABC}"/>
                      </a:ext>
                    </a:extLst>
                  </p:cNvPr>
                  <p:cNvSpPr/>
                  <p:nvPr userDrawn="1"/>
                </p:nvSpPr>
                <p:spPr>
                  <a:xfrm>
                    <a:off x="8468547" y="451852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9EBF1"/>
                  </a:solidFill>
                  <a:ln w="2339" cap="flat">
                    <a:noFill/>
                    <a:prstDash val="solid"/>
                    <a:miter/>
                  </a:ln>
                </p:spPr>
                <p:txBody>
                  <a:bodyPr rtlCol="0" anchor="ctr"/>
                  <a:lstStyle/>
                  <a:p>
                    <a:endParaRPr lang="en-US" sz="2400"/>
                  </a:p>
                </p:txBody>
              </p:sp>
              <p:sp>
                <p:nvSpPr>
                  <p:cNvPr id="984" name="Freeform: Shape 983">
                    <a:extLst>
                      <a:ext uri="{FF2B5EF4-FFF2-40B4-BE49-F238E27FC236}">
                        <a16:creationId xmlns:a16="http://schemas.microsoft.com/office/drawing/2014/main" id="{65A4A3FE-903C-7C84-7AF4-5BBFFFCF04AD}"/>
                      </a:ext>
                    </a:extLst>
                  </p:cNvPr>
                  <p:cNvSpPr/>
                  <p:nvPr userDrawn="1"/>
                </p:nvSpPr>
                <p:spPr>
                  <a:xfrm>
                    <a:off x="8468991" y="451892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EAECF1"/>
                  </a:solidFill>
                  <a:ln w="2339" cap="flat">
                    <a:noFill/>
                    <a:prstDash val="solid"/>
                    <a:miter/>
                  </a:ln>
                </p:spPr>
                <p:txBody>
                  <a:bodyPr rtlCol="0" anchor="ctr"/>
                  <a:lstStyle/>
                  <a:p>
                    <a:endParaRPr lang="en-US" sz="2400"/>
                  </a:p>
                </p:txBody>
              </p:sp>
              <p:sp>
                <p:nvSpPr>
                  <p:cNvPr id="985" name="Freeform: Shape 984">
                    <a:extLst>
                      <a:ext uri="{FF2B5EF4-FFF2-40B4-BE49-F238E27FC236}">
                        <a16:creationId xmlns:a16="http://schemas.microsoft.com/office/drawing/2014/main" id="{9D4C6F6C-2E34-6E05-CADF-B0E572BEAC58}"/>
                      </a:ext>
                    </a:extLst>
                  </p:cNvPr>
                  <p:cNvSpPr/>
                  <p:nvPr userDrawn="1"/>
                </p:nvSpPr>
                <p:spPr>
                  <a:xfrm>
                    <a:off x="8469389" y="451934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AECF1"/>
                  </a:solidFill>
                  <a:ln w="2339" cap="flat">
                    <a:noFill/>
                    <a:prstDash val="solid"/>
                    <a:miter/>
                  </a:ln>
                </p:spPr>
                <p:txBody>
                  <a:bodyPr rtlCol="0" anchor="ctr"/>
                  <a:lstStyle/>
                  <a:p>
                    <a:endParaRPr lang="en-US" sz="2400"/>
                  </a:p>
                </p:txBody>
              </p:sp>
              <p:sp>
                <p:nvSpPr>
                  <p:cNvPr id="986" name="Freeform: Shape 985">
                    <a:extLst>
                      <a:ext uri="{FF2B5EF4-FFF2-40B4-BE49-F238E27FC236}">
                        <a16:creationId xmlns:a16="http://schemas.microsoft.com/office/drawing/2014/main" id="{00761C56-F2AE-BC86-AD65-0666FAEC147E}"/>
                      </a:ext>
                    </a:extLst>
                  </p:cNvPr>
                  <p:cNvSpPr/>
                  <p:nvPr userDrawn="1"/>
                </p:nvSpPr>
                <p:spPr>
                  <a:xfrm>
                    <a:off x="8469810" y="451976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AECF1"/>
                  </a:solidFill>
                  <a:ln w="2339" cap="flat">
                    <a:noFill/>
                    <a:prstDash val="solid"/>
                    <a:miter/>
                  </a:ln>
                </p:spPr>
                <p:txBody>
                  <a:bodyPr rtlCol="0" anchor="ctr"/>
                  <a:lstStyle/>
                  <a:p>
                    <a:endParaRPr lang="en-US" sz="2400"/>
                  </a:p>
                </p:txBody>
              </p:sp>
              <p:sp>
                <p:nvSpPr>
                  <p:cNvPr id="987" name="Freeform: Shape 986">
                    <a:extLst>
                      <a:ext uri="{FF2B5EF4-FFF2-40B4-BE49-F238E27FC236}">
                        <a16:creationId xmlns:a16="http://schemas.microsoft.com/office/drawing/2014/main" id="{518A0E7B-BA2B-2C42-68B9-EC8C8AFD8153}"/>
                      </a:ext>
                    </a:extLst>
                  </p:cNvPr>
                  <p:cNvSpPr/>
                  <p:nvPr userDrawn="1"/>
                </p:nvSpPr>
                <p:spPr>
                  <a:xfrm>
                    <a:off x="8470231" y="452016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54"/>
                          <a:pt x="0" y="21060"/>
                        </a:cubicBezTo>
                        <a:close/>
                      </a:path>
                    </a:pathLst>
                  </a:custGeom>
                  <a:solidFill>
                    <a:srgbClr val="EBECF2"/>
                  </a:solidFill>
                  <a:ln w="2339" cap="flat">
                    <a:noFill/>
                    <a:prstDash val="solid"/>
                    <a:miter/>
                  </a:ln>
                </p:spPr>
                <p:txBody>
                  <a:bodyPr rtlCol="0" anchor="ctr"/>
                  <a:lstStyle/>
                  <a:p>
                    <a:endParaRPr lang="en-US" sz="2400"/>
                  </a:p>
                </p:txBody>
              </p:sp>
              <p:sp>
                <p:nvSpPr>
                  <p:cNvPr id="988" name="Freeform: Shape 987">
                    <a:extLst>
                      <a:ext uri="{FF2B5EF4-FFF2-40B4-BE49-F238E27FC236}">
                        <a16:creationId xmlns:a16="http://schemas.microsoft.com/office/drawing/2014/main" id="{6F3B0111-0836-A7C1-C47B-ADFF91444A9F}"/>
                      </a:ext>
                    </a:extLst>
                  </p:cNvPr>
                  <p:cNvSpPr/>
                  <p:nvPr userDrawn="1"/>
                </p:nvSpPr>
                <p:spPr>
                  <a:xfrm>
                    <a:off x="8470629" y="452058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EBEDF2"/>
                  </a:solidFill>
                  <a:ln w="2339" cap="flat">
                    <a:noFill/>
                    <a:prstDash val="solid"/>
                    <a:miter/>
                  </a:ln>
                </p:spPr>
                <p:txBody>
                  <a:bodyPr rtlCol="0" anchor="ctr"/>
                  <a:lstStyle/>
                  <a:p>
                    <a:endParaRPr lang="en-US" sz="2400"/>
                  </a:p>
                </p:txBody>
              </p:sp>
              <p:sp>
                <p:nvSpPr>
                  <p:cNvPr id="989" name="Freeform: Shape 988">
                    <a:extLst>
                      <a:ext uri="{FF2B5EF4-FFF2-40B4-BE49-F238E27FC236}">
                        <a16:creationId xmlns:a16="http://schemas.microsoft.com/office/drawing/2014/main" id="{6E1AB1B9-A8FD-F51F-2307-D15EFCD4FD00}"/>
                      </a:ext>
                    </a:extLst>
                  </p:cNvPr>
                  <p:cNvSpPr/>
                  <p:nvPr userDrawn="1"/>
                </p:nvSpPr>
                <p:spPr>
                  <a:xfrm>
                    <a:off x="8471027" y="452100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BEDF2"/>
                  </a:solidFill>
                  <a:ln w="2339" cap="flat">
                    <a:noFill/>
                    <a:prstDash val="solid"/>
                    <a:miter/>
                  </a:ln>
                </p:spPr>
                <p:txBody>
                  <a:bodyPr rtlCol="0" anchor="ctr"/>
                  <a:lstStyle/>
                  <a:p>
                    <a:endParaRPr lang="en-US" sz="2400"/>
                  </a:p>
                </p:txBody>
              </p:sp>
              <p:sp>
                <p:nvSpPr>
                  <p:cNvPr id="990" name="Freeform: Shape 989">
                    <a:extLst>
                      <a:ext uri="{FF2B5EF4-FFF2-40B4-BE49-F238E27FC236}">
                        <a16:creationId xmlns:a16="http://schemas.microsoft.com/office/drawing/2014/main" id="{37171D42-128F-0BAC-A513-A720466C93DB}"/>
                      </a:ext>
                    </a:extLst>
                  </p:cNvPr>
                  <p:cNvSpPr/>
                  <p:nvPr userDrawn="1"/>
                </p:nvSpPr>
                <p:spPr>
                  <a:xfrm>
                    <a:off x="8471425" y="452143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BEDF2"/>
                  </a:solidFill>
                  <a:ln w="2339" cap="flat">
                    <a:noFill/>
                    <a:prstDash val="solid"/>
                    <a:miter/>
                  </a:ln>
                </p:spPr>
                <p:txBody>
                  <a:bodyPr rtlCol="0" anchor="ctr"/>
                  <a:lstStyle/>
                  <a:p>
                    <a:endParaRPr lang="en-US" sz="2400"/>
                  </a:p>
                </p:txBody>
              </p:sp>
              <p:sp>
                <p:nvSpPr>
                  <p:cNvPr id="991" name="Freeform: Shape 990">
                    <a:extLst>
                      <a:ext uri="{FF2B5EF4-FFF2-40B4-BE49-F238E27FC236}">
                        <a16:creationId xmlns:a16="http://schemas.microsoft.com/office/drawing/2014/main" id="{2886BC51-FF92-0B02-D122-DEFAB5D46534}"/>
                      </a:ext>
                    </a:extLst>
                  </p:cNvPr>
                  <p:cNvSpPr/>
                  <p:nvPr userDrawn="1"/>
                </p:nvSpPr>
                <p:spPr>
                  <a:xfrm>
                    <a:off x="8471799" y="452185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CEDF2"/>
                  </a:solidFill>
                  <a:ln w="2339" cap="flat">
                    <a:noFill/>
                    <a:prstDash val="solid"/>
                    <a:miter/>
                  </a:ln>
                </p:spPr>
                <p:txBody>
                  <a:bodyPr rtlCol="0" anchor="ctr"/>
                  <a:lstStyle/>
                  <a:p>
                    <a:endParaRPr lang="en-US" sz="2400"/>
                  </a:p>
                </p:txBody>
              </p:sp>
              <p:sp>
                <p:nvSpPr>
                  <p:cNvPr id="992" name="Freeform: Shape 991">
                    <a:extLst>
                      <a:ext uri="{FF2B5EF4-FFF2-40B4-BE49-F238E27FC236}">
                        <a16:creationId xmlns:a16="http://schemas.microsoft.com/office/drawing/2014/main" id="{B25B9F55-9B06-C838-CB9A-17892D68FF46}"/>
                      </a:ext>
                    </a:extLst>
                  </p:cNvPr>
                  <p:cNvSpPr/>
                  <p:nvPr userDrawn="1"/>
                </p:nvSpPr>
                <p:spPr>
                  <a:xfrm>
                    <a:off x="8472174" y="452224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CEEF3"/>
                  </a:solidFill>
                  <a:ln w="2339" cap="flat">
                    <a:noFill/>
                    <a:prstDash val="solid"/>
                    <a:miter/>
                  </a:ln>
                </p:spPr>
                <p:txBody>
                  <a:bodyPr rtlCol="0" anchor="ctr"/>
                  <a:lstStyle/>
                  <a:p>
                    <a:endParaRPr lang="en-US" sz="2400"/>
                  </a:p>
                </p:txBody>
              </p:sp>
              <p:sp>
                <p:nvSpPr>
                  <p:cNvPr id="993" name="Freeform: Shape 992">
                    <a:extLst>
                      <a:ext uri="{FF2B5EF4-FFF2-40B4-BE49-F238E27FC236}">
                        <a16:creationId xmlns:a16="http://schemas.microsoft.com/office/drawing/2014/main" id="{35109DEF-86F2-AA41-C230-F679491A0689}"/>
                      </a:ext>
                    </a:extLst>
                  </p:cNvPr>
                  <p:cNvSpPr/>
                  <p:nvPr userDrawn="1"/>
                </p:nvSpPr>
                <p:spPr>
                  <a:xfrm>
                    <a:off x="8472548" y="452267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CEEF3"/>
                  </a:solidFill>
                  <a:ln w="2339" cap="flat">
                    <a:noFill/>
                    <a:prstDash val="solid"/>
                    <a:miter/>
                  </a:ln>
                </p:spPr>
                <p:txBody>
                  <a:bodyPr rtlCol="0" anchor="ctr"/>
                  <a:lstStyle/>
                  <a:p>
                    <a:endParaRPr lang="en-US" sz="2400"/>
                  </a:p>
                </p:txBody>
              </p:sp>
              <p:sp>
                <p:nvSpPr>
                  <p:cNvPr id="994" name="Freeform: Shape 993">
                    <a:extLst>
                      <a:ext uri="{FF2B5EF4-FFF2-40B4-BE49-F238E27FC236}">
                        <a16:creationId xmlns:a16="http://schemas.microsoft.com/office/drawing/2014/main" id="{C89942E3-5AC6-34DD-1D93-C8669D9CB722}"/>
                      </a:ext>
                    </a:extLst>
                  </p:cNvPr>
                  <p:cNvSpPr/>
                  <p:nvPr userDrawn="1"/>
                </p:nvSpPr>
                <p:spPr>
                  <a:xfrm>
                    <a:off x="8472922" y="452309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DEEF3"/>
                  </a:solidFill>
                  <a:ln w="2339" cap="flat">
                    <a:noFill/>
                    <a:prstDash val="solid"/>
                    <a:miter/>
                  </a:ln>
                </p:spPr>
                <p:txBody>
                  <a:bodyPr rtlCol="0" anchor="ctr"/>
                  <a:lstStyle/>
                  <a:p>
                    <a:endParaRPr lang="en-US" sz="2400"/>
                  </a:p>
                </p:txBody>
              </p:sp>
              <p:sp>
                <p:nvSpPr>
                  <p:cNvPr id="995" name="Freeform: Shape 994">
                    <a:extLst>
                      <a:ext uri="{FF2B5EF4-FFF2-40B4-BE49-F238E27FC236}">
                        <a16:creationId xmlns:a16="http://schemas.microsoft.com/office/drawing/2014/main" id="{634A2D78-CD3F-3A46-BF1D-4884AF69780C}"/>
                      </a:ext>
                    </a:extLst>
                  </p:cNvPr>
                  <p:cNvSpPr/>
                  <p:nvPr userDrawn="1"/>
                </p:nvSpPr>
                <p:spPr>
                  <a:xfrm>
                    <a:off x="8473297" y="452351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DEFF3"/>
                  </a:solidFill>
                  <a:ln w="2339" cap="flat">
                    <a:noFill/>
                    <a:prstDash val="solid"/>
                    <a:miter/>
                  </a:ln>
                </p:spPr>
                <p:txBody>
                  <a:bodyPr rtlCol="0" anchor="ctr"/>
                  <a:lstStyle/>
                  <a:p>
                    <a:endParaRPr lang="en-US" sz="2400"/>
                  </a:p>
                </p:txBody>
              </p:sp>
              <p:sp>
                <p:nvSpPr>
                  <p:cNvPr id="996" name="Freeform: Shape 995">
                    <a:extLst>
                      <a:ext uri="{FF2B5EF4-FFF2-40B4-BE49-F238E27FC236}">
                        <a16:creationId xmlns:a16="http://schemas.microsoft.com/office/drawing/2014/main" id="{E1E33894-97B6-3440-416F-F7454B5E97DA}"/>
                      </a:ext>
                    </a:extLst>
                  </p:cNvPr>
                  <p:cNvSpPr/>
                  <p:nvPr userDrawn="1"/>
                </p:nvSpPr>
                <p:spPr>
                  <a:xfrm>
                    <a:off x="8473648" y="452393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DEFF3"/>
                  </a:solidFill>
                  <a:ln w="2339" cap="flat">
                    <a:noFill/>
                    <a:prstDash val="solid"/>
                    <a:miter/>
                  </a:ln>
                </p:spPr>
                <p:txBody>
                  <a:bodyPr rtlCol="0" anchor="ctr"/>
                  <a:lstStyle/>
                  <a:p>
                    <a:endParaRPr lang="en-US" sz="2400"/>
                  </a:p>
                </p:txBody>
              </p:sp>
              <p:sp>
                <p:nvSpPr>
                  <p:cNvPr id="997" name="Freeform: Shape 996">
                    <a:extLst>
                      <a:ext uri="{FF2B5EF4-FFF2-40B4-BE49-F238E27FC236}">
                        <a16:creationId xmlns:a16="http://schemas.microsoft.com/office/drawing/2014/main" id="{803E55E5-F89B-90CE-964B-F5ACF39581BB}"/>
                      </a:ext>
                    </a:extLst>
                  </p:cNvPr>
                  <p:cNvSpPr/>
                  <p:nvPr userDrawn="1"/>
                </p:nvSpPr>
                <p:spPr>
                  <a:xfrm>
                    <a:off x="8474022" y="452435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EEFF4"/>
                  </a:solidFill>
                  <a:ln w="2339" cap="flat">
                    <a:noFill/>
                    <a:prstDash val="solid"/>
                    <a:miter/>
                  </a:ln>
                </p:spPr>
                <p:txBody>
                  <a:bodyPr rtlCol="0" anchor="ctr"/>
                  <a:lstStyle/>
                  <a:p>
                    <a:endParaRPr lang="en-US" sz="2400"/>
                  </a:p>
                </p:txBody>
              </p:sp>
              <p:sp>
                <p:nvSpPr>
                  <p:cNvPr id="998" name="Freeform: Shape 997">
                    <a:extLst>
                      <a:ext uri="{FF2B5EF4-FFF2-40B4-BE49-F238E27FC236}">
                        <a16:creationId xmlns:a16="http://schemas.microsoft.com/office/drawing/2014/main" id="{7E27262C-2E8D-91D8-90E8-DB59C98FF7EF}"/>
                      </a:ext>
                    </a:extLst>
                  </p:cNvPr>
                  <p:cNvSpPr/>
                  <p:nvPr userDrawn="1"/>
                </p:nvSpPr>
                <p:spPr>
                  <a:xfrm>
                    <a:off x="8474373" y="452477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EEFF4"/>
                  </a:solidFill>
                  <a:ln w="2339" cap="flat">
                    <a:noFill/>
                    <a:prstDash val="solid"/>
                    <a:miter/>
                  </a:ln>
                </p:spPr>
                <p:txBody>
                  <a:bodyPr rtlCol="0" anchor="ctr"/>
                  <a:lstStyle/>
                  <a:p>
                    <a:endParaRPr lang="en-US" sz="2400"/>
                  </a:p>
                </p:txBody>
              </p:sp>
              <p:sp>
                <p:nvSpPr>
                  <p:cNvPr id="999" name="Freeform: Shape 998">
                    <a:extLst>
                      <a:ext uri="{FF2B5EF4-FFF2-40B4-BE49-F238E27FC236}">
                        <a16:creationId xmlns:a16="http://schemas.microsoft.com/office/drawing/2014/main" id="{53F57D39-7349-A7A4-1E5C-751B39B1FE8C}"/>
                      </a:ext>
                    </a:extLst>
                  </p:cNvPr>
                  <p:cNvSpPr/>
                  <p:nvPr userDrawn="1"/>
                </p:nvSpPr>
                <p:spPr>
                  <a:xfrm>
                    <a:off x="8474701" y="452519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EF0F4"/>
                  </a:solidFill>
                  <a:ln w="2339" cap="flat">
                    <a:noFill/>
                    <a:prstDash val="solid"/>
                    <a:miter/>
                  </a:ln>
                </p:spPr>
                <p:txBody>
                  <a:bodyPr rtlCol="0" anchor="ctr"/>
                  <a:lstStyle/>
                  <a:p>
                    <a:endParaRPr lang="en-US" sz="2400"/>
                  </a:p>
                </p:txBody>
              </p:sp>
              <p:sp>
                <p:nvSpPr>
                  <p:cNvPr id="1000" name="Freeform: Shape 999">
                    <a:extLst>
                      <a:ext uri="{FF2B5EF4-FFF2-40B4-BE49-F238E27FC236}">
                        <a16:creationId xmlns:a16="http://schemas.microsoft.com/office/drawing/2014/main" id="{AA16B779-32ED-A9DE-8B2A-46C32ABEB7C6}"/>
                      </a:ext>
                    </a:extLst>
                  </p:cNvPr>
                  <p:cNvSpPr/>
                  <p:nvPr userDrawn="1"/>
                </p:nvSpPr>
                <p:spPr>
                  <a:xfrm>
                    <a:off x="8475052" y="452559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EEF0F4"/>
                  </a:solidFill>
                  <a:ln w="2339" cap="flat">
                    <a:noFill/>
                    <a:prstDash val="solid"/>
                    <a:miter/>
                  </a:ln>
                </p:spPr>
                <p:txBody>
                  <a:bodyPr rtlCol="0" anchor="ctr"/>
                  <a:lstStyle/>
                  <a:p>
                    <a:endParaRPr lang="en-US" sz="2400"/>
                  </a:p>
                </p:txBody>
              </p:sp>
              <p:sp>
                <p:nvSpPr>
                  <p:cNvPr id="1001" name="Freeform: Shape 1000">
                    <a:extLst>
                      <a:ext uri="{FF2B5EF4-FFF2-40B4-BE49-F238E27FC236}">
                        <a16:creationId xmlns:a16="http://schemas.microsoft.com/office/drawing/2014/main" id="{7A29F437-EB5A-15CF-8FB3-13A9BD486496}"/>
                      </a:ext>
                    </a:extLst>
                  </p:cNvPr>
                  <p:cNvSpPr/>
                  <p:nvPr userDrawn="1"/>
                </p:nvSpPr>
                <p:spPr>
                  <a:xfrm>
                    <a:off x="8475379" y="452601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FF0F4"/>
                  </a:solidFill>
                  <a:ln w="2339" cap="flat">
                    <a:noFill/>
                    <a:prstDash val="solid"/>
                    <a:miter/>
                  </a:ln>
                </p:spPr>
                <p:txBody>
                  <a:bodyPr rtlCol="0" anchor="ctr"/>
                  <a:lstStyle/>
                  <a:p>
                    <a:endParaRPr lang="en-US" sz="2400"/>
                  </a:p>
                </p:txBody>
              </p:sp>
              <p:sp>
                <p:nvSpPr>
                  <p:cNvPr id="1002" name="Freeform: Shape 1001">
                    <a:extLst>
                      <a:ext uri="{FF2B5EF4-FFF2-40B4-BE49-F238E27FC236}">
                        <a16:creationId xmlns:a16="http://schemas.microsoft.com/office/drawing/2014/main" id="{92322365-5309-A7DC-E89B-F403B3648880}"/>
                      </a:ext>
                    </a:extLst>
                  </p:cNvPr>
                  <p:cNvSpPr/>
                  <p:nvPr userDrawn="1"/>
                </p:nvSpPr>
                <p:spPr>
                  <a:xfrm>
                    <a:off x="8475707" y="452643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FF1F5"/>
                  </a:solidFill>
                  <a:ln w="2339" cap="flat">
                    <a:noFill/>
                    <a:prstDash val="solid"/>
                    <a:miter/>
                  </a:ln>
                </p:spPr>
                <p:txBody>
                  <a:bodyPr rtlCol="0" anchor="ctr"/>
                  <a:lstStyle/>
                  <a:p>
                    <a:endParaRPr lang="en-US" sz="2400"/>
                  </a:p>
                </p:txBody>
              </p:sp>
              <p:sp>
                <p:nvSpPr>
                  <p:cNvPr id="1003" name="Freeform: Shape 1002">
                    <a:extLst>
                      <a:ext uri="{FF2B5EF4-FFF2-40B4-BE49-F238E27FC236}">
                        <a16:creationId xmlns:a16="http://schemas.microsoft.com/office/drawing/2014/main" id="{0C655C0F-222C-D52A-41C1-1540C8A72EDD}"/>
                      </a:ext>
                    </a:extLst>
                  </p:cNvPr>
                  <p:cNvSpPr/>
                  <p:nvPr userDrawn="1"/>
                </p:nvSpPr>
                <p:spPr>
                  <a:xfrm>
                    <a:off x="8476035" y="452685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EFF1F5"/>
                  </a:solidFill>
                  <a:ln w="2339" cap="flat">
                    <a:noFill/>
                    <a:prstDash val="solid"/>
                    <a:miter/>
                  </a:ln>
                </p:spPr>
                <p:txBody>
                  <a:bodyPr rtlCol="0" anchor="ctr"/>
                  <a:lstStyle/>
                  <a:p>
                    <a:endParaRPr lang="en-US" sz="2400"/>
                  </a:p>
                </p:txBody>
              </p:sp>
              <p:sp>
                <p:nvSpPr>
                  <p:cNvPr id="1004" name="Freeform: Shape 1003">
                    <a:extLst>
                      <a:ext uri="{FF2B5EF4-FFF2-40B4-BE49-F238E27FC236}">
                        <a16:creationId xmlns:a16="http://schemas.microsoft.com/office/drawing/2014/main" id="{73E2AC4E-B076-4E38-9D81-2843595494A9}"/>
                      </a:ext>
                    </a:extLst>
                  </p:cNvPr>
                  <p:cNvSpPr/>
                  <p:nvPr userDrawn="1"/>
                </p:nvSpPr>
                <p:spPr>
                  <a:xfrm>
                    <a:off x="8476339" y="452728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F0F1F5"/>
                  </a:solidFill>
                  <a:ln w="2339" cap="flat">
                    <a:noFill/>
                    <a:prstDash val="solid"/>
                    <a:miter/>
                  </a:ln>
                </p:spPr>
                <p:txBody>
                  <a:bodyPr rtlCol="0" anchor="ctr"/>
                  <a:lstStyle/>
                  <a:p>
                    <a:endParaRPr lang="en-US" sz="2400"/>
                  </a:p>
                </p:txBody>
              </p:sp>
              <p:sp>
                <p:nvSpPr>
                  <p:cNvPr id="1005" name="Freeform: Shape 1004">
                    <a:extLst>
                      <a:ext uri="{FF2B5EF4-FFF2-40B4-BE49-F238E27FC236}">
                        <a16:creationId xmlns:a16="http://schemas.microsoft.com/office/drawing/2014/main" id="{F1890255-DC8D-7460-94AD-41DE0CE085C8}"/>
                      </a:ext>
                    </a:extLst>
                  </p:cNvPr>
                  <p:cNvSpPr/>
                  <p:nvPr userDrawn="1"/>
                </p:nvSpPr>
                <p:spPr>
                  <a:xfrm>
                    <a:off x="8476666" y="452770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F0F1F5"/>
                  </a:solidFill>
                  <a:ln w="2339" cap="flat">
                    <a:noFill/>
                    <a:prstDash val="solid"/>
                    <a:miter/>
                  </a:ln>
                </p:spPr>
                <p:txBody>
                  <a:bodyPr rtlCol="0" anchor="ctr"/>
                  <a:lstStyle/>
                  <a:p>
                    <a:endParaRPr lang="en-US" sz="2400"/>
                  </a:p>
                </p:txBody>
              </p:sp>
              <p:sp>
                <p:nvSpPr>
                  <p:cNvPr id="1006" name="Freeform: Shape 1005">
                    <a:extLst>
                      <a:ext uri="{FF2B5EF4-FFF2-40B4-BE49-F238E27FC236}">
                        <a16:creationId xmlns:a16="http://schemas.microsoft.com/office/drawing/2014/main" id="{2256BA44-AE40-6A5E-675E-3A3E6DD48869}"/>
                      </a:ext>
                    </a:extLst>
                  </p:cNvPr>
                  <p:cNvSpPr/>
                  <p:nvPr userDrawn="1"/>
                </p:nvSpPr>
                <p:spPr>
                  <a:xfrm>
                    <a:off x="8476971" y="452812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F0F2F5"/>
                  </a:solidFill>
                  <a:ln w="2339" cap="flat">
                    <a:noFill/>
                    <a:prstDash val="solid"/>
                    <a:miter/>
                  </a:ln>
                </p:spPr>
                <p:txBody>
                  <a:bodyPr rtlCol="0" anchor="ctr"/>
                  <a:lstStyle/>
                  <a:p>
                    <a:endParaRPr lang="en-US" sz="2400"/>
                  </a:p>
                </p:txBody>
              </p:sp>
              <p:sp>
                <p:nvSpPr>
                  <p:cNvPr id="1007" name="Freeform: Shape 1006">
                    <a:extLst>
                      <a:ext uri="{FF2B5EF4-FFF2-40B4-BE49-F238E27FC236}">
                        <a16:creationId xmlns:a16="http://schemas.microsoft.com/office/drawing/2014/main" id="{5968CD59-FAA6-1FE8-11EF-F0F31657996A}"/>
                      </a:ext>
                    </a:extLst>
                  </p:cNvPr>
                  <p:cNvSpPr/>
                  <p:nvPr userDrawn="1"/>
                </p:nvSpPr>
                <p:spPr>
                  <a:xfrm>
                    <a:off x="8477275" y="452854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F1F2F6"/>
                  </a:solidFill>
                  <a:ln w="2339" cap="flat">
                    <a:noFill/>
                    <a:prstDash val="solid"/>
                    <a:miter/>
                  </a:ln>
                </p:spPr>
                <p:txBody>
                  <a:bodyPr rtlCol="0" anchor="ctr"/>
                  <a:lstStyle/>
                  <a:p>
                    <a:endParaRPr lang="en-US" sz="2400"/>
                  </a:p>
                </p:txBody>
              </p:sp>
              <p:sp>
                <p:nvSpPr>
                  <p:cNvPr id="1008" name="Freeform: Shape 1007">
                    <a:extLst>
                      <a:ext uri="{FF2B5EF4-FFF2-40B4-BE49-F238E27FC236}">
                        <a16:creationId xmlns:a16="http://schemas.microsoft.com/office/drawing/2014/main" id="{1E7B1AF8-FC56-A9DB-50E1-D8667CCBE15F}"/>
                      </a:ext>
                    </a:extLst>
                  </p:cNvPr>
                  <p:cNvSpPr/>
                  <p:nvPr userDrawn="1"/>
                </p:nvSpPr>
                <p:spPr>
                  <a:xfrm>
                    <a:off x="8477556" y="452896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F1F2F6"/>
                  </a:solidFill>
                  <a:ln w="2339" cap="flat">
                    <a:noFill/>
                    <a:prstDash val="solid"/>
                    <a:miter/>
                  </a:ln>
                </p:spPr>
                <p:txBody>
                  <a:bodyPr rtlCol="0" anchor="ctr"/>
                  <a:lstStyle/>
                  <a:p>
                    <a:endParaRPr lang="en-US" sz="2400"/>
                  </a:p>
                </p:txBody>
              </p:sp>
              <p:sp>
                <p:nvSpPr>
                  <p:cNvPr id="1009" name="Freeform: Shape 1008">
                    <a:extLst>
                      <a:ext uri="{FF2B5EF4-FFF2-40B4-BE49-F238E27FC236}">
                        <a16:creationId xmlns:a16="http://schemas.microsoft.com/office/drawing/2014/main" id="{C0090264-C4BE-21EB-EBF9-746FC103490D}"/>
                      </a:ext>
                    </a:extLst>
                  </p:cNvPr>
                  <p:cNvSpPr/>
                  <p:nvPr userDrawn="1"/>
                </p:nvSpPr>
                <p:spPr>
                  <a:xfrm>
                    <a:off x="8477860" y="452938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F1F2F6"/>
                  </a:solidFill>
                  <a:ln w="2339" cap="flat">
                    <a:noFill/>
                    <a:prstDash val="solid"/>
                    <a:miter/>
                  </a:ln>
                </p:spPr>
                <p:txBody>
                  <a:bodyPr rtlCol="0" anchor="ctr"/>
                  <a:lstStyle/>
                  <a:p>
                    <a:endParaRPr lang="en-US" sz="2400"/>
                  </a:p>
                </p:txBody>
              </p:sp>
              <p:sp>
                <p:nvSpPr>
                  <p:cNvPr id="1010" name="Freeform: Shape 1009">
                    <a:extLst>
                      <a:ext uri="{FF2B5EF4-FFF2-40B4-BE49-F238E27FC236}">
                        <a16:creationId xmlns:a16="http://schemas.microsoft.com/office/drawing/2014/main" id="{4F1E0506-AAF3-BCBD-9560-2AF29F593D61}"/>
                      </a:ext>
                    </a:extLst>
                  </p:cNvPr>
                  <p:cNvSpPr/>
                  <p:nvPr userDrawn="1"/>
                </p:nvSpPr>
                <p:spPr>
                  <a:xfrm>
                    <a:off x="8478141" y="452980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F2F3F6"/>
                  </a:solidFill>
                  <a:ln w="2339" cap="flat">
                    <a:noFill/>
                    <a:prstDash val="solid"/>
                    <a:miter/>
                  </a:ln>
                </p:spPr>
                <p:txBody>
                  <a:bodyPr rtlCol="0" anchor="ctr"/>
                  <a:lstStyle/>
                  <a:p>
                    <a:endParaRPr lang="en-US" sz="2400"/>
                  </a:p>
                </p:txBody>
              </p:sp>
              <p:sp>
                <p:nvSpPr>
                  <p:cNvPr id="1011" name="Freeform: Shape 1010">
                    <a:extLst>
                      <a:ext uri="{FF2B5EF4-FFF2-40B4-BE49-F238E27FC236}">
                        <a16:creationId xmlns:a16="http://schemas.microsoft.com/office/drawing/2014/main" id="{6057AD43-8685-C74F-41D8-B3220356975B}"/>
                      </a:ext>
                    </a:extLst>
                  </p:cNvPr>
                  <p:cNvSpPr/>
                  <p:nvPr userDrawn="1"/>
                </p:nvSpPr>
                <p:spPr>
                  <a:xfrm>
                    <a:off x="8478421" y="453022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F2F3F6"/>
                  </a:solidFill>
                  <a:ln w="2339" cap="flat">
                    <a:noFill/>
                    <a:prstDash val="solid"/>
                    <a:miter/>
                  </a:ln>
                </p:spPr>
                <p:txBody>
                  <a:bodyPr rtlCol="0" anchor="ctr"/>
                  <a:lstStyle/>
                  <a:p>
                    <a:endParaRPr lang="en-US" sz="2400"/>
                  </a:p>
                </p:txBody>
              </p:sp>
              <p:sp>
                <p:nvSpPr>
                  <p:cNvPr id="1012" name="Freeform: Shape 1011">
                    <a:extLst>
                      <a:ext uri="{FF2B5EF4-FFF2-40B4-BE49-F238E27FC236}">
                        <a16:creationId xmlns:a16="http://schemas.microsoft.com/office/drawing/2014/main" id="{2F3AAF76-6B02-9D46-A2C5-26F115151E6D}"/>
                      </a:ext>
                    </a:extLst>
                  </p:cNvPr>
                  <p:cNvSpPr/>
                  <p:nvPr userDrawn="1"/>
                </p:nvSpPr>
                <p:spPr>
                  <a:xfrm>
                    <a:off x="8478702" y="453065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F2F3F7"/>
                  </a:solidFill>
                  <a:ln w="2339" cap="flat">
                    <a:noFill/>
                    <a:prstDash val="solid"/>
                    <a:miter/>
                  </a:ln>
                </p:spPr>
                <p:txBody>
                  <a:bodyPr rtlCol="0" anchor="ctr"/>
                  <a:lstStyle/>
                  <a:p>
                    <a:endParaRPr lang="en-US" sz="2400"/>
                  </a:p>
                </p:txBody>
              </p:sp>
              <p:sp>
                <p:nvSpPr>
                  <p:cNvPr id="1013" name="Freeform: Shape 1012">
                    <a:extLst>
                      <a:ext uri="{FF2B5EF4-FFF2-40B4-BE49-F238E27FC236}">
                        <a16:creationId xmlns:a16="http://schemas.microsoft.com/office/drawing/2014/main" id="{CFB38B00-BCEF-8FE3-391E-B8B8B8518E01}"/>
                      </a:ext>
                    </a:extLst>
                  </p:cNvPr>
                  <p:cNvSpPr/>
                  <p:nvPr userDrawn="1"/>
                </p:nvSpPr>
                <p:spPr>
                  <a:xfrm>
                    <a:off x="8478960" y="453107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F2F4F7"/>
                  </a:solidFill>
                  <a:ln w="2339" cap="flat">
                    <a:noFill/>
                    <a:prstDash val="solid"/>
                    <a:miter/>
                  </a:ln>
                </p:spPr>
                <p:txBody>
                  <a:bodyPr rtlCol="0" anchor="ctr"/>
                  <a:lstStyle/>
                  <a:p>
                    <a:endParaRPr lang="en-US" sz="2400"/>
                  </a:p>
                </p:txBody>
              </p:sp>
              <p:sp>
                <p:nvSpPr>
                  <p:cNvPr id="1014" name="Freeform: Shape 1013">
                    <a:extLst>
                      <a:ext uri="{FF2B5EF4-FFF2-40B4-BE49-F238E27FC236}">
                        <a16:creationId xmlns:a16="http://schemas.microsoft.com/office/drawing/2014/main" id="{E7DC4977-8064-2143-9139-379073655D97}"/>
                      </a:ext>
                    </a:extLst>
                  </p:cNvPr>
                  <p:cNvSpPr/>
                  <p:nvPr userDrawn="1"/>
                </p:nvSpPr>
                <p:spPr>
                  <a:xfrm>
                    <a:off x="8479217" y="4531492"/>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3F4F7"/>
                  </a:solidFill>
                  <a:ln w="2339" cap="flat">
                    <a:noFill/>
                    <a:prstDash val="solid"/>
                    <a:miter/>
                  </a:ln>
                </p:spPr>
                <p:txBody>
                  <a:bodyPr rtlCol="0" anchor="ctr"/>
                  <a:lstStyle/>
                  <a:p>
                    <a:endParaRPr lang="en-US" sz="2400"/>
                  </a:p>
                </p:txBody>
              </p:sp>
              <p:sp>
                <p:nvSpPr>
                  <p:cNvPr id="1015" name="Freeform: Shape 1014">
                    <a:extLst>
                      <a:ext uri="{FF2B5EF4-FFF2-40B4-BE49-F238E27FC236}">
                        <a16:creationId xmlns:a16="http://schemas.microsoft.com/office/drawing/2014/main" id="{7AF0A378-4BC2-8BDB-14F1-053301CD81CB}"/>
                      </a:ext>
                    </a:extLst>
                  </p:cNvPr>
                  <p:cNvSpPr/>
                  <p:nvPr userDrawn="1"/>
                </p:nvSpPr>
                <p:spPr>
                  <a:xfrm>
                    <a:off x="8479474" y="4531913"/>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3F4F7"/>
                  </a:solidFill>
                  <a:ln w="2339" cap="flat">
                    <a:noFill/>
                    <a:prstDash val="solid"/>
                    <a:miter/>
                  </a:ln>
                </p:spPr>
                <p:txBody>
                  <a:bodyPr rtlCol="0" anchor="ctr"/>
                  <a:lstStyle/>
                  <a:p>
                    <a:endParaRPr lang="en-US" sz="2400"/>
                  </a:p>
                </p:txBody>
              </p:sp>
              <p:sp>
                <p:nvSpPr>
                  <p:cNvPr id="1016" name="Freeform: Shape 1015">
                    <a:extLst>
                      <a:ext uri="{FF2B5EF4-FFF2-40B4-BE49-F238E27FC236}">
                        <a16:creationId xmlns:a16="http://schemas.microsoft.com/office/drawing/2014/main" id="{72602993-EC55-7CFB-4E76-644CE5DC820F}"/>
                      </a:ext>
                    </a:extLst>
                  </p:cNvPr>
                  <p:cNvSpPr/>
                  <p:nvPr userDrawn="1"/>
                </p:nvSpPr>
                <p:spPr>
                  <a:xfrm>
                    <a:off x="8479732" y="4532335"/>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3F4F7"/>
                  </a:solidFill>
                  <a:ln w="2339" cap="flat">
                    <a:noFill/>
                    <a:prstDash val="solid"/>
                    <a:miter/>
                  </a:ln>
                </p:spPr>
                <p:txBody>
                  <a:bodyPr rtlCol="0" anchor="ctr"/>
                  <a:lstStyle/>
                  <a:p>
                    <a:endParaRPr lang="en-US" sz="2400"/>
                  </a:p>
                </p:txBody>
              </p:sp>
              <p:sp>
                <p:nvSpPr>
                  <p:cNvPr id="1017" name="Freeform: Shape 1016">
                    <a:extLst>
                      <a:ext uri="{FF2B5EF4-FFF2-40B4-BE49-F238E27FC236}">
                        <a16:creationId xmlns:a16="http://schemas.microsoft.com/office/drawing/2014/main" id="{EEB2AE66-7618-7591-E673-CFFEAFC5A600}"/>
                      </a:ext>
                    </a:extLst>
                  </p:cNvPr>
                  <p:cNvSpPr/>
                  <p:nvPr userDrawn="1"/>
                </p:nvSpPr>
                <p:spPr>
                  <a:xfrm>
                    <a:off x="8479989" y="4532756"/>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4F5F8"/>
                  </a:solidFill>
                  <a:ln w="2339" cap="flat">
                    <a:noFill/>
                    <a:prstDash val="solid"/>
                    <a:miter/>
                  </a:ln>
                </p:spPr>
                <p:txBody>
                  <a:bodyPr rtlCol="0" anchor="ctr"/>
                  <a:lstStyle/>
                  <a:p>
                    <a:endParaRPr lang="en-US" sz="2400"/>
                  </a:p>
                </p:txBody>
              </p:sp>
              <p:sp>
                <p:nvSpPr>
                  <p:cNvPr id="1018" name="Freeform: Shape 1017">
                    <a:extLst>
                      <a:ext uri="{FF2B5EF4-FFF2-40B4-BE49-F238E27FC236}">
                        <a16:creationId xmlns:a16="http://schemas.microsoft.com/office/drawing/2014/main" id="{E1173CD6-EB15-2B3D-1B7E-0C65EC195965}"/>
                      </a:ext>
                    </a:extLst>
                  </p:cNvPr>
                  <p:cNvSpPr/>
                  <p:nvPr userDrawn="1"/>
                </p:nvSpPr>
                <p:spPr>
                  <a:xfrm>
                    <a:off x="8480223" y="4533177"/>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4F5F8"/>
                  </a:solidFill>
                  <a:ln w="2339" cap="flat">
                    <a:noFill/>
                    <a:prstDash val="solid"/>
                    <a:miter/>
                  </a:ln>
                </p:spPr>
                <p:txBody>
                  <a:bodyPr rtlCol="0" anchor="ctr"/>
                  <a:lstStyle/>
                  <a:p>
                    <a:endParaRPr lang="en-US" sz="2400"/>
                  </a:p>
                </p:txBody>
              </p:sp>
              <p:sp>
                <p:nvSpPr>
                  <p:cNvPr id="1019" name="Freeform: Shape 1018">
                    <a:extLst>
                      <a:ext uri="{FF2B5EF4-FFF2-40B4-BE49-F238E27FC236}">
                        <a16:creationId xmlns:a16="http://schemas.microsoft.com/office/drawing/2014/main" id="{4898CB1A-85E0-02C4-DC08-53801CB9AF47}"/>
                      </a:ext>
                    </a:extLst>
                  </p:cNvPr>
                  <p:cNvSpPr/>
                  <p:nvPr userDrawn="1"/>
                </p:nvSpPr>
                <p:spPr>
                  <a:xfrm>
                    <a:off x="8480457" y="4533598"/>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4F5F8"/>
                  </a:solidFill>
                  <a:ln w="2339" cap="flat">
                    <a:noFill/>
                    <a:prstDash val="solid"/>
                    <a:miter/>
                  </a:ln>
                </p:spPr>
                <p:txBody>
                  <a:bodyPr rtlCol="0" anchor="ctr"/>
                  <a:lstStyle/>
                  <a:p>
                    <a:endParaRPr lang="en-US" sz="2400"/>
                  </a:p>
                </p:txBody>
              </p:sp>
              <p:sp>
                <p:nvSpPr>
                  <p:cNvPr id="1020" name="Freeform: Shape 1019">
                    <a:extLst>
                      <a:ext uri="{FF2B5EF4-FFF2-40B4-BE49-F238E27FC236}">
                        <a16:creationId xmlns:a16="http://schemas.microsoft.com/office/drawing/2014/main" id="{2D9B47B5-7339-96C1-60A1-F06FEF40AC8C}"/>
                      </a:ext>
                    </a:extLst>
                  </p:cNvPr>
                  <p:cNvSpPr/>
                  <p:nvPr userDrawn="1"/>
                </p:nvSpPr>
                <p:spPr>
                  <a:xfrm>
                    <a:off x="8480691" y="4534019"/>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5F6F8"/>
                  </a:solidFill>
                  <a:ln w="2339" cap="flat">
                    <a:noFill/>
                    <a:prstDash val="solid"/>
                    <a:miter/>
                  </a:ln>
                </p:spPr>
                <p:txBody>
                  <a:bodyPr rtlCol="0" anchor="ctr"/>
                  <a:lstStyle/>
                  <a:p>
                    <a:endParaRPr lang="en-US" sz="2400"/>
                  </a:p>
                </p:txBody>
              </p:sp>
              <p:sp>
                <p:nvSpPr>
                  <p:cNvPr id="1021" name="Freeform: Shape 1020">
                    <a:extLst>
                      <a:ext uri="{FF2B5EF4-FFF2-40B4-BE49-F238E27FC236}">
                        <a16:creationId xmlns:a16="http://schemas.microsoft.com/office/drawing/2014/main" id="{0C835746-A124-B3B1-05B2-186ABDAEFBE9}"/>
                      </a:ext>
                    </a:extLst>
                  </p:cNvPr>
                  <p:cNvSpPr/>
                  <p:nvPr userDrawn="1"/>
                </p:nvSpPr>
                <p:spPr>
                  <a:xfrm>
                    <a:off x="8480902" y="4534441"/>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5F6F8"/>
                  </a:solidFill>
                  <a:ln w="2339" cap="flat">
                    <a:noFill/>
                    <a:prstDash val="solid"/>
                    <a:miter/>
                  </a:ln>
                </p:spPr>
                <p:txBody>
                  <a:bodyPr rtlCol="0" anchor="ctr"/>
                  <a:lstStyle/>
                  <a:p>
                    <a:endParaRPr lang="en-US" sz="2400"/>
                  </a:p>
                </p:txBody>
              </p:sp>
              <p:sp>
                <p:nvSpPr>
                  <p:cNvPr id="1022" name="Freeform: Shape 1021">
                    <a:extLst>
                      <a:ext uri="{FF2B5EF4-FFF2-40B4-BE49-F238E27FC236}">
                        <a16:creationId xmlns:a16="http://schemas.microsoft.com/office/drawing/2014/main" id="{857F14D6-564C-10B6-63CF-27EB6EF188EC}"/>
                      </a:ext>
                    </a:extLst>
                  </p:cNvPr>
                  <p:cNvSpPr/>
                  <p:nvPr userDrawn="1"/>
                </p:nvSpPr>
                <p:spPr>
                  <a:xfrm>
                    <a:off x="8481136" y="4534838"/>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23"/>
                          <a:pt x="0" y="9430"/>
                          <a:pt x="0" y="21060"/>
                        </a:cubicBezTo>
                        <a:close/>
                      </a:path>
                    </a:pathLst>
                  </a:custGeom>
                  <a:solidFill>
                    <a:srgbClr val="F5F6F9"/>
                  </a:solidFill>
                  <a:ln w="2339" cap="flat">
                    <a:noFill/>
                    <a:prstDash val="solid"/>
                    <a:miter/>
                  </a:ln>
                </p:spPr>
                <p:txBody>
                  <a:bodyPr rtlCol="0" anchor="ctr"/>
                  <a:lstStyle/>
                  <a:p>
                    <a:endParaRPr lang="en-US" sz="2400"/>
                  </a:p>
                </p:txBody>
              </p:sp>
              <p:sp>
                <p:nvSpPr>
                  <p:cNvPr id="1023" name="Freeform: Shape 1022">
                    <a:extLst>
                      <a:ext uri="{FF2B5EF4-FFF2-40B4-BE49-F238E27FC236}">
                        <a16:creationId xmlns:a16="http://schemas.microsoft.com/office/drawing/2014/main" id="{BFE0AB98-13F2-81DA-2AE7-9EC47A630D85}"/>
                      </a:ext>
                    </a:extLst>
                  </p:cNvPr>
                  <p:cNvSpPr/>
                  <p:nvPr userDrawn="1"/>
                </p:nvSpPr>
                <p:spPr>
                  <a:xfrm>
                    <a:off x="8481346" y="4535260"/>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23"/>
                          <a:pt x="0" y="9430"/>
                          <a:pt x="0" y="21060"/>
                        </a:cubicBezTo>
                        <a:close/>
                      </a:path>
                    </a:pathLst>
                  </a:custGeom>
                  <a:solidFill>
                    <a:srgbClr val="F6F6F9"/>
                  </a:solidFill>
                  <a:ln w="2339" cap="flat">
                    <a:noFill/>
                    <a:prstDash val="solid"/>
                    <a:miter/>
                  </a:ln>
                </p:spPr>
                <p:txBody>
                  <a:bodyPr rtlCol="0" anchor="ctr"/>
                  <a:lstStyle/>
                  <a:p>
                    <a:endParaRPr lang="en-US" sz="2400"/>
                  </a:p>
                </p:txBody>
              </p:sp>
              <p:sp>
                <p:nvSpPr>
                  <p:cNvPr id="1024" name="Freeform: Shape 1023">
                    <a:extLst>
                      <a:ext uri="{FF2B5EF4-FFF2-40B4-BE49-F238E27FC236}">
                        <a16:creationId xmlns:a16="http://schemas.microsoft.com/office/drawing/2014/main" id="{661816D2-B696-F254-6EB3-3E5D1CBAF8D6}"/>
                      </a:ext>
                    </a:extLst>
                  </p:cNvPr>
                  <p:cNvSpPr/>
                  <p:nvPr userDrawn="1"/>
                </p:nvSpPr>
                <p:spPr>
                  <a:xfrm>
                    <a:off x="8481557" y="4535681"/>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23"/>
                          <a:pt x="0" y="9430"/>
                          <a:pt x="0" y="21060"/>
                        </a:cubicBezTo>
                        <a:close/>
                      </a:path>
                    </a:pathLst>
                  </a:custGeom>
                  <a:solidFill>
                    <a:srgbClr val="F6F7F9"/>
                  </a:solidFill>
                  <a:ln w="2339" cap="flat">
                    <a:noFill/>
                    <a:prstDash val="solid"/>
                    <a:miter/>
                  </a:ln>
                </p:spPr>
                <p:txBody>
                  <a:bodyPr rtlCol="0" anchor="ctr"/>
                  <a:lstStyle/>
                  <a:p>
                    <a:endParaRPr lang="en-US" sz="2400"/>
                  </a:p>
                </p:txBody>
              </p:sp>
              <p:sp>
                <p:nvSpPr>
                  <p:cNvPr id="1025" name="Freeform: Shape 1024">
                    <a:extLst>
                      <a:ext uri="{FF2B5EF4-FFF2-40B4-BE49-F238E27FC236}">
                        <a16:creationId xmlns:a16="http://schemas.microsoft.com/office/drawing/2014/main" id="{A23F73A4-F485-08C3-CD4C-792BC0540931}"/>
                      </a:ext>
                    </a:extLst>
                  </p:cNvPr>
                  <p:cNvSpPr/>
                  <p:nvPr userDrawn="1"/>
                </p:nvSpPr>
                <p:spPr>
                  <a:xfrm>
                    <a:off x="8481744" y="4536102"/>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23"/>
                          <a:pt x="0" y="9430"/>
                          <a:pt x="0" y="21060"/>
                        </a:cubicBezTo>
                        <a:close/>
                      </a:path>
                    </a:pathLst>
                  </a:custGeom>
                  <a:solidFill>
                    <a:srgbClr val="F6F7F9"/>
                  </a:solidFill>
                  <a:ln w="2339" cap="flat">
                    <a:noFill/>
                    <a:prstDash val="solid"/>
                    <a:miter/>
                  </a:ln>
                </p:spPr>
                <p:txBody>
                  <a:bodyPr rtlCol="0" anchor="ctr"/>
                  <a:lstStyle/>
                  <a:p>
                    <a:endParaRPr lang="en-US" sz="2400"/>
                  </a:p>
                </p:txBody>
              </p:sp>
              <p:sp>
                <p:nvSpPr>
                  <p:cNvPr id="1026" name="Freeform: Shape 1025">
                    <a:extLst>
                      <a:ext uri="{FF2B5EF4-FFF2-40B4-BE49-F238E27FC236}">
                        <a16:creationId xmlns:a16="http://schemas.microsoft.com/office/drawing/2014/main" id="{0B9E6B97-01A7-2216-977B-8FCA488FD4A7}"/>
                      </a:ext>
                    </a:extLst>
                  </p:cNvPr>
                  <p:cNvSpPr/>
                  <p:nvPr userDrawn="1"/>
                </p:nvSpPr>
                <p:spPr>
                  <a:xfrm>
                    <a:off x="8481955" y="4536523"/>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6F7F9"/>
                  </a:solidFill>
                  <a:ln w="2339" cap="flat">
                    <a:noFill/>
                    <a:prstDash val="solid"/>
                    <a:miter/>
                  </a:ln>
                </p:spPr>
                <p:txBody>
                  <a:bodyPr rtlCol="0" anchor="ctr"/>
                  <a:lstStyle/>
                  <a:p>
                    <a:endParaRPr lang="en-US" sz="2400"/>
                  </a:p>
                </p:txBody>
              </p:sp>
              <p:sp>
                <p:nvSpPr>
                  <p:cNvPr id="1027" name="Freeform: Shape 1026">
                    <a:extLst>
                      <a:ext uri="{FF2B5EF4-FFF2-40B4-BE49-F238E27FC236}">
                        <a16:creationId xmlns:a16="http://schemas.microsoft.com/office/drawing/2014/main" id="{114A18D3-6D63-1B46-5F3D-01BCB11A10BB}"/>
                      </a:ext>
                    </a:extLst>
                  </p:cNvPr>
                  <p:cNvSpPr/>
                  <p:nvPr userDrawn="1"/>
                </p:nvSpPr>
                <p:spPr>
                  <a:xfrm>
                    <a:off x="8482142" y="4536945"/>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7F7FA"/>
                  </a:solidFill>
                  <a:ln w="2339" cap="flat">
                    <a:noFill/>
                    <a:prstDash val="solid"/>
                    <a:miter/>
                  </a:ln>
                </p:spPr>
                <p:txBody>
                  <a:bodyPr rtlCol="0" anchor="ctr"/>
                  <a:lstStyle/>
                  <a:p>
                    <a:endParaRPr lang="en-US" sz="2400"/>
                  </a:p>
                </p:txBody>
              </p:sp>
              <p:sp>
                <p:nvSpPr>
                  <p:cNvPr id="1028" name="Freeform: Shape 1027">
                    <a:extLst>
                      <a:ext uri="{FF2B5EF4-FFF2-40B4-BE49-F238E27FC236}">
                        <a16:creationId xmlns:a16="http://schemas.microsoft.com/office/drawing/2014/main" id="{1C73F6A0-7956-8131-41D9-4C2ED220BE70}"/>
                      </a:ext>
                    </a:extLst>
                  </p:cNvPr>
                  <p:cNvSpPr/>
                  <p:nvPr userDrawn="1"/>
                </p:nvSpPr>
                <p:spPr>
                  <a:xfrm>
                    <a:off x="8482329" y="4537366"/>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7F8FA"/>
                  </a:solidFill>
                  <a:ln w="2339" cap="flat">
                    <a:noFill/>
                    <a:prstDash val="solid"/>
                    <a:miter/>
                  </a:ln>
                </p:spPr>
                <p:txBody>
                  <a:bodyPr rtlCol="0" anchor="ctr"/>
                  <a:lstStyle/>
                  <a:p>
                    <a:endParaRPr lang="en-US" sz="2400"/>
                  </a:p>
                </p:txBody>
              </p:sp>
              <p:sp>
                <p:nvSpPr>
                  <p:cNvPr id="1029" name="Freeform: Shape 1028">
                    <a:extLst>
                      <a:ext uri="{FF2B5EF4-FFF2-40B4-BE49-F238E27FC236}">
                        <a16:creationId xmlns:a16="http://schemas.microsoft.com/office/drawing/2014/main" id="{E4A2461B-D698-3885-6B9E-BC4749561A75}"/>
                      </a:ext>
                    </a:extLst>
                  </p:cNvPr>
                  <p:cNvSpPr/>
                  <p:nvPr userDrawn="1"/>
                </p:nvSpPr>
                <p:spPr>
                  <a:xfrm>
                    <a:off x="8482517" y="4537787"/>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7F8FA"/>
                  </a:solidFill>
                  <a:ln w="2339" cap="flat">
                    <a:noFill/>
                    <a:prstDash val="solid"/>
                    <a:miter/>
                  </a:ln>
                </p:spPr>
                <p:txBody>
                  <a:bodyPr rtlCol="0" anchor="ctr"/>
                  <a:lstStyle/>
                  <a:p>
                    <a:endParaRPr lang="en-US" sz="2400"/>
                  </a:p>
                </p:txBody>
              </p:sp>
              <p:sp>
                <p:nvSpPr>
                  <p:cNvPr id="1030" name="Freeform: Shape 1029">
                    <a:extLst>
                      <a:ext uri="{FF2B5EF4-FFF2-40B4-BE49-F238E27FC236}">
                        <a16:creationId xmlns:a16="http://schemas.microsoft.com/office/drawing/2014/main" id="{8A095D17-AE24-6842-E04B-12118DF94519}"/>
                      </a:ext>
                    </a:extLst>
                  </p:cNvPr>
                  <p:cNvSpPr/>
                  <p:nvPr userDrawn="1"/>
                </p:nvSpPr>
                <p:spPr>
                  <a:xfrm>
                    <a:off x="8482680" y="4538208"/>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8F8FA"/>
                  </a:solidFill>
                  <a:ln w="2339" cap="flat">
                    <a:noFill/>
                    <a:prstDash val="solid"/>
                    <a:miter/>
                  </a:ln>
                </p:spPr>
                <p:txBody>
                  <a:bodyPr rtlCol="0" anchor="ctr"/>
                  <a:lstStyle/>
                  <a:p>
                    <a:endParaRPr lang="en-US" sz="2400"/>
                  </a:p>
                </p:txBody>
              </p:sp>
              <p:sp>
                <p:nvSpPr>
                  <p:cNvPr id="1031" name="Freeform: Shape 1030">
                    <a:extLst>
                      <a:ext uri="{FF2B5EF4-FFF2-40B4-BE49-F238E27FC236}">
                        <a16:creationId xmlns:a16="http://schemas.microsoft.com/office/drawing/2014/main" id="{B2DBE679-E07C-7E35-B3E0-15B48BD9E91D}"/>
                      </a:ext>
                    </a:extLst>
                  </p:cNvPr>
                  <p:cNvSpPr/>
                  <p:nvPr userDrawn="1"/>
                </p:nvSpPr>
                <p:spPr>
                  <a:xfrm>
                    <a:off x="8482844" y="4538629"/>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8F9FA"/>
                  </a:solidFill>
                  <a:ln w="2339" cap="flat">
                    <a:noFill/>
                    <a:prstDash val="solid"/>
                    <a:miter/>
                  </a:ln>
                </p:spPr>
                <p:txBody>
                  <a:bodyPr rtlCol="0" anchor="ctr"/>
                  <a:lstStyle/>
                  <a:p>
                    <a:endParaRPr lang="en-US" sz="2400"/>
                  </a:p>
                </p:txBody>
              </p:sp>
              <p:sp>
                <p:nvSpPr>
                  <p:cNvPr id="1032" name="Freeform: Shape 1031">
                    <a:extLst>
                      <a:ext uri="{FF2B5EF4-FFF2-40B4-BE49-F238E27FC236}">
                        <a16:creationId xmlns:a16="http://schemas.microsoft.com/office/drawing/2014/main" id="{132C602C-93FC-6E37-BEC3-EB062250DA97}"/>
                      </a:ext>
                    </a:extLst>
                  </p:cNvPr>
                  <p:cNvSpPr/>
                  <p:nvPr userDrawn="1"/>
                </p:nvSpPr>
                <p:spPr>
                  <a:xfrm>
                    <a:off x="8483008" y="4539027"/>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23"/>
                          <a:pt x="0" y="9430"/>
                          <a:pt x="0" y="21060"/>
                        </a:cubicBezTo>
                        <a:close/>
                      </a:path>
                    </a:pathLst>
                  </a:custGeom>
                  <a:solidFill>
                    <a:srgbClr val="F8F9FB"/>
                  </a:solidFill>
                  <a:ln w="2339" cap="flat">
                    <a:noFill/>
                    <a:prstDash val="solid"/>
                    <a:miter/>
                  </a:ln>
                </p:spPr>
                <p:txBody>
                  <a:bodyPr rtlCol="0" anchor="ctr"/>
                  <a:lstStyle/>
                  <a:p>
                    <a:endParaRPr lang="en-US" sz="2400"/>
                  </a:p>
                </p:txBody>
              </p:sp>
              <p:sp>
                <p:nvSpPr>
                  <p:cNvPr id="1033" name="Freeform: Shape 1032">
                    <a:extLst>
                      <a:ext uri="{FF2B5EF4-FFF2-40B4-BE49-F238E27FC236}">
                        <a16:creationId xmlns:a16="http://schemas.microsoft.com/office/drawing/2014/main" id="{A6C0DE49-C3BF-2ED7-5D3F-0E428B00B3EC}"/>
                      </a:ext>
                    </a:extLst>
                  </p:cNvPr>
                  <p:cNvSpPr/>
                  <p:nvPr userDrawn="1"/>
                </p:nvSpPr>
                <p:spPr>
                  <a:xfrm>
                    <a:off x="8483172" y="4539448"/>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23"/>
                          <a:pt x="0" y="9430"/>
                          <a:pt x="0" y="21060"/>
                        </a:cubicBezTo>
                        <a:close/>
                      </a:path>
                    </a:pathLst>
                  </a:custGeom>
                  <a:solidFill>
                    <a:srgbClr val="F9F9FB"/>
                  </a:solidFill>
                  <a:ln w="2339" cap="flat">
                    <a:noFill/>
                    <a:prstDash val="solid"/>
                    <a:miter/>
                  </a:ln>
                </p:spPr>
                <p:txBody>
                  <a:bodyPr rtlCol="0" anchor="ctr"/>
                  <a:lstStyle/>
                  <a:p>
                    <a:endParaRPr lang="en-US" sz="2400"/>
                  </a:p>
                </p:txBody>
              </p:sp>
              <p:sp>
                <p:nvSpPr>
                  <p:cNvPr id="1034" name="Freeform: Shape 1033">
                    <a:extLst>
                      <a:ext uri="{FF2B5EF4-FFF2-40B4-BE49-F238E27FC236}">
                        <a16:creationId xmlns:a16="http://schemas.microsoft.com/office/drawing/2014/main" id="{9A76FCDA-FC93-64D2-F59D-61D3D0D67DD4}"/>
                      </a:ext>
                    </a:extLst>
                  </p:cNvPr>
                  <p:cNvSpPr/>
                  <p:nvPr userDrawn="1"/>
                </p:nvSpPr>
                <p:spPr>
                  <a:xfrm>
                    <a:off x="8483312" y="4539870"/>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9F9FB"/>
                  </a:solidFill>
                  <a:ln w="2339" cap="flat">
                    <a:noFill/>
                    <a:prstDash val="solid"/>
                    <a:miter/>
                  </a:ln>
                </p:spPr>
                <p:txBody>
                  <a:bodyPr rtlCol="0" anchor="ctr"/>
                  <a:lstStyle/>
                  <a:p>
                    <a:endParaRPr lang="en-US" sz="2400"/>
                  </a:p>
                </p:txBody>
              </p:sp>
              <p:sp>
                <p:nvSpPr>
                  <p:cNvPr id="1035" name="Freeform: Shape 1034">
                    <a:extLst>
                      <a:ext uri="{FF2B5EF4-FFF2-40B4-BE49-F238E27FC236}">
                        <a16:creationId xmlns:a16="http://schemas.microsoft.com/office/drawing/2014/main" id="{D89E2175-3A74-3602-276B-9C3BD722D1BE}"/>
                      </a:ext>
                    </a:extLst>
                  </p:cNvPr>
                  <p:cNvSpPr/>
                  <p:nvPr userDrawn="1"/>
                </p:nvSpPr>
                <p:spPr>
                  <a:xfrm>
                    <a:off x="8483476" y="4540291"/>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9FAFB"/>
                  </a:solidFill>
                  <a:ln w="2339" cap="flat">
                    <a:noFill/>
                    <a:prstDash val="solid"/>
                    <a:miter/>
                  </a:ln>
                </p:spPr>
                <p:txBody>
                  <a:bodyPr rtlCol="0" anchor="ctr"/>
                  <a:lstStyle/>
                  <a:p>
                    <a:endParaRPr lang="en-US" sz="2400"/>
                  </a:p>
                </p:txBody>
              </p:sp>
              <p:sp>
                <p:nvSpPr>
                  <p:cNvPr id="1036" name="Freeform: Shape 1035">
                    <a:extLst>
                      <a:ext uri="{FF2B5EF4-FFF2-40B4-BE49-F238E27FC236}">
                        <a16:creationId xmlns:a16="http://schemas.microsoft.com/office/drawing/2014/main" id="{78090EA9-C315-9B5F-344B-79CFB2DE2857}"/>
                      </a:ext>
                    </a:extLst>
                  </p:cNvPr>
                  <p:cNvSpPr/>
                  <p:nvPr userDrawn="1"/>
                </p:nvSpPr>
                <p:spPr>
                  <a:xfrm>
                    <a:off x="8483616" y="4540712"/>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9FAFB"/>
                  </a:solidFill>
                  <a:ln w="2339" cap="flat">
                    <a:noFill/>
                    <a:prstDash val="solid"/>
                    <a:miter/>
                  </a:ln>
                </p:spPr>
                <p:txBody>
                  <a:bodyPr rtlCol="0" anchor="ctr"/>
                  <a:lstStyle/>
                  <a:p>
                    <a:endParaRPr lang="en-US" sz="2400"/>
                  </a:p>
                </p:txBody>
              </p:sp>
              <p:sp>
                <p:nvSpPr>
                  <p:cNvPr id="1037" name="Freeform: Shape 1036">
                    <a:extLst>
                      <a:ext uri="{FF2B5EF4-FFF2-40B4-BE49-F238E27FC236}">
                        <a16:creationId xmlns:a16="http://schemas.microsoft.com/office/drawing/2014/main" id="{AE7E52FF-D775-4274-71EF-3745A62F4761}"/>
                      </a:ext>
                    </a:extLst>
                  </p:cNvPr>
                  <p:cNvSpPr/>
                  <p:nvPr userDrawn="1"/>
                </p:nvSpPr>
                <p:spPr>
                  <a:xfrm>
                    <a:off x="8483733" y="4541133"/>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07"/>
                          <a:pt x="0" y="21060"/>
                        </a:cubicBezTo>
                        <a:close/>
                      </a:path>
                    </a:pathLst>
                  </a:custGeom>
                  <a:solidFill>
                    <a:srgbClr val="FAFAFC"/>
                  </a:solidFill>
                  <a:ln w="2339" cap="flat">
                    <a:noFill/>
                    <a:prstDash val="solid"/>
                    <a:miter/>
                  </a:ln>
                </p:spPr>
                <p:txBody>
                  <a:bodyPr rtlCol="0" anchor="ctr"/>
                  <a:lstStyle/>
                  <a:p>
                    <a:endParaRPr lang="en-US" sz="2400"/>
                  </a:p>
                </p:txBody>
              </p:sp>
              <p:sp>
                <p:nvSpPr>
                  <p:cNvPr id="1038" name="Freeform: Shape 1037">
                    <a:extLst>
                      <a:ext uri="{FF2B5EF4-FFF2-40B4-BE49-F238E27FC236}">
                        <a16:creationId xmlns:a16="http://schemas.microsoft.com/office/drawing/2014/main" id="{F4F40BF8-F2BB-18D9-75E3-078ECFD0C7DF}"/>
                      </a:ext>
                    </a:extLst>
                  </p:cNvPr>
                  <p:cNvSpPr/>
                  <p:nvPr userDrawn="1"/>
                </p:nvSpPr>
                <p:spPr>
                  <a:xfrm>
                    <a:off x="8483874" y="4541531"/>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43" y="42097"/>
                          <a:pt x="42074" y="32667"/>
                          <a:pt x="42074" y="21060"/>
                        </a:cubicBezTo>
                        <a:cubicBezTo>
                          <a:pt x="42074" y="9430"/>
                          <a:pt x="32643" y="0"/>
                          <a:pt x="21037" y="0"/>
                        </a:cubicBezTo>
                        <a:cubicBezTo>
                          <a:pt x="9430" y="0"/>
                          <a:pt x="0" y="9430"/>
                          <a:pt x="0" y="21060"/>
                        </a:cubicBezTo>
                        <a:close/>
                      </a:path>
                    </a:pathLst>
                  </a:custGeom>
                  <a:solidFill>
                    <a:srgbClr val="FAFBFC"/>
                  </a:solidFill>
                  <a:ln w="2339" cap="flat">
                    <a:noFill/>
                    <a:prstDash val="solid"/>
                    <a:miter/>
                  </a:ln>
                </p:spPr>
                <p:txBody>
                  <a:bodyPr rtlCol="0" anchor="ctr"/>
                  <a:lstStyle/>
                  <a:p>
                    <a:endParaRPr lang="en-US" sz="2400"/>
                  </a:p>
                </p:txBody>
              </p:sp>
              <p:sp>
                <p:nvSpPr>
                  <p:cNvPr id="1039" name="Freeform: Shape 1038">
                    <a:extLst>
                      <a:ext uri="{FF2B5EF4-FFF2-40B4-BE49-F238E27FC236}">
                        <a16:creationId xmlns:a16="http://schemas.microsoft.com/office/drawing/2014/main" id="{EE9FC523-DD6B-5959-59B9-91024B93EC8F}"/>
                      </a:ext>
                    </a:extLst>
                  </p:cNvPr>
                  <p:cNvSpPr/>
                  <p:nvPr userDrawn="1"/>
                </p:nvSpPr>
                <p:spPr>
                  <a:xfrm>
                    <a:off x="8483991" y="4541952"/>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AFBFC"/>
                  </a:solidFill>
                  <a:ln w="2339" cap="flat">
                    <a:noFill/>
                    <a:prstDash val="solid"/>
                    <a:miter/>
                  </a:ln>
                </p:spPr>
                <p:txBody>
                  <a:bodyPr rtlCol="0" anchor="ctr"/>
                  <a:lstStyle/>
                  <a:p>
                    <a:endParaRPr lang="en-US" sz="2400"/>
                  </a:p>
                </p:txBody>
              </p:sp>
              <p:sp>
                <p:nvSpPr>
                  <p:cNvPr id="1040" name="Freeform: Shape 1039">
                    <a:extLst>
                      <a:ext uri="{FF2B5EF4-FFF2-40B4-BE49-F238E27FC236}">
                        <a16:creationId xmlns:a16="http://schemas.microsoft.com/office/drawing/2014/main" id="{64AAB7FD-306F-7038-8CEA-1FB8CF17DC28}"/>
                      </a:ext>
                    </a:extLst>
                  </p:cNvPr>
                  <p:cNvSpPr/>
                  <p:nvPr userDrawn="1"/>
                </p:nvSpPr>
                <p:spPr>
                  <a:xfrm>
                    <a:off x="8484108" y="4542373"/>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BFBFC"/>
                  </a:solidFill>
                  <a:ln w="2339" cap="flat">
                    <a:noFill/>
                    <a:prstDash val="solid"/>
                    <a:miter/>
                  </a:ln>
                </p:spPr>
                <p:txBody>
                  <a:bodyPr rtlCol="0" anchor="ctr"/>
                  <a:lstStyle/>
                  <a:p>
                    <a:endParaRPr lang="en-US" sz="2400"/>
                  </a:p>
                </p:txBody>
              </p:sp>
              <p:sp>
                <p:nvSpPr>
                  <p:cNvPr id="1041" name="Freeform: Shape 1040">
                    <a:extLst>
                      <a:ext uri="{FF2B5EF4-FFF2-40B4-BE49-F238E27FC236}">
                        <a16:creationId xmlns:a16="http://schemas.microsoft.com/office/drawing/2014/main" id="{FE0D1673-DE8C-A6F6-7586-6099BAC08DD8}"/>
                      </a:ext>
                    </a:extLst>
                  </p:cNvPr>
                  <p:cNvSpPr/>
                  <p:nvPr userDrawn="1"/>
                </p:nvSpPr>
                <p:spPr>
                  <a:xfrm>
                    <a:off x="8484225" y="4542771"/>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23"/>
                          <a:pt x="0" y="9430"/>
                          <a:pt x="0" y="21060"/>
                        </a:cubicBezTo>
                        <a:close/>
                      </a:path>
                    </a:pathLst>
                  </a:custGeom>
                  <a:solidFill>
                    <a:srgbClr val="FBFBFC"/>
                  </a:solidFill>
                  <a:ln w="2339" cap="flat">
                    <a:noFill/>
                    <a:prstDash val="solid"/>
                    <a:miter/>
                  </a:ln>
                </p:spPr>
                <p:txBody>
                  <a:bodyPr rtlCol="0" anchor="ctr"/>
                  <a:lstStyle/>
                  <a:p>
                    <a:endParaRPr lang="en-US" sz="2400"/>
                  </a:p>
                </p:txBody>
              </p:sp>
              <p:sp>
                <p:nvSpPr>
                  <p:cNvPr id="1042" name="Freeform: Shape 1041">
                    <a:extLst>
                      <a:ext uri="{FF2B5EF4-FFF2-40B4-BE49-F238E27FC236}">
                        <a16:creationId xmlns:a16="http://schemas.microsoft.com/office/drawing/2014/main" id="{E1036032-683F-695C-99D0-5F8E37163EEE}"/>
                      </a:ext>
                    </a:extLst>
                  </p:cNvPr>
                  <p:cNvSpPr/>
                  <p:nvPr userDrawn="1"/>
                </p:nvSpPr>
                <p:spPr>
                  <a:xfrm>
                    <a:off x="8484342" y="4543192"/>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BFCFD"/>
                  </a:solidFill>
                  <a:ln w="2339" cap="flat">
                    <a:noFill/>
                    <a:prstDash val="solid"/>
                    <a:miter/>
                  </a:ln>
                </p:spPr>
                <p:txBody>
                  <a:bodyPr rtlCol="0" anchor="ctr"/>
                  <a:lstStyle/>
                  <a:p>
                    <a:endParaRPr lang="en-US" sz="2400"/>
                  </a:p>
                </p:txBody>
              </p:sp>
              <p:sp>
                <p:nvSpPr>
                  <p:cNvPr id="1043" name="Freeform: Shape 1042">
                    <a:extLst>
                      <a:ext uri="{FF2B5EF4-FFF2-40B4-BE49-F238E27FC236}">
                        <a16:creationId xmlns:a16="http://schemas.microsoft.com/office/drawing/2014/main" id="{A46A12DF-4A9D-4DEF-89B3-D774936872C0}"/>
                      </a:ext>
                    </a:extLst>
                  </p:cNvPr>
                  <p:cNvSpPr/>
                  <p:nvPr userDrawn="1"/>
                </p:nvSpPr>
                <p:spPr>
                  <a:xfrm>
                    <a:off x="8484435" y="4543614"/>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CFCFD"/>
                  </a:solidFill>
                  <a:ln w="2339" cap="flat">
                    <a:noFill/>
                    <a:prstDash val="solid"/>
                    <a:miter/>
                  </a:ln>
                </p:spPr>
                <p:txBody>
                  <a:bodyPr rtlCol="0" anchor="ctr"/>
                  <a:lstStyle/>
                  <a:p>
                    <a:endParaRPr lang="en-US" sz="2400"/>
                  </a:p>
                </p:txBody>
              </p:sp>
              <p:sp>
                <p:nvSpPr>
                  <p:cNvPr id="1044" name="Freeform: Shape 1043">
                    <a:extLst>
                      <a:ext uri="{FF2B5EF4-FFF2-40B4-BE49-F238E27FC236}">
                        <a16:creationId xmlns:a16="http://schemas.microsoft.com/office/drawing/2014/main" id="{085A8B0F-B9DA-E8D0-4A41-0DCBA041B7F4}"/>
                      </a:ext>
                    </a:extLst>
                  </p:cNvPr>
                  <p:cNvSpPr/>
                  <p:nvPr userDrawn="1"/>
                </p:nvSpPr>
                <p:spPr>
                  <a:xfrm>
                    <a:off x="8484529" y="4544035"/>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07"/>
                          <a:pt x="0" y="21060"/>
                        </a:cubicBezTo>
                        <a:close/>
                      </a:path>
                    </a:pathLst>
                  </a:custGeom>
                  <a:solidFill>
                    <a:srgbClr val="FCFCFD"/>
                  </a:solidFill>
                  <a:ln w="2339" cap="flat">
                    <a:noFill/>
                    <a:prstDash val="solid"/>
                    <a:miter/>
                  </a:ln>
                </p:spPr>
                <p:txBody>
                  <a:bodyPr rtlCol="0" anchor="ctr"/>
                  <a:lstStyle/>
                  <a:p>
                    <a:endParaRPr lang="en-US" sz="2400"/>
                  </a:p>
                </p:txBody>
              </p:sp>
              <p:sp>
                <p:nvSpPr>
                  <p:cNvPr id="1045" name="Freeform: Shape 1044">
                    <a:extLst>
                      <a:ext uri="{FF2B5EF4-FFF2-40B4-BE49-F238E27FC236}">
                        <a16:creationId xmlns:a16="http://schemas.microsoft.com/office/drawing/2014/main" id="{A2E75AE6-396E-58D4-2D26-EF3A616A0A49}"/>
                      </a:ext>
                    </a:extLst>
                  </p:cNvPr>
                  <p:cNvSpPr/>
                  <p:nvPr userDrawn="1"/>
                </p:nvSpPr>
                <p:spPr>
                  <a:xfrm>
                    <a:off x="8484623" y="4544433"/>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CFCFD"/>
                  </a:solidFill>
                  <a:ln w="2339" cap="flat">
                    <a:noFill/>
                    <a:prstDash val="solid"/>
                    <a:miter/>
                  </a:ln>
                </p:spPr>
                <p:txBody>
                  <a:bodyPr rtlCol="0" anchor="ctr"/>
                  <a:lstStyle/>
                  <a:p>
                    <a:endParaRPr lang="en-US" sz="2400"/>
                  </a:p>
                </p:txBody>
              </p:sp>
              <p:sp>
                <p:nvSpPr>
                  <p:cNvPr id="1046" name="Freeform: Shape 1045">
                    <a:extLst>
                      <a:ext uri="{FF2B5EF4-FFF2-40B4-BE49-F238E27FC236}">
                        <a16:creationId xmlns:a16="http://schemas.microsoft.com/office/drawing/2014/main" id="{598A0DE1-B35D-A068-2A35-A19D659F5F1F}"/>
                      </a:ext>
                    </a:extLst>
                  </p:cNvPr>
                  <p:cNvSpPr/>
                  <p:nvPr userDrawn="1"/>
                </p:nvSpPr>
                <p:spPr>
                  <a:xfrm>
                    <a:off x="8484693" y="4544854"/>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DFDFD"/>
                  </a:solidFill>
                  <a:ln w="2339" cap="flat">
                    <a:noFill/>
                    <a:prstDash val="solid"/>
                    <a:miter/>
                  </a:ln>
                </p:spPr>
                <p:txBody>
                  <a:bodyPr rtlCol="0" anchor="ctr"/>
                  <a:lstStyle/>
                  <a:p>
                    <a:endParaRPr lang="en-US" sz="2400"/>
                  </a:p>
                </p:txBody>
              </p:sp>
              <p:sp>
                <p:nvSpPr>
                  <p:cNvPr id="1047" name="Freeform: Shape 1046">
                    <a:extLst>
                      <a:ext uri="{FF2B5EF4-FFF2-40B4-BE49-F238E27FC236}">
                        <a16:creationId xmlns:a16="http://schemas.microsoft.com/office/drawing/2014/main" id="{1D11496A-795A-EAC2-A8AB-DB711030C42E}"/>
                      </a:ext>
                    </a:extLst>
                  </p:cNvPr>
                  <p:cNvSpPr/>
                  <p:nvPr userDrawn="1"/>
                </p:nvSpPr>
                <p:spPr>
                  <a:xfrm>
                    <a:off x="8484786" y="4545252"/>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23"/>
                          <a:pt x="0" y="9430"/>
                          <a:pt x="0" y="21060"/>
                        </a:cubicBezTo>
                        <a:close/>
                      </a:path>
                    </a:pathLst>
                  </a:custGeom>
                  <a:solidFill>
                    <a:srgbClr val="FDFDFE"/>
                  </a:solidFill>
                  <a:ln w="2339" cap="flat">
                    <a:noFill/>
                    <a:prstDash val="solid"/>
                    <a:miter/>
                  </a:ln>
                </p:spPr>
                <p:txBody>
                  <a:bodyPr rtlCol="0" anchor="ctr"/>
                  <a:lstStyle/>
                  <a:p>
                    <a:endParaRPr lang="en-US" sz="2400"/>
                  </a:p>
                </p:txBody>
              </p:sp>
              <p:sp>
                <p:nvSpPr>
                  <p:cNvPr id="1048" name="Freeform: Shape 1047">
                    <a:extLst>
                      <a:ext uri="{FF2B5EF4-FFF2-40B4-BE49-F238E27FC236}">
                        <a16:creationId xmlns:a16="http://schemas.microsoft.com/office/drawing/2014/main" id="{A5FFE439-5B80-48E1-F50E-353F929095FC}"/>
                      </a:ext>
                    </a:extLst>
                  </p:cNvPr>
                  <p:cNvSpPr/>
                  <p:nvPr userDrawn="1"/>
                </p:nvSpPr>
                <p:spPr>
                  <a:xfrm>
                    <a:off x="8484857" y="4545673"/>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DFDFE"/>
                  </a:solidFill>
                  <a:ln w="2339" cap="flat">
                    <a:noFill/>
                    <a:prstDash val="solid"/>
                    <a:miter/>
                  </a:ln>
                </p:spPr>
                <p:txBody>
                  <a:bodyPr rtlCol="0" anchor="ctr"/>
                  <a:lstStyle/>
                  <a:p>
                    <a:endParaRPr lang="en-US" sz="2400"/>
                  </a:p>
                </p:txBody>
              </p:sp>
              <p:sp>
                <p:nvSpPr>
                  <p:cNvPr id="1049" name="Freeform: Shape 1048">
                    <a:extLst>
                      <a:ext uri="{FF2B5EF4-FFF2-40B4-BE49-F238E27FC236}">
                        <a16:creationId xmlns:a16="http://schemas.microsoft.com/office/drawing/2014/main" id="{09D673C8-416C-AB94-EB6A-AA69DF31EAB7}"/>
                      </a:ext>
                    </a:extLst>
                  </p:cNvPr>
                  <p:cNvSpPr/>
                  <p:nvPr userDrawn="1"/>
                </p:nvSpPr>
                <p:spPr>
                  <a:xfrm>
                    <a:off x="8484927" y="4546071"/>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23"/>
                          <a:pt x="0" y="9430"/>
                          <a:pt x="0" y="21060"/>
                        </a:cubicBezTo>
                        <a:close/>
                      </a:path>
                    </a:pathLst>
                  </a:custGeom>
                  <a:solidFill>
                    <a:srgbClr val="FDFEFE"/>
                  </a:solidFill>
                  <a:ln w="2339" cap="flat">
                    <a:noFill/>
                    <a:prstDash val="solid"/>
                    <a:miter/>
                  </a:ln>
                </p:spPr>
                <p:txBody>
                  <a:bodyPr rtlCol="0" anchor="ctr"/>
                  <a:lstStyle/>
                  <a:p>
                    <a:endParaRPr lang="en-US" sz="2400"/>
                  </a:p>
                </p:txBody>
              </p:sp>
              <p:sp>
                <p:nvSpPr>
                  <p:cNvPr id="1050" name="Freeform: Shape 1049">
                    <a:extLst>
                      <a:ext uri="{FF2B5EF4-FFF2-40B4-BE49-F238E27FC236}">
                        <a16:creationId xmlns:a16="http://schemas.microsoft.com/office/drawing/2014/main" id="{BEA85A0B-430F-B3A1-7D8B-5A75B643F5E1}"/>
                      </a:ext>
                    </a:extLst>
                  </p:cNvPr>
                  <p:cNvSpPr/>
                  <p:nvPr userDrawn="1"/>
                </p:nvSpPr>
                <p:spPr>
                  <a:xfrm>
                    <a:off x="8484974" y="4546492"/>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EFEFE"/>
                  </a:solidFill>
                  <a:ln w="2339" cap="flat">
                    <a:noFill/>
                    <a:prstDash val="solid"/>
                    <a:miter/>
                  </a:ln>
                </p:spPr>
                <p:txBody>
                  <a:bodyPr rtlCol="0" anchor="ctr"/>
                  <a:lstStyle/>
                  <a:p>
                    <a:endParaRPr lang="en-US" sz="2400"/>
                  </a:p>
                </p:txBody>
              </p:sp>
              <p:sp>
                <p:nvSpPr>
                  <p:cNvPr id="1051" name="Freeform: Shape 1050">
                    <a:extLst>
                      <a:ext uri="{FF2B5EF4-FFF2-40B4-BE49-F238E27FC236}">
                        <a16:creationId xmlns:a16="http://schemas.microsoft.com/office/drawing/2014/main" id="{03338342-A788-407E-2F99-A7492328BFC3}"/>
                      </a:ext>
                    </a:extLst>
                  </p:cNvPr>
                  <p:cNvSpPr/>
                  <p:nvPr userDrawn="1"/>
                </p:nvSpPr>
                <p:spPr>
                  <a:xfrm>
                    <a:off x="8485020" y="4546890"/>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23"/>
                          <a:pt x="0" y="9430"/>
                          <a:pt x="0" y="21060"/>
                        </a:cubicBezTo>
                        <a:close/>
                      </a:path>
                    </a:pathLst>
                  </a:custGeom>
                  <a:solidFill>
                    <a:srgbClr val="FEFEFE"/>
                  </a:solidFill>
                  <a:ln w="2339" cap="flat">
                    <a:noFill/>
                    <a:prstDash val="solid"/>
                    <a:miter/>
                  </a:ln>
                </p:spPr>
                <p:txBody>
                  <a:bodyPr rtlCol="0" anchor="ctr"/>
                  <a:lstStyle/>
                  <a:p>
                    <a:endParaRPr lang="en-US" sz="2400"/>
                  </a:p>
                </p:txBody>
              </p:sp>
              <p:sp>
                <p:nvSpPr>
                  <p:cNvPr id="1052" name="Freeform: Shape 1051">
                    <a:extLst>
                      <a:ext uri="{FF2B5EF4-FFF2-40B4-BE49-F238E27FC236}">
                        <a16:creationId xmlns:a16="http://schemas.microsoft.com/office/drawing/2014/main" id="{1AB6A7FD-8D6E-44E0-8BD3-062C050FE93F}"/>
                      </a:ext>
                    </a:extLst>
                  </p:cNvPr>
                  <p:cNvSpPr/>
                  <p:nvPr userDrawn="1"/>
                </p:nvSpPr>
                <p:spPr>
                  <a:xfrm>
                    <a:off x="8485091" y="4547311"/>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EFEFF"/>
                  </a:solidFill>
                  <a:ln w="2339" cap="flat">
                    <a:noFill/>
                    <a:prstDash val="solid"/>
                    <a:miter/>
                  </a:ln>
                </p:spPr>
                <p:txBody>
                  <a:bodyPr rtlCol="0" anchor="ctr"/>
                  <a:lstStyle/>
                  <a:p>
                    <a:endParaRPr lang="en-US" sz="2400"/>
                  </a:p>
                </p:txBody>
              </p:sp>
              <p:sp>
                <p:nvSpPr>
                  <p:cNvPr id="1053" name="Freeform: Shape 1052">
                    <a:extLst>
                      <a:ext uri="{FF2B5EF4-FFF2-40B4-BE49-F238E27FC236}">
                        <a16:creationId xmlns:a16="http://schemas.microsoft.com/office/drawing/2014/main" id="{F4823B96-C72C-CB31-1521-E0959207DB35}"/>
                      </a:ext>
                    </a:extLst>
                  </p:cNvPr>
                  <p:cNvSpPr/>
                  <p:nvPr userDrawn="1"/>
                </p:nvSpPr>
                <p:spPr>
                  <a:xfrm>
                    <a:off x="8485114" y="4547709"/>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23"/>
                          <a:pt x="0" y="9430"/>
                          <a:pt x="0" y="21060"/>
                        </a:cubicBezTo>
                        <a:close/>
                      </a:path>
                    </a:pathLst>
                  </a:custGeom>
                  <a:solidFill>
                    <a:srgbClr val="FFFFFF"/>
                  </a:solidFill>
                  <a:ln w="2339" cap="flat">
                    <a:noFill/>
                    <a:prstDash val="solid"/>
                    <a:miter/>
                  </a:ln>
                </p:spPr>
                <p:txBody>
                  <a:bodyPr rtlCol="0" anchor="ctr"/>
                  <a:lstStyle/>
                  <a:p>
                    <a:endParaRPr lang="en-US" sz="2400"/>
                  </a:p>
                </p:txBody>
              </p:sp>
              <p:sp>
                <p:nvSpPr>
                  <p:cNvPr id="1054" name="Freeform: Shape 1053">
                    <a:extLst>
                      <a:ext uri="{FF2B5EF4-FFF2-40B4-BE49-F238E27FC236}">
                        <a16:creationId xmlns:a16="http://schemas.microsoft.com/office/drawing/2014/main" id="{D6CDB635-67AB-EE73-B5D4-19F456CD65BB}"/>
                      </a:ext>
                    </a:extLst>
                  </p:cNvPr>
                  <p:cNvSpPr/>
                  <p:nvPr userDrawn="1"/>
                </p:nvSpPr>
                <p:spPr>
                  <a:xfrm>
                    <a:off x="8485161" y="4548130"/>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FFFFF"/>
                  </a:solidFill>
                  <a:ln w="2339" cap="flat">
                    <a:noFill/>
                    <a:prstDash val="solid"/>
                    <a:miter/>
                  </a:ln>
                </p:spPr>
                <p:txBody>
                  <a:bodyPr rtlCol="0" anchor="ctr"/>
                  <a:lstStyle/>
                  <a:p>
                    <a:endParaRPr lang="en-US" sz="2400"/>
                  </a:p>
                </p:txBody>
              </p:sp>
            </p:grpSp>
          </p:grpSp>
          <p:grpSp>
            <p:nvGrpSpPr>
              <p:cNvPr id="1055" name="Graphic 4">
                <a:extLst>
                  <a:ext uri="{FF2B5EF4-FFF2-40B4-BE49-F238E27FC236}">
                    <a16:creationId xmlns:a16="http://schemas.microsoft.com/office/drawing/2014/main" id="{0F8243B3-D6DD-AC6A-FAD2-028A34A2E3EC}"/>
                  </a:ext>
                </a:extLst>
              </p:cNvPr>
              <p:cNvGrpSpPr/>
              <p:nvPr userDrawn="1"/>
            </p:nvGrpSpPr>
            <p:grpSpPr>
              <a:xfrm>
                <a:off x="8195243" y="4295826"/>
                <a:ext cx="331785" cy="331794"/>
                <a:chOff x="8195243" y="4295826"/>
                <a:chExt cx="331785" cy="331794"/>
              </a:xfrm>
              <a:solidFill>
                <a:srgbClr val="FFFFFF"/>
              </a:solidFill>
            </p:grpSpPr>
            <p:sp>
              <p:nvSpPr>
                <p:cNvPr id="1056" name="Freeform: Shape 1055">
                  <a:extLst>
                    <a:ext uri="{FF2B5EF4-FFF2-40B4-BE49-F238E27FC236}">
                      <a16:creationId xmlns:a16="http://schemas.microsoft.com/office/drawing/2014/main" id="{81AAC530-DF43-7E52-F528-7EC31E4BFDB1}"/>
                    </a:ext>
                  </a:extLst>
                </p:cNvPr>
                <p:cNvSpPr/>
                <p:nvPr userDrawn="1"/>
              </p:nvSpPr>
              <p:spPr>
                <a:xfrm>
                  <a:off x="8379509" y="4295826"/>
                  <a:ext cx="147519" cy="331794"/>
                </a:xfrm>
                <a:custGeom>
                  <a:avLst/>
                  <a:gdLst>
                    <a:gd name="connsiteX0" fmla="*/ 91612 w 147519"/>
                    <a:gd name="connsiteY0" fmla="*/ 331794 h 331794"/>
                    <a:gd name="connsiteX1" fmla="*/ 87844 w 147519"/>
                    <a:gd name="connsiteY1" fmla="*/ 331654 h 331794"/>
                    <a:gd name="connsiteX2" fmla="*/ 37932 w 147519"/>
                    <a:gd name="connsiteY2" fmla="*/ 301304 h 331794"/>
                    <a:gd name="connsiteX3" fmla="*/ 0 w 147519"/>
                    <a:gd name="connsiteY3" fmla="*/ 165957 h 331794"/>
                    <a:gd name="connsiteX4" fmla="*/ 37932 w 147519"/>
                    <a:gd name="connsiteY4" fmla="*/ 30541 h 331794"/>
                    <a:gd name="connsiteX5" fmla="*/ 87844 w 147519"/>
                    <a:gd name="connsiteY5" fmla="*/ 144 h 331794"/>
                    <a:gd name="connsiteX6" fmla="*/ 130292 w 147519"/>
                    <a:gd name="connsiteY6" fmla="*/ 17226 h 331794"/>
                    <a:gd name="connsiteX7" fmla="*/ 147327 w 147519"/>
                    <a:gd name="connsiteY7" fmla="*/ 60259 h 331794"/>
                    <a:gd name="connsiteX8" fmla="*/ 105909 w 147519"/>
                    <a:gd name="connsiteY8" fmla="*/ 56608 h 331794"/>
                    <a:gd name="connsiteX9" fmla="*/ 100878 w 147519"/>
                    <a:gd name="connsiteY9" fmla="*/ 46616 h 331794"/>
                    <a:gd name="connsiteX10" fmla="*/ 91003 w 147519"/>
                    <a:gd name="connsiteY10" fmla="*/ 41585 h 331794"/>
                    <a:gd name="connsiteX11" fmla="*/ 71113 w 147519"/>
                    <a:gd name="connsiteY11" fmla="*/ 55509 h 331794"/>
                    <a:gd name="connsiteX12" fmla="*/ 70575 w 147519"/>
                    <a:gd name="connsiteY12" fmla="*/ 56211 h 331794"/>
                    <a:gd name="connsiteX13" fmla="*/ 41559 w 147519"/>
                    <a:gd name="connsiteY13" fmla="*/ 165911 h 331794"/>
                    <a:gd name="connsiteX14" fmla="*/ 70575 w 147519"/>
                    <a:gd name="connsiteY14" fmla="*/ 275540 h 331794"/>
                    <a:gd name="connsiteX15" fmla="*/ 71113 w 147519"/>
                    <a:gd name="connsiteY15" fmla="*/ 276242 h 331794"/>
                    <a:gd name="connsiteX16" fmla="*/ 91050 w 147519"/>
                    <a:gd name="connsiteY16" fmla="*/ 290189 h 331794"/>
                    <a:gd name="connsiteX17" fmla="*/ 100878 w 147519"/>
                    <a:gd name="connsiteY17" fmla="*/ 285158 h 331794"/>
                    <a:gd name="connsiteX18" fmla="*/ 105886 w 147519"/>
                    <a:gd name="connsiteY18" fmla="*/ 275166 h 331794"/>
                    <a:gd name="connsiteX19" fmla="*/ 147281 w 147519"/>
                    <a:gd name="connsiteY19" fmla="*/ 271492 h 331794"/>
                    <a:gd name="connsiteX20" fmla="*/ 130245 w 147519"/>
                    <a:gd name="connsiteY20" fmla="*/ 314572 h 331794"/>
                    <a:gd name="connsiteX21" fmla="*/ 91612 w 147519"/>
                    <a:gd name="connsiteY21" fmla="*/ 331794 h 331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7519" h="331794">
                      <a:moveTo>
                        <a:pt x="91612" y="331794"/>
                      </a:moveTo>
                      <a:cubicBezTo>
                        <a:pt x="90301" y="331794"/>
                        <a:pt x="89038" y="331748"/>
                        <a:pt x="87844" y="331654"/>
                      </a:cubicBezTo>
                      <a:cubicBezTo>
                        <a:pt x="60443" y="329571"/>
                        <a:pt x="41231" y="305656"/>
                        <a:pt x="37932" y="301304"/>
                      </a:cubicBezTo>
                      <a:cubicBezTo>
                        <a:pt x="13900" y="271188"/>
                        <a:pt x="94" y="221884"/>
                        <a:pt x="0" y="165957"/>
                      </a:cubicBezTo>
                      <a:cubicBezTo>
                        <a:pt x="94" y="109961"/>
                        <a:pt x="13900" y="60657"/>
                        <a:pt x="37932" y="30541"/>
                      </a:cubicBezTo>
                      <a:cubicBezTo>
                        <a:pt x="41231" y="26141"/>
                        <a:pt x="60443" y="2250"/>
                        <a:pt x="87844" y="144"/>
                      </a:cubicBezTo>
                      <a:cubicBezTo>
                        <a:pt x="98585" y="-675"/>
                        <a:pt x="114684" y="1618"/>
                        <a:pt x="130292" y="17226"/>
                      </a:cubicBezTo>
                      <a:cubicBezTo>
                        <a:pt x="146111" y="33068"/>
                        <a:pt x="148287" y="49378"/>
                        <a:pt x="147327" y="60259"/>
                      </a:cubicBezTo>
                      <a:lnTo>
                        <a:pt x="105909" y="56608"/>
                      </a:lnTo>
                      <a:cubicBezTo>
                        <a:pt x="106026" y="55368"/>
                        <a:pt x="106307" y="52045"/>
                        <a:pt x="100878" y="46616"/>
                      </a:cubicBezTo>
                      <a:cubicBezTo>
                        <a:pt x="95496" y="41258"/>
                        <a:pt x="92220" y="41492"/>
                        <a:pt x="91003" y="41585"/>
                      </a:cubicBezTo>
                      <a:cubicBezTo>
                        <a:pt x="83305" y="42170"/>
                        <a:pt x="73594" y="52139"/>
                        <a:pt x="71113" y="55509"/>
                      </a:cubicBezTo>
                      <a:lnTo>
                        <a:pt x="70575" y="56211"/>
                      </a:lnTo>
                      <a:cubicBezTo>
                        <a:pt x="52744" y="78417"/>
                        <a:pt x="41629" y="120444"/>
                        <a:pt x="41559" y="165911"/>
                      </a:cubicBezTo>
                      <a:cubicBezTo>
                        <a:pt x="41629" y="211307"/>
                        <a:pt x="52744" y="253334"/>
                        <a:pt x="70575" y="275540"/>
                      </a:cubicBezTo>
                      <a:lnTo>
                        <a:pt x="71113" y="276242"/>
                      </a:lnTo>
                      <a:cubicBezTo>
                        <a:pt x="75091" y="281531"/>
                        <a:pt x="84264" y="289697"/>
                        <a:pt x="91050" y="290189"/>
                      </a:cubicBezTo>
                      <a:cubicBezTo>
                        <a:pt x="92267" y="290282"/>
                        <a:pt x="95520" y="290493"/>
                        <a:pt x="100878" y="285158"/>
                      </a:cubicBezTo>
                      <a:cubicBezTo>
                        <a:pt x="106307" y="279729"/>
                        <a:pt x="106003" y="276406"/>
                        <a:pt x="105886" y="275166"/>
                      </a:cubicBezTo>
                      <a:lnTo>
                        <a:pt x="147281" y="271492"/>
                      </a:lnTo>
                      <a:cubicBezTo>
                        <a:pt x="148240" y="282397"/>
                        <a:pt x="146087" y="298730"/>
                        <a:pt x="130245" y="314572"/>
                      </a:cubicBezTo>
                      <a:cubicBezTo>
                        <a:pt x="116416" y="328425"/>
                        <a:pt x="102165" y="331794"/>
                        <a:pt x="91612" y="331794"/>
                      </a:cubicBezTo>
                      <a:close/>
                    </a:path>
                  </a:pathLst>
                </a:custGeom>
                <a:solidFill>
                  <a:srgbClr val="FFFFFF"/>
                </a:solidFill>
                <a:ln w="2339" cap="flat">
                  <a:noFill/>
                  <a:prstDash val="solid"/>
                  <a:miter/>
                </a:ln>
              </p:spPr>
              <p:txBody>
                <a:bodyPr rtlCol="0" anchor="ctr"/>
                <a:lstStyle/>
                <a:p>
                  <a:endParaRPr lang="en-US" sz="2400"/>
                </a:p>
              </p:txBody>
            </p:sp>
            <p:sp>
              <p:nvSpPr>
                <p:cNvPr id="1057" name="Freeform: Shape 1056">
                  <a:extLst>
                    <a:ext uri="{FF2B5EF4-FFF2-40B4-BE49-F238E27FC236}">
                      <a16:creationId xmlns:a16="http://schemas.microsoft.com/office/drawing/2014/main" id="{6B70919E-EE87-8D5A-AAA1-8CAB98B8C6D8}"/>
                    </a:ext>
                  </a:extLst>
                </p:cNvPr>
                <p:cNvSpPr/>
                <p:nvPr userDrawn="1"/>
              </p:nvSpPr>
              <p:spPr>
                <a:xfrm>
                  <a:off x="8195243" y="4295849"/>
                  <a:ext cx="147551" cy="331770"/>
                </a:xfrm>
                <a:custGeom>
                  <a:avLst/>
                  <a:gdLst>
                    <a:gd name="connsiteX0" fmla="*/ 55893 w 147551"/>
                    <a:gd name="connsiteY0" fmla="*/ 331771 h 331770"/>
                    <a:gd name="connsiteX1" fmla="*/ 17235 w 147551"/>
                    <a:gd name="connsiteY1" fmla="*/ 314548 h 331770"/>
                    <a:gd name="connsiteX2" fmla="*/ 200 w 147551"/>
                    <a:gd name="connsiteY2" fmla="*/ 271445 h 331770"/>
                    <a:gd name="connsiteX3" fmla="*/ 41595 w 147551"/>
                    <a:gd name="connsiteY3" fmla="*/ 275143 h 331770"/>
                    <a:gd name="connsiteX4" fmla="*/ 46626 w 147551"/>
                    <a:gd name="connsiteY4" fmla="*/ 285158 h 331770"/>
                    <a:gd name="connsiteX5" fmla="*/ 56501 w 147551"/>
                    <a:gd name="connsiteY5" fmla="*/ 290189 h 331770"/>
                    <a:gd name="connsiteX6" fmla="*/ 76391 w 147551"/>
                    <a:gd name="connsiteY6" fmla="*/ 276266 h 331770"/>
                    <a:gd name="connsiteX7" fmla="*/ 76929 w 147551"/>
                    <a:gd name="connsiteY7" fmla="*/ 275564 h 331770"/>
                    <a:gd name="connsiteX8" fmla="*/ 105945 w 147551"/>
                    <a:gd name="connsiteY8" fmla="*/ 165887 h 331770"/>
                    <a:gd name="connsiteX9" fmla="*/ 76929 w 147551"/>
                    <a:gd name="connsiteY9" fmla="*/ 56257 h 331770"/>
                    <a:gd name="connsiteX10" fmla="*/ 76391 w 147551"/>
                    <a:gd name="connsiteY10" fmla="*/ 55555 h 331770"/>
                    <a:gd name="connsiteX11" fmla="*/ 56454 w 147551"/>
                    <a:gd name="connsiteY11" fmla="*/ 41609 h 331770"/>
                    <a:gd name="connsiteX12" fmla="*/ 46626 w 147551"/>
                    <a:gd name="connsiteY12" fmla="*/ 46640 h 331770"/>
                    <a:gd name="connsiteX13" fmla="*/ 41618 w 147551"/>
                    <a:gd name="connsiteY13" fmla="*/ 56632 h 331770"/>
                    <a:gd name="connsiteX14" fmla="*/ 223 w 147551"/>
                    <a:gd name="connsiteY14" fmla="*/ 60306 h 331770"/>
                    <a:gd name="connsiteX15" fmla="*/ 17259 w 147551"/>
                    <a:gd name="connsiteY15" fmla="*/ 17226 h 331770"/>
                    <a:gd name="connsiteX16" fmla="*/ 59707 w 147551"/>
                    <a:gd name="connsiteY16" fmla="*/ 144 h 331770"/>
                    <a:gd name="connsiteX17" fmla="*/ 109619 w 147551"/>
                    <a:gd name="connsiteY17" fmla="*/ 30517 h 331770"/>
                    <a:gd name="connsiteX18" fmla="*/ 147551 w 147551"/>
                    <a:gd name="connsiteY18" fmla="*/ 165864 h 331770"/>
                    <a:gd name="connsiteX19" fmla="*/ 109619 w 147551"/>
                    <a:gd name="connsiteY19" fmla="*/ 301281 h 331770"/>
                    <a:gd name="connsiteX20" fmla="*/ 59707 w 147551"/>
                    <a:gd name="connsiteY20" fmla="*/ 331654 h 331770"/>
                    <a:gd name="connsiteX21" fmla="*/ 55893 w 147551"/>
                    <a:gd name="connsiteY21" fmla="*/ 331771 h 331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7551" h="331770">
                      <a:moveTo>
                        <a:pt x="55893" y="331771"/>
                      </a:moveTo>
                      <a:cubicBezTo>
                        <a:pt x="45362" y="331771"/>
                        <a:pt x="31112" y="328425"/>
                        <a:pt x="17235" y="314548"/>
                      </a:cubicBezTo>
                      <a:cubicBezTo>
                        <a:pt x="1393" y="298683"/>
                        <a:pt x="-783" y="282350"/>
                        <a:pt x="200" y="271445"/>
                      </a:cubicBezTo>
                      <a:lnTo>
                        <a:pt x="41595" y="275143"/>
                      </a:lnTo>
                      <a:cubicBezTo>
                        <a:pt x="41478" y="276406"/>
                        <a:pt x="41197" y="279729"/>
                        <a:pt x="46626" y="285158"/>
                      </a:cubicBezTo>
                      <a:cubicBezTo>
                        <a:pt x="52008" y="290540"/>
                        <a:pt x="55284" y="290282"/>
                        <a:pt x="56501" y="290189"/>
                      </a:cubicBezTo>
                      <a:cubicBezTo>
                        <a:pt x="64200" y="289604"/>
                        <a:pt x="73911" y="279635"/>
                        <a:pt x="76391" y="276266"/>
                      </a:cubicBezTo>
                      <a:lnTo>
                        <a:pt x="76929" y="275564"/>
                      </a:lnTo>
                      <a:cubicBezTo>
                        <a:pt x="94760" y="253357"/>
                        <a:pt x="105875" y="211330"/>
                        <a:pt x="105945" y="165887"/>
                      </a:cubicBezTo>
                      <a:cubicBezTo>
                        <a:pt x="105875" y="120491"/>
                        <a:pt x="94760" y="78464"/>
                        <a:pt x="76929" y="56257"/>
                      </a:cubicBezTo>
                      <a:lnTo>
                        <a:pt x="76391" y="55555"/>
                      </a:lnTo>
                      <a:cubicBezTo>
                        <a:pt x="72413" y="50267"/>
                        <a:pt x="63240" y="42100"/>
                        <a:pt x="56454" y="41609"/>
                      </a:cubicBezTo>
                      <a:cubicBezTo>
                        <a:pt x="55214" y="41515"/>
                        <a:pt x="51985" y="41305"/>
                        <a:pt x="46626" y="46640"/>
                      </a:cubicBezTo>
                      <a:cubicBezTo>
                        <a:pt x="41197" y="52069"/>
                        <a:pt x="41501" y="55392"/>
                        <a:pt x="41618" y="56632"/>
                      </a:cubicBezTo>
                      <a:lnTo>
                        <a:pt x="223" y="60306"/>
                      </a:lnTo>
                      <a:cubicBezTo>
                        <a:pt x="-736" y="49401"/>
                        <a:pt x="1417" y="33068"/>
                        <a:pt x="17259" y="17226"/>
                      </a:cubicBezTo>
                      <a:cubicBezTo>
                        <a:pt x="32867" y="1618"/>
                        <a:pt x="48966" y="-675"/>
                        <a:pt x="59707" y="144"/>
                      </a:cubicBezTo>
                      <a:cubicBezTo>
                        <a:pt x="87108" y="2226"/>
                        <a:pt x="106320" y="26141"/>
                        <a:pt x="109619" y="30517"/>
                      </a:cubicBezTo>
                      <a:cubicBezTo>
                        <a:pt x="133651" y="60633"/>
                        <a:pt x="147457" y="109937"/>
                        <a:pt x="147551" y="165864"/>
                      </a:cubicBezTo>
                      <a:cubicBezTo>
                        <a:pt x="147457" y="221860"/>
                        <a:pt x="133651" y="271165"/>
                        <a:pt x="109619" y="301281"/>
                      </a:cubicBezTo>
                      <a:cubicBezTo>
                        <a:pt x="106320" y="305656"/>
                        <a:pt x="87085" y="329548"/>
                        <a:pt x="59707" y="331654"/>
                      </a:cubicBezTo>
                      <a:cubicBezTo>
                        <a:pt x="58490" y="331724"/>
                        <a:pt x="57226" y="331771"/>
                        <a:pt x="55893" y="331771"/>
                      </a:cubicBezTo>
                      <a:close/>
                    </a:path>
                  </a:pathLst>
                </a:custGeom>
                <a:solidFill>
                  <a:srgbClr val="FFFFFF"/>
                </a:solidFill>
                <a:ln w="2339" cap="flat">
                  <a:noFill/>
                  <a:prstDash val="solid"/>
                  <a:miter/>
                </a:ln>
              </p:spPr>
              <p:txBody>
                <a:bodyPr rtlCol="0" anchor="ctr"/>
                <a:lstStyle/>
                <a:p>
                  <a:endParaRPr lang="en-US" sz="2400"/>
                </a:p>
              </p:txBody>
            </p:sp>
          </p:grpSp>
        </p:grpSp>
      </p:grpSp>
      <p:sp>
        <p:nvSpPr>
          <p:cNvPr id="7" name="Title 1"/>
          <p:cNvSpPr>
            <a:spLocks noGrp="1"/>
          </p:cNvSpPr>
          <p:nvPr>
            <p:ph type="title" hasCustomPrompt="1"/>
          </p:nvPr>
        </p:nvSpPr>
        <p:spPr>
          <a:xfrm>
            <a:off x="613833" y="505886"/>
            <a:ext cx="5928077" cy="2923116"/>
          </a:xfrm>
        </p:spPr>
        <p:txBody>
          <a:bodyPr anchor="b">
            <a:noAutofit/>
          </a:bodyPr>
          <a:lstStyle>
            <a:lvl1pPr>
              <a:defRPr sz="5600" b="0">
                <a:solidFill>
                  <a:srgbClr val="FFFFFF"/>
                </a:solidFill>
                <a:latin typeface="Proximus ExtraBold" panose="00000900000000000000" pitchFamily="2" charset="0"/>
              </a:defRPr>
            </a:lvl1pPr>
          </a:lstStyle>
          <a:p>
            <a:r>
              <a:rPr lang="en-US"/>
              <a:t>Click to edit </a:t>
            </a:r>
            <a:br>
              <a:rPr lang="en-US"/>
            </a:br>
            <a:r>
              <a:rPr lang="en-US"/>
              <a:t>presentation title</a:t>
            </a:r>
            <a:endParaRPr lang="nl-BE"/>
          </a:p>
        </p:txBody>
      </p:sp>
      <p:sp>
        <p:nvSpPr>
          <p:cNvPr id="6" name="Subtitle 2">
            <a:extLst>
              <a:ext uri="{FF2B5EF4-FFF2-40B4-BE49-F238E27FC236}">
                <a16:creationId xmlns:a16="http://schemas.microsoft.com/office/drawing/2014/main" id="{56176E85-8408-4B89-A7FD-D33D192C3CE4}"/>
              </a:ext>
            </a:extLst>
          </p:cNvPr>
          <p:cNvSpPr>
            <a:spLocks noGrp="1"/>
          </p:cNvSpPr>
          <p:nvPr>
            <p:ph type="subTitle" idx="1" hasCustomPrompt="1"/>
          </p:nvPr>
        </p:nvSpPr>
        <p:spPr>
          <a:xfrm>
            <a:off x="613835" y="3801467"/>
            <a:ext cx="5482167" cy="1335741"/>
          </a:xfrm>
        </p:spPr>
        <p:txBody>
          <a:bodyPr/>
          <a:lstStyle>
            <a:lvl1pPr marL="0" indent="0" algn="l">
              <a:lnSpc>
                <a:spcPct val="100000"/>
              </a:lnSpc>
              <a:buNone/>
              <a:defRPr sz="3467">
                <a:solidFill>
                  <a:schemeClr val="tx1"/>
                </a:solidFill>
                <a:latin typeface="Proximus Light" panose="00000500000000000000" pitchFamily="2"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Subtitle</a:t>
            </a:r>
            <a:endParaRPr lang="nl-BE"/>
          </a:p>
        </p:txBody>
      </p:sp>
      <p:sp>
        <p:nvSpPr>
          <p:cNvPr id="3" name="Date Placeholder 8">
            <a:extLst>
              <a:ext uri="{FF2B5EF4-FFF2-40B4-BE49-F238E27FC236}">
                <a16:creationId xmlns:a16="http://schemas.microsoft.com/office/drawing/2014/main" id="{C6D253A4-9E71-17BB-14ED-6271A75930B9}"/>
              </a:ext>
            </a:extLst>
          </p:cNvPr>
          <p:cNvSpPr>
            <a:spLocks noGrp="1"/>
          </p:cNvSpPr>
          <p:nvPr>
            <p:ph type="dt" sz="half" idx="2"/>
          </p:nvPr>
        </p:nvSpPr>
        <p:spPr>
          <a:xfrm>
            <a:off x="613835" y="5821863"/>
            <a:ext cx="204560" cy="377528"/>
          </a:xfrm>
          <a:prstGeom prst="roundRect">
            <a:avLst>
              <a:gd name="adj" fmla="val 50000"/>
            </a:avLst>
          </a:prstGeom>
          <a:solidFill>
            <a:schemeClr val="tx1"/>
          </a:solidFill>
        </p:spPr>
        <p:txBody>
          <a:bodyPr vert="horz" wrap="none" lIns="72000" tIns="36000" rIns="72000" bIns="36000" rtlCol="0" anchor="ctr">
            <a:spAutoFit/>
          </a:bodyPr>
          <a:lstStyle>
            <a:lvl1pPr algn="l">
              <a:defRPr sz="1600">
                <a:solidFill>
                  <a:schemeClr val="bg1"/>
                </a:solidFill>
              </a:defRPr>
            </a:lvl1pPr>
          </a:lstStyle>
          <a:p>
            <a:endParaRPr lang="en-US"/>
          </a:p>
        </p:txBody>
      </p:sp>
      <p:sp>
        <p:nvSpPr>
          <p:cNvPr id="1075" name="Picture Placeholder 1074">
            <a:extLst>
              <a:ext uri="{FF2B5EF4-FFF2-40B4-BE49-F238E27FC236}">
                <a16:creationId xmlns:a16="http://schemas.microsoft.com/office/drawing/2014/main" id="{E51534D9-BBA2-4B82-27F2-0EDD9723BC0B}"/>
              </a:ext>
            </a:extLst>
          </p:cNvPr>
          <p:cNvSpPr>
            <a:spLocks noGrp="1"/>
          </p:cNvSpPr>
          <p:nvPr>
            <p:ph type="pic" sz="quarter" idx="10"/>
          </p:nvPr>
        </p:nvSpPr>
        <p:spPr>
          <a:xfrm>
            <a:off x="5763684" y="6"/>
            <a:ext cx="6426200" cy="6857999"/>
          </a:xfrm>
          <a:custGeom>
            <a:avLst/>
            <a:gdLst>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031541 w 4819650"/>
              <a:gd name="connsiteY21" fmla="*/ 4713284 h 5143499"/>
              <a:gd name="connsiteX22" fmla="*/ 4031541 w 4819650"/>
              <a:gd name="connsiteY22" fmla="*/ 4799826 h 5143499"/>
              <a:gd name="connsiteX23" fmla="*/ 4052312 w 4819650"/>
              <a:gd name="connsiteY23" fmla="*/ 4799826 h 5143499"/>
              <a:gd name="connsiteX24" fmla="*/ 4052312 w 4819650"/>
              <a:gd name="connsiteY24" fmla="*/ 4713284 h 5143499"/>
              <a:gd name="connsiteX25" fmla="*/ 3936473 w 4819650"/>
              <a:gd name="connsiteY25" fmla="*/ 4713284 h 5143499"/>
              <a:gd name="connsiteX26" fmla="*/ 3966836 w 4819650"/>
              <a:gd name="connsiteY26" fmla="*/ 4756247 h 5143499"/>
              <a:gd name="connsiteX27" fmla="*/ 3936473 w 4819650"/>
              <a:gd name="connsiteY27" fmla="*/ 4799850 h 5143499"/>
              <a:gd name="connsiteX28" fmla="*/ 3959447 w 4819650"/>
              <a:gd name="connsiteY28" fmla="*/ 4799850 h 5143499"/>
              <a:gd name="connsiteX29" fmla="*/ 3978181 w 4819650"/>
              <a:gd name="connsiteY29" fmla="*/ 4771689 h 5143499"/>
              <a:gd name="connsiteX30" fmla="*/ 3996915 w 4819650"/>
              <a:gd name="connsiteY30" fmla="*/ 4799850 h 5143499"/>
              <a:gd name="connsiteX31" fmla="*/ 4019889 w 4819650"/>
              <a:gd name="connsiteY31" fmla="*/ 4799850 h 5143499"/>
              <a:gd name="connsiteX32" fmla="*/ 3989668 w 4819650"/>
              <a:gd name="connsiteY32" fmla="*/ 4756247 h 5143499"/>
              <a:gd name="connsiteX33" fmla="*/ 4019889 w 4819650"/>
              <a:gd name="connsiteY33" fmla="*/ 4713284 h 5143499"/>
              <a:gd name="connsiteX34" fmla="*/ 3996749 w 4819650"/>
              <a:gd name="connsiteY34" fmla="*/ 4713284 h 5143499"/>
              <a:gd name="connsiteX35" fmla="*/ 3978181 w 4819650"/>
              <a:gd name="connsiteY35" fmla="*/ 4741137 h 5143499"/>
              <a:gd name="connsiteX36" fmla="*/ 3959612 w 4819650"/>
              <a:gd name="connsiteY36" fmla="*/ 4713284 h 5143499"/>
              <a:gd name="connsiteX37" fmla="*/ 4336238 w 4819650"/>
              <a:gd name="connsiteY37" fmla="*/ 4711721 h 5143499"/>
              <a:gd name="connsiteX38" fmla="*/ 4304596 w 4819650"/>
              <a:gd name="connsiteY38" fmla="*/ 4737063 h 5143499"/>
              <a:gd name="connsiteX39" fmla="*/ 4330080 w 4819650"/>
              <a:gd name="connsiteY39" fmla="*/ 4761932 h 5143499"/>
              <a:gd name="connsiteX40" fmla="*/ 4336073 w 4819650"/>
              <a:gd name="connsiteY40" fmla="*/ 4764134 h 5143499"/>
              <a:gd name="connsiteX41" fmla="*/ 4351657 w 4819650"/>
              <a:gd name="connsiteY41" fmla="*/ 4774982 h 5143499"/>
              <a:gd name="connsiteX42" fmla="*/ 4337186 w 4819650"/>
              <a:gd name="connsiteY42" fmla="*/ 4782845 h 5143499"/>
              <a:gd name="connsiteX43" fmla="*/ 4308220 w 4819650"/>
              <a:gd name="connsiteY43" fmla="*/ 4775763 h 5143499"/>
              <a:gd name="connsiteX44" fmla="*/ 4303341 w 4819650"/>
              <a:gd name="connsiteY44" fmla="*/ 4793858 h 5143499"/>
              <a:gd name="connsiteX45" fmla="*/ 4338109 w 4819650"/>
              <a:gd name="connsiteY45" fmla="*/ 4801413 h 5143499"/>
              <a:gd name="connsiteX46" fmla="*/ 4372404 w 4819650"/>
              <a:gd name="connsiteY46" fmla="*/ 4774342 h 5143499"/>
              <a:gd name="connsiteX47" fmla="*/ 4372452 w 4819650"/>
              <a:gd name="connsiteY47" fmla="*/ 4774366 h 5143499"/>
              <a:gd name="connsiteX48" fmla="*/ 4345688 w 4819650"/>
              <a:gd name="connsiteY48" fmla="*/ 4747768 h 5143499"/>
              <a:gd name="connsiteX49" fmla="*/ 4339388 w 4819650"/>
              <a:gd name="connsiteY49" fmla="*/ 4745400 h 5143499"/>
              <a:gd name="connsiteX50" fmla="*/ 4325391 w 4819650"/>
              <a:gd name="connsiteY50" fmla="*/ 4736116 h 5143499"/>
              <a:gd name="connsiteX51" fmla="*/ 4336096 w 4819650"/>
              <a:gd name="connsiteY51" fmla="*/ 4730124 h 5143499"/>
              <a:gd name="connsiteX52" fmla="*/ 4363783 w 4819650"/>
              <a:gd name="connsiteY52" fmla="*/ 4734221 h 5143499"/>
              <a:gd name="connsiteX53" fmla="*/ 4367715 w 4819650"/>
              <a:gd name="connsiteY53" fmla="*/ 4716434 h 5143499"/>
              <a:gd name="connsiteX54" fmla="*/ 4336238 w 4819650"/>
              <a:gd name="connsiteY54" fmla="*/ 4711721 h 5143499"/>
              <a:gd name="connsiteX55" fmla="*/ 4107093 w 4819650"/>
              <a:gd name="connsiteY55" fmla="*/ 4711721 h 5143499"/>
              <a:gd name="connsiteX56" fmla="*/ 4070430 w 4819650"/>
              <a:gd name="connsiteY56" fmla="*/ 4744760 h 5143499"/>
              <a:gd name="connsiteX57" fmla="*/ 4070430 w 4819650"/>
              <a:gd name="connsiteY57" fmla="*/ 4799850 h 5143499"/>
              <a:gd name="connsiteX58" fmla="*/ 4091201 w 4819650"/>
              <a:gd name="connsiteY58" fmla="*/ 4799850 h 5143499"/>
              <a:gd name="connsiteX59" fmla="*/ 4091201 w 4819650"/>
              <a:gd name="connsiteY59" fmla="*/ 4746182 h 5143499"/>
              <a:gd name="connsiteX60" fmla="*/ 4106927 w 4819650"/>
              <a:gd name="connsiteY60" fmla="*/ 4731379 h 5143499"/>
              <a:gd name="connsiteX61" fmla="*/ 4122985 w 4819650"/>
              <a:gd name="connsiteY61" fmla="*/ 4746182 h 5143499"/>
              <a:gd name="connsiteX62" fmla="*/ 4122985 w 4819650"/>
              <a:gd name="connsiteY62" fmla="*/ 4799850 h 5143499"/>
              <a:gd name="connsiteX63" fmla="*/ 4143591 w 4819650"/>
              <a:gd name="connsiteY63" fmla="*/ 4799850 h 5143499"/>
              <a:gd name="connsiteX64" fmla="*/ 4143591 w 4819650"/>
              <a:gd name="connsiteY64" fmla="*/ 4746182 h 5143499"/>
              <a:gd name="connsiteX65" fmla="*/ 4159648 w 4819650"/>
              <a:gd name="connsiteY65" fmla="*/ 4731379 h 5143499"/>
              <a:gd name="connsiteX66" fmla="*/ 4175375 w 4819650"/>
              <a:gd name="connsiteY66" fmla="*/ 4746182 h 5143499"/>
              <a:gd name="connsiteX67" fmla="*/ 4175375 w 4819650"/>
              <a:gd name="connsiteY67" fmla="*/ 4799850 h 5143499"/>
              <a:gd name="connsiteX68" fmla="*/ 4196146 w 4819650"/>
              <a:gd name="connsiteY68" fmla="*/ 4799850 h 5143499"/>
              <a:gd name="connsiteX69" fmla="*/ 4196146 w 4819650"/>
              <a:gd name="connsiteY69" fmla="*/ 4744760 h 5143499"/>
              <a:gd name="connsiteX70" fmla="*/ 4159648 w 4819650"/>
              <a:gd name="connsiteY70" fmla="*/ 4711721 h 5143499"/>
              <a:gd name="connsiteX71" fmla="*/ 4133525 w 4819650"/>
              <a:gd name="connsiteY71" fmla="*/ 4722426 h 5143499"/>
              <a:gd name="connsiteX72" fmla="*/ 4107093 w 4819650"/>
              <a:gd name="connsiteY72" fmla="*/ 4711721 h 5143499"/>
              <a:gd name="connsiteX73" fmla="*/ 3892112 w 4819650"/>
              <a:gd name="connsiteY73" fmla="*/ 4711721 h 5143499"/>
              <a:gd name="connsiteX74" fmla="*/ 3849930 w 4819650"/>
              <a:gd name="connsiteY74" fmla="*/ 4756413 h 5143499"/>
              <a:gd name="connsiteX75" fmla="*/ 3892112 w 4819650"/>
              <a:gd name="connsiteY75" fmla="*/ 4801413 h 5143499"/>
              <a:gd name="connsiteX76" fmla="*/ 3934293 w 4819650"/>
              <a:gd name="connsiteY76" fmla="*/ 4756413 h 5143499"/>
              <a:gd name="connsiteX77" fmla="*/ 3892112 w 4819650"/>
              <a:gd name="connsiteY77" fmla="*/ 4711721 h 5143499"/>
              <a:gd name="connsiteX78" fmla="*/ 3837662 w 4819650"/>
              <a:gd name="connsiteY78" fmla="*/ 4711697 h 5143499"/>
              <a:gd name="connsiteX79" fmla="*/ 3799412 w 4819650"/>
              <a:gd name="connsiteY79" fmla="*/ 4749000 h 5143499"/>
              <a:gd name="connsiteX80" fmla="*/ 3799412 w 4819650"/>
              <a:gd name="connsiteY80" fmla="*/ 4799826 h 5143499"/>
              <a:gd name="connsiteX81" fmla="*/ 3820183 w 4819650"/>
              <a:gd name="connsiteY81" fmla="*/ 4799826 h 5143499"/>
              <a:gd name="connsiteX82" fmla="*/ 3820183 w 4819650"/>
              <a:gd name="connsiteY82" fmla="*/ 4750563 h 5143499"/>
              <a:gd name="connsiteX83" fmla="*/ 3837662 w 4819650"/>
              <a:gd name="connsiteY83" fmla="*/ 4731994 h 5143499"/>
              <a:gd name="connsiteX84" fmla="*/ 3842707 w 4819650"/>
              <a:gd name="connsiteY84" fmla="*/ 4732302 h 5143499"/>
              <a:gd name="connsiteX85" fmla="*/ 3846165 w 4819650"/>
              <a:gd name="connsiteY85" fmla="*/ 4712479 h 5143499"/>
              <a:gd name="connsiteX86" fmla="*/ 3837662 w 4819650"/>
              <a:gd name="connsiteY86" fmla="*/ 4711697 h 5143499"/>
              <a:gd name="connsiteX87" fmla="*/ 3742286 w 4819650"/>
              <a:gd name="connsiteY87" fmla="*/ 4711697 h 5143499"/>
              <a:gd name="connsiteX88" fmla="*/ 3701052 w 4819650"/>
              <a:gd name="connsiteY88" fmla="*/ 4755915 h 5143499"/>
              <a:gd name="connsiteX89" fmla="*/ 3701052 w 4819650"/>
              <a:gd name="connsiteY89" fmla="*/ 4834452 h 5143499"/>
              <a:gd name="connsiteX90" fmla="*/ 3721823 w 4819650"/>
              <a:gd name="connsiteY90" fmla="*/ 4834452 h 5143499"/>
              <a:gd name="connsiteX91" fmla="*/ 3721823 w 4819650"/>
              <a:gd name="connsiteY91" fmla="*/ 4795586 h 5143499"/>
              <a:gd name="connsiteX92" fmla="*/ 3742286 w 4819650"/>
              <a:gd name="connsiteY92" fmla="*/ 4801413 h 5143499"/>
              <a:gd name="connsiteX93" fmla="*/ 3783828 w 4819650"/>
              <a:gd name="connsiteY93" fmla="*/ 4756413 h 5143499"/>
              <a:gd name="connsiteX94" fmla="*/ 3783828 w 4819650"/>
              <a:gd name="connsiteY94" fmla="*/ 4756389 h 5143499"/>
              <a:gd name="connsiteX95" fmla="*/ 3742286 w 4819650"/>
              <a:gd name="connsiteY95" fmla="*/ 4711697 h 5143499"/>
              <a:gd name="connsiteX96" fmla="*/ 3966385 w 4819650"/>
              <a:gd name="connsiteY96" fmla="*/ 4531816 h 5143499"/>
              <a:gd name="connsiteX97" fmla="*/ 3946680 w 4819650"/>
              <a:gd name="connsiteY97" fmla="*/ 4572481 h 5143499"/>
              <a:gd name="connsiteX98" fmla="*/ 3946656 w 4819650"/>
              <a:gd name="connsiteY98" fmla="*/ 4572458 h 5143499"/>
              <a:gd name="connsiteX99" fmla="*/ 3946112 w 4819650"/>
              <a:gd name="connsiteY99" fmla="*/ 4573168 h 5143499"/>
              <a:gd name="connsiteX100" fmla="*/ 3925933 w 4819650"/>
              <a:gd name="connsiteY100" fmla="*/ 4587284 h 5143499"/>
              <a:gd name="connsiteX101" fmla="*/ 3915985 w 4819650"/>
              <a:gd name="connsiteY101" fmla="*/ 4582192 h 5143499"/>
              <a:gd name="connsiteX102" fmla="*/ 3910893 w 4819650"/>
              <a:gd name="connsiteY102" fmla="*/ 4572244 h 5143499"/>
              <a:gd name="connsiteX103" fmla="*/ 3925009 w 4819650"/>
              <a:gd name="connsiteY103" fmla="*/ 4552066 h 5143499"/>
              <a:gd name="connsiteX104" fmla="*/ 3925720 w 4819650"/>
              <a:gd name="connsiteY104" fmla="*/ 4551521 h 5143499"/>
              <a:gd name="connsiteX105" fmla="*/ 3966385 w 4819650"/>
              <a:gd name="connsiteY105" fmla="*/ 4531816 h 5143499"/>
              <a:gd name="connsiteX106" fmla="*/ 4107045 w 4819650"/>
              <a:gd name="connsiteY106" fmla="*/ 4531815 h 5143499"/>
              <a:gd name="connsiteX107" fmla="*/ 4147664 w 4819650"/>
              <a:gd name="connsiteY107" fmla="*/ 4551497 h 5143499"/>
              <a:gd name="connsiteX108" fmla="*/ 4148375 w 4819650"/>
              <a:gd name="connsiteY108" fmla="*/ 4552042 h 5143499"/>
              <a:gd name="connsiteX109" fmla="*/ 4162491 w 4819650"/>
              <a:gd name="connsiteY109" fmla="*/ 4572221 h 5143499"/>
              <a:gd name="connsiteX110" fmla="*/ 4157398 w 4819650"/>
              <a:gd name="connsiteY110" fmla="*/ 4582168 h 5143499"/>
              <a:gd name="connsiteX111" fmla="*/ 4147451 w 4819650"/>
              <a:gd name="connsiteY111" fmla="*/ 4587260 h 5143499"/>
              <a:gd name="connsiteX112" fmla="*/ 4127272 w 4819650"/>
              <a:gd name="connsiteY112" fmla="*/ 4573145 h 5143499"/>
              <a:gd name="connsiteX113" fmla="*/ 4126727 w 4819650"/>
              <a:gd name="connsiteY113" fmla="*/ 4572434 h 5143499"/>
              <a:gd name="connsiteX114" fmla="*/ 4107022 w 4819650"/>
              <a:gd name="connsiteY114" fmla="*/ 4531768 h 5143499"/>
              <a:gd name="connsiteX115" fmla="*/ 4107045 w 4819650"/>
              <a:gd name="connsiteY115" fmla="*/ 4531815 h 5143499"/>
              <a:gd name="connsiteX116" fmla="*/ 4106998 w 4819650"/>
              <a:gd name="connsiteY116" fmla="*/ 4531792 h 5143499"/>
              <a:gd name="connsiteX117" fmla="*/ 4017496 w 4819650"/>
              <a:gd name="connsiteY117" fmla="*/ 4442289 h 5143499"/>
              <a:gd name="connsiteX118" fmla="*/ 4036704 w 4819650"/>
              <a:gd name="connsiteY118" fmla="*/ 4442881 h 5143499"/>
              <a:gd name="connsiteX119" fmla="*/ 4055864 w 4819650"/>
              <a:gd name="connsiteY119" fmla="*/ 4442289 h 5143499"/>
              <a:gd name="connsiteX120" fmla="*/ 4055272 w 4819650"/>
              <a:gd name="connsiteY120" fmla="*/ 4461497 h 5143499"/>
              <a:gd name="connsiteX121" fmla="*/ 4055864 w 4819650"/>
              <a:gd name="connsiteY121" fmla="*/ 4480658 h 5143499"/>
              <a:gd name="connsiteX122" fmla="*/ 4036656 w 4819650"/>
              <a:gd name="connsiteY122" fmla="*/ 4480066 h 5143499"/>
              <a:gd name="connsiteX123" fmla="*/ 4017496 w 4819650"/>
              <a:gd name="connsiteY123" fmla="*/ 4480658 h 5143499"/>
              <a:gd name="connsiteX124" fmla="*/ 4018088 w 4819650"/>
              <a:gd name="connsiteY124" fmla="*/ 4461450 h 5143499"/>
              <a:gd name="connsiteX125" fmla="*/ 4017496 w 4819650"/>
              <a:gd name="connsiteY125" fmla="*/ 4442289 h 5143499"/>
              <a:gd name="connsiteX126" fmla="*/ 3966316 w 4819650"/>
              <a:gd name="connsiteY126" fmla="*/ 4391133 h 5143499"/>
              <a:gd name="connsiteX127" fmla="*/ 3966362 w 4819650"/>
              <a:gd name="connsiteY127" fmla="*/ 4391155 h 5143499"/>
              <a:gd name="connsiteX128" fmla="*/ 3966338 w 4819650"/>
              <a:gd name="connsiteY128" fmla="*/ 4391179 h 5143499"/>
              <a:gd name="connsiteX129" fmla="*/ 3925909 w 4819650"/>
              <a:gd name="connsiteY129" fmla="*/ 4335687 h 5143499"/>
              <a:gd name="connsiteX130" fmla="*/ 3946088 w 4819650"/>
              <a:gd name="connsiteY130" fmla="*/ 4349802 h 5143499"/>
              <a:gd name="connsiteX131" fmla="*/ 3946633 w 4819650"/>
              <a:gd name="connsiteY131" fmla="*/ 4350513 h 5143499"/>
              <a:gd name="connsiteX132" fmla="*/ 3966316 w 4819650"/>
              <a:gd name="connsiteY132" fmla="*/ 4391133 h 5143499"/>
              <a:gd name="connsiteX133" fmla="*/ 3925696 w 4819650"/>
              <a:gd name="connsiteY133" fmla="*/ 4371450 h 5143499"/>
              <a:gd name="connsiteX134" fmla="*/ 3924985 w 4819650"/>
              <a:gd name="connsiteY134" fmla="*/ 4370905 h 5143499"/>
              <a:gd name="connsiteX135" fmla="*/ 3910870 w 4819650"/>
              <a:gd name="connsiteY135" fmla="*/ 4350726 h 5143499"/>
              <a:gd name="connsiteX136" fmla="*/ 3915962 w 4819650"/>
              <a:gd name="connsiteY136" fmla="*/ 4340779 h 5143499"/>
              <a:gd name="connsiteX137" fmla="*/ 3925909 w 4819650"/>
              <a:gd name="connsiteY137" fmla="*/ 4335687 h 5143499"/>
              <a:gd name="connsiteX138" fmla="*/ 4147427 w 4819650"/>
              <a:gd name="connsiteY138" fmla="*/ 4335639 h 5143499"/>
              <a:gd name="connsiteX139" fmla="*/ 4157375 w 4819650"/>
              <a:gd name="connsiteY139" fmla="*/ 4340731 h 5143499"/>
              <a:gd name="connsiteX140" fmla="*/ 4162467 w 4819650"/>
              <a:gd name="connsiteY140" fmla="*/ 4350679 h 5143499"/>
              <a:gd name="connsiteX141" fmla="*/ 4148351 w 4819650"/>
              <a:gd name="connsiteY141" fmla="*/ 4370858 h 5143499"/>
              <a:gd name="connsiteX142" fmla="*/ 4147641 w 4819650"/>
              <a:gd name="connsiteY142" fmla="*/ 4371402 h 5143499"/>
              <a:gd name="connsiteX143" fmla="*/ 4106975 w 4819650"/>
              <a:gd name="connsiteY143" fmla="*/ 4391108 h 5143499"/>
              <a:gd name="connsiteX144" fmla="*/ 4126680 w 4819650"/>
              <a:gd name="connsiteY144" fmla="*/ 4350442 h 5143499"/>
              <a:gd name="connsiteX145" fmla="*/ 4126704 w 4819650"/>
              <a:gd name="connsiteY145" fmla="*/ 4350466 h 5143499"/>
              <a:gd name="connsiteX146" fmla="*/ 4127248 w 4819650"/>
              <a:gd name="connsiteY146" fmla="*/ 4349755 h 5143499"/>
              <a:gd name="connsiteX147" fmla="*/ 4147427 w 4819650"/>
              <a:gd name="connsiteY147" fmla="*/ 4335639 h 5143499"/>
              <a:gd name="connsiteX148" fmla="*/ 3929201 w 4819650"/>
              <a:gd name="connsiteY148" fmla="*/ 4293694 h 5143499"/>
              <a:gd name="connsiteX149" fmla="*/ 3886238 w 4819650"/>
              <a:gd name="connsiteY149" fmla="*/ 4310984 h 5143499"/>
              <a:gd name="connsiteX150" fmla="*/ 3868948 w 4819650"/>
              <a:gd name="connsiteY150" fmla="*/ 4353947 h 5143499"/>
              <a:gd name="connsiteX151" fmla="*/ 3899691 w 4819650"/>
              <a:gd name="connsiteY151" fmla="*/ 4404466 h 5143499"/>
              <a:gd name="connsiteX152" fmla="*/ 3974912 w 4819650"/>
              <a:gd name="connsiteY152" fmla="*/ 4436723 h 5143499"/>
              <a:gd name="connsiteX153" fmla="*/ 3976048 w 4819650"/>
              <a:gd name="connsiteY153" fmla="*/ 4461473 h 5143499"/>
              <a:gd name="connsiteX154" fmla="*/ 3974912 w 4819650"/>
              <a:gd name="connsiteY154" fmla="*/ 4486152 h 5143499"/>
              <a:gd name="connsiteX155" fmla="*/ 3899691 w 4819650"/>
              <a:gd name="connsiteY155" fmla="*/ 4518410 h 5143499"/>
              <a:gd name="connsiteX156" fmla="*/ 3868948 w 4819650"/>
              <a:gd name="connsiteY156" fmla="*/ 4568929 h 5143499"/>
              <a:gd name="connsiteX157" fmla="*/ 3886238 w 4819650"/>
              <a:gd name="connsiteY157" fmla="*/ 4611892 h 5143499"/>
              <a:gd name="connsiteX158" fmla="*/ 3929201 w 4819650"/>
              <a:gd name="connsiteY158" fmla="*/ 4629181 h 5143499"/>
              <a:gd name="connsiteX159" fmla="*/ 3979720 w 4819650"/>
              <a:gd name="connsiteY159" fmla="*/ 4598439 h 5143499"/>
              <a:gd name="connsiteX160" fmla="*/ 4011977 w 4819650"/>
              <a:gd name="connsiteY160" fmla="*/ 4523218 h 5143499"/>
              <a:gd name="connsiteX161" fmla="*/ 4036656 w 4819650"/>
              <a:gd name="connsiteY161" fmla="*/ 4522081 h 5143499"/>
              <a:gd name="connsiteX162" fmla="*/ 4061406 w 4819650"/>
              <a:gd name="connsiteY162" fmla="*/ 4523218 h 5143499"/>
              <a:gd name="connsiteX163" fmla="*/ 4093664 w 4819650"/>
              <a:gd name="connsiteY163" fmla="*/ 4598439 h 5143499"/>
              <a:gd name="connsiteX164" fmla="*/ 4144183 w 4819650"/>
              <a:gd name="connsiteY164" fmla="*/ 4629181 h 5143499"/>
              <a:gd name="connsiteX165" fmla="*/ 4187146 w 4819650"/>
              <a:gd name="connsiteY165" fmla="*/ 4611892 h 5143499"/>
              <a:gd name="connsiteX166" fmla="*/ 4204435 w 4819650"/>
              <a:gd name="connsiteY166" fmla="*/ 4568929 h 5143499"/>
              <a:gd name="connsiteX167" fmla="*/ 4173693 w 4819650"/>
              <a:gd name="connsiteY167" fmla="*/ 4518410 h 5143499"/>
              <a:gd name="connsiteX168" fmla="*/ 4098472 w 4819650"/>
              <a:gd name="connsiteY168" fmla="*/ 4486152 h 5143499"/>
              <a:gd name="connsiteX169" fmla="*/ 4097335 w 4819650"/>
              <a:gd name="connsiteY169" fmla="*/ 4461402 h 5143499"/>
              <a:gd name="connsiteX170" fmla="*/ 4098472 w 4819650"/>
              <a:gd name="connsiteY170" fmla="*/ 4436723 h 5143499"/>
              <a:gd name="connsiteX171" fmla="*/ 4173693 w 4819650"/>
              <a:gd name="connsiteY171" fmla="*/ 4404466 h 5143499"/>
              <a:gd name="connsiteX172" fmla="*/ 4204435 w 4819650"/>
              <a:gd name="connsiteY172" fmla="*/ 4353947 h 5143499"/>
              <a:gd name="connsiteX173" fmla="*/ 4187146 w 4819650"/>
              <a:gd name="connsiteY173" fmla="*/ 4310984 h 5143499"/>
              <a:gd name="connsiteX174" fmla="*/ 4144183 w 4819650"/>
              <a:gd name="connsiteY174" fmla="*/ 4293694 h 5143499"/>
              <a:gd name="connsiteX175" fmla="*/ 4093664 w 4819650"/>
              <a:gd name="connsiteY175" fmla="*/ 4324437 h 5143499"/>
              <a:gd name="connsiteX176" fmla="*/ 4061406 w 4819650"/>
              <a:gd name="connsiteY176" fmla="*/ 4399658 h 5143499"/>
              <a:gd name="connsiteX177" fmla="*/ 4036727 w 4819650"/>
              <a:gd name="connsiteY177" fmla="*/ 4400794 h 5143499"/>
              <a:gd name="connsiteX178" fmla="*/ 4011977 w 4819650"/>
              <a:gd name="connsiteY178" fmla="*/ 4399658 h 5143499"/>
              <a:gd name="connsiteX179" fmla="*/ 3979720 w 4819650"/>
              <a:gd name="connsiteY179" fmla="*/ 4324437 h 5143499"/>
              <a:gd name="connsiteX180" fmla="*/ 3929201 w 4819650"/>
              <a:gd name="connsiteY180" fmla="*/ 4293694 h 5143499"/>
              <a:gd name="connsiteX181" fmla="*/ 2094551 w 4819650"/>
              <a:gd name="connsiteY181" fmla="*/ 0 h 5143499"/>
              <a:gd name="connsiteX182" fmla="*/ 4819650 w 4819650"/>
              <a:gd name="connsiteY182" fmla="*/ 0 h 5143499"/>
              <a:gd name="connsiteX183" fmla="*/ 4819650 w 4819650"/>
              <a:gd name="connsiteY183" fmla="*/ 5143499 h 5143499"/>
              <a:gd name="connsiteX184" fmla="*/ 0 w 4819650"/>
              <a:gd name="connsiteY184" fmla="*/ 5143499 h 5143499"/>
              <a:gd name="connsiteX185" fmla="*/ 0 w 4819650"/>
              <a:gd name="connsiteY185" fmla="*/ 5143498 h 5143499"/>
              <a:gd name="connsiteX186" fmla="*/ 371745 w 4819650"/>
              <a:gd name="connsiteY186" fmla="*/ 5143498 h 5143499"/>
              <a:gd name="connsiteX187" fmla="*/ 1206499 w 4819650"/>
              <a:gd name="connsiteY187" fmla="*/ 1821610 h 5143499"/>
              <a:gd name="connsiteX188" fmla="*/ 2048326 w 4819650"/>
              <a:gd name="connsiteY188" fmla="*/ 58253 h 5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Lst>
            <a:rect l="l" t="t" r="r" b="b"/>
            <a:pathLst>
              <a:path w="4819650" h="5143499">
                <a:moveTo>
                  <a:pt x="3742286" y="4731402"/>
                </a:moveTo>
                <a:cubicBezTo>
                  <a:pt x="3754863" y="4731402"/>
                  <a:pt x="3762891" y="4738792"/>
                  <a:pt x="3762891" y="4756413"/>
                </a:cubicBezTo>
                <a:cubicBezTo>
                  <a:pt x="3762891" y="4774365"/>
                  <a:pt x="3754720" y="4781755"/>
                  <a:pt x="3742286" y="4781755"/>
                </a:cubicBezTo>
                <a:cubicBezTo>
                  <a:pt x="3729852" y="4781755"/>
                  <a:pt x="3721823" y="4774034"/>
                  <a:pt x="3721823" y="4756413"/>
                </a:cubicBezTo>
                <a:cubicBezTo>
                  <a:pt x="3721823" y="4738792"/>
                  <a:pt x="3729710" y="4731402"/>
                  <a:pt x="3742286" y="4731402"/>
                </a:cubicBezTo>
                <a:close/>
                <a:moveTo>
                  <a:pt x="3892112" y="4731379"/>
                </a:moveTo>
                <a:cubicBezTo>
                  <a:pt x="3904380" y="4731379"/>
                  <a:pt x="3913356" y="4738768"/>
                  <a:pt x="3913356" y="4756555"/>
                </a:cubicBezTo>
                <a:cubicBezTo>
                  <a:pt x="3913356" y="4774342"/>
                  <a:pt x="3904546" y="4781732"/>
                  <a:pt x="3892112" y="4781732"/>
                </a:cubicBezTo>
                <a:cubicBezTo>
                  <a:pt x="3879677" y="4781732"/>
                  <a:pt x="3870867" y="4774342"/>
                  <a:pt x="3870867" y="4756555"/>
                </a:cubicBezTo>
                <a:cubicBezTo>
                  <a:pt x="3870867" y="4738768"/>
                  <a:pt x="3879677" y="4731379"/>
                  <a:pt x="3892112" y="4731379"/>
                </a:cubicBezTo>
                <a:close/>
                <a:moveTo>
                  <a:pt x="4212654" y="4713284"/>
                </a:moveTo>
                <a:lnTo>
                  <a:pt x="4212654" y="4762855"/>
                </a:lnTo>
                <a:cubicBezTo>
                  <a:pt x="4212654" y="4788671"/>
                  <a:pt x="4225870" y="4801413"/>
                  <a:pt x="4251378" y="4801413"/>
                </a:cubicBezTo>
                <a:cubicBezTo>
                  <a:pt x="4276886" y="4801413"/>
                  <a:pt x="4290101" y="4788671"/>
                  <a:pt x="4290101" y="4762855"/>
                </a:cubicBezTo>
                <a:lnTo>
                  <a:pt x="4290101" y="4713284"/>
                </a:lnTo>
                <a:lnTo>
                  <a:pt x="4290054" y="4713284"/>
                </a:lnTo>
                <a:lnTo>
                  <a:pt x="4269283" y="4713284"/>
                </a:lnTo>
                <a:lnTo>
                  <a:pt x="4269283" y="4762855"/>
                </a:lnTo>
                <a:cubicBezTo>
                  <a:pt x="4269283" y="4777160"/>
                  <a:pt x="4261254" y="4781731"/>
                  <a:pt x="4251354" y="4781731"/>
                </a:cubicBezTo>
                <a:cubicBezTo>
                  <a:pt x="4241454" y="4781731"/>
                  <a:pt x="4233425" y="4777184"/>
                  <a:pt x="4233425" y="4762855"/>
                </a:cubicBezTo>
                <a:lnTo>
                  <a:pt x="4233425" y="4713284"/>
                </a:lnTo>
                <a:close/>
                <a:moveTo>
                  <a:pt x="4031541" y="4713284"/>
                </a:moveTo>
                <a:lnTo>
                  <a:pt x="4031541" y="4799826"/>
                </a:lnTo>
                <a:lnTo>
                  <a:pt x="4052312" y="4799826"/>
                </a:lnTo>
                <a:lnTo>
                  <a:pt x="4052312" y="4713284"/>
                </a:lnTo>
                <a:close/>
                <a:moveTo>
                  <a:pt x="3936473" y="4713284"/>
                </a:moveTo>
                <a:lnTo>
                  <a:pt x="3966836" y="4756247"/>
                </a:lnTo>
                <a:lnTo>
                  <a:pt x="3936473" y="4799850"/>
                </a:lnTo>
                <a:lnTo>
                  <a:pt x="3959447" y="4799850"/>
                </a:lnTo>
                <a:lnTo>
                  <a:pt x="3978181" y="4771689"/>
                </a:lnTo>
                <a:lnTo>
                  <a:pt x="3996915" y="4799850"/>
                </a:lnTo>
                <a:lnTo>
                  <a:pt x="4019889" y="4799850"/>
                </a:lnTo>
                <a:lnTo>
                  <a:pt x="3989668" y="4756247"/>
                </a:lnTo>
                <a:lnTo>
                  <a:pt x="4019889" y="4713284"/>
                </a:lnTo>
                <a:lnTo>
                  <a:pt x="3996749" y="4713284"/>
                </a:lnTo>
                <a:lnTo>
                  <a:pt x="3978181" y="4741137"/>
                </a:lnTo>
                <a:lnTo>
                  <a:pt x="3959612" y="4713284"/>
                </a:lnTo>
                <a:close/>
                <a:moveTo>
                  <a:pt x="4336238" y="4711721"/>
                </a:moveTo>
                <a:cubicBezTo>
                  <a:pt x="4310565" y="4711721"/>
                  <a:pt x="4304596" y="4724155"/>
                  <a:pt x="4304596" y="4737063"/>
                </a:cubicBezTo>
                <a:cubicBezTo>
                  <a:pt x="4304596" y="4751084"/>
                  <a:pt x="4311986" y="4755489"/>
                  <a:pt x="4330080" y="4761932"/>
                </a:cubicBezTo>
                <a:lnTo>
                  <a:pt x="4336073" y="4764134"/>
                </a:lnTo>
                <a:cubicBezTo>
                  <a:pt x="4346470" y="4767900"/>
                  <a:pt x="4351657" y="4769795"/>
                  <a:pt x="4351657" y="4774982"/>
                </a:cubicBezTo>
                <a:cubicBezTo>
                  <a:pt x="4351657" y="4779529"/>
                  <a:pt x="4346944" y="4782845"/>
                  <a:pt x="4337186" y="4782845"/>
                </a:cubicBezTo>
                <a:cubicBezTo>
                  <a:pt x="4327428" y="4782845"/>
                  <a:pt x="4318144" y="4779860"/>
                  <a:pt x="4308220" y="4775763"/>
                </a:cubicBezTo>
                <a:lnTo>
                  <a:pt x="4303341" y="4793858"/>
                </a:lnTo>
                <a:cubicBezTo>
                  <a:pt x="4312767" y="4798429"/>
                  <a:pt x="4325202" y="4801413"/>
                  <a:pt x="4338109" y="4801413"/>
                </a:cubicBezTo>
                <a:cubicBezTo>
                  <a:pt x="4363901" y="4801413"/>
                  <a:pt x="4372404" y="4789287"/>
                  <a:pt x="4372404" y="4774342"/>
                </a:cubicBezTo>
                <a:lnTo>
                  <a:pt x="4372452" y="4774366"/>
                </a:lnTo>
                <a:cubicBezTo>
                  <a:pt x="4372452" y="4760510"/>
                  <a:pt x="4364730" y="4754684"/>
                  <a:pt x="4345688" y="4747768"/>
                </a:cubicBezTo>
                <a:lnTo>
                  <a:pt x="4339388" y="4745400"/>
                </a:lnTo>
                <a:cubicBezTo>
                  <a:pt x="4328233" y="4741303"/>
                  <a:pt x="4325391" y="4740213"/>
                  <a:pt x="4325391" y="4736116"/>
                </a:cubicBezTo>
                <a:cubicBezTo>
                  <a:pt x="4325391" y="4731687"/>
                  <a:pt x="4328849" y="4730124"/>
                  <a:pt x="4336096" y="4730124"/>
                </a:cubicBezTo>
                <a:cubicBezTo>
                  <a:pt x="4344267" y="4730124"/>
                  <a:pt x="4357175" y="4732492"/>
                  <a:pt x="4363783" y="4734221"/>
                </a:cubicBezTo>
                <a:lnTo>
                  <a:pt x="4367715" y="4716434"/>
                </a:lnTo>
                <a:cubicBezTo>
                  <a:pt x="4361580" y="4714397"/>
                  <a:pt x="4347725" y="4711721"/>
                  <a:pt x="4336238" y="4711721"/>
                </a:cubicBezTo>
                <a:close/>
                <a:moveTo>
                  <a:pt x="4107093" y="4711721"/>
                </a:moveTo>
                <a:cubicBezTo>
                  <a:pt x="4086796" y="4711721"/>
                  <a:pt x="4070430" y="4722734"/>
                  <a:pt x="4070430" y="4744760"/>
                </a:cubicBezTo>
                <a:lnTo>
                  <a:pt x="4070430" y="4799850"/>
                </a:lnTo>
                <a:lnTo>
                  <a:pt x="4091201" y="4799850"/>
                </a:lnTo>
                <a:lnTo>
                  <a:pt x="4091201" y="4746182"/>
                </a:lnTo>
                <a:cubicBezTo>
                  <a:pt x="4091201" y="4737347"/>
                  <a:pt x="4094659" y="4731379"/>
                  <a:pt x="4106927" y="4731379"/>
                </a:cubicBezTo>
                <a:cubicBezTo>
                  <a:pt x="4118106" y="4731379"/>
                  <a:pt x="4122985" y="4736258"/>
                  <a:pt x="4122985" y="4746182"/>
                </a:cubicBezTo>
                <a:lnTo>
                  <a:pt x="4122985" y="4799850"/>
                </a:lnTo>
                <a:lnTo>
                  <a:pt x="4143591" y="4799850"/>
                </a:lnTo>
                <a:lnTo>
                  <a:pt x="4143591" y="4746182"/>
                </a:lnTo>
                <a:cubicBezTo>
                  <a:pt x="4143591" y="4737347"/>
                  <a:pt x="4147214" y="4731379"/>
                  <a:pt x="4159648" y="4731379"/>
                </a:cubicBezTo>
                <a:cubicBezTo>
                  <a:pt x="4170496" y="4731379"/>
                  <a:pt x="4175375" y="4736258"/>
                  <a:pt x="4175375" y="4746182"/>
                </a:cubicBezTo>
                <a:lnTo>
                  <a:pt x="4175375" y="4799850"/>
                </a:lnTo>
                <a:lnTo>
                  <a:pt x="4196146" y="4799850"/>
                </a:lnTo>
                <a:lnTo>
                  <a:pt x="4196146" y="4744760"/>
                </a:lnTo>
                <a:cubicBezTo>
                  <a:pt x="4196146" y="4721171"/>
                  <a:pt x="4178856" y="4711721"/>
                  <a:pt x="4159648" y="4711721"/>
                </a:cubicBezTo>
                <a:cubicBezTo>
                  <a:pt x="4150364" y="4711721"/>
                  <a:pt x="4139659" y="4715653"/>
                  <a:pt x="4133525" y="4722426"/>
                </a:cubicBezTo>
                <a:cubicBezTo>
                  <a:pt x="4126917" y="4715653"/>
                  <a:pt x="4116543" y="4711721"/>
                  <a:pt x="4107093" y="4711721"/>
                </a:cubicBezTo>
                <a:close/>
                <a:moveTo>
                  <a:pt x="3892112" y="4711721"/>
                </a:moveTo>
                <a:cubicBezTo>
                  <a:pt x="3868333" y="4711721"/>
                  <a:pt x="3849930" y="4727305"/>
                  <a:pt x="3849930" y="4756413"/>
                </a:cubicBezTo>
                <a:cubicBezTo>
                  <a:pt x="3849930" y="4785521"/>
                  <a:pt x="3868356" y="4801413"/>
                  <a:pt x="3892112" y="4801413"/>
                </a:cubicBezTo>
                <a:cubicBezTo>
                  <a:pt x="3915891" y="4801413"/>
                  <a:pt x="3934293" y="4785213"/>
                  <a:pt x="3934293" y="4756413"/>
                </a:cubicBezTo>
                <a:cubicBezTo>
                  <a:pt x="3934293" y="4727613"/>
                  <a:pt x="3915891" y="4711721"/>
                  <a:pt x="3892112" y="4711721"/>
                </a:cubicBezTo>
                <a:close/>
                <a:moveTo>
                  <a:pt x="3837662" y="4711697"/>
                </a:moveTo>
                <a:cubicBezTo>
                  <a:pt x="3813267" y="4711697"/>
                  <a:pt x="3799412" y="4727755"/>
                  <a:pt x="3799412" y="4749000"/>
                </a:cubicBezTo>
                <a:lnTo>
                  <a:pt x="3799412" y="4799826"/>
                </a:lnTo>
                <a:lnTo>
                  <a:pt x="3820183" y="4799826"/>
                </a:lnTo>
                <a:lnTo>
                  <a:pt x="3820183" y="4750563"/>
                </a:lnTo>
                <a:cubicBezTo>
                  <a:pt x="3820183" y="4739242"/>
                  <a:pt x="3825701" y="4731994"/>
                  <a:pt x="3837662" y="4731994"/>
                </a:cubicBezTo>
                <a:cubicBezTo>
                  <a:pt x="3839083" y="4731994"/>
                  <a:pt x="3841451" y="4732136"/>
                  <a:pt x="3842707" y="4732302"/>
                </a:cubicBezTo>
                <a:lnTo>
                  <a:pt x="3846165" y="4712479"/>
                </a:lnTo>
                <a:cubicBezTo>
                  <a:pt x="3844909" y="4712171"/>
                  <a:pt x="3841759" y="4711697"/>
                  <a:pt x="3837662" y="4711697"/>
                </a:cubicBezTo>
                <a:close/>
                <a:moveTo>
                  <a:pt x="3742286" y="4711697"/>
                </a:moveTo>
                <a:cubicBezTo>
                  <a:pt x="3718673" y="4711697"/>
                  <a:pt x="3701052" y="4727115"/>
                  <a:pt x="3701052" y="4755915"/>
                </a:cubicBezTo>
                <a:lnTo>
                  <a:pt x="3701052" y="4834452"/>
                </a:lnTo>
                <a:lnTo>
                  <a:pt x="3721823" y="4834452"/>
                </a:lnTo>
                <a:lnTo>
                  <a:pt x="3721823" y="4795586"/>
                </a:lnTo>
                <a:cubicBezTo>
                  <a:pt x="3727649" y="4799518"/>
                  <a:pt x="3734565" y="4801413"/>
                  <a:pt x="3742286" y="4801413"/>
                </a:cubicBezTo>
                <a:cubicBezTo>
                  <a:pt x="3766041" y="4801413"/>
                  <a:pt x="3783828" y="4785379"/>
                  <a:pt x="3783828" y="4756413"/>
                </a:cubicBezTo>
                <a:lnTo>
                  <a:pt x="3783828" y="4756389"/>
                </a:lnTo>
                <a:cubicBezTo>
                  <a:pt x="3783828" y="4727589"/>
                  <a:pt x="3765899" y="4711697"/>
                  <a:pt x="3742286" y="4711697"/>
                </a:cubicBezTo>
                <a:close/>
                <a:moveTo>
                  <a:pt x="3966385" y="4531816"/>
                </a:moveTo>
                <a:cubicBezTo>
                  <a:pt x="3961435" y="4548371"/>
                  <a:pt x="3954733" y="4562439"/>
                  <a:pt x="3946680" y="4572481"/>
                </a:cubicBezTo>
                <a:lnTo>
                  <a:pt x="3946656" y="4572458"/>
                </a:lnTo>
                <a:lnTo>
                  <a:pt x="3946112" y="4573168"/>
                </a:lnTo>
                <a:cubicBezTo>
                  <a:pt x="3942085" y="4578521"/>
                  <a:pt x="3932801" y="4586787"/>
                  <a:pt x="3925933" y="4587284"/>
                </a:cubicBezTo>
                <a:cubicBezTo>
                  <a:pt x="3924677" y="4587379"/>
                  <a:pt x="3921409" y="4587616"/>
                  <a:pt x="3915985" y="4582192"/>
                </a:cubicBezTo>
                <a:cubicBezTo>
                  <a:pt x="3910562" y="4576768"/>
                  <a:pt x="3910798" y="4573476"/>
                  <a:pt x="3910893" y="4572244"/>
                </a:cubicBezTo>
                <a:cubicBezTo>
                  <a:pt x="3911367" y="4565376"/>
                  <a:pt x="3919656" y="4556092"/>
                  <a:pt x="3925009" y="4552066"/>
                </a:cubicBezTo>
                <a:lnTo>
                  <a:pt x="3925720" y="4551521"/>
                </a:lnTo>
                <a:cubicBezTo>
                  <a:pt x="3935762" y="4543468"/>
                  <a:pt x="3949830" y="4536766"/>
                  <a:pt x="3966385" y="4531816"/>
                </a:cubicBezTo>
                <a:close/>
                <a:moveTo>
                  <a:pt x="4107045" y="4531815"/>
                </a:moveTo>
                <a:lnTo>
                  <a:pt x="4147664" y="4551497"/>
                </a:lnTo>
                <a:lnTo>
                  <a:pt x="4148375" y="4552042"/>
                </a:lnTo>
                <a:cubicBezTo>
                  <a:pt x="4153727" y="4556068"/>
                  <a:pt x="4161993" y="4565352"/>
                  <a:pt x="4162491" y="4572221"/>
                </a:cubicBezTo>
                <a:cubicBezTo>
                  <a:pt x="4162585" y="4573476"/>
                  <a:pt x="4162822" y="4576744"/>
                  <a:pt x="4157398" y="4582168"/>
                </a:cubicBezTo>
                <a:cubicBezTo>
                  <a:pt x="4151975" y="4587592"/>
                  <a:pt x="4148683" y="4587355"/>
                  <a:pt x="4147451" y="4587260"/>
                </a:cubicBezTo>
                <a:cubicBezTo>
                  <a:pt x="4140583" y="4586787"/>
                  <a:pt x="4131298" y="4578497"/>
                  <a:pt x="4127272" y="4573145"/>
                </a:cubicBezTo>
                <a:lnTo>
                  <a:pt x="4126727" y="4572434"/>
                </a:lnTo>
                <a:close/>
                <a:moveTo>
                  <a:pt x="4107022" y="4531768"/>
                </a:moveTo>
                <a:lnTo>
                  <a:pt x="4107045" y="4531815"/>
                </a:lnTo>
                <a:lnTo>
                  <a:pt x="4106998" y="4531792"/>
                </a:lnTo>
                <a:close/>
                <a:moveTo>
                  <a:pt x="4017496" y="4442289"/>
                </a:moveTo>
                <a:cubicBezTo>
                  <a:pt x="4023796" y="4442668"/>
                  <a:pt x="4030214" y="4442881"/>
                  <a:pt x="4036704" y="4442881"/>
                </a:cubicBezTo>
                <a:cubicBezTo>
                  <a:pt x="4043193" y="4442881"/>
                  <a:pt x="4049564" y="4442644"/>
                  <a:pt x="4055864" y="4442289"/>
                </a:cubicBezTo>
                <a:cubicBezTo>
                  <a:pt x="4055485" y="4448589"/>
                  <a:pt x="4055272" y="4455008"/>
                  <a:pt x="4055272" y="4461497"/>
                </a:cubicBezTo>
                <a:cubicBezTo>
                  <a:pt x="4055272" y="4467987"/>
                  <a:pt x="4055485" y="4474358"/>
                  <a:pt x="4055864" y="4480658"/>
                </a:cubicBezTo>
                <a:cubicBezTo>
                  <a:pt x="4049564" y="4480279"/>
                  <a:pt x="4043146" y="4480066"/>
                  <a:pt x="4036656" y="4480066"/>
                </a:cubicBezTo>
                <a:cubicBezTo>
                  <a:pt x="4030167" y="4480066"/>
                  <a:pt x="4023796" y="4480302"/>
                  <a:pt x="4017496" y="4480658"/>
                </a:cubicBezTo>
                <a:cubicBezTo>
                  <a:pt x="4017875" y="4474358"/>
                  <a:pt x="4018088" y="4467939"/>
                  <a:pt x="4018088" y="4461450"/>
                </a:cubicBezTo>
                <a:cubicBezTo>
                  <a:pt x="4018088" y="4454960"/>
                  <a:pt x="4017875" y="4448589"/>
                  <a:pt x="4017496" y="4442289"/>
                </a:cubicBezTo>
                <a:close/>
                <a:moveTo>
                  <a:pt x="3966316" y="4391133"/>
                </a:moveTo>
                <a:lnTo>
                  <a:pt x="3966362" y="4391155"/>
                </a:lnTo>
                <a:lnTo>
                  <a:pt x="3966338" y="4391179"/>
                </a:lnTo>
                <a:close/>
                <a:moveTo>
                  <a:pt x="3925909" y="4335687"/>
                </a:moveTo>
                <a:cubicBezTo>
                  <a:pt x="3932777" y="4336160"/>
                  <a:pt x="3942062" y="4344450"/>
                  <a:pt x="3946088" y="4349802"/>
                </a:cubicBezTo>
                <a:lnTo>
                  <a:pt x="3946633" y="4350513"/>
                </a:lnTo>
                <a:lnTo>
                  <a:pt x="3966316" y="4391133"/>
                </a:lnTo>
                <a:lnTo>
                  <a:pt x="3925696" y="4371450"/>
                </a:lnTo>
                <a:lnTo>
                  <a:pt x="3924985" y="4370905"/>
                </a:lnTo>
                <a:cubicBezTo>
                  <a:pt x="3919633" y="4366879"/>
                  <a:pt x="3911367" y="4357594"/>
                  <a:pt x="3910870" y="4350726"/>
                </a:cubicBezTo>
                <a:cubicBezTo>
                  <a:pt x="3910775" y="4349471"/>
                  <a:pt x="3910538" y="4346202"/>
                  <a:pt x="3915962" y="4340779"/>
                </a:cubicBezTo>
                <a:cubicBezTo>
                  <a:pt x="3921385" y="4335355"/>
                  <a:pt x="3924677" y="4335592"/>
                  <a:pt x="3925909" y="4335687"/>
                </a:cubicBezTo>
                <a:close/>
                <a:moveTo>
                  <a:pt x="4147427" y="4335639"/>
                </a:moveTo>
                <a:cubicBezTo>
                  <a:pt x="4148683" y="4335544"/>
                  <a:pt x="4151951" y="4335308"/>
                  <a:pt x="4157375" y="4340731"/>
                </a:cubicBezTo>
                <a:cubicBezTo>
                  <a:pt x="4162798" y="4346155"/>
                  <a:pt x="4162562" y="4349447"/>
                  <a:pt x="4162467" y="4350679"/>
                </a:cubicBezTo>
                <a:cubicBezTo>
                  <a:pt x="4161993" y="4357547"/>
                  <a:pt x="4153704" y="4366831"/>
                  <a:pt x="4148351" y="4370858"/>
                </a:cubicBezTo>
                <a:lnTo>
                  <a:pt x="4147641" y="4371402"/>
                </a:lnTo>
                <a:cubicBezTo>
                  <a:pt x="4137598" y="4379455"/>
                  <a:pt x="4123530" y="4386158"/>
                  <a:pt x="4106975" y="4391108"/>
                </a:cubicBezTo>
                <a:cubicBezTo>
                  <a:pt x="4111925" y="4374552"/>
                  <a:pt x="4118627" y="4360484"/>
                  <a:pt x="4126680" y="4350442"/>
                </a:cubicBezTo>
                <a:lnTo>
                  <a:pt x="4126704" y="4350466"/>
                </a:lnTo>
                <a:lnTo>
                  <a:pt x="4127248" y="4349755"/>
                </a:lnTo>
                <a:cubicBezTo>
                  <a:pt x="4131275" y="4344402"/>
                  <a:pt x="4140559" y="4336137"/>
                  <a:pt x="4147427" y="4335639"/>
                </a:cubicBezTo>
                <a:close/>
                <a:moveTo>
                  <a:pt x="3929201" y="4293694"/>
                </a:moveTo>
                <a:cubicBezTo>
                  <a:pt x="3918330" y="4292866"/>
                  <a:pt x="3902035" y="4295187"/>
                  <a:pt x="3886238" y="4310984"/>
                </a:cubicBezTo>
                <a:cubicBezTo>
                  <a:pt x="3870441" y="4326781"/>
                  <a:pt x="3868120" y="4343076"/>
                  <a:pt x="3868948" y="4353947"/>
                </a:cubicBezTo>
                <a:cubicBezTo>
                  <a:pt x="3871056" y="4381681"/>
                  <a:pt x="3895262" y="4401126"/>
                  <a:pt x="3899691" y="4404466"/>
                </a:cubicBezTo>
                <a:cubicBezTo>
                  <a:pt x="3918425" y="4419410"/>
                  <a:pt x="3944477" y="4430423"/>
                  <a:pt x="3974912" y="4436723"/>
                </a:cubicBezTo>
                <a:cubicBezTo>
                  <a:pt x="3975646" y="4444800"/>
                  <a:pt x="3976048" y="4453066"/>
                  <a:pt x="3976048" y="4461473"/>
                </a:cubicBezTo>
                <a:cubicBezTo>
                  <a:pt x="3976048" y="4469858"/>
                  <a:pt x="3975646" y="4478100"/>
                  <a:pt x="3974912" y="4486152"/>
                </a:cubicBezTo>
                <a:cubicBezTo>
                  <a:pt x="3944477" y="4492476"/>
                  <a:pt x="3918401" y="4503489"/>
                  <a:pt x="3899691" y="4518410"/>
                </a:cubicBezTo>
                <a:cubicBezTo>
                  <a:pt x="3895262" y="4521750"/>
                  <a:pt x="3871080" y="4541218"/>
                  <a:pt x="3868948" y="4568929"/>
                </a:cubicBezTo>
                <a:cubicBezTo>
                  <a:pt x="3868120" y="4579800"/>
                  <a:pt x="3870441" y="4596094"/>
                  <a:pt x="3886238" y="4611892"/>
                </a:cubicBezTo>
                <a:cubicBezTo>
                  <a:pt x="3902035" y="4627689"/>
                  <a:pt x="3918330" y="4630010"/>
                  <a:pt x="3929201" y="4629181"/>
                </a:cubicBezTo>
                <a:cubicBezTo>
                  <a:pt x="3956935" y="4627073"/>
                  <a:pt x="3976380" y="4602868"/>
                  <a:pt x="3979720" y="4598439"/>
                </a:cubicBezTo>
                <a:cubicBezTo>
                  <a:pt x="3994664" y="4579705"/>
                  <a:pt x="4005677" y="4553652"/>
                  <a:pt x="4011977" y="4523218"/>
                </a:cubicBezTo>
                <a:cubicBezTo>
                  <a:pt x="4020030" y="4522484"/>
                  <a:pt x="4028296" y="4522105"/>
                  <a:pt x="4036656" y="4522081"/>
                </a:cubicBezTo>
                <a:cubicBezTo>
                  <a:pt x="4045064" y="4522081"/>
                  <a:pt x="4053330" y="4522484"/>
                  <a:pt x="4061406" y="4523218"/>
                </a:cubicBezTo>
                <a:cubicBezTo>
                  <a:pt x="4067730" y="4553652"/>
                  <a:pt x="4078743" y="4579705"/>
                  <a:pt x="4093664" y="4598439"/>
                </a:cubicBezTo>
                <a:cubicBezTo>
                  <a:pt x="4097004" y="4602868"/>
                  <a:pt x="4116472" y="4627050"/>
                  <a:pt x="4144183" y="4629181"/>
                </a:cubicBezTo>
                <a:cubicBezTo>
                  <a:pt x="4155054" y="4630010"/>
                  <a:pt x="4171348" y="4627689"/>
                  <a:pt x="4187146" y="4611892"/>
                </a:cubicBezTo>
                <a:cubicBezTo>
                  <a:pt x="4202943" y="4596094"/>
                  <a:pt x="4205264" y="4579800"/>
                  <a:pt x="4204435" y="4568929"/>
                </a:cubicBezTo>
                <a:cubicBezTo>
                  <a:pt x="4202327" y="4541194"/>
                  <a:pt x="4178122" y="4521750"/>
                  <a:pt x="4173693" y="4518410"/>
                </a:cubicBezTo>
                <a:cubicBezTo>
                  <a:pt x="4154959" y="4503466"/>
                  <a:pt x="4128906" y="4492452"/>
                  <a:pt x="4098472" y="4486152"/>
                </a:cubicBezTo>
                <a:cubicBezTo>
                  <a:pt x="4097738" y="4478076"/>
                  <a:pt x="4097335" y="4469810"/>
                  <a:pt x="4097335" y="4461402"/>
                </a:cubicBezTo>
                <a:cubicBezTo>
                  <a:pt x="4097335" y="4453018"/>
                  <a:pt x="4097738" y="4444776"/>
                  <a:pt x="4098472" y="4436723"/>
                </a:cubicBezTo>
                <a:cubicBezTo>
                  <a:pt x="4128906" y="4430400"/>
                  <a:pt x="4154983" y="4419387"/>
                  <a:pt x="4173693" y="4404466"/>
                </a:cubicBezTo>
                <a:cubicBezTo>
                  <a:pt x="4178122" y="4401126"/>
                  <a:pt x="4202304" y="4381658"/>
                  <a:pt x="4204435" y="4353947"/>
                </a:cubicBezTo>
                <a:cubicBezTo>
                  <a:pt x="4205264" y="4343076"/>
                  <a:pt x="4202943" y="4326781"/>
                  <a:pt x="4187146" y="4310984"/>
                </a:cubicBezTo>
                <a:cubicBezTo>
                  <a:pt x="4171348" y="4295187"/>
                  <a:pt x="4155054" y="4292866"/>
                  <a:pt x="4144183" y="4293694"/>
                </a:cubicBezTo>
                <a:cubicBezTo>
                  <a:pt x="4116448" y="4295802"/>
                  <a:pt x="4097004" y="4320008"/>
                  <a:pt x="4093664" y="4324437"/>
                </a:cubicBezTo>
                <a:cubicBezTo>
                  <a:pt x="4078720" y="4343171"/>
                  <a:pt x="4067706" y="4369223"/>
                  <a:pt x="4061406" y="4399658"/>
                </a:cubicBezTo>
                <a:cubicBezTo>
                  <a:pt x="4053354" y="4400392"/>
                  <a:pt x="4045088" y="4400771"/>
                  <a:pt x="4036727" y="4400794"/>
                </a:cubicBezTo>
                <a:cubicBezTo>
                  <a:pt x="4028319" y="4400794"/>
                  <a:pt x="4020054" y="4400392"/>
                  <a:pt x="4011977" y="4399658"/>
                </a:cubicBezTo>
                <a:cubicBezTo>
                  <a:pt x="4005654" y="4369223"/>
                  <a:pt x="3994641" y="4343171"/>
                  <a:pt x="3979720" y="4324437"/>
                </a:cubicBezTo>
                <a:cubicBezTo>
                  <a:pt x="3976380" y="4320008"/>
                  <a:pt x="3956912" y="4295826"/>
                  <a:pt x="3929201" y="4293694"/>
                </a:cubicBezTo>
                <a:close/>
                <a:moveTo>
                  <a:pt x="2094551" y="0"/>
                </a:moveTo>
                <a:lnTo>
                  <a:pt x="4819650" y="0"/>
                </a:lnTo>
                <a:lnTo>
                  <a:pt x="4819650" y="5143499"/>
                </a:lnTo>
                <a:lnTo>
                  <a:pt x="0" y="5143499"/>
                </a:lnTo>
                <a:lnTo>
                  <a:pt x="0" y="5143498"/>
                </a:lnTo>
                <a:lnTo>
                  <a:pt x="371745" y="5143498"/>
                </a:lnTo>
                <a:lnTo>
                  <a:pt x="1206499" y="1821610"/>
                </a:lnTo>
                <a:cubicBezTo>
                  <a:pt x="1372079" y="1162691"/>
                  <a:pt x="1663360" y="568520"/>
                  <a:pt x="2048326" y="58253"/>
                </a:cubicBezTo>
                <a:close/>
              </a:path>
            </a:pathLst>
          </a:custGeom>
          <a:solidFill>
            <a:schemeClr val="tx1">
              <a:lumMod val="95000"/>
            </a:schemeClr>
          </a:solidFill>
        </p:spPr>
        <p:txBody>
          <a:bodyPr wrap="square">
            <a:noAutofit/>
          </a:bodyPr>
          <a:lstStyle/>
          <a:p>
            <a:r>
              <a:rPr lang="en-US"/>
              <a:t>Click icon to add picture</a:t>
            </a:r>
          </a:p>
        </p:txBody>
      </p:sp>
    </p:spTree>
    <p:extLst>
      <p:ext uri="{BB962C8B-B14F-4D97-AF65-F5344CB8AC3E}">
        <p14:creationId xmlns:p14="http://schemas.microsoft.com/office/powerpoint/2010/main" val="386490988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ver - Shape">
    <p:bg>
      <p:bgPr>
        <a:solidFill>
          <a:schemeClr val="bg1"/>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83F3C82D-0141-4635-A4B4-A76F2FD5DEFE}"/>
              </a:ext>
            </a:extLst>
          </p:cNvPr>
          <p:cNvSpPr/>
          <p:nvPr userDrawn="1"/>
        </p:nvSpPr>
        <p:spPr>
          <a:xfrm rot="19718639">
            <a:off x="-1832147" y="-1731232"/>
            <a:ext cx="11568875" cy="7917933"/>
          </a:xfrm>
          <a:custGeom>
            <a:avLst/>
            <a:gdLst>
              <a:gd name="connsiteX0" fmla="*/ 2676442 w 8676656"/>
              <a:gd name="connsiteY0" fmla="*/ 0 h 5938450"/>
              <a:gd name="connsiteX1" fmla="*/ 8676656 w 8676656"/>
              <a:gd name="connsiteY1" fmla="*/ 3656228 h 5938450"/>
              <a:gd name="connsiteX2" fmla="*/ 8640882 w 8676656"/>
              <a:gd name="connsiteY2" fmla="*/ 3795361 h 5938450"/>
              <a:gd name="connsiteX3" fmla="*/ 5727914 w 8676656"/>
              <a:gd name="connsiteY3" fmla="*/ 5938450 h 5938450"/>
              <a:gd name="connsiteX4" fmla="*/ 2537385 w 8676656"/>
              <a:gd name="connsiteY4" fmla="*/ 5938450 h 5938450"/>
              <a:gd name="connsiteX5" fmla="*/ 0 w 8676656"/>
              <a:gd name="connsiteY5" fmla="*/ 4392296 h 5938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76656" h="5938450">
                <a:moveTo>
                  <a:pt x="2676442" y="0"/>
                </a:moveTo>
                <a:lnTo>
                  <a:pt x="8676656" y="3656228"/>
                </a:lnTo>
                <a:lnTo>
                  <a:pt x="8640882" y="3795361"/>
                </a:lnTo>
                <a:cubicBezTo>
                  <a:pt x="8254705" y="5036958"/>
                  <a:pt x="7096587" y="5938450"/>
                  <a:pt x="5727914" y="5938450"/>
                </a:cubicBezTo>
                <a:lnTo>
                  <a:pt x="2537385" y="5938450"/>
                </a:lnTo>
                <a:lnTo>
                  <a:pt x="0" y="4392296"/>
                </a:lnTo>
                <a:close/>
              </a:path>
            </a:pathLst>
          </a:custGeom>
          <a:gradFill flip="none" rotWithShape="1">
            <a:gsLst>
              <a:gs pos="15000">
                <a:schemeClr val="bg1"/>
              </a:gs>
              <a:gs pos="100000">
                <a:schemeClr val="tx2"/>
              </a:gs>
            </a:gsLst>
            <a:lin ang="20400000" scaled="0"/>
            <a:tileRect/>
          </a:gradFill>
          <a:ln>
            <a:noFill/>
          </a:ln>
          <a:effectLst/>
        </p:spPr>
        <p:style>
          <a:lnRef idx="1">
            <a:schemeClr val="accent1"/>
          </a:lnRef>
          <a:fillRef idx="3">
            <a:schemeClr val="accent1"/>
          </a:fillRef>
          <a:effectRef idx="2">
            <a:schemeClr val="accent1"/>
          </a:effectRef>
          <a:fontRef idx="minor">
            <a:schemeClr val="lt1"/>
          </a:fontRef>
        </p:style>
        <p:txBody>
          <a:bodyPr vert="horz" wrap="square" lIns="144000" tIns="144000" rIns="144000" bIns="144000" rtlCol="0" anchor="t" anchorCtr="0">
            <a:noAutofit/>
          </a:bodyPr>
          <a:lstStyle/>
          <a:p>
            <a:pPr algn="ctr" defTabSz="1624477"/>
            <a:endParaRPr lang="en-US" sz="1600" b="1" err="1">
              <a:solidFill>
                <a:schemeClr val="tx1"/>
              </a:solidFill>
              <a:latin typeface="Proximus" panose="00000500000000000000" pitchFamily="2" charset="0"/>
              <a:cs typeface="Proximus"/>
            </a:endParaRPr>
          </a:p>
        </p:txBody>
      </p:sp>
      <p:sp>
        <p:nvSpPr>
          <p:cNvPr id="19" name="Subtitle 2">
            <a:extLst>
              <a:ext uri="{FF2B5EF4-FFF2-40B4-BE49-F238E27FC236}">
                <a16:creationId xmlns:a16="http://schemas.microsoft.com/office/drawing/2014/main" id="{452492B6-602B-45B8-BAD5-0E7699BEEADC}"/>
              </a:ext>
            </a:extLst>
          </p:cNvPr>
          <p:cNvSpPr>
            <a:spLocks noGrp="1"/>
          </p:cNvSpPr>
          <p:nvPr>
            <p:ph type="subTitle" idx="1" hasCustomPrompt="1"/>
          </p:nvPr>
        </p:nvSpPr>
        <p:spPr>
          <a:xfrm>
            <a:off x="613836" y="2624867"/>
            <a:ext cx="10962217" cy="1335741"/>
          </a:xfrm>
        </p:spPr>
        <p:txBody>
          <a:bodyPr/>
          <a:lstStyle>
            <a:lvl1pPr marL="0" indent="0" algn="l">
              <a:lnSpc>
                <a:spcPct val="100000"/>
              </a:lnSpc>
              <a:buNone/>
              <a:defRPr sz="3467">
                <a:solidFill>
                  <a:schemeClr val="tx1"/>
                </a:solidFill>
                <a:latin typeface="Proximus Light" panose="00000500000000000000" pitchFamily="2"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Subtitle</a:t>
            </a:r>
            <a:endParaRPr lang="nl-BE"/>
          </a:p>
        </p:txBody>
      </p:sp>
      <p:sp>
        <p:nvSpPr>
          <p:cNvPr id="20" name="Title 1">
            <a:extLst>
              <a:ext uri="{FF2B5EF4-FFF2-40B4-BE49-F238E27FC236}">
                <a16:creationId xmlns:a16="http://schemas.microsoft.com/office/drawing/2014/main" id="{73425EBE-5738-4E71-AC4D-14C0269C8B84}"/>
              </a:ext>
            </a:extLst>
          </p:cNvPr>
          <p:cNvSpPr>
            <a:spLocks noGrp="1"/>
          </p:cNvSpPr>
          <p:nvPr>
            <p:ph type="title" hasCustomPrompt="1"/>
          </p:nvPr>
        </p:nvSpPr>
        <p:spPr>
          <a:xfrm>
            <a:off x="613836" y="504000"/>
            <a:ext cx="10962217" cy="1748400"/>
          </a:xfrm>
        </p:spPr>
        <p:txBody>
          <a:bodyPr anchor="b">
            <a:noAutofit/>
          </a:bodyPr>
          <a:lstStyle>
            <a:lvl1pPr>
              <a:defRPr sz="5600" b="0">
                <a:solidFill>
                  <a:srgbClr val="FFFFFF"/>
                </a:solidFill>
                <a:latin typeface="Proximus ExtraBold" panose="00000900000000000000" pitchFamily="2" charset="0"/>
              </a:defRPr>
            </a:lvl1pPr>
          </a:lstStyle>
          <a:p>
            <a:r>
              <a:rPr lang="en-US"/>
              <a:t>Click to edit </a:t>
            </a:r>
            <a:br>
              <a:rPr lang="en-US"/>
            </a:br>
            <a:r>
              <a:rPr lang="en-US"/>
              <a:t>presentation title</a:t>
            </a:r>
            <a:endParaRPr lang="nl-BE"/>
          </a:p>
        </p:txBody>
      </p:sp>
      <p:pic>
        <p:nvPicPr>
          <p:cNvPr id="8" name="Graphic 7">
            <a:extLst>
              <a:ext uri="{FF2B5EF4-FFF2-40B4-BE49-F238E27FC236}">
                <a16:creationId xmlns:a16="http://schemas.microsoft.com/office/drawing/2014/main" id="{9CCBAF77-BF9E-4AFF-9B5C-97B4B25ECCE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702899" y="5724528"/>
            <a:ext cx="889207" cy="720725"/>
          </a:xfrm>
          <a:prstGeom prst="rect">
            <a:avLst/>
          </a:prstGeom>
        </p:spPr>
      </p:pic>
      <p:sp>
        <p:nvSpPr>
          <p:cNvPr id="2" name="Date Placeholder 8">
            <a:extLst>
              <a:ext uri="{FF2B5EF4-FFF2-40B4-BE49-F238E27FC236}">
                <a16:creationId xmlns:a16="http://schemas.microsoft.com/office/drawing/2014/main" id="{3B209494-A5CA-210D-6B64-8DDF378F201E}"/>
              </a:ext>
            </a:extLst>
          </p:cNvPr>
          <p:cNvSpPr>
            <a:spLocks noGrp="1"/>
          </p:cNvSpPr>
          <p:nvPr>
            <p:ph type="dt" sz="half" idx="2"/>
          </p:nvPr>
        </p:nvSpPr>
        <p:spPr>
          <a:xfrm>
            <a:off x="613835" y="5821863"/>
            <a:ext cx="204560" cy="377528"/>
          </a:xfrm>
          <a:prstGeom prst="roundRect">
            <a:avLst>
              <a:gd name="adj" fmla="val 50000"/>
            </a:avLst>
          </a:prstGeom>
          <a:solidFill>
            <a:schemeClr val="tx1"/>
          </a:solidFill>
        </p:spPr>
        <p:txBody>
          <a:bodyPr vert="horz" wrap="none" lIns="72000" tIns="36000" rIns="72000" bIns="36000" rtlCol="0" anchor="ctr">
            <a:spAutoFit/>
          </a:bodyPr>
          <a:lstStyle>
            <a:lvl1pPr algn="l">
              <a:defRPr sz="1600">
                <a:solidFill>
                  <a:schemeClr val="bg1"/>
                </a:solidFill>
              </a:defRPr>
            </a:lvl1pPr>
          </a:lstStyle>
          <a:p>
            <a:endParaRPr lang="en-US"/>
          </a:p>
        </p:txBody>
      </p:sp>
    </p:spTree>
    <p:extLst>
      <p:ext uri="{BB962C8B-B14F-4D97-AF65-F5344CB8AC3E}">
        <p14:creationId xmlns:p14="http://schemas.microsoft.com/office/powerpoint/2010/main" val="264791132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hapter - Dark bg">
    <p:bg>
      <p:bgPr>
        <a:blipFill>
          <a:blip r:embed="rId2"/>
          <a:stretch>
            <a:fillRect/>
          </a:stretch>
        </a:blip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13D3065A-4C50-7720-70A9-DE4226DCCDFB}"/>
              </a:ext>
            </a:extLst>
          </p:cNvPr>
          <p:cNvSpPr>
            <a:spLocks noGrp="1"/>
          </p:cNvSpPr>
          <p:nvPr>
            <p:ph type="body" sz="quarter" idx="10" hasCustomPrompt="1"/>
          </p:nvPr>
        </p:nvSpPr>
        <p:spPr>
          <a:xfrm>
            <a:off x="8787573" y="3"/>
            <a:ext cx="3404427" cy="3464295"/>
          </a:xfrm>
          <a:custGeom>
            <a:avLst/>
            <a:gdLst>
              <a:gd name="connsiteX0" fmla="*/ 974239 w 2553320"/>
              <a:gd name="connsiteY0" fmla="*/ 0 h 2598221"/>
              <a:gd name="connsiteX1" fmla="*/ 2553320 w 2553320"/>
              <a:gd name="connsiteY1" fmla="*/ 0 h 2598221"/>
              <a:gd name="connsiteX2" fmla="*/ 2553320 w 2553320"/>
              <a:gd name="connsiteY2" fmla="*/ 1668884 h 2598221"/>
              <a:gd name="connsiteX3" fmla="*/ 1960321 w 2553320"/>
              <a:gd name="connsiteY3" fmla="*/ 2261883 h 2598221"/>
              <a:gd name="connsiteX4" fmla="*/ 336338 w 2553320"/>
              <a:gd name="connsiteY4" fmla="*/ 2261883 h 2598221"/>
              <a:gd name="connsiteX5" fmla="*/ 336338 w 2553320"/>
              <a:gd name="connsiteY5" fmla="*/ 637901 h 259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3320" h="2598221">
                <a:moveTo>
                  <a:pt x="974239" y="0"/>
                </a:moveTo>
                <a:lnTo>
                  <a:pt x="2553320" y="0"/>
                </a:lnTo>
                <a:lnTo>
                  <a:pt x="2553320" y="1668884"/>
                </a:lnTo>
                <a:lnTo>
                  <a:pt x="1960321" y="2261883"/>
                </a:lnTo>
                <a:cubicBezTo>
                  <a:pt x="1511870" y="2710334"/>
                  <a:pt x="784789" y="2710334"/>
                  <a:pt x="336338" y="2261883"/>
                </a:cubicBezTo>
                <a:cubicBezTo>
                  <a:pt x="-112112" y="1813433"/>
                  <a:pt x="-112112" y="1086352"/>
                  <a:pt x="336338" y="637901"/>
                </a:cubicBezTo>
                <a:close/>
              </a:path>
            </a:pathLst>
          </a:custGeom>
          <a:solidFill>
            <a:schemeClr val="tx1"/>
          </a:solidFill>
        </p:spPr>
        <p:txBody>
          <a:bodyPr wrap="square" anchor="ctr">
            <a:noAutofit/>
          </a:bodyPr>
          <a:lstStyle>
            <a:lvl1pPr marL="0" indent="0" algn="ctr">
              <a:buNone/>
              <a:defRPr sz="9600">
                <a:gradFill>
                  <a:gsLst>
                    <a:gs pos="25000">
                      <a:schemeClr val="bg1"/>
                    </a:gs>
                    <a:gs pos="100000">
                      <a:srgbClr val="D22E67"/>
                    </a:gs>
                  </a:gsLst>
                  <a:lin ang="3000000" scaled="0"/>
                </a:gradFill>
                <a:latin typeface="Proximus ExtraBold" panose="020B0604020202020204" charset="0"/>
              </a:defRPr>
            </a:lvl1pPr>
          </a:lstStyle>
          <a:p>
            <a:pPr lvl="0"/>
            <a:r>
              <a:rPr lang="en-US"/>
              <a:t>xx</a:t>
            </a:r>
          </a:p>
        </p:txBody>
      </p:sp>
      <p:sp>
        <p:nvSpPr>
          <p:cNvPr id="11" name="Title 1">
            <a:extLst>
              <a:ext uri="{FF2B5EF4-FFF2-40B4-BE49-F238E27FC236}">
                <a16:creationId xmlns:a16="http://schemas.microsoft.com/office/drawing/2014/main" id="{A4CB2253-770B-4753-A69C-382181C58DC6}"/>
              </a:ext>
            </a:extLst>
          </p:cNvPr>
          <p:cNvSpPr>
            <a:spLocks noGrp="1"/>
          </p:cNvSpPr>
          <p:nvPr>
            <p:ph type="title" hasCustomPrompt="1"/>
          </p:nvPr>
        </p:nvSpPr>
        <p:spPr>
          <a:xfrm>
            <a:off x="613833" y="504000"/>
            <a:ext cx="7440000" cy="1748400"/>
          </a:xfrm>
        </p:spPr>
        <p:txBody>
          <a:bodyPr anchor="b">
            <a:noAutofit/>
          </a:bodyPr>
          <a:lstStyle>
            <a:lvl1pPr>
              <a:defRPr sz="48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sp>
        <p:nvSpPr>
          <p:cNvPr id="16" name="Subtitle 2">
            <a:extLst>
              <a:ext uri="{FF2B5EF4-FFF2-40B4-BE49-F238E27FC236}">
                <a16:creationId xmlns:a16="http://schemas.microsoft.com/office/drawing/2014/main" id="{4FF70604-92E8-4B07-AC0F-3DB475239311}"/>
              </a:ext>
            </a:extLst>
          </p:cNvPr>
          <p:cNvSpPr>
            <a:spLocks noGrp="1"/>
          </p:cNvSpPr>
          <p:nvPr>
            <p:ph type="subTitle" idx="1" hasCustomPrompt="1"/>
          </p:nvPr>
        </p:nvSpPr>
        <p:spPr>
          <a:xfrm>
            <a:off x="613833" y="2624867"/>
            <a:ext cx="7440000" cy="1335741"/>
          </a:xfrm>
        </p:spPr>
        <p:txBody>
          <a:bodyPr/>
          <a:lstStyle>
            <a:lvl1pPr marL="0" indent="0" algn="l">
              <a:lnSpc>
                <a:spcPct val="100000"/>
              </a:lnSpc>
              <a:buNone/>
              <a:defRPr sz="2933">
                <a:solidFill>
                  <a:schemeClr val="tx1"/>
                </a:solidFill>
                <a:latin typeface="Proximus Light" panose="00000500000000000000" pitchFamily="2"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Subtitle</a:t>
            </a:r>
            <a:endParaRPr lang="nl-BE"/>
          </a:p>
        </p:txBody>
      </p:sp>
      <p:pic>
        <p:nvPicPr>
          <p:cNvPr id="6" name="Graphic 5">
            <a:extLst>
              <a:ext uri="{FF2B5EF4-FFF2-40B4-BE49-F238E27FC236}">
                <a16:creationId xmlns:a16="http://schemas.microsoft.com/office/drawing/2014/main" id="{F1D4CE6D-DB6A-415E-9EC1-FDF12573AFE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702899" y="5724528"/>
            <a:ext cx="889207" cy="720725"/>
          </a:xfrm>
          <a:prstGeom prst="rect">
            <a:avLst/>
          </a:prstGeom>
        </p:spPr>
      </p:pic>
    </p:spTree>
    <p:extLst>
      <p:ext uri="{BB962C8B-B14F-4D97-AF65-F5344CB8AC3E}">
        <p14:creationId xmlns:p14="http://schemas.microsoft.com/office/powerpoint/2010/main" val="348426191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hapter - Light bg">
    <p:bg>
      <p:bgPr>
        <a:blipFill>
          <a:blip r:embed="rId2"/>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D1C1F15-39D8-412D-8A63-32C1FD0C45E2}"/>
              </a:ext>
            </a:extLst>
          </p:cNvPr>
          <p:cNvSpPr>
            <a:spLocks noGrp="1"/>
          </p:cNvSpPr>
          <p:nvPr>
            <p:ph type="title" hasCustomPrompt="1"/>
          </p:nvPr>
        </p:nvSpPr>
        <p:spPr>
          <a:xfrm>
            <a:off x="613833" y="496713"/>
            <a:ext cx="7440000" cy="1748400"/>
          </a:xfrm>
        </p:spPr>
        <p:txBody>
          <a:bodyPr anchor="b">
            <a:noAutofit/>
          </a:bodyPr>
          <a:lstStyle>
            <a:lvl1pPr>
              <a:defRPr sz="4800" b="0">
                <a:solidFill>
                  <a:schemeClr val="bg1"/>
                </a:solidFill>
                <a:latin typeface="Proximus ExtraBold" panose="00000900000000000000" pitchFamily="2" charset="0"/>
              </a:defRPr>
            </a:lvl1pPr>
          </a:lstStyle>
          <a:p>
            <a:r>
              <a:rPr lang="en-US"/>
              <a:t>Click to edit </a:t>
            </a:r>
            <a:br>
              <a:rPr lang="en-US"/>
            </a:br>
            <a:r>
              <a:rPr lang="en-US"/>
              <a:t>chapter title</a:t>
            </a:r>
            <a:endParaRPr lang="nl-BE"/>
          </a:p>
        </p:txBody>
      </p:sp>
      <p:sp>
        <p:nvSpPr>
          <p:cNvPr id="13" name="Subtitle 2">
            <a:extLst>
              <a:ext uri="{FF2B5EF4-FFF2-40B4-BE49-F238E27FC236}">
                <a16:creationId xmlns:a16="http://schemas.microsoft.com/office/drawing/2014/main" id="{97531072-EECB-42CB-876A-D2C8B26FB265}"/>
              </a:ext>
            </a:extLst>
          </p:cNvPr>
          <p:cNvSpPr>
            <a:spLocks noGrp="1"/>
          </p:cNvSpPr>
          <p:nvPr>
            <p:ph type="subTitle" idx="1" hasCustomPrompt="1"/>
          </p:nvPr>
        </p:nvSpPr>
        <p:spPr>
          <a:xfrm>
            <a:off x="613833" y="2624867"/>
            <a:ext cx="7440000" cy="1335741"/>
          </a:xfrm>
        </p:spPr>
        <p:txBody>
          <a:bodyPr/>
          <a:lstStyle>
            <a:lvl1pPr marL="0" indent="0" algn="l">
              <a:lnSpc>
                <a:spcPct val="100000"/>
              </a:lnSpc>
              <a:buNone/>
              <a:defRPr sz="2933">
                <a:solidFill>
                  <a:schemeClr val="bg1"/>
                </a:solidFill>
                <a:latin typeface="Proximus Light" panose="00000500000000000000" pitchFamily="2"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Subtitle</a:t>
            </a:r>
            <a:endParaRPr lang="nl-BE"/>
          </a:p>
        </p:txBody>
      </p:sp>
      <p:pic>
        <p:nvPicPr>
          <p:cNvPr id="4" name="Graphic 3">
            <a:extLst>
              <a:ext uri="{FF2B5EF4-FFF2-40B4-BE49-F238E27FC236}">
                <a16:creationId xmlns:a16="http://schemas.microsoft.com/office/drawing/2014/main" id="{744C608D-DD01-42D2-828F-3F3AD9E9B4D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691916" y="5705475"/>
            <a:ext cx="912709" cy="739775"/>
          </a:xfrm>
          <a:prstGeom prst="rect">
            <a:avLst/>
          </a:prstGeom>
        </p:spPr>
      </p:pic>
      <p:sp>
        <p:nvSpPr>
          <p:cNvPr id="2" name="Text Placeholder 1">
            <a:extLst>
              <a:ext uri="{FF2B5EF4-FFF2-40B4-BE49-F238E27FC236}">
                <a16:creationId xmlns:a16="http://schemas.microsoft.com/office/drawing/2014/main" id="{2A73750A-6229-3EF4-AA8A-016FC0154B02}"/>
              </a:ext>
            </a:extLst>
          </p:cNvPr>
          <p:cNvSpPr>
            <a:spLocks noGrp="1"/>
          </p:cNvSpPr>
          <p:nvPr>
            <p:ph type="body" sz="quarter" idx="10" hasCustomPrompt="1"/>
          </p:nvPr>
        </p:nvSpPr>
        <p:spPr>
          <a:xfrm>
            <a:off x="8787573" y="3"/>
            <a:ext cx="3404427" cy="3464295"/>
          </a:xfrm>
          <a:custGeom>
            <a:avLst/>
            <a:gdLst>
              <a:gd name="connsiteX0" fmla="*/ 974239 w 2553320"/>
              <a:gd name="connsiteY0" fmla="*/ 0 h 2598221"/>
              <a:gd name="connsiteX1" fmla="*/ 2553320 w 2553320"/>
              <a:gd name="connsiteY1" fmla="*/ 0 h 2598221"/>
              <a:gd name="connsiteX2" fmla="*/ 2553320 w 2553320"/>
              <a:gd name="connsiteY2" fmla="*/ 1668884 h 2598221"/>
              <a:gd name="connsiteX3" fmla="*/ 1960321 w 2553320"/>
              <a:gd name="connsiteY3" fmla="*/ 2261883 h 2598221"/>
              <a:gd name="connsiteX4" fmla="*/ 336338 w 2553320"/>
              <a:gd name="connsiteY4" fmla="*/ 2261883 h 2598221"/>
              <a:gd name="connsiteX5" fmla="*/ 336338 w 2553320"/>
              <a:gd name="connsiteY5" fmla="*/ 637901 h 259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3320" h="2598221">
                <a:moveTo>
                  <a:pt x="974239" y="0"/>
                </a:moveTo>
                <a:lnTo>
                  <a:pt x="2553320" y="0"/>
                </a:lnTo>
                <a:lnTo>
                  <a:pt x="2553320" y="1668884"/>
                </a:lnTo>
                <a:lnTo>
                  <a:pt x="1960321" y="2261883"/>
                </a:lnTo>
                <a:cubicBezTo>
                  <a:pt x="1511870" y="2710334"/>
                  <a:pt x="784789" y="2710334"/>
                  <a:pt x="336338" y="2261883"/>
                </a:cubicBezTo>
                <a:cubicBezTo>
                  <a:pt x="-112112" y="1813433"/>
                  <a:pt x="-112112" y="1086352"/>
                  <a:pt x="336338" y="637901"/>
                </a:cubicBezTo>
                <a:close/>
              </a:path>
            </a:pathLst>
          </a:custGeom>
          <a:gradFill>
            <a:gsLst>
              <a:gs pos="20000">
                <a:schemeClr val="bg1"/>
              </a:gs>
              <a:gs pos="100000">
                <a:srgbClr val="D22E67"/>
              </a:gs>
            </a:gsLst>
            <a:lin ang="7200000" scaled="0"/>
          </a:gradFill>
        </p:spPr>
        <p:txBody>
          <a:bodyPr wrap="square" anchor="ctr">
            <a:noAutofit/>
          </a:bodyPr>
          <a:lstStyle>
            <a:lvl1pPr marL="0" indent="0" algn="ctr">
              <a:buNone/>
              <a:defRPr sz="9600">
                <a:solidFill>
                  <a:schemeClr val="tx1"/>
                </a:solidFill>
                <a:latin typeface="Proximus ExtraBold" panose="020B0604020202020204" charset="0"/>
              </a:defRPr>
            </a:lvl1pPr>
          </a:lstStyle>
          <a:p>
            <a:pPr lvl="0"/>
            <a:r>
              <a:rPr lang="en-US"/>
              <a:t>xx</a:t>
            </a:r>
          </a:p>
        </p:txBody>
      </p:sp>
    </p:spTree>
    <p:extLst>
      <p:ext uri="{BB962C8B-B14F-4D97-AF65-F5344CB8AC3E}">
        <p14:creationId xmlns:p14="http://schemas.microsoft.com/office/powerpoint/2010/main" val="2439152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hapter - Purple">
    <p:bg>
      <p:bgPr>
        <a:solidFill>
          <a:schemeClr val="bg1"/>
        </a:soli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613833" y="2460272"/>
            <a:ext cx="7440000" cy="1335741"/>
          </a:xfrm>
        </p:spPr>
        <p:txBody>
          <a:bodyPr/>
          <a:lstStyle>
            <a:lvl1pPr marL="0" indent="0" algn="l">
              <a:lnSpc>
                <a:spcPct val="100000"/>
              </a:lnSpc>
              <a:buNone/>
              <a:defRPr sz="2933">
                <a:solidFill>
                  <a:schemeClr val="tx1"/>
                </a:solidFill>
                <a:latin typeface="Proximus Light" panose="00000500000000000000" pitchFamily="2"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613833" y="504001"/>
            <a:ext cx="7440000" cy="1612083"/>
          </a:xfrm>
        </p:spPr>
        <p:txBody>
          <a:bodyPr anchor="b">
            <a:noAutofit/>
          </a:bodyPr>
          <a:lstStyle>
            <a:lvl1pPr>
              <a:defRPr sz="48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702899" y="5724528"/>
            <a:ext cx="889207" cy="720725"/>
          </a:xfrm>
          <a:prstGeom prst="rect">
            <a:avLst/>
          </a:prstGeom>
        </p:spPr>
      </p:pic>
      <p:sp>
        <p:nvSpPr>
          <p:cNvPr id="2" name="Text Placeholder 1">
            <a:extLst>
              <a:ext uri="{FF2B5EF4-FFF2-40B4-BE49-F238E27FC236}">
                <a16:creationId xmlns:a16="http://schemas.microsoft.com/office/drawing/2014/main" id="{A13ED057-FB00-C414-4716-D43E229D0A38}"/>
              </a:ext>
            </a:extLst>
          </p:cNvPr>
          <p:cNvSpPr>
            <a:spLocks noGrp="1"/>
          </p:cNvSpPr>
          <p:nvPr>
            <p:ph type="body" sz="quarter" idx="10" hasCustomPrompt="1"/>
          </p:nvPr>
        </p:nvSpPr>
        <p:spPr>
          <a:xfrm>
            <a:off x="8787573" y="3"/>
            <a:ext cx="3404427" cy="3464295"/>
          </a:xfrm>
          <a:custGeom>
            <a:avLst/>
            <a:gdLst>
              <a:gd name="connsiteX0" fmla="*/ 974239 w 2553320"/>
              <a:gd name="connsiteY0" fmla="*/ 0 h 2598221"/>
              <a:gd name="connsiteX1" fmla="*/ 2553320 w 2553320"/>
              <a:gd name="connsiteY1" fmla="*/ 0 h 2598221"/>
              <a:gd name="connsiteX2" fmla="*/ 2553320 w 2553320"/>
              <a:gd name="connsiteY2" fmla="*/ 1668884 h 2598221"/>
              <a:gd name="connsiteX3" fmla="*/ 1960321 w 2553320"/>
              <a:gd name="connsiteY3" fmla="*/ 2261883 h 2598221"/>
              <a:gd name="connsiteX4" fmla="*/ 336338 w 2553320"/>
              <a:gd name="connsiteY4" fmla="*/ 2261883 h 2598221"/>
              <a:gd name="connsiteX5" fmla="*/ 336338 w 2553320"/>
              <a:gd name="connsiteY5" fmla="*/ 637901 h 259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3320" h="2598221">
                <a:moveTo>
                  <a:pt x="974239" y="0"/>
                </a:moveTo>
                <a:lnTo>
                  <a:pt x="2553320" y="0"/>
                </a:lnTo>
                <a:lnTo>
                  <a:pt x="2553320" y="1668884"/>
                </a:lnTo>
                <a:lnTo>
                  <a:pt x="1960321" y="2261883"/>
                </a:lnTo>
                <a:cubicBezTo>
                  <a:pt x="1511870" y="2710334"/>
                  <a:pt x="784789" y="2710334"/>
                  <a:pt x="336338" y="2261883"/>
                </a:cubicBezTo>
                <a:cubicBezTo>
                  <a:pt x="-112112" y="1813433"/>
                  <a:pt x="-112112" y="1086352"/>
                  <a:pt x="336338" y="637901"/>
                </a:cubicBezTo>
                <a:close/>
              </a:path>
            </a:pathLst>
          </a:custGeom>
          <a:gradFill>
            <a:gsLst>
              <a:gs pos="20000">
                <a:schemeClr val="bg1"/>
              </a:gs>
              <a:gs pos="100000">
                <a:srgbClr val="D22E67"/>
              </a:gs>
            </a:gsLst>
            <a:lin ang="7200000" scaled="0"/>
          </a:gradFill>
        </p:spPr>
        <p:txBody>
          <a:bodyPr wrap="square" anchor="ctr">
            <a:noAutofit/>
          </a:bodyPr>
          <a:lstStyle>
            <a:lvl1pPr marL="0" indent="0" algn="ctr">
              <a:buNone/>
              <a:defRPr sz="9600">
                <a:solidFill>
                  <a:schemeClr val="tx1"/>
                </a:solidFill>
                <a:latin typeface="Proximus ExtraBold" panose="020B0604020202020204" charset="0"/>
              </a:defRPr>
            </a:lvl1pPr>
          </a:lstStyle>
          <a:p>
            <a:pPr lvl="0"/>
            <a:r>
              <a:rPr lang="en-US"/>
              <a:t>xx</a:t>
            </a:r>
          </a:p>
        </p:txBody>
      </p:sp>
    </p:spTree>
    <p:extLst>
      <p:ext uri="{BB962C8B-B14F-4D97-AF65-F5344CB8AC3E}">
        <p14:creationId xmlns:p14="http://schemas.microsoft.com/office/powerpoint/2010/main" val="17879712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XS ADA - title and sub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3837" y="503769"/>
            <a:ext cx="10962217" cy="533399"/>
          </a:xfrm>
        </p:spPr>
        <p:txBody>
          <a:bodyPr anchor="t"/>
          <a:lstStyle>
            <a:lvl1pPr>
              <a:defRPr b="0">
                <a:solidFill>
                  <a:schemeClr val="tx1"/>
                </a:solidFill>
              </a:defRPr>
            </a:lvl1pPr>
          </a:lstStyle>
          <a:p>
            <a:r>
              <a:rPr lang="en-US"/>
              <a:t>Click to edit slide title</a:t>
            </a:r>
            <a:endParaRPr lang="nl-BE"/>
          </a:p>
        </p:txBody>
      </p:sp>
      <p:sp>
        <p:nvSpPr>
          <p:cNvPr id="6" name="Text Placeholder 5">
            <a:extLst>
              <a:ext uri="{FF2B5EF4-FFF2-40B4-BE49-F238E27FC236}">
                <a16:creationId xmlns:a16="http://schemas.microsoft.com/office/drawing/2014/main" id="{3CFA2924-4BFC-CB4A-33EA-AFA2F3E1085E}"/>
              </a:ext>
            </a:extLst>
          </p:cNvPr>
          <p:cNvSpPr>
            <a:spLocks noGrp="1"/>
          </p:cNvSpPr>
          <p:nvPr>
            <p:ph type="body" sz="quarter" idx="12"/>
          </p:nvPr>
        </p:nvSpPr>
        <p:spPr>
          <a:xfrm>
            <a:off x="624417" y="1138501"/>
            <a:ext cx="10962216" cy="393967"/>
          </a:xfrm>
        </p:spPr>
        <p:txBody>
          <a:bodyPr/>
          <a:lstStyle>
            <a:lvl1pPr>
              <a:defRPr sz="2133" b="1">
                <a:solidFill>
                  <a:schemeClr val="tx1"/>
                </a:solidFill>
                <a:latin typeface="+mn-lt"/>
              </a:defRPr>
            </a:lvl1pPr>
          </a:lstStyle>
          <a:p>
            <a:pPr lvl="0"/>
            <a:r>
              <a:rPr lang="en-US"/>
              <a:t>Click to edit Master text styles</a:t>
            </a:r>
          </a:p>
        </p:txBody>
      </p:sp>
    </p:spTree>
    <p:extLst>
      <p:ext uri="{BB962C8B-B14F-4D97-AF65-F5344CB8AC3E}">
        <p14:creationId xmlns:p14="http://schemas.microsoft.com/office/powerpoint/2010/main" val="3727106778"/>
      </p:ext>
    </p:extLst>
  </p:cSld>
  <p:clrMapOvr>
    <a:masterClrMapping/>
  </p:clrMapOvr>
  <p:extLst>
    <p:ext uri="{DCECCB84-F9BA-43D5-87BE-67443E8EF086}">
      <p15:sldGuideLst xmlns:p15="http://schemas.microsoft.com/office/powerpoint/2012/main">
        <p15:guide id="1" orient="horz" pos="962">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Chapter - Gradient">
    <p:bg>
      <p:bgPr>
        <a:gradFill>
          <a:gsLst>
            <a:gs pos="25000">
              <a:schemeClr val="bg1"/>
            </a:gs>
            <a:gs pos="100000">
              <a:srgbClr val="D22E67"/>
            </a:gs>
          </a:gsLst>
          <a:lin ang="3000000" scaled="0"/>
        </a:gra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613833" y="2460272"/>
            <a:ext cx="7440000" cy="1335741"/>
          </a:xfrm>
        </p:spPr>
        <p:txBody>
          <a:bodyPr/>
          <a:lstStyle>
            <a:lvl1pPr marL="0" indent="0" algn="l">
              <a:lnSpc>
                <a:spcPct val="100000"/>
              </a:lnSpc>
              <a:buNone/>
              <a:defRPr sz="2933">
                <a:solidFill>
                  <a:schemeClr val="tx1"/>
                </a:solidFill>
                <a:latin typeface="Proximus Light" panose="00000500000000000000" pitchFamily="2"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613833" y="504001"/>
            <a:ext cx="7440000" cy="1612083"/>
          </a:xfrm>
        </p:spPr>
        <p:txBody>
          <a:bodyPr anchor="b">
            <a:noAutofit/>
          </a:bodyPr>
          <a:lstStyle>
            <a:lvl1pPr>
              <a:defRPr sz="48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702899" y="5724528"/>
            <a:ext cx="889207" cy="720725"/>
          </a:xfrm>
          <a:prstGeom prst="rect">
            <a:avLst/>
          </a:prstGeom>
        </p:spPr>
      </p:pic>
      <p:sp>
        <p:nvSpPr>
          <p:cNvPr id="2" name="Text Placeholder 1">
            <a:extLst>
              <a:ext uri="{FF2B5EF4-FFF2-40B4-BE49-F238E27FC236}">
                <a16:creationId xmlns:a16="http://schemas.microsoft.com/office/drawing/2014/main" id="{A13ED057-FB00-C414-4716-D43E229D0A38}"/>
              </a:ext>
            </a:extLst>
          </p:cNvPr>
          <p:cNvSpPr>
            <a:spLocks noGrp="1"/>
          </p:cNvSpPr>
          <p:nvPr>
            <p:ph type="body" sz="quarter" idx="10" hasCustomPrompt="1"/>
          </p:nvPr>
        </p:nvSpPr>
        <p:spPr>
          <a:xfrm>
            <a:off x="8787573" y="3"/>
            <a:ext cx="3404427" cy="3464295"/>
          </a:xfrm>
          <a:custGeom>
            <a:avLst/>
            <a:gdLst>
              <a:gd name="connsiteX0" fmla="*/ 974239 w 2553320"/>
              <a:gd name="connsiteY0" fmla="*/ 0 h 2598221"/>
              <a:gd name="connsiteX1" fmla="*/ 2553320 w 2553320"/>
              <a:gd name="connsiteY1" fmla="*/ 0 h 2598221"/>
              <a:gd name="connsiteX2" fmla="*/ 2553320 w 2553320"/>
              <a:gd name="connsiteY2" fmla="*/ 1668884 h 2598221"/>
              <a:gd name="connsiteX3" fmla="*/ 1960321 w 2553320"/>
              <a:gd name="connsiteY3" fmla="*/ 2261883 h 2598221"/>
              <a:gd name="connsiteX4" fmla="*/ 336338 w 2553320"/>
              <a:gd name="connsiteY4" fmla="*/ 2261883 h 2598221"/>
              <a:gd name="connsiteX5" fmla="*/ 336338 w 2553320"/>
              <a:gd name="connsiteY5" fmla="*/ 637901 h 259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3320" h="2598221">
                <a:moveTo>
                  <a:pt x="974239" y="0"/>
                </a:moveTo>
                <a:lnTo>
                  <a:pt x="2553320" y="0"/>
                </a:lnTo>
                <a:lnTo>
                  <a:pt x="2553320" y="1668884"/>
                </a:lnTo>
                <a:lnTo>
                  <a:pt x="1960321" y="2261883"/>
                </a:lnTo>
                <a:cubicBezTo>
                  <a:pt x="1511870" y="2710334"/>
                  <a:pt x="784789" y="2710334"/>
                  <a:pt x="336338" y="2261883"/>
                </a:cubicBezTo>
                <a:cubicBezTo>
                  <a:pt x="-112112" y="1813433"/>
                  <a:pt x="-112112" y="1086352"/>
                  <a:pt x="336338" y="637901"/>
                </a:cubicBezTo>
                <a:close/>
              </a:path>
            </a:pathLst>
          </a:custGeom>
          <a:solidFill>
            <a:schemeClr val="tx1"/>
          </a:solidFill>
        </p:spPr>
        <p:txBody>
          <a:bodyPr wrap="square" anchor="ctr">
            <a:noAutofit/>
          </a:bodyPr>
          <a:lstStyle>
            <a:lvl1pPr marL="0" indent="0" algn="ctr">
              <a:buNone/>
              <a:defRPr sz="9600">
                <a:gradFill>
                  <a:gsLst>
                    <a:gs pos="20000">
                      <a:schemeClr val="bg1"/>
                    </a:gs>
                    <a:gs pos="100000">
                      <a:srgbClr val="D22E67"/>
                    </a:gs>
                  </a:gsLst>
                  <a:lin ang="3000000" scaled="0"/>
                </a:gradFill>
                <a:latin typeface="Proximus ExtraBold" panose="020B0604020202020204" charset="0"/>
              </a:defRPr>
            </a:lvl1pPr>
          </a:lstStyle>
          <a:p>
            <a:pPr lvl="0"/>
            <a:r>
              <a:rPr lang="en-US"/>
              <a:t>xx</a:t>
            </a:r>
          </a:p>
        </p:txBody>
      </p:sp>
    </p:spTree>
    <p:extLst>
      <p:ext uri="{BB962C8B-B14F-4D97-AF65-F5344CB8AC3E}">
        <p14:creationId xmlns:p14="http://schemas.microsoft.com/office/powerpoint/2010/main" val="412440958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hapter - Illustration 1">
    <p:bg>
      <p:bgPr>
        <a:gradFill>
          <a:gsLst>
            <a:gs pos="25000">
              <a:schemeClr val="bg1"/>
            </a:gs>
            <a:gs pos="100000">
              <a:schemeClr val="bg2"/>
            </a:gs>
          </a:gsLst>
          <a:lin ang="3000000" scaled="0"/>
        </a:gra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613833" y="3064345"/>
            <a:ext cx="4673035" cy="1530233"/>
          </a:xfrm>
        </p:spPr>
        <p:txBody>
          <a:bodyPr/>
          <a:lstStyle>
            <a:lvl1pPr marL="0" indent="0" algn="l">
              <a:lnSpc>
                <a:spcPct val="100000"/>
              </a:lnSpc>
              <a:buNone/>
              <a:defRPr sz="2933">
                <a:solidFill>
                  <a:schemeClr val="tx1"/>
                </a:solidFill>
                <a:latin typeface="Proximus Light" panose="00000500000000000000" pitchFamily="2"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613836" y="505886"/>
            <a:ext cx="6182077" cy="2214271"/>
          </a:xfrm>
        </p:spPr>
        <p:txBody>
          <a:bodyPr anchor="b">
            <a:noAutofit/>
          </a:bodyPr>
          <a:lstStyle>
            <a:lvl1pPr>
              <a:defRPr sz="48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702899" y="5724528"/>
            <a:ext cx="889207" cy="720725"/>
          </a:xfrm>
          <a:prstGeom prst="rect">
            <a:avLst/>
          </a:prstGeom>
        </p:spPr>
      </p:pic>
      <p:pic>
        <p:nvPicPr>
          <p:cNvPr id="2" name="Graphic 1">
            <a:extLst>
              <a:ext uri="{FF2B5EF4-FFF2-40B4-BE49-F238E27FC236}">
                <a16:creationId xmlns:a16="http://schemas.microsoft.com/office/drawing/2014/main" id="{46333D4F-5D02-DCDE-F7B0-2ECA272BB486}"/>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1" t="-1139" r="5844"/>
          <a:stretch/>
        </p:blipFill>
        <p:spPr>
          <a:xfrm>
            <a:off x="5286868" y="333910"/>
            <a:ext cx="6905133" cy="5750983"/>
          </a:xfrm>
          <a:prstGeom prst="rect">
            <a:avLst/>
          </a:prstGeom>
        </p:spPr>
      </p:pic>
    </p:spTree>
    <p:extLst>
      <p:ext uri="{BB962C8B-B14F-4D97-AF65-F5344CB8AC3E}">
        <p14:creationId xmlns:p14="http://schemas.microsoft.com/office/powerpoint/2010/main" val="24055514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hapter - Illustration 2">
    <p:bg>
      <p:bgPr>
        <a:gradFill>
          <a:gsLst>
            <a:gs pos="25000">
              <a:schemeClr val="bg1"/>
            </a:gs>
            <a:gs pos="100000">
              <a:srgbClr val="D12E67"/>
            </a:gs>
          </a:gsLst>
          <a:lin ang="3000000" scaled="0"/>
        </a:gradFill>
        <a:effectLst/>
      </p:bgPr>
    </p:bg>
    <p:spTree>
      <p:nvGrpSpPr>
        <p:cNvPr id="1" name=""/>
        <p:cNvGrpSpPr/>
        <p:nvPr/>
      </p:nvGrpSpPr>
      <p:grpSpPr>
        <a:xfrm>
          <a:off x="0" y="0"/>
          <a:ext cx="0" cy="0"/>
          <a:chOff x="0" y="0"/>
          <a:chExt cx="0" cy="0"/>
        </a:xfrm>
      </p:grpSpPr>
      <p:pic>
        <p:nvPicPr>
          <p:cNvPr id="70" name="Graphic 69">
            <a:extLst>
              <a:ext uri="{FF2B5EF4-FFF2-40B4-BE49-F238E27FC236}">
                <a16:creationId xmlns:a16="http://schemas.microsoft.com/office/drawing/2014/main" id="{ADBF8575-D13C-292D-662F-9F9FA797F75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 r="39144" b="15694"/>
          <a:stretch/>
        </p:blipFill>
        <p:spPr>
          <a:xfrm>
            <a:off x="2925235" y="1579035"/>
            <a:ext cx="9266767" cy="5278967"/>
          </a:xfrm>
          <a:prstGeom prst="rect">
            <a:avLst/>
          </a:prstGeom>
        </p:spPr>
      </p:pic>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613833" y="3064345"/>
            <a:ext cx="4673035" cy="1530233"/>
          </a:xfrm>
        </p:spPr>
        <p:txBody>
          <a:bodyPr/>
          <a:lstStyle>
            <a:lvl1pPr marL="0" indent="0" algn="l">
              <a:lnSpc>
                <a:spcPct val="100000"/>
              </a:lnSpc>
              <a:buNone/>
              <a:defRPr sz="2933">
                <a:solidFill>
                  <a:schemeClr val="tx1"/>
                </a:solidFill>
                <a:latin typeface="Proximus Light" panose="00000500000000000000" pitchFamily="2"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613836" y="505886"/>
            <a:ext cx="6182077" cy="2214271"/>
          </a:xfrm>
        </p:spPr>
        <p:txBody>
          <a:bodyPr anchor="b">
            <a:noAutofit/>
          </a:bodyPr>
          <a:lstStyle>
            <a:lvl1pPr>
              <a:defRPr sz="48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702899" y="5724528"/>
            <a:ext cx="889207" cy="720725"/>
          </a:xfrm>
          <a:prstGeom prst="rect">
            <a:avLst/>
          </a:prstGeom>
        </p:spPr>
      </p:pic>
    </p:spTree>
    <p:extLst>
      <p:ext uri="{BB962C8B-B14F-4D97-AF65-F5344CB8AC3E}">
        <p14:creationId xmlns:p14="http://schemas.microsoft.com/office/powerpoint/2010/main" val="365833227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hapter - Illustration 3">
    <p:bg>
      <p:bgPr>
        <a:gradFill>
          <a:gsLst>
            <a:gs pos="25000">
              <a:schemeClr val="bg1"/>
            </a:gs>
            <a:gs pos="100000">
              <a:schemeClr val="accent4"/>
            </a:gs>
          </a:gsLst>
          <a:lin ang="3000000" scaled="0"/>
        </a:gradFill>
        <a:effectLst/>
      </p:bgPr>
    </p:bg>
    <p:spTree>
      <p:nvGrpSpPr>
        <p:cNvPr id="1" name=""/>
        <p:cNvGrpSpPr/>
        <p:nvPr/>
      </p:nvGrpSpPr>
      <p:grpSpPr>
        <a:xfrm>
          <a:off x="0" y="0"/>
          <a:ext cx="0" cy="0"/>
          <a:chOff x="0" y="0"/>
          <a:chExt cx="0" cy="0"/>
        </a:xfrm>
      </p:grpSpPr>
      <p:pic>
        <p:nvPicPr>
          <p:cNvPr id="3" name="Picture 2" descr="Icon&#10;&#10;Description automatically generated">
            <a:extLst>
              <a:ext uri="{FF2B5EF4-FFF2-40B4-BE49-F238E27FC236}">
                <a16:creationId xmlns:a16="http://schemas.microsoft.com/office/drawing/2014/main" id="{10C2C515-BD5B-1EA9-81D6-9F705E41FA66}"/>
              </a:ext>
            </a:extLst>
          </p:cNvPr>
          <p:cNvPicPr>
            <a:picLocks noChangeAspect="1"/>
          </p:cNvPicPr>
          <p:nvPr userDrawn="1"/>
        </p:nvPicPr>
        <p:blipFill rotWithShape="1">
          <a:blip r:embed="rId2"/>
          <a:srcRect r="22682" b="27634"/>
          <a:stretch/>
        </p:blipFill>
        <p:spPr>
          <a:xfrm>
            <a:off x="7294355" y="343905"/>
            <a:ext cx="4897647" cy="6514096"/>
          </a:xfrm>
          <a:prstGeom prst="rect">
            <a:avLst/>
          </a:prstGeom>
        </p:spPr>
      </p:pic>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613834" y="3064345"/>
            <a:ext cx="6182076" cy="1530233"/>
          </a:xfrm>
        </p:spPr>
        <p:txBody>
          <a:bodyPr/>
          <a:lstStyle>
            <a:lvl1pPr marL="0" indent="0" algn="l">
              <a:lnSpc>
                <a:spcPct val="100000"/>
              </a:lnSpc>
              <a:buNone/>
              <a:defRPr sz="2933">
                <a:solidFill>
                  <a:schemeClr val="tx1"/>
                </a:solidFill>
                <a:latin typeface="Proximus Light" panose="00000500000000000000" pitchFamily="2"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613836" y="505886"/>
            <a:ext cx="6182077" cy="2214271"/>
          </a:xfrm>
        </p:spPr>
        <p:txBody>
          <a:bodyPr anchor="b">
            <a:noAutofit/>
          </a:bodyPr>
          <a:lstStyle>
            <a:lvl1pPr>
              <a:defRPr sz="48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702899" y="5724528"/>
            <a:ext cx="889207" cy="720725"/>
          </a:xfrm>
          <a:prstGeom prst="rect">
            <a:avLst/>
          </a:prstGeom>
        </p:spPr>
      </p:pic>
    </p:spTree>
    <p:extLst>
      <p:ext uri="{BB962C8B-B14F-4D97-AF65-F5344CB8AC3E}">
        <p14:creationId xmlns:p14="http://schemas.microsoft.com/office/powerpoint/2010/main" val="87480407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hapter - Illustration 4">
    <p:bg>
      <p:bgPr>
        <a:gradFill>
          <a:gsLst>
            <a:gs pos="25000">
              <a:schemeClr val="bg1"/>
            </a:gs>
            <a:gs pos="100000">
              <a:srgbClr val="EAC883"/>
            </a:gs>
          </a:gsLst>
          <a:lin ang="3000000" scaled="0"/>
        </a:gra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322754B0-B2D7-9557-F5B0-DF92C09F740E}"/>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9478" b="16358"/>
          <a:stretch/>
        </p:blipFill>
        <p:spPr>
          <a:xfrm>
            <a:off x="6172203" y="742948"/>
            <a:ext cx="6019799" cy="6115053"/>
          </a:xfrm>
          <a:prstGeom prst="rect">
            <a:avLst/>
          </a:prstGeom>
        </p:spPr>
      </p:pic>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613833" y="3064345"/>
            <a:ext cx="5151968" cy="1530233"/>
          </a:xfrm>
        </p:spPr>
        <p:txBody>
          <a:bodyPr/>
          <a:lstStyle>
            <a:lvl1pPr marL="0" indent="0" algn="l">
              <a:lnSpc>
                <a:spcPct val="100000"/>
              </a:lnSpc>
              <a:buNone/>
              <a:defRPr sz="2933">
                <a:solidFill>
                  <a:schemeClr val="tx1"/>
                </a:solidFill>
                <a:latin typeface="Proximus Light" panose="00000500000000000000" pitchFamily="2"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613837" y="505886"/>
            <a:ext cx="5151967" cy="2214271"/>
          </a:xfrm>
        </p:spPr>
        <p:txBody>
          <a:bodyPr anchor="b">
            <a:noAutofit/>
          </a:bodyPr>
          <a:lstStyle>
            <a:lvl1pPr>
              <a:defRPr sz="48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702899" y="5724528"/>
            <a:ext cx="889207" cy="720725"/>
          </a:xfrm>
          <a:prstGeom prst="rect">
            <a:avLst/>
          </a:prstGeom>
        </p:spPr>
      </p:pic>
    </p:spTree>
    <p:extLst>
      <p:ext uri="{BB962C8B-B14F-4D97-AF65-F5344CB8AC3E}">
        <p14:creationId xmlns:p14="http://schemas.microsoft.com/office/powerpoint/2010/main" val="244245313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Chapter - Illustration 5">
    <p:bg>
      <p:bgPr>
        <a:gradFill>
          <a:gsLst>
            <a:gs pos="25000">
              <a:schemeClr val="bg1"/>
            </a:gs>
            <a:gs pos="100000">
              <a:schemeClr val="accent4"/>
            </a:gs>
          </a:gsLst>
          <a:lin ang="3000000" scaled="0"/>
        </a:gra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08FB6E1E-547D-C7F4-1A82-6164989D32F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37812" b="34002"/>
          <a:stretch/>
        </p:blipFill>
        <p:spPr>
          <a:xfrm>
            <a:off x="3465689" y="1669427"/>
            <a:ext cx="8726313" cy="5188575"/>
          </a:xfrm>
          <a:prstGeom prst="rect">
            <a:avLst/>
          </a:prstGeom>
        </p:spPr>
      </p:pic>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613833" y="3064345"/>
            <a:ext cx="3100211" cy="2214271"/>
          </a:xfrm>
        </p:spPr>
        <p:txBody>
          <a:bodyPr/>
          <a:lstStyle>
            <a:lvl1pPr marL="0" indent="0" algn="l">
              <a:lnSpc>
                <a:spcPct val="100000"/>
              </a:lnSpc>
              <a:buNone/>
              <a:defRPr sz="2933">
                <a:solidFill>
                  <a:schemeClr val="tx1"/>
                </a:solidFill>
                <a:latin typeface="Proximus Light" panose="00000500000000000000" pitchFamily="2"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613836" y="505886"/>
            <a:ext cx="7051321" cy="2214271"/>
          </a:xfrm>
        </p:spPr>
        <p:txBody>
          <a:bodyPr anchor="b">
            <a:noAutofit/>
          </a:bodyPr>
          <a:lstStyle>
            <a:lvl1pPr>
              <a:defRPr sz="48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702899" y="5724528"/>
            <a:ext cx="889207" cy="720725"/>
          </a:xfrm>
          <a:prstGeom prst="rect">
            <a:avLst/>
          </a:prstGeom>
        </p:spPr>
      </p:pic>
    </p:spTree>
    <p:extLst>
      <p:ext uri="{BB962C8B-B14F-4D97-AF65-F5344CB8AC3E}">
        <p14:creationId xmlns:p14="http://schemas.microsoft.com/office/powerpoint/2010/main" val="377863987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Chapter - Illustration 6">
    <p:bg>
      <p:bgPr>
        <a:gradFill>
          <a:gsLst>
            <a:gs pos="25000">
              <a:schemeClr val="bg1"/>
            </a:gs>
            <a:gs pos="100000">
              <a:schemeClr val="accent5"/>
            </a:gs>
          </a:gsLst>
          <a:lin ang="3000000" scaled="0"/>
        </a:gra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BF8378EB-DAE3-4981-AF59-0C39556517E6}"/>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 r="8768" b="5820"/>
          <a:stretch/>
        </p:blipFill>
        <p:spPr>
          <a:xfrm>
            <a:off x="3046829" y="2462402"/>
            <a:ext cx="9145171" cy="4395599"/>
          </a:xfrm>
          <a:prstGeom prst="rect">
            <a:avLst/>
          </a:prstGeom>
        </p:spPr>
      </p:pic>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613835" y="2462402"/>
            <a:ext cx="4381500" cy="2214271"/>
          </a:xfrm>
        </p:spPr>
        <p:txBody>
          <a:bodyPr/>
          <a:lstStyle>
            <a:lvl1pPr marL="0" indent="0" algn="l">
              <a:lnSpc>
                <a:spcPct val="100000"/>
              </a:lnSpc>
              <a:buNone/>
              <a:defRPr sz="2933">
                <a:solidFill>
                  <a:schemeClr val="tx1"/>
                </a:solidFill>
                <a:latin typeface="Proximus Light" panose="00000500000000000000" pitchFamily="2"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613835" y="505883"/>
            <a:ext cx="10960100" cy="1612800"/>
          </a:xfrm>
        </p:spPr>
        <p:txBody>
          <a:bodyPr anchor="b">
            <a:noAutofit/>
          </a:bodyPr>
          <a:lstStyle>
            <a:lvl1pPr>
              <a:defRPr sz="48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702899" y="5724528"/>
            <a:ext cx="889207" cy="720725"/>
          </a:xfrm>
          <a:prstGeom prst="rect">
            <a:avLst/>
          </a:prstGeom>
        </p:spPr>
      </p:pic>
    </p:spTree>
    <p:extLst>
      <p:ext uri="{BB962C8B-B14F-4D97-AF65-F5344CB8AC3E}">
        <p14:creationId xmlns:p14="http://schemas.microsoft.com/office/powerpoint/2010/main" val="249942410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ubchapter - White">
    <p:bg>
      <p:bgPr>
        <a:solidFill>
          <a:schemeClr val="tx1"/>
        </a:soli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613835" y="2460272"/>
            <a:ext cx="8225367" cy="1335741"/>
          </a:xfrm>
        </p:spPr>
        <p:txBody>
          <a:bodyPr/>
          <a:lstStyle>
            <a:lvl1pPr marL="0" indent="0" algn="l">
              <a:lnSpc>
                <a:spcPct val="100000"/>
              </a:lnSpc>
              <a:buNone/>
              <a:defRPr sz="2667">
                <a:solidFill>
                  <a:schemeClr val="bg1"/>
                </a:solidFill>
                <a:latin typeface="+mj-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613835" y="504001"/>
            <a:ext cx="8225367" cy="1612083"/>
          </a:xfrm>
        </p:spPr>
        <p:txBody>
          <a:bodyPr anchor="b">
            <a:noAutofit/>
          </a:bodyPr>
          <a:lstStyle>
            <a:lvl1pPr>
              <a:defRPr sz="4267" b="0">
                <a:solidFill>
                  <a:schemeClr val="bg1"/>
                </a:solidFill>
                <a:latin typeface="Proximus Light" panose="020B0604020202020204" charset="0"/>
              </a:defRPr>
            </a:lvl1pPr>
          </a:lstStyle>
          <a:p>
            <a:r>
              <a:rPr lang="en-US"/>
              <a:t>Click to edit </a:t>
            </a:r>
            <a:br>
              <a:rPr lang="en-US"/>
            </a:br>
            <a:r>
              <a:rPr lang="en-US"/>
              <a:t>subchapter title</a:t>
            </a:r>
            <a:endParaRPr lang="nl-BE"/>
          </a:p>
        </p:txBody>
      </p:sp>
      <p:pic>
        <p:nvPicPr>
          <p:cNvPr id="2" name="Graphic 1">
            <a:extLst>
              <a:ext uri="{FF2B5EF4-FFF2-40B4-BE49-F238E27FC236}">
                <a16:creationId xmlns:a16="http://schemas.microsoft.com/office/drawing/2014/main" id="{E679911C-93F9-B87D-B3FA-11770F8ED2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02899" y="5724528"/>
            <a:ext cx="890679" cy="720725"/>
          </a:xfrm>
          <a:prstGeom prst="rect">
            <a:avLst/>
          </a:prstGeom>
        </p:spPr>
      </p:pic>
      <p:sp>
        <p:nvSpPr>
          <p:cNvPr id="3" name="Text Placeholder 2">
            <a:extLst>
              <a:ext uri="{FF2B5EF4-FFF2-40B4-BE49-F238E27FC236}">
                <a16:creationId xmlns:a16="http://schemas.microsoft.com/office/drawing/2014/main" id="{52EFA49A-5254-AD86-1692-AD2FEDB27285}"/>
              </a:ext>
            </a:extLst>
          </p:cNvPr>
          <p:cNvSpPr>
            <a:spLocks noGrp="1"/>
          </p:cNvSpPr>
          <p:nvPr>
            <p:ph type="body" sz="quarter" idx="10" hasCustomPrompt="1"/>
          </p:nvPr>
        </p:nvSpPr>
        <p:spPr>
          <a:xfrm>
            <a:off x="9398000" y="3"/>
            <a:ext cx="2794000" cy="2843133"/>
          </a:xfrm>
          <a:custGeom>
            <a:avLst/>
            <a:gdLst>
              <a:gd name="connsiteX0" fmla="*/ 974239 w 2553320"/>
              <a:gd name="connsiteY0" fmla="*/ 0 h 2598221"/>
              <a:gd name="connsiteX1" fmla="*/ 2553320 w 2553320"/>
              <a:gd name="connsiteY1" fmla="*/ 0 h 2598221"/>
              <a:gd name="connsiteX2" fmla="*/ 2553320 w 2553320"/>
              <a:gd name="connsiteY2" fmla="*/ 1668884 h 2598221"/>
              <a:gd name="connsiteX3" fmla="*/ 1960321 w 2553320"/>
              <a:gd name="connsiteY3" fmla="*/ 2261883 h 2598221"/>
              <a:gd name="connsiteX4" fmla="*/ 336338 w 2553320"/>
              <a:gd name="connsiteY4" fmla="*/ 2261883 h 2598221"/>
              <a:gd name="connsiteX5" fmla="*/ 336338 w 2553320"/>
              <a:gd name="connsiteY5" fmla="*/ 637901 h 259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3320" h="2598221">
                <a:moveTo>
                  <a:pt x="974239" y="0"/>
                </a:moveTo>
                <a:lnTo>
                  <a:pt x="2553320" y="0"/>
                </a:lnTo>
                <a:lnTo>
                  <a:pt x="2553320" y="1668884"/>
                </a:lnTo>
                <a:lnTo>
                  <a:pt x="1960321" y="2261883"/>
                </a:lnTo>
                <a:cubicBezTo>
                  <a:pt x="1511870" y="2710334"/>
                  <a:pt x="784789" y="2710334"/>
                  <a:pt x="336338" y="2261883"/>
                </a:cubicBezTo>
                <a:cubicBezTo>
                  <a:pt x="-112112" y="1813433"/>
                  <a:pt x="-112112" y="1086352"/>
                  <a:pt x="336338" y="637901"/>
                </a:cubicBezTo>
                <a:close/>
              </a:path>
            </a:pathLst>
          </a:custGeom>
          <a:gradFill>
            <a:gsLst>
              <a:gs pos="20000">
                <a:schemeClr val="bg1"/>
              </a:gs>
              <a:gs pos="100000">
                <a:srgbClr val="D22E67"/>
              </a:gs>
            </a:gsLst>
            <a:lin ang="7200000" scaled="0"/>
          </a:gradFill>
        </p:spPr>
        <p:txBody>
          <a:bodyPr wrap="square" anchor="ctr">
            <a:noAutofit/>
          </a:bodyPr>
          <a:lstStyle>
            <a:lvl1pPr marL="0" indent="0" algn="ctr">
              <a:buNone/>
              <a:defRPr sz="8000">
                <a:solidFill>
                  <a:schemeClr val="tx1"/>
                </a:solidFill>
                <a:latin typeface="Proximus Light" panose="020B0604020202020204" charset="0"/>
              </a:defRPr>
            </a:lvl1pPr>
          </a:lstStyle>
          <a:p>
            <a:pPr lvl="0"/>
            <a:r>
              <a:rPr lang="en-US"/>
              <a:t>xx</a:t>
            </a:r>
          </a:p>
        </p:txBody>
      </p:sp>
    </p:spTree>
    <p:extLst>
      <p:ext uri="{BB962C8B-B14F-4D97-AF65-F5344CB8AC3E}">
        <p14:creationId xmlns:p14="http://schemas.microsoft.com/office/powerpoint/2010/main" val="362449361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slide - white bg - bullet menu">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b="1"/>
            </a:lvl1pPr>
          </a:lstStyle>
          <a:p>
            <a:r>
              <a:rPr lang="en-US"/>
              <a:t>Click to edit slide title</a:t>
            </a:r>
            <a:endParaRPr lang="nl-BE"/>
          </a:p>
        </p:txBody>
      </p:sp>
      <p:sp>
        <p:nvSpPr>
          <p:cNvPr id="11" name="Text Placeholder 2">
            <a:extLst>
              <a:ext uri="{FF2B5EF4-FFF2-40B4-BE49-F238E27FC236}">
                <a16:creationId xmlns:a16="http://schemas.microsoft.com/office/drawing/2014/main" id="{10193D06-FB5B-42EC-9101-F77EE2C16642}"/>
              </a:ext>
            </a:extLst>
          </p:cNvPr>
          <p:cNvSpPr>
            <a:spLocks noGrp="1"/>
          </p:cNvSpPr>
          <p:nvPr>
            <p:ph idx="1"/>
          </p:nvPr>
        </p:nvSpPr>
        <p:spPr>
          <a:xfrm>
            <a:off x="613835" y="1382400"/>
            <a:ext cx="10962216" cy="4690317"/>
          </a:xfrm>
          <a:prstGeom prst="rect">
            <a:avLst/>
          </a:prstGeom>
        </p:spPr>
        <p:txBody>
          <a:bodyPr vert="horz" lIns="0" tIns="0" rIns="0" bIns="0" numCol="1" spcCol="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Tree>
    <p:extLst>
      <p:ext uri="{BB962C8B-B14F-4D97-AF65-F5344CB8AC3E}">
        <p14:creationId xmlns:p14="http://schemas.microsoft.com/office/powerpoint/2010/main" val="139732707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t slide - white bg - Subtitle - bullet men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3838" y="503770"/>
            <a:ext cx="10962217" cy="533399"/>
          </a:xfrm>
        </p:spPr>
        <p:txBody>
          <a:bodyPr anchor="t"/>
          <a:lstStyle>
            <a:lvl1pPr>
              <a:defRPr b="1"/>
            </a:lvl1pPr>
          </a:lstStyle>
          <a:p>
            <a:r>
              <a:rPr lang="en-US"/>
              <a:t>Click to edit slide title</a:t>
            </a:r>
            <a:endParaRPr lang="nl-BE"/>
          </a:p>
        </p:txBody>
      </p:sp>
      <p:sp>
        <p:nvSpPr>
          <p:cNvPr id="11" name="Text Placeholder 2">
            <a:extLst>
              <a:ext uri="{FF2B5EF4-FFF2-40B4-BE49-F238E27FC236}">
                <a16:creationId xmlns:a16="http://schemas.microsoft.com/office/drawing/2014/main" id="{10193D06-FB5B-42EC-9101-F77EE2C16642}"/>
              </a:ext>
            </a:extLst>
          </p:cNvPr>
          <p:cNvSpPr>
            <a:spLocks noGrp="1"/>
          </p:cNvSpPr>
          <p:nvPr>
            <p:ph idx="1" hasCustomPrompt="1"/>
          </p:nvPr>
        </p:nvSpPr>
        <p:spPr>
          <a:xfrm>
            <a:off x="613835" y="2057400"/>
            <a:ext cx="10962216" cy="4015317"/>
          </a:xfrm>
          <a:prstGeom prst="rect">
            <a:avLst/>
          </a:prstGeom>
        </p:spPr>
        <p:txBody>
          <a:bodyPr vert="horz" lIns="0" tIns="0" rIns="0" bIns="0" numCol="1" spcCol="0" rtlCol="0" anchor="t" anchorCtr="0">
            <a:noAutofit/>
          </a:bodyPr>
          <a:lstStyle>
            <a:lvl2pPr marL="479976" indent="-235189">
              <a:spcBef>
                <a:spcPts val="800"/>
              </a:spcBef>
              <a:defRPr/>
            </a:lvl2pPr>
            <a:lvl3pPr>
              <a:spcBef>
                <a:spcPts val="800"/>
              </a:spcBef>
              <a:defRPr/>
            </a:lvl3pPr>
            <a:lvl4pPr>
              <a:spcBef>
                <a:spcPts val="1600"/>
              </a:spcBef>
              <a:defRPr/>
            </a:lvl4pPr>
            <a:lvl5pPr>
              <a:spcBef>
                <a:spcPts val="24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6" name="Text Placeholder 5">
            <a:extLst>
              <a:ext uri="{FF2B5EF4-FFF2-40B4-BE49-F238E27FC236}">
                <a16:creationId xmlns:a16="http://schemas.microsoft.com/office/drawing/2014/main" id="{3CFA2924-4BFC-CB4A-33EA-AFA2F3E1085E}"/>
              </a:ext>
            </a:extLst>
          </p:cNvPr>
          <p:cNvSpPr>
            <a:spLocks noGrp="1"/>
          </p:cNvSpPr>
          <p:nvPr>
            <p:ph type="body" sz="quarter" idx="12"/>
          </p:nvPr>
        </p:nvSpPr>
        <p:spPr>
          <a:xfrm>
            <a:off x="624417" y="1138502"/>
            <a:ext cx="10962216" cy="393967"/>
          </a:xfrm>
        </p:spPr>
        <p:txBody>
          <a:bodyPr/>
          <a:lstStyle>
            <a:lvl1pPr marL="0" indent="0">
              <a:buNone/>
              <a:defRPr sz="2133">
                <a:solidFill>
                  <a:schemeClr val="bg1"/>
                </a:solidFill>
                <a:latin typeface="Proximus Light" panose="020B0604020202020204" charset="0"/>
              </a:defRPr>
            </a:lvl1pPr>
          </a:lstStyle>
          <a:p>
            <a:pPr lvl="0"/>
            <a:r>
              <a:rPr lang="en-US"/>
              <a:t>Click to edit Master text styles</a:t>
            </a:r>
          </a:p>
        </p:txBody>
      </p:sp>
    </p:spTree>
    <p:extLst>
      <p:ext uri="{BB962C8B-B14F-4D97-AF65-F5344CB8AC3E}">
        <p14:creationId xmlns:p14="http://schemas.microsoft.com/office/powerpoint/2010/main" val="15940201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XS ADA - generi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b="0"/>
            </a:lvl1pPr>
          </a:lstStyle>
          <a:p>
            <a:r>
              <a:rPr lang="en-US"/>
              <a:t>Click to edit slide title</a:t>
            </a:r>
            <a:endParaRPr lang="nl-BE"/>
          </a:p>
        </p:txBody>
      </p:sp>
      <p:sp>
        <p:nvSpPr>
          <p:cNvPr id="11" name="Text Placeholder 2">
            <a:extLst>
              <a:ext uri="{FF2B5EF4-FFF2-40B4-BE49-F238E27FC236}">
                <a16:creationId xmlns:a16="http://schemas.microsoft.com/office/drawing/2014/main" id="{10193D06-FB5B-42EC-9101-F77EE2C16642}"/>
              </a:ext>
            </a:extLst>
          </p:cNvPr>
          <p:cNvSpPr>
            <a:spLocks noGrp="1"/>
          </p:cNvSpPr>
          <p:nvPr>
            <p:ph idx="1"/>
          </p:nvPr>
        </p:nvSpPr>
        <p:spPr>
          <a:xfrm>
            <a:off x="613835" y="1382399"/>
            <a:ext cx="10962216" cy="4878700"/>
          </a:xfrm>
          <a:prstGeom prst="rect">
            <a:avLst/>
          </a:prstGeom>
        </p:spPr>
        <p:txBody>
          <a:bodyPr vert="horz" lIns="0" tIns="0" rIns="0" bIns="0" numCol="1" spcCol="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BE"/>
          </a:p>
        </p:txBody>
      </p:sp>
    </p:spTree>
    <p:extLst>
      <p:ext uri="{BB962C8B-B14F-4D97-AF65-F5344CB8AC3E}">
        <p14:creationId xmlns:p14="http://schemas.microsoft.com/office/powerpoint/2010/main" val="4000009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slide - white bg -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b="1"/>
            </a:lvl1pPr>
          </a:lstStyle>
          <a:p>
            <a:r>
              <a:rPr lang="en-US"/>
              <a:t>Click to edit slide title</a:t>
            </a:r>
            <a:endParaRPr lang="nl-BE"/>
          </a:p>
        </p:txBody>
      </p:sp>
    </p:spTree>
    <p:extLst>
      <p:ext uri="{BB962C8B-B14F-4D97-AF65-F5344CB8AC3E}">
        <p14:creationId xmlns:p14="http://schemas.microsoft.com/office/powerpoint/2010/main" val="382993881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ent slide - white bg - Title and subtitl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8D0A063-9B70-99AA-6F6C-EA1AC8B99EED}"/>
              </a:ext>
            </a:extLst>
          </p:cNvPr>
          <p:cNvGraphicFramePr>
            <a:graphicFrameLocks noChangeAspect="1"/>
          </p:cNvGraphicFramePr>
          <p:nvPr userDrawn="1">
            <p:custDataLst>
              <p:tags r:id="rId1"/>
            </p:custDataLst>
            <p:extLst>
              <p:ext uri="{D42A27DB-BD31-4B8C-83A1-F6EECF244321}">
                <p14:modId xmlns:p14="http://schemas.microsoft.com/office/powerpoint/2010/main" val="3666798209"/>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4" name="think-cell data - do not delete" hidden="1">
                        <a:extLst>
                          <a:ext uri="{FF2B5EF4-FFF2-40B4-BE49-F238E27FC236}">
                            <a16:creationId xmlns:a16="http://schemas.microsoft.com/office/drawing/2014/main" id="{48D0A063-9B70-99AA-6F6C-EA1AC8B99EE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p:cNvSpPr>
            <a:spLocks noGrp="1"/>
          </p:cNvSpPr>
          <p:nvPr>
            <p:ph type="title" hasCustomPrompt="1"/>
          </p:nvPr>
        </p:nvSpPr>
        <p:spPr>
          <a:xfrm>
            <a:off x="613838" y="503770"/>
            <a:ext cx="10962217" cy="533399"/>
          </a:xfrm>
        </p:spPr>
        <p:txBody>
          <a:bodyPr vert="horz" anchor="t"/>
          <a:lstStyle>
            <a:lvl1pPr>
              <a:defRPr sz="2667" b="1"/>
            </a:lvl1pPr>
          </a:lstStyle>
          <a:p>
            <a:r>
              <a:rPr lang="en-US"/>
              <a:t>Click to edit slide title</a:t>
            </a:r>
            <a:endParaRPr lang="nl-BE"/>
          </a:p>
        </p:txBody>
      </p:sp>
      <p:sp>
        <p:nvSpPr>
          <p:cNvPr id="6" name="Text Placeholder 5">
            <a:extLst>
              <a:ext uri="{FF2B5EF4-FFF2-40B4-BE49-F238E27FC236}">
                <a16:creationId xmlns:a16="http://schemas.microsoft.com/office/drawing/2014/main" id="{3CFA2924-4BFC-CB4A-33EA-AFA2F3E1085E}"/>
              </a:ext>
            </a:extLst>
          </p:cNvPr>
          <p:cNvSpPr>
            <a:spLocks noGrp="1"/>
          </p:cNvSpPr>
          <p:nvPr>
            <p:ph type="body" sz="quarter" idx="12"/>
          </p:nvPr>
        </p:nvSpPr>
        <p:spPr>
          <a:xfrm>
            <a:off x="624417" y="1138502"/>
            <a:ext cx="10962216" cy="393967"/>
          </a:xfrm>
        </p:spPr>
        <p:txBody>
          <a:bodyPr/>
          <a:lstStyle>
            <a:lvl1pPr marL="0" indent="0">
              <a:buNone/>
              <a:defRPr sz="2133">
                <a:solidFill>
                  <a:schemeClr val="bg1"/>
                </a:solidFill>
                <a:latin typeface="Proximus Light" panose="020B0604020202020204" charset="0"/>
              </a:defRPr>
            </a:lvl1pPr>
          </a:lstStyle>
          <a:p>
            <a:pPr lvl="0"/>
            <a:r>
              <a:rPr lang="en-US"/>
              <a:t>Click to edit Master text styles</a:t>
            </a:r>
          </a:p>
        </p:txBody>
      </p:sp>
    </p:spTree>
    <p:extLst>
      <p:ext uri="{BB962C8B-B14F-4D97-AF65-F5344CB8AC3E}">
        <p14:creationId xmlns:p14="http://schemas.microsoft.com/office/powerpoint/2010/main" val="2107544362"/>
      </p:ext>
    </p:extLst>
  </p:cSld>
  <p:clrMapOvr>
    <a:masterClrMapping/>
  </p:clrMapOvr>
  <p:extLst>
    <p:ext uri="{DCECCB84-F9BA-43D5-87BE-67443E8EF086}">
      <p15:sldGuideLst xmlns:p15="http://schemas.microsoft.com/office/powerpoint/2012/main">
        <p15:guide id="1" orient="horz" pos="962">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 slide - colour bg - bullet menu">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b="1">
                <a:solidFill>
                  <a:schemeClr val="tx1"/>
                </a:solidFill>
              </a:defRPr>
            </a:lvl1pPr>
          </a:lstStyle>
          <a:p>
            <a:r>
              <a:rPr lang="en-US"/>
              <a:t>Click to edit slide title</a:t>
            </a:r>
            <a:endParaRPr lang="nl-BE"/>
          </a:p>
        </p:txBody>
      </p:sp>
      <p:sp>
        <p:nvSpPr>
          <p:cNvPr id="6" name="Text Placeholder 5">
            <a:extLst>
              <a:ext uri="{FF2B5EF4-FFF2-40B4-BE49-F238E27FC236}">
                <a16:creationId xmlns:a16="http://schemas.microsoft.com/office/drawing/2014/main" id="{D62362CE-1A7B-CA66-FD9A-16C348131664}"/>
              </a:ext>
            </a:extLst>
          </p:cNvPr>
          <p:cNvSpPr>
            <a:spLocks noGrp="1"/>
          </p:cNvSpPr>
          <p:nvPr>
            <p:ph type="body" sz="quarter" idx="10"/>
          </p:nvPr>
        </p:nvSpPr>
        <p:spPr>
          <a:xfrm>
            <a:off x="613835" y="1384302"/>
            <a:ext cx="10964333" cy="4688417"/>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759016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ent slide - colour bg - Subtitle - bullet menu">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3838" y="503770"/>
            <a:ext cx="10962217" cy="533399"/>
          </a:xfrm>
        </p:spPr>
        <p:txBody>
          <a:bodyPr anchor="t"/>
          <a:lstStyle>
            <a:lvl1pPr>
              <a:defRPr b="1">
                <a:solidFill>
                  <a:schemeClr val="tx1"/>
                </a:solidFill>
              </a:defRPr>
            </a:lvl1pPr>
          </a:lstStyle>
          <a:p>
            <a:r>
              <a:rPr lang="en-US"/>
              <a:t>Click to edit slide title</a:t>
            </a:r>
            <a:endParaRPr lang="nl-BE"/>
          </a:p>
        </p:txBody>
      </p:sp>
      <p:sp>
        <p:nvSpPr>
          <p:cNvPr id="6" name="Text Placeholder 5">
            <a:extLst>
              <a:ext uri="{FF2B5EF4-FFF2-40B4-BE49-F238E27FC236}">
                <a16:creationId xmlns:a16="http://schemas.microsoft.com/office/drawing/2014/main" id="{3CFA2924-4BFC-CB4A-33EA-AFA2F3E1085E}"/>
              </a:ext>
            </a:extLst>
          </p:cNvPr>
          <p:cNvSpPr>
            <a:spLocks noGrp="1"/>
          </p:cNvSpPr>
          <p:nvPr>
            <p:ph type="body" sz="quarter" idx="12"/>
          </p:nvPr>
        </p:nvSpPr>
        <p:spPr>
          <a:xfrm>
            <a:off x="624417" y="1138502"/>
            <a:ext cx="10962216" cy="393967"/>
          </a:xfrm>
        </p:spPr>
        <p:txBody>
          <a:bodyPr/>
          <a:lstStyle>
            <a:lvl1pPr marL="0" indent="0">
              <a:buNone/>
              <a:defRPr sz="2133">
                <a:solidFill>
                  <a:schemeClr val="tx1"/>
                </a:solidFill>
                <a:latin typeface="Proximus Light" panose="020B0604020202020204" charset="0"/>
              </a:defRPr>
            </a:lvl1pPr>
          </a:lstStyle>
          <a:p>
            <a:pPr lvl="0"/>
            <a:r>
              <a:rPr lang="en-US"/>
              <a:t>Click to edit Master text styles</a:t>
            </a:r>
          </a:p>
        </p:txBody>
      </p:sp>
      <p:sp>
        <p:nvSpPr>
          <p:cNvPr id="3" name="Text Placeholder 2">
            <a:extLst>
              <a:ext uri="{FF2B5EF4-FFF2-40B4-BE49-F238E27FC236}">
                <a16:creationId xmlns:a16="http://schemas.microsoft.com/office/drawing/2014/main" id="{BA56E9AC-E3FD-B3FD-6B19-4FD87C1EAE48}"/>
              </a:ext>
            </a:extLst>
          </p:cNvPr>
          <p:cNvSpPr>
            <a:spLocks noGrp="1"/>
          </p:cNvSpPr>
          <p:nvPr>
            <p:ph idx="1" hasCustomPrompt="1"/>
          </p:nvPr>
        </p:nvSpPr>
        <p:spPr>
          <a:xfrm>
            <a:off x="613835" y="2057400"/>
            <a:ext cx="10962216" cy="4015317"/>
          </a:xfrm>
          <a:prstGeom prst="rect">
            <a:avLst/>
          </a:prstGeom>
        </p:spPr>
        <p:txBody>
          <a:bodyPr vert="horz" lIns="0" tIns="0" rIns="0" bIns="0" numCol="1" spcCol="0" rtlCol="0" anchor="t" anchorCtr="0">
            <a:noAutofit/>
          </a:bodyPr>
          <a:lstStyle>
            <a:lvl1pPr>
              <a:buClr>
                <a:schemeClr val="tx1"/>
              </a:buClr>
              <a:defRPr>
                <a:solidFill>
                  <a:schemeClr val="tx1"/>
                </a:solidFill>
              </a:defRPr>
            </a:lvl1pPr>
            <a:lvl2pPr marL="479976" indent="-235189">
              <a:spcBef>
                <a:spcPts val="800"/>
              </a:spcBef>
              <a:buClr>
                <a:schemeClr val="tx1"/>
              </a:buClr>
              <a:defRPr>
                <a:solidFill>
                  <a:schemeClr val="tx1"/>
                </a:solidFill>
              </a:defRPr>
            </a:lvl2pPr>
            <a:lvl3pPr>
              <a:spcBef>
                <a:spcPts val="800"/>
              </a:spcBef>
              <a:buClr>
                <a:schemeClr val="tx1"/>
              </a:buClr>
              <a:defRPr>
                <a:solidFill>
                  <a:schemeClr val="tx1"/>
                </a:solidFill>
              </a:defRPr>
            </a:lvl3pPr>
            <a:lvl4pPr>
              <a:spcBef>
                <a:spcPts val="1600"/>
              </a:spcBef>
              <a:buClr>
                <a:schemeClr val="tx1"/>
              </a:buClr>
              <a:defRPr>
                <a:solidFill>
                  <a:schemeClr val="tx1"/>
                </a:solidFill>
              </a:defRPr>
            </a:lvl4pPr>
            <a:lvl5pPr>
              <a:spcBef>
                <a:spcPts val="2400"/>
              </a:spcBef>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BE"/>
          </a:p>
        </p:txBody>
      </p:sp>
    </p:spTree>
    <p:extLst>
      <p:ext uri="{BB962C8B-B14F-4D97-AF65-F5344CB8AC3E}">
        <p14:creationId xmlns:p14="http://schemas.microsoft.com/office/powerpoint/2010/main" val="4116761287"/>
      </p:ext>
    </p:extLst>
  </p:cSld>
  <p:clrMapOvr>
    <a:masterClrMapping/>
  </p:clrMapOvr>
  <p:extLst>
    <p:ext uri="{DCECCB84-F9BA-43D5-87BE-67443E8EF086}">
      <p15:sldGuideLst xmlns:p15="http://schemas.microsoft.com/office/powerpoint/2012/main">
        <p15:guide id="1" orient="horz" pos="962">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ent slide - colour bg - 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b="1">
                <a:solidFill>
                  <a:schemeClr val="tx1"/>
                </a:solidFill>
              </a:defRPr>
            </a:lvl1pPr>
          </a:lstStyle>
          <a:p>
            <a:r>
              <a:rPr lang="en-US"/>
              <a:t>Click to edit slide title</a:t>
            </a:r>
            <a:endParaRPr lang="nl-BE"/>
          </a:p>
        </p:txBody>
      </p:sp>
    </p:spTree>
    <p:extLst>
      <p:ext uri="{BB962C8B-B14F-4D97-AF65-F5344CB8AC3E}">
        <p14:creationId xmlns:p14="http://schemas.microsoft.com/office/powerpoint/2010/main" val="409714695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slide - colour bg - Title and sub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3838" y="503770"/>
            <a:ext cx="10962217" cy="533399"/>
          </a:xfrm>
        </p:spPr>
        <p:txBody>
          <a:bodyPr anchor="t"/>
          <a:lstStyle>
            <a:lvl1pPr>
              <a:defRPr b="1">
                <a:solidFill>
                  <a:schemeClr val="tx1"/>
                </a:solidFill>
              </a:defRPr>
            </a:lvl1pPr>
          </a:lstStyle>
          <a:p>
            <a:r>
              <a:rPr lang="en-US"/>
              <a:t>Click to edit slide title</a:t>
            </a:r>
            <a:endParaRPr lang="nl-BE"/>
          </a:p>
        </p:txBody>
      </p:sp>
      <p:sp>
        <p:nvSpPr>
          <p:cNvPr id="6" name="Text Placeholder 5">
            <a:extLst>
              <a:ext uri="{FF2B5EF4-FFF2-40B4-BE49-F238E27FC236}">
                <a16:creationId xmlns:a16="http://schemas.microsoft.com/office/drawing/2014/main" id="{3CFA2924-4BFC-CB4A-33EA-AFA2F3E1085E}"/>
              </a:ext>
            </a:extLst>
          </p:cNvPr>
          <p:cNvSpPr>
            <a:spLocks noGrp="1"/>
          </p:cNvSpPr>
          <p:nvPr>
            <p:ph type="body" sz="quarter" idx="12"/>
          </p:nvPr>
        </p:nvSpPr>
        <p:spPr>
          <a:xfrm>
            <a:off x="624417" y="1138502"/>
            <a:ext cx="10962216" cy="393967"/>
          </a:xfrm>
        </p:spPr>
        <p:txBody>
          <a:bodyPr/>
          <a:lstStyle>
            <a:lvl1pPr marL="0" indent="0">
              <a:buNone/>
              <a:defRPr sz="2133">
                <a:solidFill>
                  <a:schemeClr val="tx1"/>
                </a:solidFill>
                <a:latin typeface="Proximus Light" panose="020B0604020202020204" charset="0"/>
              </a:defRPr>
            </a:lvl1pPr>
          </a:lstStyle>
          <a:p>
            <a:pPr lvl="0"/>
            <a:r>
              <a:rPr lang="en-US"/>
              <a:t>Click to edit Master text styles</a:t>
            </a:r>
          </a:p>
        </p:txBody>
      </p:sp>
    </p:spTree>
    <p:extLst>
      <p:ext uri="{BB962C8B-B14F-4D97-AF65-F5344CB8AC3E}">
        <p14:creationId xmlns:p14="http://schemas.microsoft.com/office/powerpoint/2010/main" val="3555937104"/>
      </p:ext>
    </p:extLst>
  </p:cSld>
  <p:clrMapOvr>
    <a:masterClrMapping/>
  </p:clrMapOvr>
  <p:extLst>
    <p:ext uri="{DCECCB84-F9BA-43D5-87BE-67443E8EF086}">
      <p15:sldGuideLst xmlns:p15="http://schemas.microsoft.com/office/powerpoint/2012/main">
        <p15:guide id="1" orient="horz" pos="962">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Agenda">
    <p:bg>
      <p:bgPr>
        <a:gradFill>
          <a:gsLst>
            <a:gs pos="25000">
              <a:schemeClr val="bg1"/>
            </a:gs>
            <a:gs pos="100000">
              <a:srgbClr val="D12E67"/>
            </a:gs>
          </a:gsLst>
          <a:lin ang="30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3838" y="503768"/>
            <a:ext cx="2678004" cy="1223432"/>
          </a:xfrm>
        </p:spPr>
        <p:txBody>
          <a:bodyPr anchor="t"/>
          <a:lstStyle>
            <a:lvl1pPr>
              <a:defRPr b="1">
                <a:solidFill>
                  <a:schemeClr val="tx1"/>
                </a:solidFill>
              </a:defRPr>
            </a:lvl1pPr>
          </a:lstStyle>
          <a:p>
            <a:r>
              <a:rPr lang="en-US"/>
              <a:t>Click to edit slide title</a:t>
            </a:r>
            <a:endParaRPr lang="nl-BE"/>
          </a:p>
        </p:txBody>
      </p:sp>
      <p:sp>
        <p:nvSpPr>
          <p:cNvPr id="3" name="Freeform: Shape 2">
            <a:extLst>
              <a:ext uri="{FF2B5EF4-FFF2-40B4-BE49-F238E27FC236}">
                <a16:creationId xmlns:a16="http://schemas.microsoft.com/office/drawing/2014/main" id="{719802DA-9C6B-5019-6934-ED9FA37D31CC}"/>
              </a:ext>
            </a:extLst>
          </p:cNvPr>
          <p:cNvSpPr/>
          <p:nvPr userDrawn="1"/>
        </p:nvSpPr>
        <p:spPr>
          <a:xfrm>
            <a:off x="2246689" y="-11946"/>
            <a:ext cx="9945313" cy="6869948"/>
          </a:xfrm>
          <a:custGeom>
            <a:avLst/>
            <a:gdLst>
              <a:gd name="connsiteX0" fmla="*/ 2302546 w 9928016"/>
              <a:gd name="connsiteY0" fmla="*/ 0 h 6857999"/>
              <a:gd name="connsiteX1" fmla="*/ 9928016 w 9928016"/>
              <a:gd name="connsiteY1" fmla="*/ 0 h 6857999"/>
              <a:gd name="connsiteX2" fmla="*/ 9928016 w 9928016"/>
              <a:gd name="connsiteY2" fmla="*/ 6857999 h 6857999"/>
              <a:gd name="connsiteX3" fmla="*/ 0 w 9928016"/>
              <a:gd name="connsiteY3" fmla="*/ 6857999 h 6857999"/>
              <a:gd name="connsiteX4" fmla="*/ 1111071 w 9928016"/>
              <a:gd name="connsiteY4" fmla="*/ 2436517 h 6857999"/>
              <a:gd name="connsiteX5" fmla="*/ 2231554 w 9928016"/>
              <a:gd name="connsiteY5" fmla="*/ 89464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28016" h="6857999">
                <a:moveTo>
                  <a:pt x="2302546" y="0"/>
                </a:moveTo>
                <a:lnTo>
                  <a:pt x="9928016" y="0"/>
                </a:lnTo>
                <a:lnTo>
                  <a:pt x="9928016" y="6857999"/>
                </a:lnTo>
                <a:lnTo>
                  <a:pt x="0" y="6857999"/>
                </a:lnTo>
                <a:lnTo>
                  <a:pt x="1111071" y="2436517"/>
                </a:lnTo>
                <a:cubicBezTo>
                  <a:pt x="1331459" y="1559487"/>
                  <a:pt x="1719159" y="768637"/>
                  <a:pt x="2231554" y="89464"/>
                </a:cubicBezTo>
                <a:close/>
              </a:path>
            </a:pathLst>
          </a:cu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vert="horz" wrap="square" lIns="144000" tIns="144000" rIns="144000" bIns="144000" rtlCol="0" anchor="t" anchorCtr="0">
            <a:noAutofit/>
          </a:bodyPr>
          <a:lstStyle/>
          <a:p>
            <a:pPr algn="ctr" defTabSz="1624477"/>
            <a:r>
              <a:rPr lang="en-BE" sz="1600" b="1">
                <a:solidFill>
                  <a:schemeClr val="tx1"/>
                </a:solidFill>
                <a:latin typeface="Proximus" panose="00000500000000000000" pitchFamily="2" charset="0"/>
                <a:cs typeface="Proximus"/>
              </a:rPr>
              <a:t>  </a:t>
            </a:r>
            <a:endParaRPr lang="en-GB" sz="1600" b="1" err="1">
              <a:solidFill>
                <a:schemeClr val="tx1"/>
              </a:solidFill>
              <a:latin typeface="Proximus" panose="00000500000000000000" pitchFamily="2" charset="0"/>
              <a:cs typeface="Proximus"/>
            </a:endParaRPr>
          </a:p>
        </p:txBody>
      </p:sp>
      <p:sp>
        <p:nvSpPr>
          <p:cNvPr id="6" name="Table Placeholder 5">
            <a:extLst>
              <a:ext uri="{FF2B5EF4-FFF2-40B4-BE49-F238E27FC236}">
                <a16:creationId xmlns:a16="http://schemas.microsoft.com/office/drawing/2014/main" id="{50937FAA-8D57-3878-00AC-49FA9EB8DC1C}"/>
              </a:ext>
            </a:extLst>
          </p:cNvPr>
          <p:cNvSpPr>
            <a:spLocks noGrp="1"/>
          </p:cNvSpPr>
          <p:nvPr>
            <p:ph type="tbl" sz="quarter" idx="10"/>
          </p:nvPr>
        </p:nvSpPr>
        <p:spPr>
          <a:xfrm>
            <a:off x="4551680" y="1383891"/>
            <a:ext cx="7015904" cy="4688828"/>
          </a:xfrm>
        </p:spPr>
        <p:txBody>
          <a:bodyPr/>
          <a:lstStyle/>
          <a:p>
            <a:r>
              <a:rPr lang="en-US"/>
              <a:t>Click icon to add table</a:t>
            </a:r>
          </a:p>
        </p:txBody>
      </p:sp>
    </p:spTree>
    <p:extLst>
      <p:ext uri="{BB962C8B-B14F-4D97-AF65-F5344CB8AC3E}">
        <p14:creationId xmlns:p14="http://schemas.microsoft.com/office/powerpoint/2010/main" val="386291357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ocks -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p:txBody>
          <a:bodyPr/>
          <a:lstStyle/>
          <a:p>
            <a:r>
              <a:rPr lang="en-US"/>
              <a:t>Click to edit Master title style</a:t>
            </a:r>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613833" y="1676401"/>
            <a:ext cx="4900789" cy="4584699"/>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216000" tIns="216000" rIns="216000" bIns="216000"/>
          <a:lstStyle>
            <a:lvl1pPr marL="0" indent="0">
              <a:spcAft>
                <a:spcPts val="800"/>
              </a:spcAft>
              <a:buNone/>
              <a:defRPr sz="2400">
                <a:solidFill>
                  <a:schemeClr val="bg1"/>
                </a:solidFill>
                <a:latin typeface="Proximus Light" panose="020B0604020202020204" charset="0"/>
              </a:defRPr>
            </a:lvl1pPr>
            <a:lvl2pPr marL="235189" indent="-234911">
              <a:defRPr sz="1867"/>
            </a:lvl2pPr>
            <a:lvl3pPr marL="479976">
              <a:defRPr>
                <a:latin typeface="+mn-lt"/>
              </a:defRPr>
            </a:lvl3pPr>
            <a:lvl4pPr marL="715165" indent="-235189">
              <a:spcBef>
                <a:spcPts val="800"/>
              </a:spcBef>
              <a:buFont typeface="Arial" panose="020B0604020202020204" pitchFamily="34" charset="0"/>
              <a:buChar char="•"/>
              <a:defRPr sz="1600">
                <a:latin typeface="Proximus Light" panose="00000400000000000000" pitchFamily="50" charset="0"/>
              </a:defRPr>
            </a:lvl4pPr>
            <a:lvl5pPr>
              <a:spcBef>
                <a:spcPts val="800"/>
              </a:spcBef>
              <a:defRPr sz="18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A4859FEF-708C-918C-2188-2D7CFCDD42BE}"/>
              </a:ext>
            </a:extLst>
          </p:cNvPr>
          <p:cNvSpPr>
            <a:spLocks noGrp="1"/>
          </p:cNvSpPr>
          <p:nvPr>
            <p:ph type="body" sz="quarter" idx="14"/>
          </p:nvPr>
        </p:nvSpPr>
        <p:spPr>
          <a:xfrm>
            <a:off x="6667628" y="1676401"/>
            <a:ext cx="4900789" cy="4584699"/>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216000" tIns="216000" rIns="216000" bIns="216000"/>
          <a:lstStyle>
            <a:lvl1pPr marL="0" indent="0">
              <a:spcAft>
                <a:spcPts val="800"/>
              </a:spcAft>
              <a:buNone/>
              <a:defRPr sz="2400">
                <a:solidFill>
                  <a:schemeClr val="bg1"/>
                </a:solidFill>
                <a:latin typeface="Proximus Light" panose="020B0604020202020204" charset="0"/>
              </a:defRPr>
            </a:lvl1pPr>
            <a:lvl2pPr marL="235189" indent="-234911">
              <a:defRPr sz="1867"/>
            </a:lvl2pPr>
            <a:lvl3pPr marL="479976">
              <a:defRPr>
                <a:latin typeface="+mn-lt"/>
              </a:defRPr>
            </a:lvl3pPr>
            <a:lvl4pPr marL="715165" indent="-235189">
              <a:spcBef>
                <a:spcPts val="800"/>
              </a:spcBef>
              <a:buFont typeface="Arial" panose="020B0604020202020204" pitchFamily="34" charset="0"/>
              <a:buChar char="•"/>
              <a:defRPr sz="1600">
                <a:latin typeface="Proximus Light" panose="00000400000000000000" pitchFamily="50" charset="0"/>
              </a:defRPr>
            </a:lvl4pPr>
            <a:lvl5pPr>
              <a:spcBef>
                <a:spcPts val="800"/>
              </a:spcBef>
              <a:defRPr sz="18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849310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ocks -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p:txBody>
          <a:bodyPr/>
          <a:lstStyle/>
          <a:p>
            <a:r>
              <a:rPr lang="en-US"/>
              <a:t>Click to edit Master title style</a:t>
            </a:r>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613833" y="1676401"/>
            <a:ext cx="3360000" cy="4584699"/>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216000" tIns="216000" rIns="216000" bIns="216000"/>
          <a:lstStyle>
            <a:lvl1pPr marL="0" indent="0">
              <a:spcAft>
                <a:spcPts val="800"/>
              </a:spcAft>
              <a:buNone/>
              <a:defRPr sz="2400">
                <a:solidFill>
                  <a:schemeClr val="bg1"/>
                </a:solidFill>
                <a:latin typeface="Proximus Light" panose="020B0604020202020204" charset="0"/>
              </a:defRPr>
            </a:lvl1pPr>
            <a:lvl2pPr marL="235189" indent="-234911">
              <a:defRPr sz="1867"/>
            </a:lvl2pPr>
            <a:lvl3pPr marL="479976">
              <a:defRPr>
                <a:latin typeface="+mn-lt"/>
              </a:defRPr>
            </a:lvl3pPr>
            <a:lvl4pPr marL="715165" indent="-235189">
              <a:spcBef>
                <a:spcPts val="800"/>
              </a:spcBef>
              <a:buFont typeface="Arial" panose="020B0604020202020204" pitchFamily="34" charset="0"/>
              <a:buChar char="•"/>
              <a:defRPr sz="1600">
                <a:latin typeface="Proximus Light" panose="00000400000000000000" pitchFamily="50" charset="0"/>
              </a:defRPr>
            </a:lvl4pPr>
            <a:lvl5pPr>
              <a:spcBef>
                <a:spcPts val="800"/>
              </a:spcBef>
              <a:defRPr sz="18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26366419-4CB1-22C2-BFEF-A47ACEC91643}"/>
              </a:ext>
            </a:extLst>
          </p:cNvPr>
          <p:cNvSpPr>
            <a:spLocks noGrp="1"/>
          </p:cNvSpPr>
          <p:nvPr>
            <p:ph type="body" sz="quarter" idx="14"/>
          </p:nvPr>
        </p:nvSpPr>
        <p:spPr>
          <a:xfrm>
            <a:off x="4411125" y="1676401"/>
            <a:ext cx="3360000" cy="4584699"/>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216000" tIns="216000" rIns="216000" bIns="216000"/>
          <a:lstStyle>
            <a:lvl1pPr marL="0" indent="0">
              <a:spcAft>
                <a:spcPts val="800"/>
              </a:spcAft>
              <a:buNone/>
              <a:defRPr sz="2400">
                <a:solidFill>
                  <a:schemeClr val="bg1"/>
                </a:solidFill>
                <a:latin typeface="Proximus Light" panose="020B0604020202020204" charset="0"/>
              </a:defRPr>
            </a:lvl1pPr>
            <a:lvl2pPr marL="235189" indent="-234911">
              <a:defRPr sz="1867"/>
            </a:lvl2pPr>
            <a:lvl3pPr marL="479976">
              <a:defRPr>
                <a:latin typeface="+mn-lt"/>
              </a:defRPr>
            </a:lvl3pPr>
            <a:lvl4pPr marL="715165" indent="-235189">
              <a:spcBef>
                <a:spcPts val="800"/>
              </a:spcBef>
              <a:buFont typeface="Arial" panose="020B0604020202020204" pitchFamily="34" charset="0"/>
              <a:buChar char="•"/>
              <a:defRPr sz="1600">
                <a:latin typeface="Proximus Light" panose="00000400000000000000" pitchFamily="50" charset="0"/>
              </a:defRPr>
            </a:lvl4pPr>
            <a:lvl5pPr>
              <a:spcBef>
                <a:spcPts val="800"/>
              </a:spcBef>
              <a:defRPr sz="18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2498A6E2-70E0-E343-408B-2BDF74C11E13}"/>
              </a:ext>
            </a:extLst>
          </p:cNvPr>
          <p:cNvSpPr>
            <a:spLocks noGrp="1"/>
          </p:cNvSpPr>
          <p:nvPr>
            <p:ph type="body" sz="quarter" idx="15"/>
          </p:nvPr>
        </p:nvSpPr>
        <p:spPr>
          <a:xfrm>
            <a:off x="8208417" y="1676401"/>
            <a:ext cx="3360000" cy="4584699"/>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216000" tIns="216000" rIns="216000" bIns="216000"/>
          <a:lstStyle>
            <a:lvl1pPr marL="0" indent="0">
              <a:spcAft>
                <a:spcPts val="800"/>
              </a:spcAft>
              <a:buNone/>
              <a:defRPr sz="2400">
                <a:solidFill>
                  <a:schemeClr val="bg1"/>
                </a:solidFill>
                <a:latin typeface="Proximus Light" panose="020B0604020202020204" charset="0"/>
              </a:defRPr>
            </a:lvl1pPr>
            <a:lvl2pPr marL="235189" indent="-234911">
              <a:defRPr sz="1867"/>
            </a:lvl2pPr>
            <a:lvl3pPr marL="479976">
              <a:defRPr>
                <a:latin typeface="+mn-lt"/>
              </a:defRPr>
            </a:lvl3pPr>
            <a:lvl4pPr marL="715165" indent="-235189">
              <a:spcBef>
                <a:spcPts val="800"/>
              </a:spcBef>
              <a:buFont typeface="Arial" panose="020B0604020202020204" pitchFamily="34" charset="0"/>
              <a:buChar char="•"/>
              <a:defRPr sz="1600">
                <a:latin typeface="Proximus Light" panose="00000400000000000000" pitchFamily="50" charset="0"/>
              </a:defRPr>
            </a:lvl4pPr>
            <a:lvl5pPr>
              <a:spcBef>
                <a:spcPts val="800"/>
              </a:spcBef>
              <a:defRPr sz="18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433902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ocks -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p:txBody>
          <a:bodyPr/>
          <a:lstStyle/>
          <a:p>
            <a:r>
              <a:rPr lang="en-US"/>
              <a:t>Click to edit Master title style</a:t>
            </a:r>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613833" y="1676401"/>
            <a:ext cx="2448000" cy="4584699"/>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144000" tIns="144000" rIns="144000" bIns="144000"/>
          <a:lstStyle>
            <a:lvl1pPr marL="0" indent="0">
              <a:spcAft>
                <a:spcPts val="800"/>
              </a:spcAft>
              <a:buNone/>
              <a:defRPr sz="2133">
                <a:solidFill>
                  <a:schemeClr val="bg1"/>
                </a:solidFill>
                <a:latin typeface="Proximus Light" panose="020B0604020202020204" charset="0"/>
              </a:defRPr>
            </a:lvl1pPr>
            <a:lvl2pPr marL="235189" indent="-234911">
              <a:defRPr sz="1600"/>
            </a:lvl2pPr>
            <a:lvl3pPr marL="479976">
              <a:defRPr sz="1467">
                <a:latin typeface="+mn-lt"/>
              </a:defRPr>
            </a:lvl3pPr>
            <a:lvl4pPr marL="715165" indent="-235189">
              <a:spcBef>
                <a:spcPts val="800"/>
              </a:spcBef>
              <a:buFont typeface="Arial" panose="020B0604020202020204" pitchFamily="34" charset="0"/>
              <a:buChar char="•"/>
              <a:defRPr sz="1467">
                <a:latin typeface="Proximus Light" panose="00000400000000000000" pitchFamily="50" charset="0"/>
              </a:defRPr>
            </a:lvl4pPr>
            <a:lvl5pPr>
              <a:spcBef>
                <a:spcPts val="800"/>
              </a:spcBef>
              <a:defRPr sz="1600">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93504BEB-25CC-71C6-94D9-4580B88D8874}"/>
              </a:ext>
            </a:extLst>
          </p:cNvPr>
          <p:cNvSpPr>
            <a:spLocks noGrp="1"/>
          </p:cNvSpPr>
          <p:nvPr>
            <p:ph type="body" sz="quarter" idx="14"/>
          </p:nvPr>
        </p:nvSpPr>
        <p:spPr>
          <a:xfrm>
            <a:off x="3449361" y="1676401"/>
            <a:ext cx="2448000" cy="4584699"/>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144000" tIns="144000" rIns="144000" bIns="144000"/>
          <a:lstStyle>
            <a:lvl1pPr marL="0" indent="0">
              <a:spcAft>
                <a:spcPts val="800"/>
              </a:spcAft>
              <a:buNone/>
              <a:defRPr sz="2133">
                <a:solidFill>
                  <a:schemeClr val="bg1"/>
                </a:solidFill>
                <a:latin typeface="Proximus Light" panose="020B0604020202020204" charset="0"/>
              </a:defRPr>
            </a:lvl1pPr>
            <a:lvl2pPr marL="235189" indent="-234911">
              <a:defRPr sz="1600"/>
            </a:lvl2pPr>
            <a:lvl3pPr marL="479976">
              <a:defRPr sz="1467">
                <a:latin typeface="+mn-lt"/>
              </a:defRPr>
            </a:lvl3pPr>
            <a:lvl4pPr marL="715165" indent="-235189">
              <a:spcBef>
                <a:spcPts val="800"/>
              </a:spcBef>
              <a:buFont typeface="Arial" panose="020B0604020202020204" pitchFamily="34" charset="0"/>
              <a:buChar char="•"/>
              <a:defRPr sz="1467">
                <a:latin typeface="Proximus Light" panose="00000400000000000000" pitchFamily="50" charset="0"/>
              </a:defRPr>
            </a:lvl4pPr>
            <a:lvl5pPr>
              <a:spcBef>
                <a:spcPts val="800"/>
              </a:spcBef>
              <a:defRPr sz="1600">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a:extLst>
              <a:ext uri="{FF2B5EF4-FFF2-40B4-BE49-F238E27FC236}">
                <a16:creationId xmlns:a16="http://schemas.microsoft.com/office/drawing/2014/main" id="{4F206338-EBF6-8CB9-F01A-867DA14F0351}"/>
              </a:ext>
            </a:extLst>
          </p:cNvPr>
          <p:cNvSpPr>
            <a:spLocks noGrp="1"/>
          </p:cNvSpPr>
          <p:nvPr>
            <p:ph type="body" sz="quarter" idx="15"/>
          </p:nvPr>
        </p:nvSpPr>
        <p:spPr>
          <a:xfrm>
            <a:off x="6284889" y="1676401"/>
            <a:ext cx="2448000" cy="4584699"/>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144000" tIns="144000" rIns="144000" bIns="144000"/>
          <a:lstStyle>
            <a:lvl1pPr marL="0" indent="0">
              <a:spcAft>
                <a:spcPts val="800"/>
              </a:spcAft>
              <a:buNone/>
              <a:defRPr sz="2133">
                <a:solidFill>
                  <a:schemeClr val="bg1"/>
                </a:solidFill>
                <a:latin typeface="Proximus Light" panose="020B0604020202020204" charset="0"/>
              </a:defRPr>
            </a:lvl1pPr>
            <a:lvl2pPr marL="235189" indent="-234911">
              <a:defRPr sz="1600"/>
            </a:lvl2pPr>
            <a:lvl3pPr marL="479976">
              <a:defRPr sz="1467">
                <a:latin typeface="+mn-lt"/>
              </a:defRPr>
            </a:lvl3pPr>
            <a:lvl4pPr marL="715165" indent="-235189">
              <a:spcBef>
                <a:spcPts val="800"/>
              </a:spcBef>
              <a:buFont typeface="Arial" panose="020B0604020202020204" pitchFamily="34" charset="0"/>
              <a:buChar char="•"/>
              <a:defRPr sz="1467">
                <a:latin typeface="Proximus Light" panose="00000400000000000000" pitchFamily="50" charset="0"/>
              </a:defRPr>
            </a:lvl4pPr>
            <a:lvl5pPr>
              <a:spcBef>
                <a:spcPts val="800"/>
              </a:spcBef>
              <a:defRPr sz="1600">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361180D9-7334-AE50-3E49-BCC9D03B5E35}"/>
              </a:ext>
            </a:extLst>
          </p:cNvPr>
          <p:cNvSpPr>
            <a:spLocks noGrp="1"/>
          </p:cNvSpPr>
          <p:nvPr>
            <p:ph type="body" sz="quarter" idx="16"/>
          </p:nvPr>
        </p:nvSpPr>
        <p:spPr>
          <a:xfrm>
            <a:off x="9120417" y="1676401"/>
            <a:ext cx="2448000" cy="4584699"/>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144000" tIns="144000" rIns="144000" bIns="144000"/>
          <a:lstStyle>
            <a:lvl1pPr marL="0" indent="0">
              <a:spcAft>
                <a:spcPts val="800"/>
              </a:spcAft>
              <a:buNone/>
              <a:defRPr sz="2133">
                <a:solidFill>
                  <a:schemeClr val="bg1"/>
                </a:solidFill>
                <a:latin typeface="Proximus Light" panose="020B0604020202020204" charset="0"/>
              </a:defRPr>
            </a:lvl1pPr>
            <a:lvl2pPr marL="235189" indent="-234911">
              <a:defRPr sz="1600"/>
            </a:lvl2pPr>
            <a:lvl3pPr marL="479976">
              <a:defRPr sz="1467">
                <a:latin typeface="+mn-lt"/>
              </a:defRPr>
            </a:lvl3pPr>
            <a:lvl4pPr marL="715165" indent="-235189">
              <a:spcBef>
                <a:spcPts val="800"/>
              </a:spcBef>
              <a:buFont typeface="Arial" panose="020B0604020202020204" pitchFamily="34" charset="0"/>
              <a:buChar char="•"/>
              <a:defRPr sz="1467">
                <a:latin typeface="Proximus Light" panose="00000400000000000000" pitchFamily="50" charset="0"/>
              </a:defRPr>
            </a:lvl4pPr>
            <a:lvl5pPr>
              <a:spcBef>
                <a:spcPts val="800"/>
              </a:spcBef>
              <a:defRPr sz="1600">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52770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XS ADA - title, subtitle,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3837" y="503769"/>
            <a:ext cx="10962217" cy="533399"/>
          </a:xfrm>
        </p:spPr>
        <p:txBody>
          <a:bodyPr anchor="t"/>
          <a:lstStyle>
            <a:lvl1pPr>
              <a:defRPr b="0">
                <a:solidFill>
                  <a:schemeClr val="tx1"/>
                </a:solidFill>
              </a:defRPr>
            </a:lvl1pPr>
          </a:lstStyle>
          <a:p>
            <a:r>
              <a:rPr lang="en-US"/>
              <a:t>Click to edit slide title</a:t>
            </a:r>
            <a:endParaRPr lang="nl-BE"/>
          </a:p>
        </p:txBody>
      </p:sp>
      <p:sp>
        <p:nvSpPr>
          <p:cNvPr id="6" name="Text Placeholder 5">
            <a:extLst>
              <a:ext uri="{FF2B5EF4-FFF2-40B4-BE49-F238E27FC236}">
                <a16:creationId xmlns:a16="http://schemas.microsoft.com/office/drawing/2014/main" id="{3CFA2924-4BFC-CB4A-33EA-AFA2F3E1085E}"/>
              </a:ext>
            </a:extLst>
          </p:cNvPr>
          <p:cNvSpPr>
            <a:spLocks noGrp="1"/>
          </p:cNvSpPr>
          <p:nvPr>
            <p:ph type="body" sz="quarter" idx="12"/>
          </p:nvPr>
        </p:nvSpPr>
        <p:spPr>
          <a:xfrm>
            <a:off x="624417" y="1138501"/>
            <a:ext cx="10962216" cy="393967"/>
          </a:xfrm>
        </p:spPr>
        <p:txBody>
          <a:bodyPr/>
          <a:lstStyle>
            <a:lvl1pPr>
              <a:defRPr sz="2133" b="1">
                <a:solidFill>
                  <a:schemeClr val="tx1"/>
                </a:solidFill>
                <a:latin typeface="+mn-lt"/>
              </a:defRPr>
            </a:lvl1pPr>
          </a:lstStyle>
          <a:p>
            <a:pPr lvl="0"/>
            <a:r>
              <a:rPr lang="en-US"/>
              <a:t>Click to edit Master text styles</a:t>
            </a:r>
          </a:p>
        </p:txBody>
      </p:sp>
      <p:sp>
        <p:nvSpPr>
          <p:cNvPr id="3" name="Text Placeholder 2">
            <a:extLst>
              <a:ext uri="{FF2B5EF4-FFF2-40B4-BE49-F238E27FC236}">
                <a16:creationId xmlns:a16="http://schemas.microsoft.com/office/drawing/2014/main" id="{45B36AB5-2884-9593-24D3-EBB22AD300A4}"/>
              </a:ext>
            </a:extLst>
          </p:cNvPr>
          <p:cNvSpPr>
            <a:spLocks noGrp="1"/>
          </p:cNvSpPr>
          <p:nvPr>
            <p:ph idx="1"/>
          </p:nvPr>
        </p:nvSpPr>
        <p:spPr>
          <a:xfrm>
            <a:off x="613835" y="2036234"/>
            <a:ext cx="10962216" cy="4224865"/>
          </a:xfrm>
          <a:prstGeom prst="rect">
            <a:avLst/>
          </a:prstGeom>
        </p:spPr>
        <p:txBody>
          <a:bodyPr vert="horz" lIns="0" tIns="0" rIns="0" bIns="0" numCol="1" spcCol="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BE"/>
          </a:p>
        </p:txBody>
      </p:sp>
    </p:spTree>
    <p:extLst>
      <p:ext uri="{BB962C8B-B14F-4D97-AF65-F5344CB8AC3E}">
        <p14:creationId xmlns:p14="http://schemas.microsoft.com/office/powerpoint/2010/main" val="3821840390"/>
      </p:ext>
    </p:extLst>
  </p:cSld>
  <p:clrMapOvr>
    <a:masterClrMapping/>
  </p:clrMapOvr>
  <p:extLst>
    <p:ext uri="{DCECCB84-F9BA-43D5-87BE-67443E8EF086}">
      <p15:sldGuideLst xmlns:p15="http://schemas.microsoft.com/office/powerpoint/2012/main">
        <p15:guide id="1" orient="horz" pos="962">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ocks -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p:txBody>
          <a:bodyPr/>
          <a:lstStyle/>
          <a:p>
            <a:r>
              <a:rPr lang="en-US"/>
              <a:t>Click to edit Master title style</a:t>
            </a:r>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613832" y="1676400"/>
            <a:ext cx="3504000" cy="2208000"/>
          </a:xfrm>
          <a:prstGeom prst="roundRect">
            <a:avLst>
              <a:gd name="adj" fmla="val 4957"/>
            </a:avLst>
          </a:prstGeom>
          <a:solidFill>
            <a:schemeClr val="tx1"/>
          </a:solidFill>
          <a:effectLst>
            <a:outerShdw blurRad="317500" dist="114300" dir="5400000" sx="95000" sy="95000" algn="ctr" rotWithShape="0">
              <a:prstClr val="black">
                <a:alpha val="25000"/>
              </a:prstClr>
            </a:outerShdw>
          </a:effectLst>
        </p:spPr>
        <p:txBody>
          <a:bodyPr lIns="144000" tIns="144000" rIns="144000" bIns="144000"/>
          <a:lstStyle>
            <a:lvl1pPr marL="0" indent="0">
              <a:spcBef>
                <a:spcPts val="1067"/>
              </a:spcBef>
              <a:spcAft>
                <a:spcPts val="267"/>
              </a:spcAft>
              <a:buNone/>
              <a:defRPr sz="1867">
                <a:solidFill>
                  <a:schemeClr val="bg1"/>
                </a:solidFill>
                <a:latin typeface="Proximus Light" panose="020B0604020202020204" charset="0"/>
              </a:defRPr>
            </a:lvl1pPr>
            <a:lvl2pPr marL="235189" indent="-234911">
              <a:spcBef>
                <a:spcPts val="267"/>
              </a:spcBef>
              <a:defRPr sz="1467"/>
            </a:lvl2pPr>
            <a:lvl3pPr marL="479976">
              <a:spcBef>
                <a:spcPts val="267"/>
              </a:spcBef>
              <a:defRPr sz="1400">
                <a:latin typeface="+mn-lt"/>
              </a:defRPr>
            </a:lvl3pPr>
            <a:lvl4pPr marL="715165" indent="-235189">
              <a:spcBef>
                <a:spcPts val="267"/>
              </a:spcBef>
              <a:buFont typeface="Arial" panose="020B0604020202020204" pitchFamily="34" charset="0"/>
              <a:buChar char="•"/>
              <a:defRPr sz="1400">
                <a:latin typeface="Proximus Light" panose="00000400000000000000" pitchFamily="50" charset="0"/>
              </a:defRPr>
            </a:lvl4pPr>
            <a:lvl5pPr>
              <a:spcBef>
                <a:spcPts val="267"/>
              </a:spcBef>
              <a:defRPr sz="14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7">
            <a:extLst>
              <a:ext uri="{FF2B5EF4-FFF2-40B4-BE49-F238E27FC236}">
                <a16:creationId xmlns:a16="http://schemas.microsoft.com/office/drawing/2014/main" id="{3A3B5652-B85B-757E-9330-B39C45EFD833}"/>
              </a:ext>
            </a:extLst>
          </p:cNvPr>
          <p:cNvSpPr>
            <a:spLocks noGrp="1"/>
          </p:cNvSpPr>
          <p:nvPr>
            <p:ph type="body" sz="quarter" idx="14"/>
          </p:nvPr>
        </p:nvSpPr>
        <p:spPr>
          <a:xfrm>
            <a:off x="4339125" y="1676400"/>
            <a:ext cx="3504000" cy="2208000"/>
          </a:xfrm>
          <a:prstGeom prst="roundRect">
            <a:avLst>
              <a:gd name="adj" fmla="val 4957"/>
            </a:avLst>
          </a:prstGeom>
          <a:solidFill>
            <a:schemeClr val="tx1"/>
          </a:solidFill>
          <a:effectLst>
            <a:outerShdw blurRad="317500" dist="114300" dir="5400000" sx="95000" sy="95000" algn="ctr" rotWithShape="0">
              <a:prstClr val="black">
                <a:alpha val="25000"/>
              </a:prstClr>
            </a:outerShdw>
          </a:effectLst>
        </p:spPr>
        <p:txBody>
          <a:bodyPr lIns="144000" tIns="144000" rIns="144000" bIns="144000"/>
          <a:lstStyle>
            <a:lvl1pPr marL="0" indent="0">
              <a:spcBef>
                <a:spcPts val="1067"/>
              </a:spcBef>
              <a:spcAft>
                <a:spcPts val="267"/>
              </a:spcAft>
              <a:buNone/>
              <a:defRPr sz="1867">
                <a:solidFill>
                  <a:schemeClr val="bg1"/>
                </a:solidFill>
                <a:latin typeface="Proximus Light" panose="020B0604020202020204" charset="0"/>
              </a:defRPr>
            </a:lvl1pPr>
            <a:lvl2pPr marL="235189" indent="-234911">
              <a:spcBef>
                <a:spcPts val="267"/>
              </a:spcBef>
              <a:defRPr sz="1467"/>
            </a:lvl2pPr>
            <a:lvl3pPr marL="479976">
              <a:spcBef>
                <a:spcPts val="267"/>
              </a:spcBef>
              <a:defRPr sz="1400">
                <a:latin typeface="+mn-lt"/>
              </a:defRPr>
            </a:lvl3pPr>
            <a:lvl4pPr marL="715165" indent="-235189">
              <a:spcBef>
                <a:spcPts val="267"/>
              </a:spcBef>
              <a:buFont typeface="Arial" panose="020B0604020202020204" pitchFamily="34" charset="0"/>
              <a:buChar char="•"/>
              <a:defRPr sz="1400">
                <a:latin typeface="Proximus Light" panose="00000400000000000000" pitchFamily="50" charset="0"/>
              </a:defRPr>
            </a:lvl4pPr>
            <a:lvl5pPr>
              <a:spcBef>
                <a:spcPts val="267"/>
              </a:spcBef>
              <a:defRPr sz="14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7">
            <a:extLst>
              <a:ext uri="{FF2B5EF4-FFF2-40B4-BE49-F238E27FC236}">
                <a16:creationId xmlns:a16="http://schemas.microsoft.com/office/drawing/2014/main" id="{53F67889-29D2-56A1-49EE-EC1B0F73688E}"/>
              </a:ext>
            </a:extLst>
          </p:cNvPr>
          <p:cNvSpPr>
            <a:spLocks noGrp="1"/>
          </p:cNvSpPr>
          <p:nvPr>
            <p:ph type="body" sz="quarter" idx="15"/>
          </p:nvPr>
        </p:nvSpPr>
        <p:spPr>
          <a:xfrm>
            <a:off x="8064417" y="1676400"/>
            <a:ext cx="3504000" cy="2208000"/>
          </a:xfrm>
          <a:prstGeom prst="roundRect">
            <a:avLst>
              <a:gd name="adj" fmla="val 4957"/>
            </a:avLst>
          </a:prstGeom>
          <a:solidFill>
            <a:schemeClr val="tx1"/>
          </a:solidFill>
          <a:effectLst>
            <a:outerShdw blurRad="317500" dist="114300" dir="5400000" sx="95000" sy="95000" algn="ctr" rotWithShape="0">
              <a:prstClr val="black">
                <a:alpha val="25000"/>
              </a:prstClr>
            </a:outerShdw>
          </a:effectLst>
        </p:spPr>
        <p:txBody>
          <a:bodyPr lIns="144000" tIns="144000" rIns="144000" bIns="144000"/>
          <a:lstStyle>
            <a:lvl1pPr marL="0" indent="0">
              <a:spcBef>
                <a:spcPts val="1067"/>
              </a:spcBef>
              <a:spcAft>
                <a:spcPts val="267"/>
              </a:spcAft>
              <a:buNone/>
              <a:defRPr sz="1867">
                <a:solidFill>
                  <a:schemeClr val="bg1"/>
                </a:solidFill>
                <a:latin typeface="Proximus Light" panose="020B0604020202020204" charset="0"/>
              </a:defRPr>
            </a:lvl1pPr>
            <a:lvl2pPr marL="235189" indent="-234911">
              <a:spcBef>
                <a:spcPts val="267"/>
              </a:spcBef>
              <a:defRPr sz="1467"/>
            </a:lvl2pPr>
            <a:lvl3pPr marL="479976">
              <a:spcBef>
                <a:spcPts val="267"/>
              </a:spcBef>
              <a:defRPr sz="1400">
                <a:latin typeface="+mn-lt"/>
              </a:defRPr>
            </a:lvl3pPr>
            <a:lvl4pPr marL="715165" indent="-235189">
              <a:spcBef>
                <a:spcPts val="267"/>
              </a:spcBef>
              <a:buFont typeface="Arial" panose="020B0604020202020204" pitchFamily="34" charset="0"/>
              <a:buChar char="•"/>
              <a:defRPr sz="1400">
                <a:latin typeface="Proximus Light" panose="00000400000000000000" pitchFamily="50" charset="0"/>
              </a:defRPr>
            </a:lvl4pPr>
            <a:lvl5pPr>
              <a:spcBef>
                <a:spcPts val="267"/>
              </a:spcBef>
              <a:defRPr sz="14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7">
            <a:extLst>
              <a:ext uri="{FF2B5EF4-FFF2-40B4-BE49-F238E27FC236}">
                <a16:creationId xmlns:a16="http://schemas.microsoft.com/office/drawing/2014/main" id="{CAE41158-A608-39EA-5CF4-2BE0BBB08300}"/>
              </a:ext>
            </a:extLst>
          </p:cNvPr>
          <p:cNvSpPr>
            <a:spLocks noGrp="1"/>
          </p:cNvSpPr>
          <p:nvPr>
            <p:ph type="body" sz="quarter" idx="16"/>
          </p:nvPr>
        </p:nvSpPr>
        <p:spPr>
          <a:xfrm>
            <a:off x="613832" y="4053100"/>
            <a:ext cx="3504000" cy="2208000"/>
          </a:xfrm>
          <a:prstGeom prst="roundRect">
            <a:avLst>
              <a:gd name="adj" fmla="val 4957"/>
            </a:avLst>
          </a:prstGeom>
          <a:solidFill>
            <a:schemeClr val="tx1"/>
          </a:solidFill>
          <a:effectLst>
            <a:outerShdw blurRad="317500" dist="114300" dir="5400000" sx="95000" sy="95000" algn="ctr" rotWithShape="0">
              <a:prstClr val="black">
                <a:alpha val="25000"/>
              </a:prstClr>
            </a:outerShdw>
          </a:effectLst>
        </p:spPr>
        <p:txBody>
          <a:bodyPr lIns="144000" tIns="144000" rIns="144000" bIns="144000"/>
          <a:lstStyle>
            <a:lvl1pPr marL="0" indent="0">
              <a:spcBef>
                <a:spcPts val="1067"/>
              </a:spcBef>
              <a:spcAft>
                <a:spcPts val="267"/>
              </a:spcAft>
              <a:buNone/>
              <a:defRPr sz="1867">
                <a:solidFill>
                  <a:schemeClr val="bg1"/>
                </a:solidFill>
                <a:latin typeface="Proximus Light" panose="020B0604020202020204" charset="0"/>
              </a:defRPr>
            </a:lvl1pPr>
            <a:lvl2pPr marL="235189" indent="-234911">
              <a:spcBef>
                <a:spcPts val="267"/>
              </a:spcBef>
              <a:defRPr sz="1467"/>
            </a:lvl2pPr>
            <a:lvl3pPr marL="479976">
              <a:spcBef>
                <a:spcPts val="267"/>
              </a:spcBef>
              <a:defRPr sz="1400">
                <a:latin typeface="+mn-lt"/>
              </a:defRPr>
            </a:lvl3pPr>
            <a:lvl4pPr marL="715165" indent="-235189">
              <a:spcBef>
                <a:spcPts val="267"/>
              </a:spcBef>
              <a:buFont typeface="Arial" panose="020B0604020202020204" pitchFamily="34" charset="0"/>
              <a:buChar char="•"/>
              <a:defRPr sz="1400">
                <a:latin typeface="Proximus Light" panose="00000400000000000000" pitchFamily="50" charset="0"/>
              </a:defRPr>
            </a:lvl4pPr>
            <a:lvl5pPr>
              <a:spcBef>
                <a:spcPts val="267"/>
              </a:spcBef>
              <a:defRPr sz="14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7">
            <a:extLst>
              <a:ext uri="{FF2B5EF4-FFF2-40B4-BE49-F238E27FC236}">
                <a16:creationId xmlns:a16="http://schemas.microsoft.com/office/drawing/2014/main" id="{627C1256-05EF-332A-1823-7C684DE76AAE}"/>
              </a:ext>
            </a:extLst>
          </p:cNvPr>
          <p:cNvSpPr>
            <a:spLocks noGrp="1"/>
          </p:cNvSpPr>
          <p:nvPr>
            <p:ph type="body" sz="quarter" idx="17"/>
          </p:nvPr>
        </p:nvSpPr>
        <p:spPr>
          <a:xfrm>
            <a:off x="4339125" y="4053100"/>
            <a:ext cx="3504000" cy="2208000"/>
          </a:xfrm>
          <a:prstGeom prst="roundRect">
            <a:avLst>
              <a:gd name="adj" fmla="val 4957"/>
            </a:avLst>
          </a:prstGeom>
          <a:solidFill>
            <a:schemeClr val="tx1"/>
          </a:solidFill>
          <a:effectLst>
            <a:outerShdw blurRad="317500" dist="114300" dir="5400000" sx="95000" sy="95000" algn="ctr" rotWithShape="0">
              <a:prstClr val="black">
                <a:alpha val="25000"/>
              </a:prstClr>
            </a:outerShdw>
          </a:effectLst>
        </p:spPr>
        <p:txBody>
          <a:bodyPr lIns="144000" tIns="144000" rIns="144000" bIns="144000"/>
          <a:lstStyle>
            <a:lvl1pPr marL="0" indent="0">
              <a:spcBef>
                <a:spcPts val="1067"/>
              </a:spcBef>
              <a:spcAft>
                <a:spcPts val="267"/>
              </a:spcAft>
              <a:buNone/>
              <a:defRPr sz="1867">
                <a:solidFill>
                  <a:schemeClr val="bg1"/>
                </a:solidFill>
                <a:latin typeface="Proximus Light" panose="020B0604020202020204" charset="0"/>
              </a:defRPr>
            </a:lvl1pPr>
            <a:lvl2pPr marL="235189" indent="-234911">
              <a:spcBef>
                <a:spcPts val="267"/>
              </a:spcBef>
              <a:defRPr sz="1467"/>
            </a:lvl2pPr>
            <a:lvl3pPr marL="479976">
              <a:spcBef>
                <a:spcPts val="267"/>
              </a:spcBef>
              <a:defRPr sz="1400">
                <a:latin typeface="+mn-lt"/>
              </a:defRPr>
            </a:lvl3pPr>
            <a:lvl4pPr marL="715165" indent="-235189">
              <a:spcBef>
                <a:spcPts val="267"/>
              </a:spcBef>
              <a:buFont typeface="Arial" panose="020B0604020202020204" pitchFamily="34" charset="0"/>
              <a:buChar char="•"/>
              <a:defRPr sz="1400">
                <a:latin typeface="Proximus Light" panose="00000400000000000000" pitchFamily="50" charset="0"/>
              </a:defRPr>
            </a:lvl4pPr>
            <a:lvl5pPr>
              <a:spcBef>
                <a:spcPts val="267"/>
              </a:spcBef>
              <a:defRPr sz="14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7">
            <a:extLst>
              <a:ext uri="{FF2B5EF4-FFF2-40B4-BE49-F238E27FC236}">
                <a16:creationId xmlns:a16="http://schemas.microsoft.com/office/drawing/2014/main" id="{E2D9A6BC-8C8F-88D8-5A9A-B16C1057CAF1}"/>
              </a:ext>
            </a:extLst>
          </p:cNvPr>
          <p:cNvSpPr>
            <a:spLocks noGrp="1"/>
          </p:cNvSpPr>
          <p:nvPr>
            <p:ph type="body" sz="quarter" idx="18"/>
          </p:nvPr>
        </p:nvSpPr>
        <p:spPr>
          <a:xfrm>
            <a:off x="8064417" y="4053100"/>
            <a:ext cx="3504000" cy="2208000"/>
          </a:xfrm>
          <a:prstGeom prst="roundRect">
            <a:avLst>
              <a:gd name="adj" fmla="val 4957"/>
            </a:avLst>
          </a:prstGeom>
          <a:solidFill>
            <a:schemeClr val="tx1"/>
          </a:solidFill>
          <a:effectLst>
            <a:outerShdw blurRad="317500" dist="114300" dir="5400000" sx="95000" sy="95000" algn="ctr" rotWithShape="0">
              <a:prstClr val="black">
                <a:alpha val="25000"/>
              </a:prstClr>
            </a:outerShdw>
          </a:effectLst>
        </p:spPr>
        <p:txBody>
          <a:bodyPr lIns="144000" tIns="144000" rIns="144000" bIns="144000"/>
          <a:lstStyle>
            <a:lvl1pPr marL="0" indent="0">
              <a:spcBef>
                <a:spcPts val="1067"/>
              </a:spcBef>
              <a:spcAft>
                <a:spcPts val="267"/>
              </a:spcAft>
              <a:buNone/>
              <a:defRPr sz="1867">
                <a:solidFill>
                  <a:schemeClr val="bg1"/>
                </a:solidFill>
                <a:latin typeface="Proximus Light" panose="020B0604020202020204" charset="0"/>
              </a:defRPr>
            </a:lvl1pPr>
            <a:lvl2pPr marL="235189" indent="-234911">
              <a:spcBef>
                <a:spcPts val="267"/>
              </a:spcBef>
              <a:defRPr sz="1467"/>
            </a:lvl2pPr>
            <a:lvl3pPr marL="479976">
              <a:spcBef>
                <a:spcPts val="267"/>
              </a:spcBef>
              <a:defRPr sz="1400">
                <a:latin typeface="+mn-lt"/>
              </a:defRPr>
            </a:lvl3pPr>
            <a:lvl4pPr marL="715165" indent="-235189">
              <a:spcBef>
                <a:spcPts val="267"/>
              </a:spcBef>
              <a:buFont typeface="Arial" panose="020B0604020202020204" pitchFamily="34" charset="0"/>
              <a:buChar char="•"/>
              <a:defRPr sz="1400">
                <a:latin typeface="Proximus Light" panose="00000400000000000000" pitchFamily="50" charset="0"/>
              </a:defRPr>
            </a:lvl4pPr>
            <a:lvl5pPr>
              <a:spcBef>
                <a:spcPts val="267"/>
              </a:spcBef>
              <a:defRPr sz="14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953460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ocks - 3 - Gradi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p:txBody>
          <a:bodyPr/>
          <a:lstStyle/>
          <a:p>
            <a:r>
              <a:rPr lang="en-US"/>
              <a:t>Click to edit Master title style</a:t>
            </a:r>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613833" y="1676401"/>
            <a:ext cx="3360000" cy="4584699"/>
          </a:xfrm>
          <a:prstGeom prst="roundRect">
            <a:avLst>
              <a:gd name="adj" fmla="val 3679"/>
            </a:avLst>
          </a:prstGeom>
          <a:gradFill>
            <a:gsLst>
              <a:gs pos="69000">
                <a:schemeClr val="bg1"/>
              </a:gs>
              <a:gs pos="0">
                <a:srgbClr val="A82E76"/>
              </a:gs>
            </a:gsLst>
            <a:lin ang="16200000" scaled="1"/>
          </a:gradFill>
          <a:effectLst>
            <a:outerShdw blurRad="317500" dist="114300" dir="5400000" sx="95000" sy="95000" algn="ctr" rotWithShape="0">
              <a:prstClr val="black">
                <a:alpha val="25000"/>
              </a:prstClr>
            </a:outerShdw>
          </a:effectLst>
        </p:spPr>
        <p:txBody>
          <a:bodyPr lIns="216000" tIns="216000" rIns="216000" bIns="216000"/>
          <a:lstStyle>
            <a:lvl1pPr marL="0" indent="0">
              <a:spcAft>
                <a:spcPts val="800"/>
              </a:spcAft>
              <a:buNone/>
              <a:defRPr sz="2400">
                <a:solidFill>
                  <a:schemeClr val="tx1"/>
                </a:solidFill>
                <a:latin typeface="Proximus Light" panose="020B0604020202020204" charset="0"/>
              </a:defRPr>
            </a:lvl1pPr>
            <a:lvl2pPr marL="235189" indent="-234911">
              <a:buClr>
                <a:schemeClr val="tx1"/>
              </a:buClr>
              <a:defRPr sz="1867">
                <a:solidFill>
                  <a:schemeClr val="tx1"/>
                </a:solidFill>
              </a:defRPr>
            </a:lvl2pPr>
            <a:lvl3pPr marL="479976">
              <a:buClr>
                <a:schemeClr val="tx1"/>
              </a:buClr>
              <a:defRPr>
                <a:solidFill>
                  <a:schemeClr val="tx1"/>
                </a:solidFill>
                <a:latin typeface="+mn-lt"/>
              </a:defRPr>
            </a:lvl3pPr>
            <a:lvl4pPr marL="715165" indent="-235189">
              <a:spcBef>
                <a:spcPts val="800"/>
              </a:spcBef>
              <a:buClr>
                <a:schemeClr val="tx1"/>
              </a:buClr>
              <a:buFont typeface="Arial" panose="020B0604020202020204" pitchFamily="34" charset="0"/>
              <a:buChar char="•"/>
              <a:defRPr sz="1600">
                <a:solidFill>
                  <a:schemeClr val="tx1"/>
                </a:solidFill>
                <a:latin typeface="Proximus Light" panose="00000400000000000000" pitchFamily="50" charset="0"/>
              </a:defRPr>
            </a:lvl4pPr>
            <a:lvl5pPr>
              <a:spcBef>
                <a:spcPts val="800"/>
              </a:spcBef>
              <a:defRPr sz="1867">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26366419-4CB1-22C2-BFEF-A47ACEC91643}"/>
              </a:ext>
            </a:extLst>
          </p:cNvPr>
          <p:cNvSpPr>
            <a:spLocks noGrp="1"/>
          </p:cNvSpPr>
          <p:nvPr>
            <p:ph type="body" sz="quarter" idx="14"/>
          </p:nvPr>
        </p:nvSpPr>
        <p:spPr>
          <a:xfrm>
            <a:off x="4411125" y="1676401"/>
            <a:ext cx="3360000" cy="4584699"/>
          </a:xfrm>
          <a:prstGeom prst="roundRect">
            <a:avLst>
              <a:gd name="adj" fmla="val 3679"/>
            </a:avLst>
          </a:prstGeom>
          <a:gradFill>
            <a:gsLst>
              <a:gs pos="69000">
                <a:schemeClr val="bg1"/>
              </a:gs>
              <a:gs pos="0">
                <a:srgbClr val="A82E76"/>
              </a:gs>
            </a:gsLst>
            <a:lin ang="16200000" scaled="1"/>
          </a:gradFill>
          <a:effectLst>
            <a:outerShdw blurRad="317500" dist="114300" dir="5400000" sx="95000" sy="95000" algn="ctr" rotWithShape="0">
              <a:prstClr val="black">
                <a:alpha val="25000"/>
              </a:prstClr>
            </a:outerShdw>
          </a:effectLst>
        </p:spPr>
        <p:txBody>
          <a:bodyPr lIns="216000" tIns="216000" rIns="216000" bIns="216000"/>
          <a:lstStyle>
            <a:lvl1pPr marL="0" indent="0">
              <a:spcAft>
                <a:spcPts val="800"/>
              </a:spcAft>
              <a:buNone/>
              <a:defRPr sz="2400">
                <a:solidFill>
                  <a:schemeClr val="tx1"/>
                </a:solidFill>
                <a:latin typeface="Proximus Light" panose="020B0604020202020204" charset="0"/>
              </a:defRPr>
            </a:lvl1pPr>
            <a:lvl2pPr marL="235189" indent="-234911">
              <a:buClr>
                <a:schemeClr val="tx1"/>
              </a:buClr>
              <a:defRPr sz="1867">
                <a:solidFill>
                  <a:schemeClr val="tx1"/>
                </a:solidFill>
              </a:defRPr>
            </a:lvl2pPr>
            <a:lvl3pPr marL="479976">
              <a:buClr>
                <a:schemeClr val="tx1"/>
              </a:buClr>
              <a:defRPr>
                <a:solidFill>
                  <a:schemeClr val="tx1"/>
                </a:solidFill>
                <a:latin typeface="+mn-lt"/>
              </a:defRPr>
            </a:lvl3pPr>
            <a:lvl4pPr marL="715165" indent="-235189">
              <a:spcBef>
                <a:spcPts val="800"/>
              </a:spcBef>
              <a:buClr>
                <a:schemeClr val="tx1"/>
              </a:buClr>
              <a:buFont typeface="Arial" panose="020B0604020202020204" pitchFamily="34" charset="0"/>
              <a:buChar char="•"/>
              <a:defRPr sz="1600">
                <a:solidFill>
                  <a:schemeClr val="tx1"/>
                </a:solidFill>
                <a:latin typeface="Proximus Light" panose="00000400000000000000" pitchFamily="50" charset="0"/>
              </a:defRPr>
            </a:lvl4pPr>
            <a:lvl5pPr>
              <a:spcBef>
                <a:spcPts val="800"/>
              </a:spcBef>
              <a:defRPr sz="1867">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2498A6E2-70E0-E343-408B-2BDF74C11E13}"/>
              </a:ext>
            </a:extLst>
          </p:cNvPr>
          <p:cNvSpPr>
            <a:spLocks noGrp="1"/>
          </p:cNvSpPr>
          <p:nvPr>
            <p:ph type="body" sz="quarter" idx="15"/>
          </p:nvPr>
        </p:nvSpPr>
        <p:spPr>
          <a:xfrm>
            <a:off x="8208417" y="1676401"/>
            <a:ext cx="3360000" cy="4584699"/>
          </a:xfrm>
          <a:prstGeom prst="roundRect">
            <a:avLst>
              <a:gd name="adj" fmla="val 3679"/>
            </a:avLst>
          </a:prstGeom>
          <a:gradFill>
            <a:gsLst>
              <a:gs pos="69000">
                <a:schemeClr val="bg1"/>
              </a:gs>
              <a:gs pos="0">
                <a:srgbClr val="A82E76"/>
              </a:gs>
            </a:gsLst>
            <a:lin ang="16200000" scaled="1"/>
          </a:gradFill>
          <a:effectLst>
            <a:outerShdw blurRad="317500" dist="114300" dir="5400000" sx="95000" sy="95000" algn="ctr" rotWithShape="0">
              <a:prstClr val="black">
                <a:alpha val="25000"/>
              </a:prstClr>
            </a:outerShdw>
          </a:effectLst>
        </p:spPr>
        <p:txBody>
          <a:bodyPr lIns="216000" tIns="216000" rIns="216000" bIns="216000"/>
          <a:lstStyle>
            <a:lvl1pPr marL="0" indent="0">
              <a:spcAft>
                <a:spcPts val="800"/>
              </a:spcAft>
              <a:buNone/>
              <a:defRPr sz="2400">
                <a:solidFill>
                  <a:schemeClr val="tx1"/>
                </a:solidFill>
                <a:latin typeface="Proximus Light" panose="020B0604020202020204" charset="0"/>
              </a:defRPr>
            </a:lvl1pPr>
            <a:lvl2pPr marL="235189" indent="-234911">
              <a:buClr>
                <a:schemeClr val="tx1"/>
              </a:buClr>
              <a:defRPr sz="1867">
                <a:solidFill>
                  <a:schemeClr val="tx1"/>
                </a:solidFill>
              </a:defRPr>
            </a:lvl2pPr>
            <a:lvl3pPr marL="479976">
              <a:buClr>
                <a:schemeClr val="tx1"/>
              </a:buClr>
              <a:defRPr>
                <a:solidFill>
                  <a:schemeClr val="tx1"/>
                </a:solidFill>
                <a:latin typeface="+mn-lt"/>
              </a:defRPr>
            </a:lvl3pPr>
            <a:lvl4pPr marL="715165" indent="-235189">
              <a:spcBef>
                <a:spcPts val="800"/>
              </a:spcBef>
              <a:buClr>
                <a:schemeClr val="tx1"/>
              </a:buClr>
              <a:buFont typeface="Arial" panose="020B0604020202020204" pitchFamily="34" charset="0"/>
              <a:buChar char="•"/>
              <a:defRPr sz="1600">
                <a:solidFill>
                  <a:schemeClr val="tx1"/>
                </a:solidFill>
                <a:latin typeface="Proximus Light" panose="00000400000000000000" pitchFamily="50" charset="0"/>
              </a:defRPr>
            </a:lvl4pPr>
            <a:lvl5pPr>
              <a:spcBef>
                <a:spcPts val="800"/>
              </a:spcBef>
              <a:defRPr sz="1867">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044223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ocks - 3 - Gradient Background">
    <p:bg>
      <p:bgPr>
        <a:gradFill>
          <a:gsLst>
            <a:gs pos="25000">
              <a:schemeClr val="bg1"/>
            </a:gs>
            <a:gs pos="100000">
              <a:srgbClr val="D22E67"/>
            </a:gs>
          </a:gsLst>
          <a:lin ang="3000000" scaled="0"/>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613833" y="1676401"/>
            <a:ext cx="3360000" cy="4584699"/>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216000" tIns="216000" rIns="216000" bIns="216000"/>
          <a:lstStyle>
            <a:lvl1pPr marL="0" indent="0">
              <a:spcAft>
                <a:spcPts val="800"/>
              </a:spcAft>
              <a:buNone/>
              <a:defRPr sz="2400">
                <a:solidFill>
                  <a:schemeClr val="bg1"/>
                </a:solidFill>
                <a:latin typeface="Proximus Light" panose="020B0604020202020204" charset="0"/>
              </a:defRPr>
            </a:lvl1pPr>
            <a:lvl2pPr marL="235189" indent="-234911">
              <a:defRPr sz="1867"/>
            </a:lvl2pPr>
            <a:lvl3pPr marL="479976">
              <a:defRPr>
                <a:latin typeface="+mn-lt"/>
              </a:defRPr>
            </a:lvl3pPr>
            <a:lvl4pPr marL="715165" indent="-235189">
              <a:spcBef>
                <a:spcPts val="800"/>
              </a:spcBef>
              <a:buFont typeface="Arial" panose="020B0604020202020204" pitchFamily="34" charset="0"/>
              <a:buChar char="•"/>
              <a:defRPr sz="1600">
                <a:latin typeface="Proximus Light" panose="00000400000000000000" pitchFamily="50" charset="0"/>
              </a:defRPr>
            </a:lvl4pPr>
            <a:lvl5pPr>
              <a:spcBef>
                <a:spcPts val="800"/>
              </a:spcBef>
              <a:defRPr sz="18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26366419-4CB1-22C2-BFEF-A47ACEC91643}"/>
              </a:ext>
            </a:extLst>
          </p:cNvPr>
          <p:cNvSpPr>
            <a:spLocks noGrp="1"/>
          </p:cNvSpPr>
          <p:nvPr>
            <p:ph type="body" sz="quarter" idx="14"/>
          </p:nvPr>
        </p:nvSpPr>
        <p:spPr>
          <a:xfrm>
            <a:off x="4411125" y="1676401"/>
            <a:ext cx="3360000" cy="4584699"/>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216000" tIns="216000" rIns="216000" bIns="216000"/>
          <a:lstStyle>
            <a:lvl1pPr marL="0" indent="0">
              <a:spcAft>
                <a:spcPts val="800"/>
              </a:spcAft>
              <a:buNone/>
              <a:defRPr sz="2400">
                <a:solidFill>
                  <a:schemeClr val="bg1"/>
                </a:solidFill>
                <a:latin typeface="Proximus Light" panose="020B0604020202020204" charset="0"/>
              </a:defRPr>
            </a:lvl1pPr>
            <a:lvl2pPr marL="235189" indent="-234911">
              <a:defRPr sz="1867"/>
            </a:lvl2pPr>
            <a:lvl3pPr marL="479976">
              <a:defRPr>
                <a:latin typeface="+mn-lt"/>
              </a:defRPr>
            </a:lvl3pPr>
            <a:lvl4pPr marL="715165" indent="-235189">
              <a:spcBef>
                <a:spcPts val="800"/>
              </a:spcBef>
              <a:buFont typeface="Arial" panose="020B0604020202020204" pitchFamily="34" charset="0"/>
              <a:buChar char="•"/>
              <a:defRPr sz="1600">
                <a:latin typeface="Proximus Light" panose="00000400000000000000" pitchFamily="50" charset="0"/>
              </a:defRPr>
            </a:lvl4pPr>
            <a:lvl5pPr>
              <a:spcBef>
                <a:spcPts val="800"/>
              </a:spcBef>
              <a:defRPr sz="18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2498A6E2-70E0-E343-408B-2BDF74C11E13}"/>
              </a:ext>
            </a:extLst>
          </p:cNvPr>
          <p:cNvSpPr>
            <a:spLocks noGrp="1"/>
          </p:cNvSpPr>
          <p:nvPr>
            <p:ph type="body" sz="quarter" idx="15"/>
          </p:nvPr>
        </p:nvSpPr>
        <p:spPr>
          <a:xfrm>
            <a:off x="8208417" y="1676401"/>
            <a:ext cx="3360000" cy="4584699"/>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216000" tIns="216000" rIns="216000" bIns="216000"/>
          <a:lstStyle>
            <a:lvl1pPr marL="0" indent="0">
              <a:spcAft>
                <a:spcPts val="800"/>
              </a:spcAft>
              <a:buNone/>
              <a:defRPr sz="2400">
                <a:solidFill>
                  <a:schemeClr val="bg1"/>
                </a:solidFill>
                <a:latin typeface="Proximus Light" panose="020B0604020202020204" charset="0"/>
              </a:defRPr>
            </a:lvl1pPr>
            <a:lvl2pPr marL="235189" indent="-234911">
              <a:defRPr sz="1867"/>
            </a:lvl2pPr>
            <a:lvl3pPr marL="479976">
              <a:defRPr>
                <a:latin typeface="+mn-lt"/>
              </a:defRPr>
            </a:lvl3pPr>
            <a:lvl4pPr marL="715165" indent="-235189">
              <a:spcBef>
                <a:spcPts val="800"/>
              </a:spcBef>
              <a:buFont typeface="Arial" panose="020B0604020202020204" pitchFamily="34" charset="0"/>
              <a:buChar char="•"/>
              <a:defRPr sz="1600">
                <a:latin typeface="Proximus Light" panose="00000400000000000000" pitchFamily="50" charset="0"/>
              </a:defRPr>
            </a:lvl4pPr>
            <a:lvl5pPr>
              <a:spcBef>
                <a:spcPts val="800"/>
              </a:spcBef>
              <a:defRPr sz="1867">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497331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Content slide - Image right">
    <p:spTree>
      <p:nvGrpSpPr>
        <p:cNvPr id="1" name=""/>
        <p:cNvGrpSpPr/>
        <p:nvPr/>
      </p:nvGrpSpPr>
      <p:grpSpPr>
        <a:xfrm>
          <a:off x="0" y="0"/>
          <a:ext cx="0" cy="0"/>
          <a:chOff x="0" y="0"/>
          <a:chExt cx="0" cy="0"/>
        </a:xfrm>
      </p:grpSpPr>
      <p:sp>
        <p:nvSpPr>
          <p:cNvPr id="10" name="Picture Placeholder 4"/>
          <p:cNvSpPr>
            <a:spLocks noGrp="1"/>
          </p:cNvSpPr>
          <p:nvPr>
            <p:ph type="pic" sz="quarter" idx="15" hasCustomPrompt="1"/>
          </p:nvPr>
        </p:nvSpPr>
        <p:spPr>
          <a:xfrm>
            <a:off x="6586676" y="0"/>
            <a:ext cx="5616000" cy="6858000"/>
          </a:xfrm>
          <a:blipFill>
            <a:blip r:embed="rId2"/>
            <a:tile tx="0" ty="69850" sx="100000" sy="100000" flip="none" algn="ctr"/>
          </a:blipFill>
        </p:spPr>
        <p:txBody>
          <a:bodyPr anchor="ctr"/>
          <a:lstStyle>
            <a:lvl1pPr marL="0" indent="0" algn="ctr">
              <a:lnSpc>
                <a:spcPct val="100000"/>
              </a:lnSpc>
              <a:buNone/>
              <a:defRPr baseline="0">
                <a:latin typeface="Proximus" panose="00000500000000000000" pitchFamily="2" charset="0"/>
              </a:defRPr>
            </a:lvl1pPr>
          </a:lstStyle>
          <a:p>
            <a:r>
              <a:rPr lang="en-GB"/>
              <a:t>Click icon to change picture</a:t>
            </a:r>
          </a:p>
        </p:txBody>
      </p:sp>
      <p:sp>
        <p:nvSpPr>
          <p:cNvPr id="2" name="Title 1"/>
          <p:cNvSpPr>
            <a:spLocks noGrp="1"/>
          </p:cNvSpPr>
          <p:nvPr>
            <p:ph type="title" hasCustomPrompt="1"/>
          </p:nvPr>
        </p:nvSpPr>
        <p:spPr>
          <a:xfrm>
            <a:off x="613839" y="503768"/>
            <a:ext cx="5264789" cy="1411200"/>
          </a:xfrm>
        </p:spPr>
        <p:txBody>
          <a:bodyPr/>
          <a:lstStyle>
            <a:lvl1pPr>
              <a:defRPr b="1">
                <a:solidFill>
                  <a:schemeClr val="bg1"/>
                </a:solidFill>
                <a:latin typeface="Proximus" panose="00000500000000000000" pitchFamily="2" charset="0"/>
              </a:defRPr>
            </a:lvl1pPr>
          </a:lstStyle>
          <a:p>
            <a:r>
              <a:rPr lang="en-US"/>
              <a:t>Click to edit slide title</a:t>
            </a:r>
            <a:endParaRPr lang="nl-BE"/>
          </a:p>
        </p:txBody>
      </p:sp>
      <p:sp>
        <p:nvSpPr>
          <p:cNvPr id="5" name="Text Placeholder 4">
            <a:extLst>
              <a:ext uri="{FF2B5EF4-FFF2-40B4-BE49-F238E27FC236}">
                <a16:creationId xmlns:a16="http://schemas.microsoft.com/office/drawing/2014/main" id="{92B82360-6E03-CB5A-DE23-8C03DE7AFF22}"/>
              </a:ext>
            </a:extLst>
          </p:cNvPr>
          <p:cNvSpPr>
            <a:spLocks noGrp="1"/>
          </p:cNvSpPr>
          <p:nvPr>
            <p:ph type="body" sz="quarter" idx="18"/>
          </p:nvPr>
        </p:nvSpPr>
        <p:spPr>
          <a:xfrm>
            <a:off x="613835" y="2135999"/>
            <a:ext cx="5264151" cy="4125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1311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Content slide - Image left">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0BDA83C3-91B0-900B-BC21-475B0DD60759}"/>
              </a:ext>
            </a:extLst>
          </p:cNvPr>
          <p:cNvSpPr>
            <a:spLocks noGrp="1"/>
          </p:cNvSpPr>
          <p:nvPr>
            <p:ph type="pic" sz="quarter" idx="19" hasCustomPrompt="1"/>
          </p:nvPr>
        </p:nvSpPr>
        <p:spPr>
          <a:xfrm>
            <a:off x="2" y="0"/>
            <a:ext cx="6588428" cy="6858000"/>
          </a:xfrm>
          <a:blipFill>
            <a:blip r:embed="rId2"/>
            <a:tile tx="0" ty="69850" sx="100000" sy="100000" flip="none" algn="ctr"/>
          </a:blipFill>
        </p:spPr>
        <p:txBody>
          <a:bodyPr anchor="ctr"/>
          <a:lstStyle>
            <a:lvl1pPr marL="0" indent="0" algn="ctr">
              <a:lnSpc>
                <a:spcPct val="100000"/>
              </a:lnSpc>
              <a:buNone/>
              <a:defRPr baseline="0">
                <a:latin typeface="Proximus" panose="00000500000000000000" pitchFamily="2" charset="0"/>
              </a:defRPr>
            </a:lvl1pPr>
          </a:lstStyle>
          <a:p>
            <a:r>
              <a:rPr lang="en-GB"/>
              <a:t>Click icon to change picture</a:t>
            </a:r>
          </a:p>
        </p:txBody>
      </p:sp>
      <p:sp>
        <p:nvSpPr>
          <p:cNvPr id="2" name="Title 1"/>
          <p:cNvSpPr>
            <a:spLocks noGrp="1"/>
          </p:cNvSpPr>
          <p:nvPr>
            <p:ph type="title" hasCustomPrompt="1"/>
          </p:nvPr>
        </p:nvSpPr>
        <p:spPr>
          <a:xfrm>
            <a:off x="7247489" y="503769"/>
            <a:ext cx="4320928" cy="1409743"/>
          </a:xfrm>
        </p:spPr>
        <p:txBody>
          <a:bodyPr/>
          <a:lstStyle>
            <a:lvl1pPr>
              <a:defRPr b="1">
                <a:solidFill>
                  <a:schemeClr val="bg1"/>
                </a:solidFill>
                <a:latin typeface="Proximus" panose="00000500000000000000" pitchFamily="2" charset="0"/>
              </a:defRPr>
            </a:lvl1pPr>
          </a:lstStyle>
          <a:p>
            <a:r>
              <a:rPr lang="en-US"/>
              <a:t>Click to edit slide title</a:t>
            </a:r>
            <a:endParaRPr lang="nl-BE"/>
          </a:p>
        </p:txBody>
      </p:sp>
      <p:sp>
        <p:nvSpPr>
          <p:cNvPr id="5" name="Text Placeholder 4">
            <a:extLst>
              <a:ext uri="{FF2B5EF4-FFF2-40B4-BE49-F238E27FC236}">
                <a16:creationId xmlns:a16="http://schemas.microsoft.com/office/drawing/2014/main" id="{92B82360-6E03-CB5A-DE23-8C03DE7AFF22}"/>
              </a:ext>
            </a:extLst>
          </p:cNvPr>
          <p:cNvSpPr>
            <a:spLocks noGrp="1"/>
          </p:cNvSpPr>
          <p:nvPr>
            <p:ph type="body" sz="quarter" idx="18"/>
          </p:nvPr>
        </p:nvSpPr>
        <p:spPr>
          <a:xfrm>
            <a:off x="7247467" y="2133599"/>
            <a:ext cx="4320404" cy="4127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875454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t slide - Full image">
    <p:bg>
      <p:bgPr>
        <a:solidFill>
          <a:schemeClr val="tx1"/>
        </a:solidFill>
        <a:effectLst/>
      </p:bgPr>
    </p:bg>
    <p:spTree>
      <p:nvGrpSpPr>
        <p:cNvPr id="1" name=""/>
        <p:cNvGrpSpPr/>
        <p:nvPr/>
      </p:nvGrpSpPr>
      <p:grpSpPr>
        <a:xfrm>
          <a:off x="0" y="0"/>
          <a:ext cx="0" cy="0"/>
          <a:chOff x="0" y="0"/>
          <a:chExt cx="0" cy="0"/>
        </a:xfrm>
      </p:grpSpPr>
      <p:sp>
        <p:nvSpPr>
          <p:cNvPr id="9" name="Picture Placeholder 4"/>
          <p:cNvSpPr>
            <a:spLocks noGrp="1"/>
          </p:cNvSpPr>
          <p:nvPr>
            <p:ph type="pic" sz="quarter" idx="15" hasCustomPrompt="1"/>
          </p:nvPr>
        </p:nvSpPr>
        <p:spPr>
          <a:xfrm>
            <a:off x="0" y="2"/>
            <a:ext cx="12192000" cy="6864625"/>
          </a:xfrm>
          <a:blipFill dpi="0" rotWithShape="1">
            <a:blip r:embed="rId2"/>
            <a:srcRect/>
            <a:tile tx="0" ty="69850" sx="100000" sy="100000" flip="none" algn="ctr"/>
          </a:blipFill>
        </p:spPr>
        <p:txBody>
          <a:bodyPr anchor="ctr"/>
          <a:lstStyle>
            <a:lvl1pPr marL="0" indent="0" algn="ctr">
              <a:lnSpc>
                <a:spcPct val="100000"/>
              </a:lnSpc>
              <a:buNone/>
              <a:defRPr baseline="0">
                <a:noFill/>
                <a:latin typeface="Proximus" panose="00000500000000000000" pitchFamily="2" charset="0"/>
              </a:defRPr>
            </a:lvl1pPr>
          </a:lstStyle>
          <a:p>
            <a:r>
              <a:rPr lang="en-GB"/>
              <a:t>Click icon to change picture</a:t>
            </a:r>
          </a:p>
        </p:txBody>
      </p:sp>
      <p:sp>
        <p:nvSpPr>
          <p:cNvPr id="2" name="Title 1"/>
          <p:cNvSpPr>
            <a:spLocks noGrp="1"/>
          </p:cNvSpPr>
          <p:nvPr>
            <p:ph type="title" hasCustomPrompt="1"/>
          </p:nvPr>
        </p:nvSpPr>
        <p:spPr/>
        <p:txBody>
          <a:bodyPr/>
          <a:lstStyle>
            <a:lvl1pPr>
              <a:defRPr b="1">
                <a:solidFill>
                  <a:schemeClr val="bg1"/>
                </a:solidFill>
                <a:latin typeface="Proximus" panose="00000500000000000000" pitchFamily="2" charset="0"/>
              </a:defRPr>
            </a:lvl1pPr>
          </a:lstStyle>
          <a:p>
            <a:r>
              <a:rPr lang="en-US"/>
              <a:t>Click to edit slide title</a:t>
            </a:r>
            <a:endParaRPr lang="nl-BE"/>
          </a:p>
        </p:txBody>
      </p:sp>
    </p:spTree>
    <p:extLst>
      <p:ext uri="{BB962C8B-B14F-4D97-AF65-F5344CB8AC3E}">
        <p14:creationId xmlns:p14="http://schemas.microsoft.com/office/powerpoint/2010/main" val="158185694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gradFill>
          <a:gsLst>
            <a:gs pos="25000">
              <a:schemeClr val="bg1"/>
            </a:gs>
            <a:gs pos="100000">
              <a:srgbClr val="D12E67"/>
            </a:gs>
          </a:gsLst>
          <a:lin ang="3000000" scaled="0"/>
        </a:gra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A4627669-EBE6-429E-B1FA-C8D75FC5EB99}"/>
              </a:ext>
            </a:extLst>
          </p:cNvPr>
          <p:cNvSpPr txBox="1"/>
          <p:nvPr userDrawn="1"/>
        </p:nvSpPr>
        <p:spPr>
          <a:xfrm>
            <a:off x="613833" y="1383693"/>
            <a:ext cx="10990456" cy="861775"/>
          </a:xfrm>
          <a:prstGeom prst="rect">
            <a:avLst/>
          </a:prstGeom>
        </p:spPr>
        <p:txBody>
          <a:bodyPr vert="horz" lIns="0" tIns="0" rIns="0" bIns="0" rtlCol="0" anchor="b" anchorCtr="0">
            <a:normAutofit/>
          </a:bodyPr>
          <a:lstStyle>
            <a:lvl1pPr defTabSz="914287">
              <a:spcBef>
                <a:spcPct val="0"/>
              </a:spcBef>
              <a:buNone/>
              <a:defRPr sz="4200" b="0" i="0">
                <a:solidFill>
                  <a:srgbClr val="FFFFFF"/>
                </a:solidFill>
                <a:latin typeface="Proximus ExtraBold" panose="00000900000000000000" pitchFamily="2" charset="0"/>
                <a:ea typeface="+mj-ea"/>
                <a:cs typeface="Proximus" panose="00000500000000000000" pitchFamily="2" charset="0"/>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BE" sz="5600"/>
              <a:t>T</a:t>
            </a:r>
            <a:r>
              <a:rPr lang="en-US" sz="5600"/>
              <a:t>h</a:t>
            </a:r>
            <a:r>
              <a:rPr lang="en-BE" sz="5600"/>
              <a:t>a</a:t>
            </a:r>
            <a:r>
              <a:rPr lang="en-US" sz="5600"/>
              <a:t>n</a:t>
            </a:r>
            <a:r>
              <a:rPr lang="en-BE" sz="5600"/>
              <a:t>k </a:t>
            </a:r>
            <a:r>
              <a:rPr lang="en-US" sz="5600"/>
              <a:t>Y</a:t>
            </a:r>
            <a:r>
              <a:rPr lang="en-BE" sz="5600"/>
              <a:t>o</a:t>
            </a:r>
            <a:r>
              <a:rPr lang="en-US" sz="5600"/>
              <a:t>u</a:t>
            </a:r>
          </a:p>
        </p:txBody>
      </p:sp>
      <p:sp>
        <p:nvSpPr>
          <p:cNvPr id="9" name="TextBox 8">
            <a:extLst>
              <a:ext uri="{FF2B5EF4-FFF2-40B4-BE49-F238E27FC236}">
                <a16:creationId xmlns:a16="http://schemas.microsoft.com/office/drawing/2014/main" id="{C1327079-BB69-4AA7-AE65-44FE269F5EF2}"/>
              </a:ext>
            </a:extLst>
          </p:cNvPr>
          <p:cNvSpPr txBox="1"/>
          <p:nvPr userDrawn="1"/>
        </p:nvSpPr>
        <p:spPr>
          <a:xfrm>
            <a:off x="613833" y="5033936"/>
            <a:ext cx="10962219" cy="357229"/>
          </a:xfrm>
          <a:prstGeom prst="rect">
            <a:avLst/>
          </a:prstGeom>
        </p:spPr>
        <p:txBody>
          <a:bodyPr vert="horz" lIns="0" tIns="0" rIns="0" bIns="0" numCol="1" spcCol="0" rtlCol="0" anchor="t" anchorCtr="0">
            <a:noAutofit/>
          </a:bodyPr>
          <a:lstStyle>
            <a:lvl1pPr lvl="0" indent="0" defTabSz="914287">
              <a:lnSpc>
                <a:spcPts val="2200"/>
              </a:lnSpc>
              <a:spcBef>
                <a:spcPts val="0"/>
              </a:spcBef>
              <a:spcAft>
                <a:spcPts val="1100"/>
              </a:spcAft>
              <a:buClr>
                <a:schemeClr val="tx2"/>
              </a:buClr>
              <a:buSzPct val="100000"/>
              <a:buFont typeface="Arial" panose="020B0604020202020204" pitchFamily="34" charset="0"/>
              <a:buNone/>
              <a:tabLst/>
              <a:defRPr sz="1800">
                <a:latin typeface="Proximus" panose="00000500000000000000" pitchFamily="2" charset="0"/>
              </a:defRPr>
            </a:lvl1pPr>
            <a:lvl2pPr marL="358730" indent="-176192" defTabSz="914287">
              <a:spcBef>
                <a:spcPts val="0"/>
              </a:spcBef>
              <a:spcAft>
                <a:spcPts val="1100"/>
              </a:spcAft>
              <a:buClr>
                <a:schemeClr val="bg1"/>
              </a:buClr>
              <a:buSzPct val="100000"/>
              <a:buFont typeface="Arial" panose="020B0604020202020204" pitchFamily="34" charset="0"/>
              <a:buChar char="•"/>
              <a:tabLst/>
              <a:defRPr sz="1800">
                <a:solidFill>
                  <a:schemeClr val="bg1"/>
                </a:solidFill>
                <a:latin typeface="Proximus" panose="00000500000000000000" pitchFamily="2" charset="0"/>
              </a:defRPr>
            </a:lvl2pPr>
            <a:lvl3pPr marL="536507" indent="-177779" defTabSz="914287">
              <a:spcBef>
                <a:spcPts val="0"/>
              </a:spcBef>
              <a:spcAft>
                <a:spcPts val="1100"/>
              </a:spcAft>
              <a:buClr>
                <a:schemeClr val="bg1"/>
              </a:buClr>
              <a:buSzPct val="100000"/>
              <a:buFont typeface="Arial" panose="020B0604020202020204" pitchFamily="34" charset="0"/>
              <a:buChar char="•"/>
              <a:tabLst/>
              <a:defRPr sz="1600">
                <a:solidFill>
                  <a:schemeClr val="bg1"/>
                </a:solidFill>
                <a:latin typeface="Proximus" panose="00000500000000000000" pitchFamily="2" charset="0"/>
              </a:defRPr>
            </a:lvl3pPr>
            <a:lvl4pPr marL="712699" indent="-176192" defTabSz="914287">
              <a:spcBef>
                <a:spcPts val="0"/>
              </a:spcBef>
              <a:spcAft>
                <a:spcPts val="1100"/>
              </a:spcAft>
              <a:buClr>
                <a:schemeClr val="bg1"/>
              </a:buClr>
              <a:buSzPct val="100000"/>
              <a:buFont typeface="Arial" panose="020B0604020202020204" pitchFamily="34" charset="0"/>
              <a:buChar char="•"/>
              <a:tabLst/>
              <a:defRPr sz="1400">
                <a:solidFill>
                  <a:schemeClr val="bg1"/>
                </a:solidFill>
                <a:latin typeface="Proximus" panose="00000500000000000000" pitchFamily="2" charset="0"/>
              </a:defRPr>
            </a:lvl4pPr>
            <a:lvl5pPr marL="888889" indent="-176192" defTabSz="914287">
              <a:spcBef>
                <a:spcPts val="0"/>
              </a:spcBef>
              <a:spcAft>
                <a:spcPts val="1100"/>
              </a:spcAft>
              <a:buClr>
                <a:schemeClr val="bg1"/>
              </a:buClr>
              <a:buSzPct val="100000"/>
              <a:buFont typeface="Arial" panose="020B0604020202020204" pitchFamily="34" charset="0"/>
              <a:buChar char="•"/>
              <a:tabLst/>
              <a:defRPr sz="1200">
                <a:solidFill>
                  <a:schemeClr val="bg1"/>
                </a:solidFill>
                <a:latin typeface="Proximus" panose="00000500000000000000" pitchFamily="2" charset="0"/>
              </a:defRPr>
            </a:lvl5pPr>
            <a:lvl6pPr marL="2514286" indent="-228572" defTabSz="914287">
              <a:spcBef>
                <a:spcPct val="20000"/>
              </a:spcBef>
              <a:buFont typeface="Arial" panose="020B0604020202020204" pitchFamily="34" charset="0"/>
              <a:buChar char="•"/>
              <a:defRPr sz="2000"/>
            </a:lvl6pPr>
            <a:lvl7pPr marL="2971429" indent="-228572" defTabSz="914287">
              <a:spcBef>
                <a:spcPct val="20000"/>
              </a:spcBef>
              <a:buFont typeface="Arial" panose="020B0604020202020204" pitchFamily="34" charset="0"/>
              <a:buChar char="•"/>
              <a:defRPr sz="2000"/>
            </a:lvl7pPr>
            <a:lvl8pPr marL="3428572" indent="-228572" defTabSz="914287">
              <a:spcBef>
                <a:spcPct val="20000"/>
              </a:spcBef>
              <a:buFont typeface="Arial" panose="020B0604020202020204" pitchFamily="34" charset="0"/>
              <a:buChar char="•"/>
              <a:defRPr sz="2000"/>
            </a:lvl8pPr>
            <a:lvl9pPr marL="3885715" indent="-228572" defTabSz="914287">
              <a:spcBef>
                <a:spcPct val="20000"/>
              </a:spcBef>
              <a:buFont typeface="Arial" panose="020B0604020202020204" pitchFamily="34" charset="0"/>
              <a:buChar char="•"/>
              <a:defRPr sz="2000"/>
            </a:lvl9pPr>
          </a:lstStyle>
          <a:p>
            <a:pPr lvl="0"/>
            <a:r>
              <a:rPr lang="en-US" sz="2400"/>
              <a:t>More info?</a:t>
            </a:r>
          </a:p>
        </p:txBody>
      </p:sp>
      <p:sp>
        <p:nvSpPr>
          <p:cNvPr id="10" name="Text Placeholder 13">
            <a:extLst>
              <a:ext uri="{FF2B5EF4-FFF2-40B4-BE49-F238E27FC236}">
                <a16:creationId xmlns:a16="http://schemas.microsoft.com/office/drawing/2014/main" id="{8372C999-9A28-4AA4-991B-7FBAC93D34FF}"/>
              </a:ext>
            </a:extLst>
          </p:cNvPr>
          <p:cNvSpPr>
            <a:spLocks noGrp="1"/>
          </p:cNvSpPr>
          <p:nvPr>
            <p:ph type="body" sz="quarter" idx="10" hasCustomPrompt="1"/>
          </p:nvPr>
        </p:nvSpPr>
        <p:spPr>
          <a:xfrm>
            <a:off x="586320" y="5473700"/>
            <a:ext cx="11017249" cy="357717"/>
          </a:xfrm>
          <a:noFill/>
        </p:spPr>
        <p:txBody>
          <a:bodyPr/>
          <a:lstStyle>
            <a:lvl1pPr marL="0" indent="0">
              <a:buNone/>
              <a:defRPr>
                <a:solidFill>
                  <a:schemeClr val="tx1"/>
                </a:solidFill>
              </a:defRPr>
            </a:lvl1pPr>
          </a:lstStyle>
          <a:p>
            <a:pPr lvl="0"/>
            <a:r>
              <a:rPr lang="en-US"/>
              <a:t>firstname.lastname@proximus.com</a:t>
            </a:r>
          </a:p>
        </p:txBody>
      </p:sp>
      <p:pic>
        <p:nvPicPr>
          <p:cNvPr id="11" name="Graphic 10">
            <a:extLst>
              <a:ext uri="{FF2B5EF4-FFF2-40B4-BE49-F238E27FC236}">
                <a16:creationId xmlns:a16="http://schemas.microsoft.com/office/drawing/2014/main" id="{6DE3DAB3-B0CE-47F8-80EF-9E05EC59DA2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702899" y="5724528"/>
            <a:ext cx="889207" cy="720725"/>
          </a:xfrm>
          <a:prstGeom prst="rect">
            <a:avLst/>
          </a:prstGeom>
        </p:spPr>
      </p:pic>
    </p:spTree>
    <p:extLst>
      <p:ext uri="{BB962C8B-B14F-4D97-AF65-F5344CB8AC3E}">
        <p14:creationId xmlns:p14="http://schemas.microsoft.com/office/powerpoint/2010/main" val="150526484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699591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cSld name="Content slide - white bg - text im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latin typeface="Proximus" panose="00000500000000000000" pitchFamily="2" charset="0"/>
              </a:defRPr>
            </a:lvl1pPr>
          </a:lstStyle>
          <a:p>
            <a:r>
              <a:rPr lang="en-US"/>
              <a:t>Click to edit slide title</a:t>
            </a:r>
            <a:endParaRPr lang="nl-BE"/>
          </a:p>
        </p:txBody>
      </p:sp>
      <p:sp>
        <p:nvSpPr>
          <p:cNvPr id="3" name="Content Placeholder 2"/>
          <p:cNvSpPr>
            <a:spLocks noGrp="1"/>
          </p:cNvSpPr>
          <p:nvPr>
            <p:ph idx="1"/>
          </p:nvPr>
        </p:nvSpPr>
        <p:spPr>
          <a:xfrm>
            <a:off x="613838" y="1384303"/>
            <a:ext cx="10962217" cy="4677832"/>
          </a:xfrm>
          <a:noFill/>
        </p:spPr>
        <p:txBody>
          <a:bodyPr/>
          <a:lstStyle>
            <a:lvl1pPr marL="0" indent="0">
              <a:buClr>
                <a:schemeClr val="bg1"/>
              </a:buClr>
              <a:buFont typeface="Wingdings" panose="05000000000000000000" pitchFamily="2" charset="2"/>
              <a:buNone/>
              <a:tabLst/>
              <a:defRPr>
                <a:latin typeface="Proximus" panose="00000500000000000000" pitchFamily="2" charset="0"/>
              </a:defRPr>
            </a:lvl1pPr>
            <a:lvl5pPr>
              <a:defRPr sz="1867"/>
            </a:lvl5pPr>
          </a:lstStyle>
          <a:p>
            <a:pPr lvl="0"/>
            <a:r>
              <a:rPr lang="en-US"/>
              <a:t>Edit Master text styles</a:t>
            </a:r>
          </a:p>
        </p:txBody>
      </p:sp>
      <p:sp>
        <p:nvSpPr>
          <p:cNvPr id="9" name="Footer Placeholder 8"/>
          <p:cNvSpPr>
            <a:spLocks noGrp="1"/>
          </p:cNvSpPr>
          <p:nvPr>
            <p:ph type="ftr" sz="quarter" idx="11"/>
          </p:nvPr>
        </p:nvSpPr>
        <p:spPr/>
        <p:txBody>
          <a:bodyPr/>
          <a:lstStyle>
            <a:lvl1pPr>
              <a:defRPr>
                <a:latin typeface="Proximus" panose="00000500000000000000" pitchFamily="2" charset="0"/>
              </a:defRPr>
            </a:lvl1pPr>
          </a:lstStyle>
          <a:p>
            <a:r>
              <a:rPr lang="nl-BE"/>
              <a:t>Proximus</a:t>
            </a:r>
          </a:p>
        </p:txBody>
      </p:sp>
      <p:sp>
        <p:nvSpPr>
          <p:cNvPr id="6" name="Slide Number Placeholder 9">
            <a:extLst>
              <a:ext uri="{FF2B5EF4-FFF2-40B4-BE49-F238E27FC236}">
                <a16:creationId xmlns:a16="http://schemas.microsoft.com/office/drawing/2014/main" id="{FF42A271-7DBC-4097-A917-B5B8AC02CE7E}"/>
              </a:ext>
            </a:extLst>
          </p:cNvPr>
          <p:cNvSpPr>
            <a:spLocks noGrp="1"/>
          </p:cNvSpPr>
          <p:nvPr>
            <p:ph type="sldNum" sz="quarter" idx="4"/>
          </p:nvPr>
        </p:nvSpPr>
        <p:spPr>
          <a:xfrm>
            <a:off x="10944002" y="6672000"/>
            <a:ext cx="624417" cy="96000"/>
          </a:xfrm>
          <a:prstGeom prst="rect">
            <a:avLst/>
          </a:prstGeom>
        </p:spPr>
        <p:txBody>
          <a:bodyPr lIns="0" tIns="0" rIns="0" bIns="0" anchor="b"/>
          <a:lstStyle>
            <a:lvl1pPr algn="r">
              <a:defRPr sz="800">
                <a:solidFill>
                  <a:schemeClr val="bg1"/>
                </a:solidFill>
                <a:latin typeface="Proximus" panose="00000500000000000000" pitchFamily="2" charset="0"/>
              </a:defRPr>
            </a:lvl1pPr>
          </a:lstStyle>
          <a:p>
            <a:fld id="{AF458780-3DEA-4093-8A6E-7C0E406A36AD}" type="slidenum">
              <a:rPr lang="nl-BE" smtClean="0"/>
              <a:pPr/>
              <a:t>‹#›</a:t>
            </a:fld>
            <a:endParaRPr lang="nl-BE"/>
          </a:p>
        </p:txBody>
      </p:sp>
    </p:spTree>
    <p:extLst>
      <p:ext uri="{BB962C8B-B14F-4D97-AF65-F5344CB8AC3E}">
        <p14:creationId xmlns:p14="http://schemas.microsoft.com/office/powerpoint/2010/main" val="181360594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ver - Gradient">
    <p:bg>
      <p:bgPr>
        <a:gradFill>
          <a:gsLst>
            <a:gs pos="25000">
              <a:schemeClr val="bg1"/>
            </a:gs>
            <a:gs pos="100000">
              <a:srgbClr val="D12E67"/>
            </a:gs>
          </a:gsLst>
          <a:lin ang="3000000" scaled="0"/>
        </a:gra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13834" y="504000"/>
            <a:ext cx="10962217" cy="1748400"/>
          </a:xfrm>
        </p:spPr>
        <p:txBody>
          <a:bodyPr anchor="b">
            <a:noAutofit/>
          </a:bodyPr>
          <a:lstStyle>
            <a:lvl1pPr>
              <a:defRPr sz="5600" b="0">
                <a:solidFill>
                  <a:srgbClr val="FFFFFF"/>
                </a:solidFill>
                <a:latin typeface="Proximus ExtraBold" panose="00000900000000000000" pitchFamily="2" charset="0"/>
              </a:defRPr>
            </a:lvl1pPr>
          </a:lstStyle>
          <a:p>
            <a:r>
              <a:rPr lang="en-US"/>
              <a:t>Click to edit </a:t>
            </a:r>
            <a:br>
              <a:rPr lang="en-US"/>
            </a:br>
            <a:r>
              <a:rPr lang="en-US"/>
              <a:t>presentation title</a:t>
            </a:r>
            <a:endParaRPr lang="nl-BE"/>
          </a:p>
        </p:txBody>
      </p:sp>
      <p:sp>
        <p:nvSpPr>
          <p:cNvPr id="6" name="Subtitle 2">
            <a:extLst>
              <a:ext uri="{FF2B5EF4-FFF2-40B4-BE49-F238E27FC236}">
                <a16:creationId xmlns:a16="http://schemas.microsoft.com/office/drawing/2014/main" id="{56176E85-8408-4B89-A7FD-D33D192C3CE4}"/>
              </a:ext>
            </a:extLst>
          </p:cNvPr>
          <p:cNvSpPr>
            <a:spLocks noGrp="1"/>
          </p:cNvSpPr>
          <p:nvPr>
            <p:ph type="subTitle" idx="1" hasCustomPrompt="1"/>
          </p:nvPr>
        </p:nvSpPr>
        <p:spPr>
          <a:xfrm>
            <a:off x="613834" y="2624866"/>
            <a:ext cx="10962217" cy="1335741"/>
          </a:xfrm>
        </p:spPr>
        <p:txBody>
          <a:bodyPr/>
          <a:lstStyle>
            <a:lvl1pPr marL="0" indent="0" algn="l">
              <a:lnSpc>
                <a:spcPct val="100000"/>
              </a:lnSpc>
              <a:buNone/>
              <a:defRPr sz="3467">
                <a:solidFill>
                  <a:schemeClr val="tx1"/>
                </a:solidFill>
                <a:latin typeface="Proximus Light" panose="00000500000000000000" pitchFamily="2"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Subtitle</a:t>
            </a:r>
            <a:endParaRPr lang="nl-BE"/>
          </a:p>
        </p:txBody>
      </p:sp>
      <p:pic>
        <p:nvPicPr>
          <p:cNvPr id="5" name="Graphic 4">
            <a:extLst>
              <a:ext uri="{FF2B5EF4-FFF2-40B4-BE49-F238E27FC236}">
                <a16:creationId xmlns:a16="http://schemas.microsoft.com/office/drawing/2014/main" id="{FDB73C8E-6ED7-46A1-909B-13EF4FD2AEA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702898" y="5724528"/>
            <a:ext cx="889207" cy="720725"/>
          </a:xfrm>
          <a:prstGeom prst="rect">
            <a:avLst/>
          </a:prstGeom>
        </p:spPr>
      </p:pic>
      <p:sp>
        <p:nvSpPr>
          <p:cNvPr id="8" name="Date Placeholder 8">
            <a:extLst>
              <a:ext uri="{FF2B5EF4-FFF2-40B4-BE49-F238E27FC236}">
                <a16:creationId xmlns:a16="http://schemas.microsoft.com/office/drawing/2014/main" id="{8C7A2956-7113-6943-C959-7684BF1AE4C6}"/>
              </a:ext>
            </a:extLst>
          </p:cNvPr>
          <p:cNvSpPr>
            <a:spLocks noGrp="1"/>
          </p:cNvSpPr>
          <p:nvPr>
            <p:ph type="dt" sz="half" idx="2"/>
          </p:nvPr>
        </p:nvSpPr>
        <p:spPr>
          <a:xfrm>
            <a:off x="613832" y="5760153"/>
            <a:ext cx="2880000" cy="500948"/>
          </a:xfrm>
          <a:prstGeom prst="roundRect">
            <a:avLst>
              <a:gd name="adj" fmla="val 50000"/>
            </a:avLst>
          </a:prstGeom>
          <a:solidFill>
            <a:schemeClr val="tx1"/>
          </a:solidFill>
        </p:spPr>
        <p:txBody>
          <a:bodyPr vert="horz" wrap="none" lIns="72000" tIns="36000" rIns="72000" bIns="36000" rtlCol="0" anchor="ctr">
            <a:noAutofit/>
          </a:bodyPr>
          <a:lstStyle>
            <a:lvl1pPr algn="ctr">
              <a:defRPr sz="1600">
                <a:solidFill>
                  <a:schemeClr val="bg1"/>
                </a:solidFill>
              </a:defRPr>
            </a:lvl1pPr>
          </a:lstStyle>
          <a:p>
            <a:pPr defTabSz="544125">
              <a:defRPr/>
            </a:pPr>
            <a:endParaRPr lang="en-US">
              <a:solidFill>
                <a:srgbClr val="5C2D91"/>
              </a:solidFill>
            </a:endParaRPr>
          </a:p>
        </p:txBody>
      </p:sp>
    </p:spTree>
    <p:extLst>
      <p:ext uri="{BB962C8B-B14F-4D97-AF65-F5344CB8AC3E}">
        <p14:creationId xmlns:p14="http://schemas.microsoft.com/office/powerpoint/2010/main" val="3170303790"/>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oleObject" Target="../embeddings/oleObject1.bin"/><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slideLayout" Target="../slideLayouts/slideLayout89.xml"/><Relationship Id="rId39" Type="http://schemas.openxmlformats.org/officeDocument/2006/relationships/image" Target="../media/image18.emf"/><Relationship Id="rId21" Type="http://schemas.openxmlformats.org/officeDocument/2006/relationships/slideLayout" Target="../slideLayouts/slideLayout84.xml"/><Relationship Id="rId34" Type="http://schemas.openxmlformats.org/officeDocument/2006/relationships/slideLayout" Target="../slideLayouts/slideLayout97.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33" Type="http://schemas.openxmlformats.org/officeDocument/2006/relationships/slideLayout" Target="../slideLayouts/slideLayout96.xml"/><Relationship Id="rId38" Type="http://schemas.openxmlformats.org/officeDocument/2006/relationships/oleObject" Target="../embeddings/oleObject4.bin"/><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29" Type="http://schemas.openxmlformats.org/officeDocument/2006/relationships/slideLayout" Target="../slideLayouts/slideLayout92.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32" Type="http://schemas.openxmlformats.org/officeDocument/2006/relationships/slideLayout" Target="../slideLayouts/slideLayout95.xml"/><Relationship Id="rId37" Type="http://schemas.openxmlformats.org/officeDocument/2006/relationships/tags" Target="../tags/tag5.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slideLayout" Target="../slideLayouts/slideLayout91.xml"/><Relationship Id="rId36" Type="http://schemas.openxmlformats.org/officeDocument/2006/relationships/theme" Target="../theme/theme2.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31" Type="http://schemas.openxmlformats.org/officeDocument/2006/relationships/slideLayout" Target="../slideLayouts/slideLayout94.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 Id="rId30" Type="http://schemas.openxmlformats.org/officeDocument/2006/relationships/slideLayout" Target="../slideLayouts/slideLayout93.xml"/><Relationship Id="rId35" Type="http://schemas.openxmlformats.org/officeDocument/2006/relationships/slideLayout" Target="../slideLayouts/slideLayout98.xml"/><Relationship Id="rId8" Type="http://schemas.openxmlformats.org/officeDocument/2006/relationships/slideLayout" Target="../slideLayouts/slideLayout71.xml"/><Relationship Id="rId3" Type="http://schemas.openxmlformats.org/officeDocument/2006/relationships/slideLayout" Target="../slideLayouts/slideLayout6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slideLayout" Target="../slideLayouts/slideLayout124.xml"/><Relationship Id="rId39" Type="http://schemas.openxmlformats.org/officeDocument/2006/relationships/image" Target="../media/image41.emf"/><Relationship Id="rId21" Type="http://schemas.openxmlformats.org/officeDocument/2006/relationships/slideLayout" Target="../slideLayouts/slideLayout119.xml"/><Relationship Id="rId34" Type="http://schemas.openxmlformats.org/officeDocument/2006/relationships/slideLayout" Target="../slideLayouts/slideLayout132.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33" Type="http://schemas.openxmlformats.org/officeDocument/2006/relationships/slideLayout" Target="../slideLayouts/slideLayout131.xml"/><Relationship Id="rId38" Type="http://schemas.openxmlformats.org/officeDocument/2006/relationships/oleObject" Target="../embeddings/oleObject6.bin"/><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slideLayout" Target="../slideLayouts/slideLayout118.xml"/><Relationship Id="rId29" Type="http://schemas.openxmlformats.org/officeDocument/2006/relationships/slideLayout" Target="../slideLayouts/slideLayout127.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32" Type="http://schemas.openxmlformats.org/officeDocument/2006/relationships/slideLayout" Target="../slideLayouts/slideLayout130.xml"/><Relationship Id="rId37" Type="http://schemas.openxmlformats.org/officeDocument/2006/relationships/tags" Target="../tags/tag7.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slideLayout" Target="../slideLayouts/slideLayout126.xml"/><Relationship Id="rId36" Type="http://schemas.openxmlformats.org/officeDocument/2006/relationships/theme" Target="../theme/theme3.x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31" Type="http://schemas.openxmlformats.org/officeDocument/2006/relationships/slideLayout" Target="../slideLayouts/slideLayout129.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slideLayout" Target="../slideLayouts/slideLayout125.xml"/><Relationship Id="rId30" Type="http://schemas.openxmlformats.org/officeDocument/2006/relationships/slideLayout" Target="../slideLayouts/slideLayout128.xml"/><Relationship Id="rId35" Type="http://schemas.openxmlformats.org/officeDocument/2006/relationships/slideLayout" Target="../slideLayouts/slideLayout133.xml"/><Relationship Id="rId8" Type="http://schemas.openxmlformats.org/officeDocument/2006/relationships/slideLayout" Target="../slideLayouts/slideLayout106.xml"/><Relationship Id="rId3" Type="http://schemas.openxmlformats.org/officeDocument/2006/relationships/slideLayout" Target="../slideLayouts/slideLayout101.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36.xml"/><Relationship Id="rId7" Type="http://schemas.openxmlformats.org/officeDocument/2006/relationships/image" Target="../media/image18.emf"/><Relationship Id="rId2" Type="http://schemas.openxmlformats.org/officeDocument/2006/relationships/slideLayout" Target="../slideLayouts/slideLayout135.xml"/><Relationship Id="rId1" Type="http://schemas.openxmlformats.org/officeDocument/2006/relationships/slideLayout" Target="../slideLayouts/slideLayout134.xml"/><Relationship Id="rId6" Type="http://schemas.openxmlformats.org/officeDocument/2006/relationships/oleObject" Target="../embeddings/oleObject8.bin"/><Relationship Id="rId5" Type="http://schemas.openxmlformats.org/officeDocument/2006/relationships/tags" Target="../tags/tag9.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39.xml"/><Relationship Id="rId7" Type="http://schemas.openxmlformats.org/officeDocument/2006/relationships/image" Target="../media/image18.emf"/><Relationship Id="rId2" Type="http://schemas.openxmlformats.org/officeDocument/2006/relationships/slideLayout" Target="../slideLayouts/slideLayout138.xml"/><Relationship Id="rId1" Type="http://schemas.openxmlformats.org/officeDocument/2006/relationships/slideLayout" Target="../slideLayouts/slideLayout137.xml"/><Relationship Id="rId6" Type="http://schemas.openxmlformats.org/officeDocument/2006/relationships/oleObject" Target="../embeddings/oleObject12.bin"/><Relationship Id="rId5" Type="http://schemas.openxmlformats.org/officeDocument/2006/relationships/tags" Target="../tags/tag13.xml"/><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26" Type="http://schemas.openxmlformats.org/officeDocument/2006/relationships/slideLayout" Target="../slideLayouts/slideLayout165.xml"/><Relationship Id="rId39" Type="http://schemas.openxmlformats.org/officeDocument/2006/relationships/slideLayout" Target="../slideLayouts/slideLayout178.xml"/><Relationship Id="rId21" Type="http://schemas.openxmlformats.org/officeDocument/2006/relationships/slideLayout" Target="../slideLayouts/slideLayout160.xml"/><Relationship Id="rId34" Type="http://schemas.openxmlformats.org/officeDocument/2006/relationships/slideLayout" Target="../slideLayouts/slideLayout173.xml"/><Relationship Id="rId42" Type="http://schemas.openxmlformats.org/officeDocument/2006/relationships/slideLayout" Target="../slideLayouts/slideLayout181.xml"/><Relationship Id="rId47" Type="http://schemas.openxmlformats.org/officeDocument/2006/relationships/tags" Target="../tags/tag17.xml"/><Relationship Id="rId7" Type="http://schemas.openxmlformats.org/officeDocument/2006/relationships/slideLayout" Target="../slideLayouts/slideLayout146.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9" Type="http://schemas.openxmlformats.org/officeDocument/2006/relationships/slideLayout" Target="../slideLayouts/slideLayout168.xml"/><Relationship Id="rId11" Type="http://schemas.openxmlformats.org/officeDocument/2006/relationships/slideLayout" Target="../slideLayouts/slideLayout150.xml"/><Relationship Id="rId24" Type="http://schemas.openxmlformats.org/officeDocument/2006/relationships/slideLayout" Target="../slideLayouts/slideLayout163.xml"/><Relationship Id="rId32" Type="http://schemas.openxmlformats.org/officeDocument/2006/relationships/slideLayout" Target="../slideLayouts/slideLayout171.xml"/><Relationship Id="rId37" Type="http://schemas.openxmlformats.org/officeDocument/2006/relationships/slideLayout" Target="../slideLayouts/slideLayout176.xml"/><Relationship Id="rId40" Type="http://schemas.openxmlformats.org/officeDocument/2006/relationships/slideLayout" Target="../slideLayouts/slideLayout179.xml"/><Relationship Id="rId45" Type="http://schemas.openxmlformats.org/officeDocument/2006/relationships/slideLayout" Target="../slideLayouts/slideLayout184.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23" Type="http://schemas.openxmlformats.org/officeDocument/2006/relationships/slideLayout" Target="../slideLayouts/slideLayout162.xml"/><Relationship Id="rId28" Type="http://schemas.openxmlformats.org/officeDocument/2006/relationships/slideLayout" Target="../slideLayouts/slideLayout167.xml"/><Relationship Id="rId36" Type="http://schemas.openxmlformats.org/officeDocument/2006/relationships/slideLayout" Target="../slideLayouts/slideLayout175.xml"/><Relationship Id="rId49" Type="http://schemas.openxmlformats.org/officeDocument/2006/relationships/image" Target="../media/image48.emf"/><Relationship Id="rId10" Type="http://schemas.openxmlformats.org/officeDocument/2006/relationships/slideLayout" Target="../slideLayouts/slideLayout149.xml"/><Relationship Id="rId19" Type="http://schemas.openxmlformats.org/officeDocument/2006/relationships/slideLayout" Target="../slideLayouts/slideLayout158.xml"/><Relationship Id="rId31" Type="http://schemas.openxmlformats.org/officeDocument/2006/relationships/slideLayout" Target="../slideLayouts/slideLayout170.xml"/><Relationship Id="rId44" Type="http://schemas.openxmlformats.org/officeDocument/2006/relationships/slideLayout" Target="../slideLayouts/slideLayout183.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 Id="rId22" Type="http://schemas.openxmlformats.org/officeDocument/2006/relationships/slideLayout" Target="../slideLayouts/slideLayout161.xml"/><Relationship Id="rId27" Type="http://schemas.openxmlformats.org/officeDocument/2006/relationships/slideLayout" Target="../slideLayouts/slideLayout166.xml"/><Relationship Id="rId30" Type="http://schemas.openxmlformats.org/officeDocument/2006/relationships/slideLayout" Target="../slideLayouts/slideLayout169.xml"/><Relationship Id="rId35" Type="http://schemas.openxmlformats.org/officeDocument/2006/relationships/slideLayout" Target="../slideLayouts/slideLayout174.xml"/><Relationship Id="rId43" Type="http://schemas.openxmlformats.org/officeDocument/2006/relationships/slideLayout" Target="../slideLayouts/slideLayout182.xml"/><Relationship Id="rId48" Type="http://schemas.openxmlformats.org/officeDocument/2006/relationships/oleObject" Target="../embeddings/oleObject16.bin"/><Relationship Id="rId8" Type="http://schemas.openxmlformats.org/officeDocument/2006/relationships/slideLayout" Target="../slideLayouts/slideLayout147.xml"/><Relationship Id="rId3" Type="http://schemas.openxmlformats.org/officeDocument/2006/relationships/slideLayout" Target="../slideLayouts/slideLayout142.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5" Type="http://schemas.openxmlformats.org/officeDocument/2006/relationships/slideLayout" Target="../slideLayouts/slideLayout164.xml"/><Relationship Id="rId33" Type="http://schemas.openxmlformats.org/officeDocument/2006/relationships/slideLayout" Target="../slideLayouts/slideLayout172.xml"/><Relationship Id="rId38" Type="http://schemas.openxmlformats.org/officeDocument/2006/relationships/slideLayout" Target="../slideLayouts/slideLayout177.xml"/><Relationship Id="rId46" Type="http://schemas.openxmlformats.org/officeDocument/2006/relationships/theme" Target="../theme/theme6.xml"/><Relationship Id="rId20" Type="http://schemas.openxmlformats.org/officeDocument/2006/relationships/slideLayout" Target="../slideLayouts/slideLayout159.xml"/><Relationship Id="rId41" Type="http://schemas.openxmlformats.org/officeDocument/2006/relationships/slideLayout" Target="../slideLayouts/slideLayout180.xml"/><Relationship Id="rId1" Type="http://schemas.openxmlformats.org/officeDocument/2006/relationships/slideLayout" Target="../slideLayouts/slideLayout140.xml"/><Relationship Id="rId6" Type="http://schemas.openxmlformats.org/officeDocument/2006/relationships/slideLayout" Target="../slideLayouts/slideLayout145.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26" Type="http://schemas.openxmlformats.org/officeDocument/2006/relationships/slideLayout" Target="../slideLayouts/slideLayout210.xml"/><Relationship Id="rId39" Type="http://schemas.openxmlformats.org/officeDocument/2006/relationships/tags" Target="../tags/tag18.xml"/><Relationship Id="rId21" Type="http://schemas.openxmlformats.org/officeDocument/2006/relationships/slideLayout" Target="../slideLayouts/slideLayout205.xml"/><Relationship Id="rId34" Type="http://schemas.openxmlformats.org/officeDocument/2006/relationships/slideLayout" Target="../slideLayouts/slideLayout218.xml"/><Relationship Id="rId7" Type="http://schemas.openxmlformats.org/officeDocument/2006/relationships/slideLayout" Target="../slideLayouts/slideLayout191.xml"/><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0" Type="http://schemas.openxmlformats.org/officeDocument/2006/relationships/slideLayout" Target="../slideLayouts/slideLayout204.xml"/><Relationship Id="rId29" Type="http://schemas.openxmlformats.org/officeDocument/2006/relationships/slideLayout" Target="../slideLayouts/slideLayout213.xml"/><Relationship Id="rId41" Type="http://schemas.openxmlformats.org/officeDocument/2006/relationships/image" Target="../media/image48.emf"/><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24" Type="http://schemas.openxmlformats.org/officeDocument/2006/relationships/slideLayout" Target="../slideLayouts/slideLayout208.xml"/><Relationship Id="rId32" Type="http://schemas.openxmlformats.org/officeDocument/2006/relationships/slideLayout" Target="../slideLayouts/slideLayout216.xml"/><Relationship Id="rId37" Type="http://schemas.openxmlformats.org/officeDocument/2006/relationships/slideLayout" Target="../slideLayouts/slideLayout221.xml"/><Relationship Id="rId40" Type="http://schemas.openxmlformats.org/officeDocument/2006/relationships/oleObject" Target="../embeddings/oleObject17.bin"/><Relationship Id="rId5" Type="http://schemas.openxmlformats.org/officeDocument/2006/relationships/slideLayout" Target="../slideLayouts/slideLayout189.xml"/><Relationship Id="rId15" Type="http://schemas.openxmlformats.org/officeDocument/2006/relationships/slideLayout" Target="../slideLayouts/slideLayout199.xml"/><Relationship Id="rId23" Type="http://schemas.openxmlformats.org/officeDocument/2006/relationships/slideLayout" Target="../slideLayouts/slideLayout207.xml"/><Relationship Id="rId28" Type="http://schemas.openxmlformats.org/officeDocument/2006/relationships/slideLayout" Target="../slideLayouts/slideLayout212.xml"/><Relationship Id="rId36" Type="http://schemas.openxmlformats.org/officeDocument/2006/relationships/slideLayout" Target="../slideLayouts/slideLayout220.xml"/><Relationship Id="rId10" Type="http://schemas.openxmlformats.org/officeDocument/2006/relationships/slideLayout" Target="../slideLayouts/slideLayout194.xml"/><Relationship Id="rId19" Type="http://schemas.openxmlformats.org/officeDocument/2006/relationships/slideLayout" Target="../slideLayouts/slideLayout203.xml"/><Relationship Id="rId31" Type="http://schemas.openxmlformats.org/officeDocument/2006/relationships/slideLayout" Target="../slideLayouts/slideLayout215.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slideLayout" Target="../slideLayouts/slideLayout198.xml"/><Relationship Id="rId22" Type="http://schemas.openxmlformats.org/officeDocument/2006/relationships/slideLayout" Target="../slideLayouts/slideLayout206.xml"/><Relationship Id="rId27" Type="http://schemas.openxmlformats.org/officeDocument/2006/relationships/slideLayout" Target="../slideLayouts/slideLayout211.xml"/><Relationship Id="rId30" Type="http://schemas.openxmlformats.org/officeDocument/2006/relationships/slideLayout" Target="../slideLayouts/slideLayout214.xml"/><Relationship Id="rId35" Type="http://schemas.openxmlformats.org/officeDocument/2006/relationships/slideLayout" Target="../slideLayouts/slideLayout219.xml"/><Relationship Id="rId8" Type="http://schemas.openxmlformats.org/officeDocument/2006/relationships/slideLayout" Target="../slideLayouts/slideLayout192.xml"/><Relationship Id="rId3" Type="http://schemas.openxmlformats.org/officeDocument/2006/relationships/slideLayout" Target="../slideLayouts/slideLayout187.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5" Type="http://schemas.openxmlformats.org/officeDocument/2006/relationships/slideLayout" Target="../slideLayouts/slideLayout209.xml"/><Relationship Id="rId33" Type="http://schemas.openxmlformats.org/officeDocument/2006/relationships/slideLayout" Target="../slideLayouts/slideLayout217.xml"/><Relationship Id="rId38"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224.xml"/><Relationship Id="rId7" Type="http://schemas.openxmlformats.org/officeDocument/2006/relationships/image" Target="../media/image18.emf"/><Relationship Id="rId2" Type="http://schemas.openxmlformats.org/officeDocument/2006/relationships/slideLayout" Target="../slideLayouts/slideLayout223.xml"/><Relationship Id="rId1" Type="http://schemas.openxmlformats.org/officeDocument/2006/relationships/slideLayout" Target="../slideLayouts/slideLayout222.xml"/><Relationship Id="rId6" Type="http://schemas.openxmlformats.org/officeDocument/2006/relationships/oleObject" Target="../embeddings/oleObject19.bin"/><Relationship Id="rId5" Type="http://schemas.openxmlformats.org/officeDocument/2006/relationships/tags" Target="../tags/tag24.xml"/><Relationship Id="rId4"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F710CD6-F5A5-EE5E-2D7B-3455C6E71992}"/>
              </a:ext>
            </a:extLst>
          </p:cNvPr>
          <p:cNvGraphicFramePr>
            <a:graphicFrameLocks/>
          </p:cNvGraphicFramePr>
          <p:nvPr userDrawn="1">
            <p:custDataLst>
              <p:tags r:id="rId65"/>
            </p:custDataLst>
            <p:extLst>
              <p:ext uri="{D42A27DB-BD31-4B8C-83A1-F6EECF244321}">
                <p14:modId xmlns:p14="http://schemas.microsoft.com/office/powerpoint/2010/main" val="242795268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66" imgW="410" imgH="409" progId="TCLayout.ActiveDocument.1">
                  <p:embed/>
                </p:oleObj>
              </mc:Choice>
              <mc:Fallback>
                <p:oleObj name="think-cell Slide" r:id="rId66" imgW="410" imgH="409" progId="TCLayout.ActiveDocument.1">
                  <p:embed/>
                  <p:pic>
                    <p:nvPicPr>
                      <p:cNvPr id="7" name="think-cell data - do not delete" hidden="1">
                        <a:extLst>
                          <a:ext uri="{FF2B5EF4-FFF2-40B4-BE49-F238E27FC236}">
                            <a16:creationId xmlns:a16="http://schemas.microsoft.com/office/drawing/2014/main" id="{EF710CD6-F5A5-EE5E-2D7B-3455C6E71992}"/>
                          </a:ext>
                        </a:extLst>
                      </p:cNvPr>
                      <p:cNvPicPr/>
                      <p:nvPr/>
                    </p:nvPicPr>
                    <p:blipFill>
                      <a:blip r:embed="rId67"/>
                      <a:stretch>
                        <a:fillRect/>
                      </a:stretch>
                    </p:blipFill>
                    <p:spPr>
                      <a:xfrm>
                        <a:off x="2118" y="2118"/>
                        <a:ext cx="2117" cy="211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BA51DD10-CBA6-9A22-8518-D97E03B72FE6}"/>
              </a:ext>
            </a:extLst>
          </p:cNvPr>
          <p:cNvSpPr/>
          <p:nvPr userDrawn="1"/>
        </p:nvSpPr>
        <p:spPr>
          <a:xfrm>
            <a:off x="-1600" y="1"/>
            <a:ext cx="12193600" cy="6858225"/>
          </a:xfrm>
          <a:prstGeom prst="rect">
            <a:avLst/>
          </a:prstGeom>
          <a:gradFill>
            <a:gsLst>
              <a:gs pos="0">
                <a:srgbClr val="5C2D91"/>
              </a:gs>
              <a:gs pos="60000">
                <a:schemeClr val="accent5"/>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2400"/>
          </a:p>
        </p:txBody>
      </p:sp>
      <p:sp>
        <p:nvSpPr>
          <p:cNvPr id="2" name="Title Placeholder 1"/>
          <p:cNvSpPr>
            <a:spLocks noGrp="1"/>
          </p:cNvSpPr>
          <p:nvPr>
            <p:ph type="title"/>
          </p:nvPr>
        </p:nvSpPr>
        <p:spPr>
          <a:xfrm>
            <a:off x="613837" y="503768"/>
            <a:ext cx="10962217" cy="880123"/>
          </a:xfrm>
          <a:prstGeom prst="rect">
            <a:avLst/>
          </a:prstGeom>
        </p:spPr>
        <p:txBody>
          <a:bodyPr vert="horz" lIns="0" tIns="0" rIns="0" bIns="0" rtlCol="0" anchor="t" anchorCtr="0">
            <a:noAutofit/>
          </a:bodyPr>
          <a:lstStyle/>
          <a:p>
            <a:r>
              <a:rPr lang="en-US"/>
              <a:t>Click to edit Master title style</a:t>
            </a:r>
            <a:endParaRPr lang="nl-BE"/>
          </a:p>
        </p:txBody>
      </p:sp>
      <p:sp>
        <p:nvSpPr>
          <p:cNvPr id="3" name="Text Placeholder 2"/>
          <p:cNvSpPr>
            <a:spLocks noGrp="1"/>
          </p:cNvSpPr>
          <p:nvPr>
            <p:ph type="body" idx="1"/>
          </p:nvPr>
        </p:nvSpPr>
        <p:spPr>
          <a:xfrm>
            <a:off x="613835" y="1384303"/>
            <a:ext cx="10962216" cy="4876797"/>
          </a:xfrm>
          <a:prstGeom prst="rect">
            <a:avLst/>
          </a:prstGeom>
        </p:spPr>
        <p:txBody>
          <a:bodyPr vert="horz" lIns="0" tIns="0" rIns="0" bIns="0" numCol="1" spcCol="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BE"/>
          </a:p>
        </p:txBody>
      </p:sp>
    </p:spTree>
    <p:extLst>
      <p:ext uri="{BB962C8B-B14F-4D97-AF65-F5344CB8AC3E}">
        <p14:creationId xmlns:p14="http://schemas.microsoft.com/office/powerpoint/2010/main" val="1799187143"/>
      </p:ext>
    </p:extLst>
  </p:cSld>
  <p:clrMap bg1="dk1" tx1="lt1" bg2="dk2" tx2="lt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02" r:id="rId30"/>
    <p:sldLayoutId id="2147483703" r:id="rId31"/>
    <p:sldLayoutId id="2147483704" r:id="rId32"/>
    <p:sldLayoutId id="2147483705" r:id="rId33"/>
    <p:sldLayoutId id="2147483706" r:id="rId34"/>
    <p:sldLayoutId id="2147483707" r:id="rId35"/>
    <p:sldLayoutId id="2147483708" r:id="rId36"/>
    <p:sldLayoutId id="2147483709" r:id="rId37"/>
    <p:sldLayoutId id="2147483710" r:id="rId38"/>
    <p:sldLayoutId id="2147483711" r:id="rId39"/>
    <p:sldLayoutId id="2147483712" r:id="rId40"/>
    <p:sldLayoutId id="2147483713" r:id="rId41"/>
    <p:sldLayoutId id="2147483714" r:id="rId42"/>
    <p:sldLayoutId id="2147483715" r:id="rId43"/>
    <p:sldLayoutId id="2147483716" r:id="rId44"/>
    <p:sldLayoutId id="2147483717" r:id="rId45"/>
    <p:sldLayoutId id="2147483718" r:id="rId46"/>
    <p:sldLayoutId id="2147483719" r:id="rId47"/>
    <p:sldLayoutId id="2147483720" r:id="rId48"/>
    <p:sldLayoutId id="2147483721" r:id="rId49"/>
    <p:sldLayoutId id="2147483722" r:id="rId50"/>
    <p:sldLayoutId id="2147483723" r:id="rId51"/>
    <p:sldLayoutId id="2147483724" r:id="rId52"/>
    <p:sldLayoutId id="2147483725" r:id="rId53"/>
    <p:sldLayoutId id="2147483726" r:id="rId54"/>
    <p:sldLayoutId id="2147483727" r:id="rId55"/>
    <p:sldLayoutId id="2147483728" r:id="rId56"/>
    <p:sldLayoutId id="2147483729" r:id="rId57"/>
    <p:sldLayoutId id="2147483730" r:id="rId58"/>
    <p:sldLayoutId id="2147483731" r:id="rId59"/>
    <p:sldLayoutId id="2147483732" r:id="rId60"/>
    <p:sldLayoutId id="2147483733" r:id="rId61"/>
    <p:sldLayoutId id="2147483734" r:id="rId62"/>
    <p:sldLayoutId id="2147483735" r:id="rId63"/>
  </p:sldLayoutIdLst>
  <p:hf sldNum="0" hdr="0" ftr="0" dt="0"/>
  <p:txStyles>
    <p:titleStyle>
      <a:lvl1pPr algn="l" defTabSz="1219019" rtl="0" eaLnBrk="1" latinLnBrk="0" hangingPunct="1">
        <a:spcBef>
          <a:spcPct val="0"/>
        </a:spcBef>
        <a:buNone/>
        <a:defRPr sz="3465" b="0" i="0" kern="1200">
          <a:solidFill>
            <a:schemeClr val="tx1"/>
          </a:solidFill>
          <a:latin typeface="+mj-lt"/>
          <a:ea typeface="+mj-ea"/>
          <a:cs typeface="Proximus" panose="020B060402020202020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1219019" rtl="0" eaLnBrk="1" latinLnBrk="0" hangingPunct="1">
        <a:lnSpc>
          <a:spcPct val="100000"/>
        </a:lnSpc>
        <a:spcBef>
          <a:spcPts val="1600"/>
        </a:spcBef>
        <a:spcAft>
          <a:spcPts val="0"/>
        </a:spcAft>
        <a:buClr>
          <a:schemeClr val="bg1"/>
        </a:buClr>
        <a:buSzPct val="100000"/>
        <a:buFont typeface="Arial" panose="020B0604020202020204" pitchFamily="34" charset="0"/>
        <a:buNone/>
        <a:tabLst/>
        <a:defRPr sz="2400" kern="1200">
          <a:solidFill>
            <a:schemeClr val="tx1"/>
          </a:solidFill>
          <a:latin typeface="Proximus" panose="00000500000000000000" pitchFamily="2" charset="0"/>
          <a:ea typeface="+mn-ea"/>
          <a:cs typeface="+mn-cs"/>
        </a:defRPr>
      </a:lvl1pPr>
      <a:lvl2pPr marL="235194" indent="-234917" algn="l" defTabSz="1219019" rtl="0" eaLnBrk="1" latinLnBrk="0" hangingPunct="1">
        <a:spcBef>
          <a:spcPts val="800"/>
        </a:spcBef>
        <a:spcAft>
          <a:spcPts val="0"/>
        </a:spcAft>
        <a:buClr>
          <a:schemeClr val="tx1"/>
        </a:buClr>
        <a:buSzPct val="100000"/>
        <a:buFont typeface="Arial" panose="020B0604020202020204" pitchFamily="34" charset="0"/>
        <a:buChar char="•"/>
        <a:tabLst/>
        <a:defRPr sz="2400" kern="1200">
          <a:solidFill>
            <a:schemeClr val="tx1"/>
          </a:solidFill>
          <a:latin typeface="Proximus" panose="00000500000000000000" pitchFamily="2" charset="0"/>
          <a:ea typeface="+mn-ea"/>
          <a:cs typeface="+mn-cs"/>
        </a:defRPr>
      </a:lvl2pPr>
      <a:lvl3pPr marL="479988" indent="-237033" algn="l" defTabSz="1219019" rtl="0" eaLnBrk="1" latinLnBrk="0" hangingPunct="1">
        <a:spcBef>
          <a:spcPts val="800"/>
        </a:spcBef>
        <a:spcAft>
          <a:spcPts val="0"/>
        </a:spcAft>
        <a:buClr>
          <a:schemeClr val="tx1"/>
        </a:buClr>
        <a:buSzPct val="100000"/>
        <a:buFont typeface="Arial" panose="020B0604020202020204" pitchFamily="34" charset="0"/>
        <a:buChar char="•"/>
        <a:tabLst/>
        <a:defRPr sz="2133" kern="1200">
          <a:solidFill>
            <a:schemeClr val="tx1"/>
          </a:solidFill>
          <a:latin typeface="Proximus" panose="00000500000000000000" pitchFamily="2" charset="0"/>
          <a:ea typeface="+mn-ea"/>
          <a:cs typeface="+mn-cs"/>
        </a:defRPr>
      </a:lvl3pPr>
      <a:lvl4pPr marL="715182" indent="-234917" algn="l" defTabSz="1219019" rtl="0" eaLnBrk="1" latinLnBrk="0" hangingPunct="1">
        <a:spcBef>
          <a:spcPts val="800"/>
        </a:spcBef>
        <a:spcAft>
          <a:spcPts val="0"/>
        </a:spcAft>
        <a:buClr>
          <a:schemeClr val="tx1"/>
        </a:buClr>
        <a:buSzPct val="100000"/>
        <a:buFont typeface="Arial" panose="020B0604020202020204" pitchFamily="34" charset="0"/>
        <a:buChar char="•"/>
        <a:tabLst/>
        <a:defRPr sz="2133" kern="1200">
          <a:solidFill>
            <a:schemeClr val="tx1"/>
          </a:solidFill>
          <a:latin typeface="Proximus Light" panose="020B0604020202020204" charset="0"/>
          <a:ea typeface="+mn-ea"/>
          <a:cs typeface="+mn-cs"/>
        </a:defRPr>
      </a:lvl4pPr>
      <a:lvl5pPr marL="0" indent="0" algn="l" defTabSz="1219019" rtl="0" eaLnBrk="1" latinLnBrk="0" hangingPunct="1">
        <a:spcBef>
          <a:spcPts val="3200"/>
        </a:spcBef>
        <a:spcAft>
          <a:spcPts val="0"/>
        </a:spcAft>
        <a:buClr>
          <a:schemeClr val="bg1"/>
        </a:buClr>
        <a:buSzPct val="100000"/>
        <a:buFont typeface="Arial" panose="020B0604020202020204" pitchFamily="34" charset="0"/>
        <a:buNone/>
        <a:tabLst/>
        <a:defRPr sz="2400" kern="1200">
          <a:solidFill>
            <a:schemeClr val="accent4"/>
          </a:solidFill>
          <a:latin typeface="Proximus Light" panose="020B0604020202020204" charset="0"/>
          <a:ea typeface="+mn-ea"/>
          <a:cs typeface="+mn-cs"/>
        </a:defRPr>
      </a:lvl5pPr>
      <a:lvl6pPr marL="3352298" indent="-304755" algn="l" defTabSz="1219019"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1806" indent="-304755" algn="l" defTabSz="1219019"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315" indent="-304755" algn="l" defTabSz="1219019"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0824" indent="-304755" algn="l" defTabSz="1219019"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nl-BE"/>
      </a:defPPr>
      <a:lvl1pPr marL="0" algn="l" defTabSz="1219019" rtl="0" eaLnBrk="1" latinLnBrk="0" hangingPunct="1">
        <a:defRPr sz="2400" kern="1200">
          <a:solidFill>
            <a:schemeClr val="tx1"/>
          </a:solidFill>
          <a:latin typeface="+mn-lt"/>
          <a:ea typeface="+mn-ea"/>
          <a:cs typeface="+mn-cs"/>
        </a:defRPr>
      </a:lvl1pPr>
      <a:lvl2pPr marL="609509" algn="l" defTabSz="1219019" rtl="0" eaLnBrk="1" latinLnBrk="0" hangingPunct="1">
        <a:defRPr sz="2400" kern="1200">
          <a:solidFill>
            <a:schemeClr val="tx1"/>
          </a:solidFill>
          <a:latin typeface="+mn-lt"/>
          <a:ea typeface="+mn-ea"/>
          <a:cs typeface="+mn-cs"/>
        </a:defRPr>
      </a:lvl2pPr>
      <a:lvl3pPr marL="1219019" algn="l" defTabSz="1219019" rtl="0" eaLnBrk="1" latinLnBrk="0" hangingPunct="1">
        <a:defRPr sz="2400" kern="1200">
          <a:solidFill>
            <a:schemeClr val="tx1"/>
          </a:solidFill>
          <a:latin typeface="+mn-lt"/>
          <a:ea typeface="+mn-ea"/>
          <a:cs typeface="+mn-cs"/>
        </a:defRPr>
      </a:lvl3pPr>
      <a:lvl4pPr marL="1828526" algn="l" defTabSz="1219019" rtl="0" eaLnBrk="1" latinLnBrk="0" hangingPunct="1">
        <a:defRPr sz="2400" kern="1200">
          <a:solidFill>
            <a:schemeClr val="tx1"/>
          </a:solidFill>
          <a:latin typeface="+mn-lt"/>
          <a:ea typeface="+mn-ea"/>
          <a:cs typeface="+mn-cs"/>
        </a:defRPr>
      </a:lvl4pPr>
      <a:lvl5pPr marL="2438034" algn="l" defTabSz="1219019" rtl="0" eaLnBrk="1" latinLnBrk="0" hangingPunct="1">
        <a:defRPr sz="2400" kern="1200">
          <a:solidFill>
            <a:schemeClr val="tx1"/>
          </a:solidFill>
          <a:latin typeface="+mn-lt"/>
          <a:ea typeface="+mn-ea"/>
          <a:cs typeface="+mn-cs"/>
        </a:defRPr>
      </a:lvl5pPr>
      <a:lvl6pPr marL="3047542" algn="l" defTabSz="1219019" rtl="0" eaLnBrk="1" latinLnBrk="0" hangingPunct="1">
        <a:defRPr sz="2400" kern="1200">
          <a:solidFill>
            <a:schemeClr val="tx1"/>
          </a:solidFill>
          <a:latin typeface="+mn-lt"/>
          <a:ea typeface="+mn-ea"/>
          <a:cs typeface="+mn-cs"/>
        </a:defRPr>
      </a:lvl6pPr>
      <a:lvl7pPr marL="3657051" algn="l" defTabSz="1219019" rtl="0" eaLnBrk="1" latinLnBrk="0" hangingPunct="1">
        <a:defRPr sz="2400" kern="1200">
          <a:solidFill>
            <a:schemeClr val="tx1"/>
          </a:solidFill>
          <a:latin typeface="+mn-lt"/>
          <a:ea typeface="+mn-ea"/>
          <a:cs typeface="+mn-cs"/>
        </a:defRPr>
      </a:lvl7pPr>
      <a:lvl8pPr marL="4266560" algn="l" defTabSz="1219019" rtl="0" eaLnBrk="1" latinLnBrk="0" hangingPunct="1">
        <a:defRPr sz="2400" kern="1200">
          <a:solidFill>
            <a:schemeClr val="tx1"/>
          </a:solidFill>
          <a:latin typeface="+mn-lt"/>
          <a:ea typeface="+mn-ea"/>
          <a:cs typeface="+mn-cs"/>
        </a:defRPr>
      </a:lvl8pPr>
      <a:lvl9pPr marL="4876069" algn="l" defTabSz="1219019"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5468">
          <p15:clr>
            <a:srgbClr val="F26B43"/>
          </p15:clr>
        </p15:guide>
        <p15:guide id="3" pos="2880">
          <p15:clr>
            <a:srgbClr val="F26B43"/>
          </p15:clr>
        </p15:guide>
        <p15:guide id="4" pos="290">
          <p15:clr>
            <a:srgbClr val="F26B43"/>
          </p15:clr>
        </p15:guide>
        <p15:guide id="5" orient="horz" pos="2958">
          <p15:clr>
            <a:srgbClr val="F26B43"/>
          </p15:clr>
        </p15:guide>
        <p15:guide id="6" orient="horz" pos="2869">
          <p15:clr>
            <a:srgbClr val="F26B43"/>
          </p15:clr>
        </p15:guide>
        <p15:guide id="7" orient="horz" pos="1620">
          <p15:clr>
            <a:srgbClr val="F26B43"/>
          </p15:clr>
        </p15:guide>
        <p15:guide id="8" orient="horz" pos="284">
          <p15:clr>
            <a:srgbClr val="F26B43"/>
          </p15:clr>
        </p15:guide>
        <p15:guide id="9" orient="horz" pos="239">
          <p15:clr>
            <a:srgbClr val="F26B43"/>
          </p15:clr>
        </p15:guide>
        <p15:guide id="10" orient="horz" pos="65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73D871C-C105-D5F5-152D-C911869696DB}"/>
              </a:ext>
            </a:extLst>
          </p:cNvPr>
          <p:cNvGraphicFramePr>
            <a:graphicFrameLocks noChangeAspect="1"/>
          </p:cNvGraphicFramePr>
          <p:nvPr userDrawn="1">
            <p:custDataLst>
              <p:tags r:id="rId37"/>
            </p:custDataLst>
            <p:extLst>
              <p:ext uri="{D42A27DB-BD31-4B8C-83A1-F6EECF244321}">
                <p14:modId xmlns:p14="http://schemas.microsoft.com/office/powerpoint/2010/main" val="2416966146"/>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8" imgW="532" imgH="533" progId="TCLayout.ActiveDocument.1">
                  <p:embed/>
                </p:oleObj>
              </mc:Choice>
              <mc:Fallback>
                <p:oleObj name="think-cell Slide" r:id="rId38" imgW="532" imgH="533" progId="TCLayout.ActiveDocument.1">
                  <p:embed/>
                  <p:pic>
                    <p:nvPicPr>
                      <p:cNvPr id="5" name="think-cell data - do not delete" hidden="1">
                        <a:extLst>
                          <a:ext uri="{FF2B5EF4-FFF2-40B4-BE49-F238E27FC236}">
                            <a16:creationId xmlns:a16="http://schemas.microsoft.com/office/drawing/2014/main" id="{473D871C-C105-D5F5-152D-C911869696DB}"/>
                          </a:ext>
                        </a:extLst>
                      </p:cNvPr>
                      <p:cNvPicPr/>
                      <p:nvPr/>
                    </p:nvPicPr>
                    <p:blipFill>
                      <a:blip r:embed="rId39"/>
                      <a:stretch>
                        <a:fillRect/>
                      </a:stretch>
                    </p:blipFill>
                    <p:spPr>
                      <a:xfrm>
                        <a:off x="2119" y="2119"/>
                        <a:ext cx="2117" cy="2117"/>
                      </a:xfrm>
                      <a:prstGeom prst="rect">
                        <a:avLst/>
                      </a:prstGeom>
                    </p:spPr>
                  </p:pic>
                </p:oleObj>
              </mc:Fallback>
            </mc:AlternateContent>
          </a:graphicData>
        </a:graphic>
      </p:graphicFrame>
      <p:sp>
        <p:nvSpPr>
          <p:cNvPr id="2" name="Title Placeholder 1"/>
          <p:cNvSpPr>
            <a:spLocks noGrp="1"/>
          </p:cNvSpPr>
          <p:nvPr>
            <p:ph type="title"/>
          </p:nvPr>
        </p:nvSpPr>
        <p:spPr>
          <a:xfrm>
            <a:off x="613838" y="503769"/>
            <a:ext cx="10962217" cy="880123"/>
          </a:xfrm>
          <a:prstGeom prst="rect">
            <a:avLst/>
          </a:prstGeom>
        </p:spPr>
        <p:txBody>
          <a:bodyPr vert="horz" lIns="0" tIns="0" rIns="0" bIns="0" rtlCol="0" anchor="t" anchorCtr="0">
            <a:noAutofit/>
          </a:bodyPr>
          <a:lstStyle/>
          <a:p>
            <a:r>
              <a:rPr lang="en-US"/>
              <a:t>Click to edit Master title style</a:t>
            </a:r>
            <a:endParaRPr lang="nl-BE"/>
          </a:p>
        </p:txBody>
      </p:sp>
      <p:sp>
        <p:nvSpPr>
          <p:cNvPr id="3" name="Text Placeholder 2"/>
          <p:cNvSpPr>
            <a:spLocks noGrp="1"/>
          </p:cNvSpPr>
          <p:nvPr>
            <p:ph type="body" idx="1"/>
          </p:nvPr>
        </p:nvSpPr>
        <p:spPr>
          <a:xfrm>
            <a:off x="613835" y="1384303"/>
            <a:ext cx="10962216" cy="4684184"/>
          </a:xfrm>
          <a:prstGeom prst="rect">
            <a:avLst/>
          </a:prstGeom>
        </p:spPr>
        <p:txBody>
          <a:bodyPr vert="horz" lIns="0" tIns="0" rIns="0" bIns="0" numCol="1" spcCol="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6" name="TextBox 5">
            <a:extLst>
              <a:ext uri="{FF2B5EF4-FFF2-40B4-BE49-F238E27FC236}">
                <a16:creationId xmlns:a16="http://schemas.microsoft.com/office/drawing/2014/main" id="{D5FD017B-6CEB-E6DD-EA79-544566B036A0}"/>
              </a:ext>
            </a:extLst>
          </p:cNvPr>
          <p:cNvSpPr txBox="1"/>
          <p:nvPr userDrawn="1">
            <p:extLst>
              <p:ext uri="{1162E1C5-73C7-4A58-AE30-91384D911F3F}">
                <p184:classification xmlns:p184="http://schemas.microsoft.com/office/powerpoint/2018/4/main" val="ftr"/>
              </p:ext>
            </p:extLst>
          </p:nvPr>
        </p:nvSpPr>
        <p:spPr>
          <a:xfrm>
            <a:off x="4039361" y="6687821"/>
            <a:ext cx="4133851" cy="107722"/>
          </a:xfrm>
          <a:prstGeom prst="rect">
            <a:avLst/>
          </a:prstGeom>
        </p:spPr>
        <p:txBody>
          <a:bodyPr horzOverflow="overflow" lIns="0" tIns="0" rIns="0" bIns="0">
            <a:spAutoFit/>
          </a:bodyPr>
          <a:lstStyle/>
          <a:p>
            <a:pPr algn="l"/>
            <a:r>
              <a:rPr lang="en-BE" sz="700">
                <a:solidFill>
                  <a:srgbClr val="737373">
                    <a:alpha val="50000"/>
                  </a:srgbClr>
                </a:solidFill>
                <a:latin typeface="Calibri" panose="020F0502020204030204" pitchFamily="34" charset="0"/>
                <a:ea typeface="Calibri" panose="020F0502020204030204" pitchFamily="34" charset="0"/>
                <a:cs typeface="Calibri" panose="020F0502020204030204" pitchFamily="34" charset="0"/>
              </a:rPr>
              <a:t>Confidential - Not for you? Notify the sender and delete. See more on https://www.proximus.com/confidentiality</a:t>
            </a:r>
          </a:p>
        </p:txBody>
      </p:sp>
    </p:spTree>
    <p:extLst>
      <p:ext uri="{BB962C8B-B14F-4D97-AF65-F5344CB8AC3E}">
        <p14:creationId xmlns:p14="http://schemas.microsoft.com/office/powerpoint/2010/main" val="3406645490"/>
      </p:ext>
    </p:extLst>
  </p:cSld>
  <p:clrMap bg1="dk1" tx1="lt1" bg2="dk2" tx2="lt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 id="2147483755" r:id="rId19"/>
    <p:sldLayoutId id="2147483756" r:id="rId20"/>
    <p:sldLayoutId id="2147483757" r:id="rId21"/>
    <p:sldLayoutId id="2147483758" r:id="rId22"/>
    <p:sldLayoutId id="2147483759" r:id="rId23"/>
    <p:sldLayoutId id="2147483760" r:id="rId24"/>
    <p:sldLayoutId id="2147483761" r:id="rId25"/>
    <p:sldLayoutId id="2147483762" r:id="rId26"/>
    <p:sldLayoutId id="2147483763" r:id="rId27"/>
    <p:sldLayoutId id="2147483764" r:id="rId28"/>
    <p:sldLayoutId id="2147483765" r:id="rId29"/>
    <p:sldLayoutId id="2147483766" r:id="rId30"/>
    <p:sldLayoutId id="2147483767" r:id="rId31"/>
    <p:sldLayoutId id="2147483768" r:id="rId32"/>
    <p:sldLayoutId id="2147483769" r:id="rId33"/>
    <p:sldLayoutId id="2147483770" r:id="rId34"/>
    <p:sldLayoutId id="2147483771" r:id="rId35"/>
  </p:sldLayoutIdLst>
  <p:hf sldNum="0" hdr="0" ftr="0" dt="0"/>
  <p:txStyles>
    <p:titleStyle>
      <a:lvl1pPr algn="l" defTabSz="1218988" rtl="0" eaLnBrk="1" latinLnBrk="0" hangingPunct="1">
        <a:spcBef>
          <a:spcPct val="0"/>
        </a:spcBef>
        <a:buNone/>
        <a:defRPr sz="3465" b="1" i="0" kern="1200">
          <a:solidFill>
            <a:schemeClr val="bg1"/>
          </a:solidFill>
          <a:latin typeface="Proximus" panose="020B0604020202020204" charset="0"/>
          <a:ea typeface="+mj-ea"/>
          <a:cs typeface="Proximus" panose="020B060402020202020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35189" indent="-235189" algn="l" defTabSz="1218988" rtl="0" eaLnBrk="1" latinLnBrk="0" hangingPunct="1">
        <a:lnSpc>
          <a:spcPct val="100000"/>
        </a:lnSpc>
        <a:spcBef>
          <a:spcPts val="800"/>
        </a:spcBef>
        <a:spcAft>
          <a:spcPts val="0"/>
        </a:spcAft>
        <a:buClr>
          <a:schemeClr val="bg1"/>
        </a:buClr>
        <a:buSzPct val="100000"/>
        <a:buFont typeface="Arial" panose="020B0604020202020204" pitchFamily="34" charset="0"/>
        <a:buChar char="•"/>
        <a:tabLst/>
        <a:defRPr sz="1867" kern="1200">
          <a:solidFill>
            <a:srgbClr val="000000"/>
          </a:solidFill>
          <a:latin typeface="Proximus" panose="00000500000000000000" pitchFamily="2" charset="0"/>
          <a:ea typeface="+mn-ea"/>
          <a:cs typeface="+mn-cs"/>
        </a:defRPr>
      </a:lvl1pPr>
      <a:lvl2pPr marL="479976" indent="-234911" algn="l" defTabSz="1218988" rtl="0" eaLnBrk="1" latinLnBrk="0" hangingPunct="1">
        <a:spcBef>
          <a:spcPts val="800"/>
        </a:spcBef>
        <a:spcAft>
          <a:spcPts val="0"/>
        </a:spcAft>
        <a:buClr>
          <a:schemeClr val="bg1"/>
        </a:buClr>
        <a:buSzPct val="100000"/>
        <a:buFont typeface="Arial" panose="020B0604020202020204" pitchFamily="34" charset="0"/>
        <a:buChar char="•"/>
        <a:tabLst/>
        <a:defRPr sz="1600" kern="1200">
          <a:solidFill>
            <a:srgbClr val="000000"/>
          </a:solidFill>
          <a:latin typeface="Proximus" panose="00000500000000000000" pitchFamily="2" charset="0"/>
          <a:ea typeface="+mn-ea"/>
          <a:cs typeface="+mn-cs"/>
        </a:defRPr>
      </a:lvl2pPr>
      <a:lvl3pPr marL="715165" indent="-237027" algn="l" defTabSz="1218988" rtl="0" eaLnBrk="1" latinLnBrk="0" hangingPunct="1">
        <a:spcBef>
          <a:spcPts val="800"/>
        </a:spcBef>
        <a:spcAft>
          <a:spcPts val="0"/>
        </a:spcAft>
        <a:buClr>
          <a:schemeClr val="bg1"/>
        </a:buClr>
        <a:buSzPct val="100000"/>
        <a:buFont typeface="Arial" panose="020B0604020202020204" pitchFamily="34" charset="0"/>
        <a:buChar char="•"/>
        <a:tabLst/>
        <a:defRPr sz="1600" kern="1200">
          <a:solidFill>
            <a:srgbClr val="000000"/>
          </a:solidFill>
          <a:latin typeface="Proximus Light" panose="00000400000000000000" pitchFamily="50" charset="0"/>
          <a:ea typeface="+mn-ea"/>
          <a:cs typeface="+mn-cs"/>
        </a:defRPr>
      </a:lvl3pPr>
      <a:lvl4pPr marL="0" indent="0" algn="l" defTabSz="1218988" rtl="0" eaLnBrk="1" latinLnBrk="0" hangingPunct="1">
        <a:spcBef>
          <a:spcPts val="1600"/>
        </a:spcBef>
        <a:spcAft>
          <a:spcPts val="0"/>
        </a:spcAft>
        <a:buClr>
          <a:schemeClr val="bg1"/>
        </a:buClr>
        <a:buSzPct val="100000"/>
        <a:buFont typeface="Arial" panose="020B0604020202020204" pitchFamily="34" charset="0"/>
        <a:buNone/>
        <a:tabLst/>
        <a:defRPr sz="1867" kern="1200">
          <a:solidFill>
            <a:srgbClr val="000000"/>
          </a:solidFill>
          <a:latin typeface="+mn-lt"/>
          <a:ea typeface="+mn-ea"/>
          <a:cs typeface="+mn-cs"/>
        </a:defRPr>
      </a:lvl4pPr>
      <a:lvl5pPr marL="0" indent="0" algn="l" defTabSz="1218988" rtl="0" eaLnBrk="1" latinLnBrk="0" hangingPunct="1">
        <a:spcBef>
          <a:spcPts val="2400"/>
        </a:spcBef>
        <a:spcAft>
          <a:spcPts val="0"/>
        </a:spcAft>
        <a:buClr>
          <a:schemeClr val="bg1"/>
        </a:buClr>
        <a:buSzPct val="100000"/>
        <a:buFont typeface="Arial" panose="020B0604020202020204" pitchFamily="34" charset="0"/>
        <a:buNone/>
        <a:tabLst/>
        <a:defRPr sz="2133" kern="1200">
          <a:solidFill>
            <a:schemeClr val="bg1"/>
          </a:solidFill>
          <a:latin typeface="Proximus Light" panose="020B0604020202020204" charset="0"/>
          <a:ea typeface="+mn-ea"/>
          <a:cs typeface="+mn-cs"/>
        </a:defRPr>
      </a:lvl5pPr>
      <a:lvl6pPr marL="3352215" indent="-304747" algn="l" defTabSz="1218988"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1708" indent="-304747" algn="l" defTabSz="1218988"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200" indent="-304747" algn="l" defTabSz="1218988"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0694" indent="-304747" algn="l" defTabSz="1218988"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nl-BE"/>
      </a:defPPr>
      <a:lvl1pPr marL="0" algn="l" defTabSz="1218988" rtl="0" eaLnBrk="1" latinLnBrk="0" hangingPunct="1">
        <a:defRPr sz="2400" kern="1200">
          <a:solidFill>
            <a:schemeClr val="tx1"/>
          </a:solidFill>
          <a:latin typeface="+mn-lt"/>
          <a:ea typeface="+mn-ea"/>
          <a:cs typeface="+mn-cs"/>
        </a:defRPr>
      </a:lvl1pPr>
      <a:lvl2pPr marL="609494" algn="l" defTabSz="1218988" rtl="0" eaLnBrk="1" latinLnBrk="0" hangingPunct="1">
        <a:defRPr sz="2400" kern="1200">
          <a:solidFill>
            <a:schemeClr val="tx1"/>
          </a:solidFill>
          <a:latin typeface="+mn-lt"/>
          <a:ea typeface="+mn-ea"/>
          <a:cs typeface="+mn-cs"/>
        </a:defRPr>
      </a:lvl2pPr>
      <a:lvl3pPr marL="1218988" algn="l" defTabSz="1218988" rtl="0" eaLnBrk="1" latinLnBrk="0" hangingPunct="1">
        <a:defRPr sz="2400" kern="1200">
          <a:solidFill>
            <a:schemeClr val="tx1"/>
          </a:solidFill>
          <a:latin typeface="+mn-lt"/>
          <a:ea typeface="+mn-ea"/>
          <a:cs typeface="+mn-cs"/>
        </a:defRPr>
      </a:lvl3pPr>
      <a:lvl4pPr marL="1828481" algn="l" defTabSz="1218988" rtl="0" eaLnBrk="1" latinLnBrk="0" hangingPunct="1">
        <a:defRPr sz="2400" kern="1200">
          <a:solidFill>
            <a:schemeClr val="tx1"/>
          </a:solidFill>
          <a:latin typeface="+mn-lt"/>
          <a:ea typeface="+mn-ea"/>
          <a:cs typeface="+mn-cs"/>
        </a:defRPr>
      </a:lvl4pPr>
      <a:lvl5pPr marL="2437974" algn="l" defTabSz="1218988" rtl="0" eaLnBrk="1" latinLnBrk="0" hangingPunct="1">
        <a:defRPr sz="2400" kern="1200">
          <a:solidFill>
            <a:schemeClr val="tx1"/>
          </a:solidFill>
          <a:latin typeface="+mn-lt"/>
          <a:ea typeface="+mn-ea"/>
          <a:cs typeface="+mn-cs"/>
        </a:defRPr>
      </a:lvl5pPr>
      <a:lvl6pPr marL="3047466" algn="l" defTabSz="1218988" rtl="0" eaLnBrk="1" latinLnBrk="0" hangingPunct="1">
        <a:defRPr sz="2400" kern="1200">
          <a:solidFill>
            <a:schemeClr val="tx1"/>
          </a:solidFill>
          <a:latin typeface="+mn-lt"/>
          <a:ea typeface="+mn-ea"/>
          <a:cs typeface="+mn-cs"/>
        </a:defRPr>
      </a:lvl6pPr>
      <a:lvl7pPr marL="3656959" algn="l" defTabSz="1218988" rtl="0" eaLnBrk="1" latinLnBrk="0" hangingPunct="1">
        <a:defRPr sz="2400" kern="1200">
          <a:solidFill>
            <a:schemeClr val="tx1"/>
          </a:solidFill>
          <a:latin typeface="+mn-lt"/>
          <a:ea typeface="+mn-ea"/>
          <a:cs typeface="+mn-cs"/>
        </a:defRPr>
      </a:lvl7pPr>
      <a:lvl8pPr marL="4266453" algn="l" defTabSz="1218988" rtl="0" eaLnBrk="1" latinLnBrk="0" hangingPunct="1">
        <a:defRPr sz="2400" kern="1200">
          <a:solidFill>
            <a:schemeClr val="tx1"/>
          </a:solidFill>
          <a:latin typeface="+mn-lt"/>
          <a:ea typeface="+mn-ea"/>
          <a:cs typeface="+mn-cs"/>
        </a:defRPr>
      </a:lvl8pPr>
      <a:lvl9pPr marL="4875947" algn="l" defTabSz="1218988"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5468">
          <p15:clr>
            <a:srgbClr val="F26B43"/>
          </p15:clr>
        </p15:guide>
        <p15:guide id="3" pos="2880">
          <p15:clr>
            <a:srgbClr val="F26B43"/>
          </p15:clr>
        </p15:guide>
        <p15:guide id="4" pos="290">
          <p15:clr>
            <a:srgbClr val="F26B43"/>
          </p15:clr>
        </p15:guide>
        <p15:guide id="5" orient="horz" pos="2958">
          <p15:clr>
            <a:srgbClr val="F26B43"/>
          </p15:clr>
        </p15:guide>
        <p15:guide id="6" orient="horz" pos="2869">
          <p15:clr>
            <a:srgbClr val="F26B43"/>
          </p15:clr>
        </p15:guide>
        <p15:guide id="7" orient="horz" pos="1620">
          <p15:clr>
            <a:srgbClr val="F26B43"/>
          </p15:clr>
        </p15:guide>
        <p15:guide id="8" orient="horz" pos="284">
          <p15:clr>
            <a:srgbClr val="F26B43"/>
          </p15:clr>
        </p15:guide>
        <p15:guide id="9" orient="horz" pos="239">
          <p15:clr>
            <a:srgbClr val="F26B43"/>
          </p15:clr>
        </p15:guide>
        <p15:guide id="10" orient="horz" pos="65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9A2BFBB-920C-D103-EB60-5C0A0066D57A}"/>
              </a:ext>
            </a:extLst>
          </p:cNvPr>
          <p:cNvGraphicFramePr>
            <a:graphicFrameLocks/>
          </p:cNvGraphicFramePr>
          <p:nvPr userDrawn="1">
            <p:custDataLst>
              <p:tags r:id="rId37"/>
            </p:custDataLst>
            <p:extLst>
              <p:ext uri="{D42A27DB-BD31-4B8C-83A1-F6EECF244321}">
                <p14:modId xmlns:p14="http://schemas.microsoft.com/office/powerpoint/2010/main" val="202240986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8" imgW="320" imgH="317" progId="TCLayout.ActiveDocument.1">
                  <p:embed/>
                </p:oleObj>
              </mc:Choice>
              <mc:Fallback>
                <p:oleObj name="think-cell Slide" r:id="rId38" imgW="320" imgH="317" progId="TCLayout.ActiveDocument.1">
                  <p:embed/>
                  <p:pic>
                    <p:nvPicPr>
                      <p:cNvPr id="4" name="think-cell data - do not delete" hidden="1">
                        <a:extLst>
                          <a:ext uri="{FF2B5EF4-FFF2-40B4-BE49-F238E27FC236}">
                            <a16:creationId xmlns:a16="http://schemas.microsoft.com/office/drawing/2014/main" id="{D9A2BFBB-920C-D103-EB60-5C0A0066D57A}"/>
                          </a:ext>
                        </a:extLst>
                      </p:cNvPr>
                      <p:cNvPicPr/>
                      <p:nvPr/>
                    </p:nvPicPr>
                    <p:blipFill>
                      <a:blip r:embed="rId39"/>
                      <a:stretch>
                        <a:fillRect/>
                      </a:stretch>
                    </p:blipFill>
                    <p:spPr>
                      <a:xfrm>
                        <a:off x="2118" y="2118"/>
                        <a:ext cx="2117" cy="2117"/>
                      </a:xfrm>
                      <a:prstGeom prst="rect">
                        <a:avLst/>
                      </a:prstGeom>
                    </p:spPr>
                  </p:pic>
                </p:oleObj>
              </mc:Fallback>
            </mc:AlternateContent>
          </a:graphicData>
        </a:graphic>
      </p:graphicFrame>
      <p:sp>
        <p:nvSpPr>
          <p:cNvPr id="2" name="Title Placeholder 1"/>
          <p:cNvSpPr>
            <a:spLocks noGrp="1"/>
          </p:cNvSpPr>
          <p:nvPr>
            <p:ph type="title"/>
          </p:nvPr>
        </p:nvSpPr>
        <p:spPr>
          <a:xfrm>
            <a:off x="613837" y="503768"/>
            <a:ext cx="10962217" cy="880123"/>
          </a:xfrm>
          <a:prstGeom prst="rect">
            <a:avLst/>
          </a:prstGeom>
        </p:spPr>
        <p:txBody>
          <a:bodyPr vert="horz" lIns="0" tIns="0" rIns="0" bIns="0" rtlCol="0" anchor="t" anchorCtr="0">
            <a:noAutofit/>
          </a:bodyPr>
          <a:lstStyle/>
          <a:p>
            <a:r>
              <a:rPr lang="en-US"/>
              <a:t>Click to edit Master title style</a:t>
            </a:r>
            <a:endParaRPr lang="nl-BE"/>
          </a:p>
        </p:txBody>
      </p:sp>
      <p:sp>
        <p:nvSpPr>
          <p:cNvPr id="3" name="Text Placeholder 2"/>
          <p:cNvSpPr>
            <a:spLocks noGrp="1"/>
          </p:cNvSpPr>
          <p:nvPr>
            <p:ph type="body" idx="1"/>
          </p:nvPr>
        </p:nvSpPr>
        <p:spPr>
          <a:xfrm>
            <a:off x="613835" y="1384303"/>
            <a:ext cx="10962216" cy="4684184"/>
          </a:xfrm>
          <a:prstGeom prst="rect">
            <a:avLst/>
          </a:prstGeom>
        </p:spPr>
        <p:txBody>
          <a:bodyPr vert="horz" lIns="0" tIns="0" rIns="0" bIns="0" numCol="1" spcCol="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6" name="TextBox 5">
            <a:extLst>
              <a:ext uri="{FF2B5EF4-FFF2-40B4-BE49-F238E27FC236}">
                <a16:creationId xmlns:a16="http://schemas.microsoft.com/office/drawing/2014/main" id="{16EBB2BE-1A07-F044-9C03-FFFBC7DD8F9E}"/>
              </a:ext>
            </a:extLst>
          </p:cNvPr>
          <p:cNvSpPr txBox="1"/>
          <p:nvPr>
            <p:extLst>
              <p:ext uri="{1162E1C5-73C7-4A58-AE30-91384D911F3F}">
                <p184:classification xmlns:p184="http://schemas.microsoft.com/office/powerpoint/2018/4/main" val="ftr"/>
              </p:ext>
            </p:extLst>
          </p:nvPr>
        </p:nvSpPr>
        <p:spPr>
          <a:xfrm>
            <a:off x="3243750" y="6631093"/>
            <a:ext cx="5727700" cy="143565"/>
          </a:xfrm>
          <a:prstGeom prst="rect">
            <a:avLst/>
          </a:prstGeom>
        </p:spPr>
        <p:txBody>
          <a:bodyPr horzOverflow="overflow" lIns="0" tIns="0" rIns="0" bIns="0">
            <a:spAutoFit/>
          </a:bodyPr>
          <a:lstStyle/>
          <a:p>
            <a:pPr algn="l"/>
            <a:r>
              <a:rPr lang="en-US" sz="933">
                <a:solidFill>
                  <a:srgbClr val="737373">
                    <a:alpha val="50000"/>
                  </a:srgbClr>
                </a:solidFill>
                <a:latin typeface="Aptos" panose="020B0004020202020204" pitchFamily="34" charset="0"/>
              </a:rPr>
              <a:t>Confidential - Not for you? Notify the sender and delete. See more on https://www.proximus.com/confidentiality</a:t>
            </a:r>
          </a:p>
        </p:txBody>
      </p:sp>
    </p:spTree>
    <p:extLst>
      <p:ext uri="{BB962C8B-B14F-4D97-AF65-F5344CB8AC3E}">
        <p14:creationId xmlns:p14="http://schemas.microsoft.com/office/powerpoint/2010/main" val="3700671585"/>
      </p:ext>
    </p:extLst>
  </p:cSld>
  <p:clrMap bg1="dk1" tx1="lt1" bg2="dk2" tx2="lt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 id="2147483797" r:id="rId24"/>
    <p:sldLayoutId id="2147483798" r:id="rId25"/>
    <p:sldLayoutId id="2147483799" r:id="rId26"/>
    <p:sldLayoutId id="2147483800" r:id="rId27"/>
    <p:sldLayoutId id="2147483801" r:id="rId28"/>
    <p:sldLayoutId id="2147483802" r:id="rId29"/>
    <p:sldLayoutId id="2147483803" r:id="rId30"/>
    <p:sldLayoutId id="2147483804" r:id="rId31"/>
    <p:sldLayoutId id="2147483805" r:id="rId32"/>
    <p:sldLayoutId id="2147483806" r:id="rId33"/>
    <p:sldLayoutId id="2147483807" r:id="rId34"/>
    <p:sldLayoutId id="2147483808" r:id="rId35"/>
  </p:sldLayoutIdLst>
  <p:hf sldNum="0" hdr="0" ftr="0" dt="0"/>
  <p:txStyles>
    <p:titleStyle>
      <a:lvl1pPr algn="l" defTabSz="1219019" rtl="0" eaLnBrk="1" latinLnBrk="0" hangingPunct="1">
        <a:spcBef>
          <a:spcPct val="0"/>
        </a:spcBef>
        <a:buNone/>
        <a:defRPr sz="3465" b="1" i="0" kern="1200">
          <a:solidFill>
            <a:schemeClr val="bg1"/>
          </a:solidFill>
          <a:latin typeface="Proximus" panose="020B0604020202020204" charset="0"/>
          <a:ea typeface="+mj-ea"/>
          <a:cs typeface="Proximus" panose="020B060402020202020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35194" indent="-235194" algn="l" defTabSz="1219019" rtl="0" eaLnBrk="1" latinLnBrk="0" hangingPunct="1">
        <a:lnSpc>
          <a:spcPct val="100000"/>
        </a:lnSpc>
        <a:spcBef>
          <a:spcPts val="800"/>
        </a:spcBef>
        <a:spcAft>
          <a:spcPts val="0"/>
        </a:spcAft>
        <a:buClr>
          <a:schemeClr val="bg1"/>
        </a:buClr>
        <a:buSzPct val="100000"/>
        <a:buFont typeface="Arial" panose="020B0604020202020204" pitchFamily="34" charset="0"/>
        <a:buChar char="•"/>
        <a:tabLst/>
        <a:defRPr sz="1867" kern="1200">
          <a:solidFill>
            <a:srgbClr val="000000"/>
          </a:solidFill>
          <a:latin typeface="Proximus" panose="00000500000000000000" pitchFamily="2" charset="0"/>
          <a:ea typeface="+mn-ea"/>
          <a:cs typeface="+mn-cs"/>
        </a:defRPr>
      </a:lvl1pPr>
      <a:lvl2pPr marL="479988" indent="-234917" algn="l" defTabSz="1219019" rtl="0" eaLnBrk="1" latinLnBrk="0" hangingPunct="1">
        <a:spcBef>
          <a:spcPts val="800"/>
        </a:spcBef>
        <a:spcAft>
          <a:spcPts val="0"/>
        </a:spcAft>
        <a:buClr>
          <a:schemeClr val="bg1"/>
        </a:buClr>
        <a:buSzPct val="100000"/>
        <a:buFont typeface="Arial" panose="020B0604020202020204" pitchFamily="34" charset="0"/>
        <a:buChar char="•"/>
        <a:tabLst/>
        <a:defRPr sz="1600" kern="1200">
          <a:solidFill>
            <a:srgbClr val="000000"/>
          </a:solidFill>
          <a:latin typeface="Proximus" panose="00000500000000000000" pitchFamily="2" charset="0"/>
          <a:ea typeface="+mn-ea"/>
          <a:cs typeface="+mn-cs"/>
        </a:defRPr>
      </a:lvl2pPr>
      <a:lvl3pPr marL="715182" indent="-237033" algn="l" defTabSz="1219019" rtl="0" eaLnBrk="1" latinLnBrk="0" hangingPunct="1">
        <a:spcBef>
          <a:spcPts val="800"/>
        </a:spcBef>
        <a:spcAft>
          <a:spcPts val="0"/>
        </a:spcAft>
        <a:buClr>
          <a:schemeClr val="bg1"/>
        </a:buClr>
        <a:buSzPct val="100000"/>
        <a:buFont typeface="Arial" panose="020B0604020202020204" pitchFamily="34" charset="0"/>
        <a:buChar char="•"/>
        <a:tabLst/>
        <a:defRPr sz="1600" kern="1200">
          <a:solidFill>
            <a:srgbClr val="000000"/>
          </a:solidFill>
          <a:latin typeface="Proximus Light" panose="00000400000000000000" pitchFamily="50" charset="0"/>
          <a:ea typeface="+mn-ea"/>
          <a:cs typeface="+mn-cs"/>
        </a:defRPr>
      </a:lvl3pPr>
      <a:lvl4pPr marL="0" indent="0" algn="l" defTabSz="1219019" rtl="0" eaLnBrk="1" latinLnBrk="0" hangingPunct="1">
        <a:spcBef>
          <a:spcPts val="1600"/>
        </a:spcBef>
        <a:spcAft>
          <a:spcPts val="0"/>
        </a:spcAft>
        <a:buClr>
          <a:schemeClr val="bg1"/>
        </a:buClr>
        <a:buSzPct val="100000"/>
        <a:buFont typeface="Arial" panose="020B0604020202020204" pitchFamily="34" charset="0"/>
        <a:buNone/>
        <a:tabLst/>
        <a:defRPr sz="1867" kern="1200">
          <a:solidFill>
            <a:srgbClr val="000000"/>
          </a:solidFill>
          <a:latin typeface="+mn-lt"/>
          <a:ea typeface="+mn-ea"/>
          <a:cs typeface="+mn-cs"/>
        </a:defRPr>
      </a:lvl4pPr>
      <a:lvl5pPr marL="0" indent="0" algn="l" defTabSz="1219019" rtl="0" eaLnBrk="1" latinLnBrk="0" hangingPunct="1">
        <a:spcBef>
          <a:spcPts val="2400"/>
        </a:spcBef>
        <a:spcAft>
          <a:spcPts val="0"/>
        </a:spcAft>
        <a:buClr>
          <a:schemeClr val="bg1"/>
        </a:buClr>
        <a:buSzPct val="100000"/>
        <a:buFont typeface="Arial" panose="020B0604020202020204" pitchFamily="34" charset="0"/>
        <a:buNone/>
        <a:tabLst/>
        <a:defRPr sz="2133" kern="1200">
          <a:solidFill>
            <a:schemeClr val="bg1"/>
          </a:solidFill>
          <a:latin typeface="Proximus Light" panose="020B0604020202020204" charset="0"/>
          <a:ea typeface="+mn-ea"/>
          <a:cs typeface="+mn-cs"/>
        </a:defRPr>
      </a:lvl5pPr>
      <a:lvl6pPr marL="3352298" indent="-304755" algn="l" defTabSz="1219019"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1806" indent="-304755" algn="l" defTabSz="1219019"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315" indent="-304755" algn="l" defTabSz="1219019"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0824" indent="-304755" algn="l" defTabSz="1219019"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nl-BE"/>
      </a:defPPr>
      <a:lvl1pPr marL="0" algn="l" defTabSz="1219019" rtl="0" eaLnBrk="1" latinLnBrk="0" hangingPunct="1">
        <a:defRPr sz="2400" kern="1200">
          <a:solidFill>
            <a:schemeClr val="tx1"/>
          </a:solidFill>
          <a:latin typeface="+mn-lt"/>
          <a:ea typeface="+mn-ea"/>
          <a:cs typeface="+mn-cs"/>
        </a:defRPr>
      </a:lvl1pPr>
      <a:lvl2pPr marL="609509" algn="l" defTabSz="1219019" rtl="0" eaLnBrk="1" latinLnBrk="0" hangingPunct="1">
        <a:defRPr sz="2400" kern="1200">
          <a:solidFill>
            <a:schemeClr val="tx1"/>
          </a:solidFill>
          <a:latin typeface="+mn-lt"/>
          <a:ea typeface="+mn-ea"/>
          <a:cs typeface="+mn-cs"/>
        </a:defRPr>
      </a:lvl2pPr>
      <a:lvl3pPr marL="1219019" algn="l" defTabSz="1219019" rtl="0" eaLnBrk="1" latinLnBrk="0" hangingPunct="1">
        <a:defRPr sz="2400" kern="1200">
          <a:solidFill>
            <a:schemeClr val="tx1"/>
          </a:solidFill>
          <a:latin typeface="+mn-lt"/>
          <a:ea typeface="+mn-ea"/>
          <a:cs typeface="+mn-cs"/>
        </a:defRPr>
      </a:lvl3pPr>
      <a:lvl4pPr marL="1828526" algn="l" defTabSz="1219019" rtl="0" eaLnBrk="1" latinLnBrk="0" hangingPunct="1">
        <a:defRPr sz="2400" kern="1200">
          <a:solidFill>
            <a:schemeClr val="tx1"/>
          </a:solidFill>
          <a:latin typeface="+mn-lt"/>
          <a:ea typeface="+mn-ea"/>
          <a:cs typeface="+mn-cs"/>
        </a:defRPr>
      </a:lvl4pPr>
      <a:lvl5pPr marL="2438034" algn="l" defTabSz="1219019" rtl="0" eaLnBrk="1" latinLnBrk="0" hangingPunct="1">
        <a:defRPr sz="2400" kern="1200">
          <a:solidFill>
            <a:schemeClr val="tx1"/>
          </a:solidFill>
          <a:latin typeface="+mn-lt"/>
          <a:ea typeface="+mn-ea"/>
          <a:cs typeface="+mn-cs"/>
        </a:defRPr>
      </a:lvl5pPr>
      <a:lvl6pPr marL="3047542" algn="l" defTabSz="1219019" rtl="0" eaLnBrk="1" latinLnBrk="0" hangingPunct="1">
        <a:defRPr sz="2400" kern="1200">
          <a:solidFill>
            <a:schemeClr val="tx1"/>
          </a:solidFill>
          <a:latin typeface="+mn-lt"/>
          <a:ea typeface="+mn-ea"/>
          <a:cs typeface="+mn-cs"/>
        </a:defRPr>
      </a:lvl6pPr>
      <a:lvl7pPr marL="3657051" algn="l" defTabSz="1219019" rtl="0" eaLnBrk="1" latinLnBrk="0" hangingPunct="1">
        <a:defRPr sz="2400" kern="1200">
          <a:solidFill>
            <a:schemeClr val="tx1"/>
          </a:solidFill>
          <a:latin typeface="+mn-lt"/>
          <a:ea typeface="+mn-ea"/>
          <a:cs typeface="+mn-cs"/>
        </a:defRPr>
      </a:lvl7pPr>
      <a:lvl8pPr marL="4266560" algn="l" defTabSz="1219019" rtl="0" eaLnBrk="1" latinLnBrk="0" hangingPunct="1">
        <a:defRPr sz="2400" kern="1200">
          <a:solidFill>
            <a:schemeClr val="tx1"/>
          </a:solidFill>
          <a:latin typeface="+mn-lt"/>
          <a:ea typeface="+mn-ea"/>
          <a:cs typeface="+mn-cs"/>
        </a:defRPr>
      </a:lvl8pPr>
      <a:lvl9pPr marL="4876069" algn="l" defTabSz="1219019"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5468">
          <p15:clr>
            <a:srgbClr val="F26B43"/>
          </p15:clr>
        </p15:guide>
        <p15:guide id="3" pos="2880">
          <p15:clr>
            <a:srgbClr val="F26B43"/>
          </p15:clr>
        </p15:guide>
        <p15:guide id="4" pos="290">
          <p15:clr>
            <a:srgbClr val="F26B43"/>
          </p15:clr>
        </p15:guide>
        <p15:guide id="5" orient="horz" pos="2958">
          <p15:clr>
            <a:srgbClr val="F26B43"/>
          </p15:clr>
        </p15:guide>
        <p15:guide id="6" orient="horz" pos="2869">
          <p15:clr>
            <a:srgbClr val="F26B43"/>
          </p15:clr>
        </p15:guide>
        <p15:guide id="7" orient="horz" pos="1620">
          <p15:clr>
            <a:srgbClr val="F26B43"/>
          </p15:clr>
        </p15:guide>
        <p15:guide id="8" orient="horz" pos="284">
          <p15:clr>
            <a:srgbClr val="F26B43"/>
          </p15:clr>
        </p15:guide>
        <p15:guide id="9" orient="horz" pos="239">
          <p15:clr>
            <a:srgbClr val="F26B43"/>
          </p15:clr>
        </p15:guide>
        <p15:guide id="10" orient="horz" pos="65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F59C5B7-A9DD-00F1-C668-BDA45A277C84}"/>
              </a:ext>
            </a:extLst>
          </p:cNvPr>
          <p:cNvGraphicFramePr>
            <a:graphicFrameLocks/>
          </p:cNvGraphicFramePr>
          <p:nvPr userDrawn="1">
            <p:custDataLst>
              <p:tags r:id="rId5"/>
            </p:custDataLst>
            <p:extLst>
              <p:ext uri="{D42A27DB-BD31-4B8C-83A1-F6EECF244321}">
                <p14:modId xmlns:p14="http://schemas.microsoft.com/office/powerpoint/2010/main" val="4106572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2" name="think-cell data - do not delete" hidden="1">
                        <a:extLst>
                          <a:ext uri="{FF2B5EF4-FFF2-40B4-BE49-F238E27FC236}">
                            <a16:creationId xmlns:a16="http://schemas.microsoft.com/office/drawing/2014/main" id="{1F59C5B7-A9DD-00F1-C668-BDA45A277C8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BE753F0D-675D-8A3B-5DF9-14DB048847E5}"/>
              </a:ext>
            </a:extLst>
          </p:cNvPr>
          <p:cNvSpPr txBox="1"/>
          <p:nvPr>
            <p:extLst>
              <p:ext uri="{1162E1C5-73C7-4A58-AE30-91384D911F3F}">
                <p184:classification xmlns:p184="http://schemas.microsoft.com/office/powerpoint/2018/4/main" val="ftr"/>
              </p:ext>
            </p:extLst>
          </p:nvPr>
        </p:nvSpPr>
        <p:spPr>
          <a:xfrm>
            <a:off x="3956812" y="6687820"/>
            <a:ext cx="4295775" cy="106680"/>
          </a:xfrm>
          <a:prstGeom prst="rect">
            <a:avLst/>
          </a:prstGeom>
        </p:spPr>
        <p:txBody>
          <a:bodyPr horzOverflow="overflow" lIns="0" tIns="0" rIns="0" bIns="0">
            <a:spAutoFit/>
          </a:bodyPr>
          <a:lstStyle/>
          <a:p>
            <a:pPr algn="l"/>
            <a:r>
              <a:rPr lang="en-US" sz="700">
                <a:solidFill>
                  <a:srgbClr val="737373">
                    <a:alpha val="50000"/>
                  </a:srgbClr>
                </a:solidFill>
                <a:latin typeface="Aptos" panose="020B0004020202020204" pitchFamily="34" charset="0"/>
              </a:rPr>
              <a:t>Confidential - Not for you? Notify the sender and delete. See more on https://www.proximus.com/confidentiality</a:t>
            </a:r>
          </a:p>
        </p:txBody>
      </p:sp>
      <p:sp>
        <p:nvSpPr>
          <p:cNvPr id="7" name="Title Placeholder 6">
            <a:extLst>
              <a:ext uri="{FF2B5EF4-FFF2-40B4-BE49-F238E27FC236}">
                <a16:creationId xmlns:a16="http://schemas.microsoft.com/office/drawing/2014/main" id="{6CA2F42D-09C0-FADA-9928-7098CE1CAC51}"/>
              </a:ext>
            </a:extLst>
          </p:cNvPr>
          <p:cNvSpPr>
            <a:spLocks noGrp="1"/>
          </p:cNvSpPr>
          <p:nvPr>
            <p:ph type="title"/>
          </p:nvPr>
        </p:nvSpPr>
        <p:spPr>
          <a:xfrm>
            <a:off x="656983" y="503119"/>
            <a:ext cx="11091863" cy="882650"/>
          </a:xfrm>
          <a:prstGeom prst="rect">
            <a:avLst/>
          </a:prstGeom>
        </p:spPr>
        <p:txBody>
          <a:bodyPr vert="horz" lIns="0" tIns="0" rIns="0" bIns="0" rtlCol="0" anchor="t" anchorCtr="0">
            <a:noAutofit/>
          </a:bodyPr>
          <a:lstStyle/>
          <a:p>
            <a:pPr marL="0" lvl="0" indent="0">
              <a:lnSpc>
                <a:spcPct val="100000"/>
              </a:lnSpc>
              <a:spcAft>
                <a:spcPts val="0"/>
              </a:spcAft>
              <a:buClrTx/>
              <a:buSzTx/>
              <a:buFontTx/>
              <a:tabLst/>
            </a:pPr>
            <a:r>
              <a:rPr lang="en-US"/>
              <a:t>Click to edit Master title style</a:t>
            </a:r>
          </a:p>
        </p:txBody>
      </p:sp>
    </p:spTree>
    <p:extLst>
      <p:ext uri="{BB962C8B-B14F-4D97-AF65-F5344CB8AC3E}">
        <p14:creationId xmlns:p14="http://schemas.microsoft.com/office/powerpoint/2010/main" val="3119537232"/>
      </p:ext>
    </p:extLst>
  </p:cSld>
  <p:clrMap bg1="dk1" tx1="lt1" bg2="dk2" tx2="lt2" accent1="accent1" accent2="accent2" accent3="accent3" accent4="accent4" accent5="accent5" accent6="accent6" hlink="hlink" folHlink="folHlink"/>
  <p:sldLayoutIdLst>
    <p:sldLayoutId id="2147483810" r:id="rId1"/>
    <p:sldLayoutId id="2147483811" r:id="rId2"/>
    <p:sldLayoutId id="2147483812" r:id="rId3"/>
  </p:sldLayoutIdLst>
  <p:hf hdr="0" dt="0"/>
  <p:txStyles>
    <p:titleStyle>
      <a:lvl1pPr algn="l" defTabSz="1219019" rtl="0" eaLnBrk="1" latinLnBrk="0" hangingPunct="1">
        <a:spcBef>
          <a:spcPct val="0"/>
        </a:spcBef>
        <a:spcAft>
          <a:spcPts val="1800"/>
        </a:spcAft>
        <a:buNone/>
        <a:defRPr lang="en-US" sz="2400" b="0" i="0" kern="1200" smtClean="0">
          <a:solidFill>
            <a:srgbClr val="000000"/>
          </a:solidFill>
          <a:latin typeface="Proximus ExtraBold"/>
          <a:ea typeface="+mj-ea"/>
          <a:cs typeface="Proximus ExtraBold" panose="00000900000000000000" pitchFamily="2"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1219019" rtl="0" eaLnBrk="1" latinLnBrk="0" hangingPunct="1">
        <a:lnSpc>
          <a:spcPct val="113000"/>
        </a:lnSpc>
        <a:spcBef>
          <a:spcPts val="0"/>
        </a:spcBef>
        <a:spcAft>
          <a:spcPts val="1800"/>
        </a:spcAft>
        <a:buClr>
          <a:schemeClr val="bg1"/>
        </a:buClr>
        <a:buSzPct val="100000"/>
        <a:buFont typeface="Arial" panose="020B0604020202020204" pitchFamily="34" charset="0"/>
        <a:buNone/>
        <a:tabLst/>
        <a:defRPr lang="en-US" sz="3200" kern="1200" dirty="0" smtClean="0">
          <a:solidFill>
            <a:srgbClr val="000000"/>
          </a:solidFill>
          <a:latin typeface="Proximus Light" panose="00000500000000000000" pitchFamily="2" charset="0"/>
          <a:ea typeface="+mn-ea"/>
          <a:cs typeface="+mn-cs"/>
        </a:defRPr>
      </a:lvl1pPr>
      <a:lvl2pPr marL="243378" indent="0" algn="l" defTabSz="1219019" rtl="0" eaLnBrk="1" latinLnBrk="0" hangingPunct="1">
        <a:spcBef>
          <a:spcPts val="0"/>
        </a:spcBef>
        <a:spcAft>
          <a:spcPts val="1800"/>
        </a:spcAft>
        <a:buClr>
          <a:schemeClr val="bg1"/>
        </a:buClr>
        <a:buSzPct val="100000"/>
        <a:buFont typeface="Arial" panose="020B0604020202020204" pitchFamily="34" charset="0"/>
        <a:buNone/>
        <a:tabLst/>
        <a:defRPr sz="4000" kern="1200">
          <a:solidFill>
            <a:srgbClr val="000000"/>
          </a:solidFill>
          <a:latin typeface="Proximus ExtraBold" panose="00000900000000000000" pitchFamily="2" charset="0"/>
          <a:ea typeface="+mn-ea"/>
          <a:cs typeface="+mn-cs"/>
        </a:defRPr>
      </a:lvl2pPr>
      <a:lvl3pPr marL="478292" indent="0" algn="l" defTabSz="1219019" rtl="0" eaLnBrk="1" latinLnBrk="0" hangingPunct="1">
        <a:lnSpc>
          <a:spcPct val="113000"/>
        </a:lnSpc>
        <a:spcBef>
          <a:spcPts val="0"/>
        </a:spcBef>
        <a:spcAft>
          <a:spcPts val="1800"/>
        </a:spcAft>
        <a:buClr>
          <a:schemeClr val="bg1"/>
        </a:buClr>
        <a:buSzPct val="100000"/>
        <a:buFont typeface="Arial" panose="020B0604020202020204" pitchFamily="34" charset="0"/>
        <a:buNone/>
        <a:tabLst/>
        <a:defRPr sz="2800" kern="1200">
          <a:solidFill>
            <a:srgbClr val="000000"/>
          </a:solidFill>
          <a:latin typeface="Proximus Light" panose="00000500000000000000" pitchFamily="2" charset="0"/>
          <a:ea typeface="+mn-ea"/>
          <a:cs typeface="+mn-cs"/>
        </a:defRPr>
      </a:lvl3pPr>
      <a:lvl4pPr marL="715325" indent="0" algn="l" defTabSz="1219019" rtl="0" eaLnBrk="1" latinLnBrk="0" hangingPunct="1">
        <a:spcBef>
          <a:spcPts val="0"/>
        </a:spcBef>
        <a:spcAft>
          <a:spcPts val="1800"/>
        </a:spcAft>
        <a:buClr>
          <a:schemeClr val="bg1"/>
        </a:buClr>
        <a:buSzPct val="100000"/>
        <a:buFont typeface="Arial" panose="020B0604020202020204" pitchFamily="34" charset="0"/>
        <a:buNone/>
        <a:tabLst/>
        <a:defRPr sz="3200" kern="1200">
          <a:solidFill>
            <a:srgbClr val="000000"/>
          </a:solidFill>
          <a:latin typeface="Proximus ExtraBold" panose="00000900000000000000" pitchFamily="2" charset="0"/>
          <a:ea typeface="+mn-ea"/>
          <a:cs typeface="+mn-cs"/>
        </a:defRPr>
      </a:lvl4pPr>
      <a:lvl5pPr marL="950239" indent="0" algn="l" defTabSz="1219019" rtl="0" eaLnBrk="1" latinLnBrk="0" hangingPunct="1">
        <a:spcBef>
          <a:spcPts val="0"/>
        </a:spcBef>
        <a:spcAft>
          <a:spcPts val="1467"/>
        </a:spcAft>
        <a:buClr>
          <a:schemeClr val="bg1"/>
        </a:buClr>
        <a:buSzPct val="100000"/>
        <a:buFont typeface="Arial" panose="020B0604020202020204" pitchFamily="34" charset="0"/>
        <a:buNone/>
        <a:tabLst/>
        <a:defRPr sz="1600" kern="1200">
          <a:solidFill>
            <a:srgbClr val="000000"/>
          </a:solidFill>
          <a:latin typeface="Proximus" panose="00000500000000000000" pitchFamily="2" charset="0"/>
          <a:ea typeface="+mn-ea"/>
          <a:cs typeface="+mn-cs"/>
        </a:defRPr>
      </a:lvl5pPr>
      <a:lvl6pPr marL="3047543" indent="0" algn="l" defTabSz="1219019" rtl="0" eaLnBrk="1" latinLnBrk="0" hangingPunct="1">
        <a:lnSpc>
          <a:spcPct val="113000"/>
        </a:lnSpc>
        <a:spcBef>
          <a:spcPts val="0"/>
        </a:spcBef>
        <a:spcAft>
          <a:spcPts val="1800"/>
        </a:spcAft>
        <a:buFontTx/>
        <a:buNone/>
        <a:defRPr sz="2400" kern="1200">
          <a:solidFill>
            <a:srgbClr val="000000"/>
          </a:solidFill>
          <a:latin typeface="+mj-lt"/>
          <a:ea typeface="+mn-ea"/>
          <a:cs typeface="+mn-cs"/>
        </a:defRPr>
      </a:lvl6pPr>
      <a:lvl7pPr marL="3657051" indent="0" algn="l" defTabSz="1219019" rtl="0" eaLnBrk="1" latinLnBrk="0" hangingPunct="1">
        <a:lnSpc>
          <a:spcPct val="110000"/>
        </a:lnSpc>
        <a:spcBef>
          <a:spcPts val="0"/>
        </a:spcBef>
        <a:spcAft>
          <a:spcPts val="1800"/>
        </a:spcAft>
        <a:buFontTx/>
        <a:buNone/>
        <a:defRPr sz="2667" kern="1200">
          <a:solidFill>
            <a:srgbClr val="000000"/>
          </a:solidFill>
          <a:latin typeface="Proximus ExtraBold" panose="00000900000000000000" pitchFamily="2" charset="0"/>
          <a:ea typeface="+mn-ea"/>
          <a:cs typeface="Aparajita" panose="020B0502040204020203" pitchFamily="18" charset="0"/>
        </a:defRPr>
      </a:lvl7pPr>
      <a:lvl8pPr marL="4266560" indent="0" algn="l" defTabSz="1219019" rtl="0" eaLnBrk="1" latinLnBrk="0" hangingPunct="1">
        <a:lnSpc>
          <a:spcPct val="125000"/>
        </a:lnSpc>
        <a:spcBef>
          <a:spcPts val="0"/>
        </a:spcBef>
        <a:spcAft>
          <a:spcPts val="300"/>
        </a:spcAft>
        <a:buFontTx/>
        <a:buNone/>
        <a:defRPr sz="1800" kern="1200">
          <a:solidFill>
            <a:srgbClr val="000000"/>
          </a:solidFill>
          <a:latin typeface="Proximus Bold" panose="00000800000000000000" pitchFamily="2" charset="0"/>
          <a:ea typeface="+mn-ea"/>
          <a:cs typeface="+mn-cs"/>
        </a:defRPr>
      </a:lvl8pPr>
      <a:lvl9pPr marL="4876069" indent="0" algn="l" defTabSz="1219019" rtl="0" eaLnBrk="1" latinLnBrk="0" hangingPunct="1">
        <a:lnSpc>
          <a:spcPct val="130000"/>
        </a:lnSpc>
        <a:spcBef>
          <a:spcPts val="0"/>
        </a:spcBef>
        <a:spcAft>
          <a:spcPts val="600"/>
        </a:spcAft>
        <a:buFontTx/>
        <a:buNone/>
        <a:defRPr sz="1600" kern="1200">
          <a:solidFill>
            <a:srgbClr val="000000"/>
          </a:solidFill>
          <a:latin typeface="+mn-lt"/>
          <a:ea typeface="+mn-ea"/>
          <a:cs typeface="+mn-cs"/>
        </a:defRPr>
      </a:lvl9pPr>
    </p:bodyStyle>
    <p:otherStyle>
      <a:defPPr>
        <a:defRPr lang="nl-BE"/>
      </a:defPPr>
      <a:lvl1pPr marL="0" algn="l" defTabSz="1219019" rtl="0" eaLnBrk="1" latinLnBrk="0" hangingPunct="1">
        <a:defRPr sz="2400" kern="1200">
          <a:solidFill>
            <a:schemeClr val="tx1"/>
          </a:solidFill>
          <a:latin typeface="+mn-lt"/>
          <a:ea typeface="+mn-ea"/>
          <a:cs typeface="+mn-cs"/>
        </a:defRPr>
      </a:lvl1pPr>
      <a:lvl2pPr marL="609509" algn="l" defTabSz="1219019" rtl="0" eaLnBrk="1" latinLnBrk="0" hangingPunct="1">
        <a:defRPr sz="2400" kern="1200">
          <a:solidFill>
            <a:schemeClr val="tx1"/>
          </a:solidFill>
          <a:latin typeface="+mn-lt"/>
          <a:ea typeface="+mn-ea"/>
          <a:cs typeface="+mn-cs"/>
        </a:defRPr>
      </a:lvl2pPr>
      <a:lvl3pPr marL="1219019" algn="l" defTabSz="1219019" rtl="0" eaLnBrk="1" latinLnBrk="0" hangingPunct="1">
        <a:defRPr sz="2400" kern="1200">
          <a:solidFill>
            <a:schemeClr val="tx1"/>
          </a:solidFill>
          <a:latin typeface="+mn-lt"/>
          <a:ea typeface="+mn-ea"/>
          <a:cs typeface="+mn-cs"/>
        </a:defRPr>
      </a:lvl3pPr>
      <a:lvl4pPr marL="1828526" algn="l" defTabSz="1219019" rtl="0" eaLnBrk="1" latinLnBrk="0" hangingPunct="1">
        <a:defRPr sz="2400" kern="1200">
          <a:solidFill>
            <a:schemeClr val="tx1"/>
          </a:solidFill>
          <a:latin typeface="+mn-lt"/>
          <a:ea typeface="+mn-ea"/>
          <a:cs typeface="+mn-cs"/>
        </a:defRPr>
      </a:lvl4pPr>
      <a:lvl5pPr marL="2438034" algn="l" defTabSz="1219019" rtl="0" eaLnBrk="1" latinLnBrk="0" hangingPunct="1">
        <a:defRPr sz="2400" kern="1200">
          <a:solidFill>
            <a:schemeClr val="tx1"/>
          </a:solidFill>
          <a:latin typeface="+mn-lt"/>
          <a:ea typeface="+mn-ea"/>
          <a:cs typeface="+mn-cs"/>
        </a:defRPr>
      </a:lvl5pPr>
      <a:lvl6pPr marL="3047542" algn="l" defTabSz="1219019" rtl="0" eaLnBrk="1" latinLnBrk="0" hangingPunct="1">
        <a:defRPr sz="2400" kern="1200">
          <a:solidFill>
            <a:schemeClr val="tx1"/>
          </a:solidFill>
          <a:latin typeface="+mn-lt"/>
          <a:ea typeface="+mn-ea"/>
          <a:cs typeface="+mn-cs"/>
        </a:defRPr>
      </a:lvl6pPr>
      <a:lvl7pPr marL="3657051" algn="l" defTabSz="1219019" rtl="0" eaLnBrk="1" latinLnBrk="0" hangingPunct="1">
        <a:defRPr sz="2400" kern="1200">
          <a:solidFill>
            <a:schemeClr val="tx1"/>
          </a:solidFill>
          <a:latin typeface="+mn-lt"/>
          <a:ea typeface="+mn-ea"/>
          <a:cs typeface="+mn-cs"/>
        </a:defRPr>
      </a:lvl7pPr>
      <a:lvl8pPr marL="4266560" algn="l" defTabSz="1219019" rtl="0" eaLnBrk="1" latinLnBrk="0" hangingPunct="1">
        <a:defRPr sz="2400" kern="1200">
          <a:solidFill>
            <a:schemeClr val="tx1"/>
          </a:solidFill>
          <a:latin typeface="+mn-lt"/>
          <a:ea typeface="+mn-ea"/>
          <a:cs typeface="+mn-cs"/>
        </a:defRPr>
      </a:lvl8pPr>
      <a:lvl9pPr marL="4876069" algn="l" defTabSz="1219019"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
          <p15:clr>
            <a:srgbClr val="F26B43"/>
          </p15:clr>
        </p15:guide>
        <p15:guide id="2" pos="5468">
          <p15:clr>
            <a:srgbClr val="F26B43"/>
          </p15:clr>
        </p15:guide>
        <p15:guide id="3" pos="2880">
          <p15:clr>
            <a:srgbClr val="F26B43"/>
          </p15:clr>
        </p15:guide>
        <p15:guide id="4" pos="290">
          <p15:clr>
            <a:srgbClr val="F26B43"/>
          </p15:clr>
        </p15:guide>
        <p15:guide id="5" orient="horz" pos="2951">
          <p15:clr>
            <a:srgbClr val="F26B43"/>
          </p15:clr>
        </p15:guide>
        <p15:guide id="6" orient="horz" pos="2869">
          <p15:clr>
            <a:srgbClr val="F26B43"/>
          </p15:clr>
        </p15:guide>
        <p15:guide id="7" orient="horz" pos="1620">
          <p15:clr>
            <a:srgbClr val="F26B43"/>
          </p15:clr>
        </p15:guide>
        <p15:guide id="8" orient="horz" pos="284">
          <p15:clr>
            <a:srgbClr val="F26B43"/>
          </p15:clr>
        </p15:guide>
        <p15:guide id="9" orient="horz" pos="239">
          <p15:clr>
            <a:srgbClr val="F26B43"/>
          </p15:clr>
        </p15:guide>
        <p15:guide id="10" orient="horz" pos="65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F59C5B7-A9DD-00F1-C668-BDA45A277C84}"/>
              </a:ext>
            </a:extLst>
          </p:cNvPr>
          <p:cNvGraphicFramePr>
            <a:graphicFrameLocks noChangeAspect="1"/>
          </p:cNvGraphicFramePr>
          <p:nvPr userDrawn="1">
            <p:custDataLst>
              <p:tags r:id="rId5"/>
            </p:custDataLst>
            <p:extLst>
              <p:ext uri="{D42A27DB-BD31-4B8C-83A1-F6EECF244321}">
                <p14:modId xmlns:p14="http://schemas.microsoft.com/office/powerpoint/2010/main" val="363756088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2" name="think-cell data - do not delete" hidden="1">
                        <a:extLst>
                          <a:ext uri="{FF2B5EF4-FFF2-40B4-BE49-F238E27FC236}">
                            <a16:creationId xmlns:a16="http://schemas.microsoft.com/office/drawing/2014/main" id="{1F59C5B7-A9DD-00F1-C668-BDA45A277C84}"/>
                          </a:ext>
                        </a:extLst>
                      </p:cNvPr>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BE753F0D-675D-8A3B-5DF9-14DB048847E5}"/>
              </a:ext>
            </a:extLst>
          </p:cNvPr>
          <p:cNvSpPr txBox="1"/>
          <p:nvPr>
            <p:extLst>
              <p:ext uri="{1162E1C5-73C7-4A58-AE30-91384D911F3F}">
                <p184:classification xmlns:p184="http://schemas.microsoft.com/office/powerpoint/2018/4/main" val="ftr"/>
              </p:ext>
            </p:extLst>
          </p:nvPr>
        </p:nvSpPr>
        <p:spPr>
          <a:xfrm>
            <a:off x="3956812" y="6687820"/>
            <a:ext cx="4295775" cy="106680"/>
          </a:xfrm>
          <a:prstGeom prst="rect">
            <a:avLst/>
          </a:prstGeom>
        </p:spPr>
        <p:txBody>
          <a:bodyPr horzOverflow="overflow" lIns="0" tIns="0" rIns="0" bIns="0">
            <a:spAutoFit/>
          </a:bodyPr>
          <a:lstStyle/>
          <a:p>
            <a:pPr algn="l"/>
            <a:r>
              <a:rPr lang="en-US" sz="700">
                <a:solidFill>
                  <a:srgbClr val="737373">
                    <a:alpha val="50000"/>
                  </a:srgbClr>
                </a:solidFill>
                <a:latin typeface="Aptos" panose="020B0004020202020204" pitchFamily="34" charset="0"/>
              </a:rPr>
              <a:t>Confidential - Not for you? Notify the sender and delete. See more on https://www.proximus.com/confidentiality</a:t>
            </a:r>
          </a:p>
        </p:txBody>
      </p:sp>
      <p:sp>
        <p:nvSpPr>
          <p:cNvPr id="7" name="Title Placeholder 6">
            <a:extLst>
              <a:ext uri="{FF2B5EF4-FFF2-40B4-BE49-F238E27FC236}">
                <a16:creationId xmlns:a16="http://schemas.microsoft.com/office/drawing/2014/main" id="{6CA2F42D-09C0-FADA-9928-7098CE1CAC51}"/>
              </a:ext>
            </a:extLst>
          </p:cNvPr>
          <p:cNvSpPr>
            <a:spLocks noGrp="1"/>
          </p:cNvSpPr>
          <p:nvPr>
            <p:ph type="title"/>
          </p:nvPr>
        </p:nvSpPr>
        <p:spPr>
          <a:xfrm>
            <a:off x="656985" y="503119"/>
            <a:ext cx="11091863" cy="882651"/>
          </a:xfrm>
          <a:prstGeom prst="rect">
            <a:avLst/>
          </a:prstGeom>
        </p:spPr>
        <p:txBody>
          <a:bodyPr vert="horz" lIns="0" tIns="0" rIns="0" bIns="0" rtlCol="0" anchor="t" anchorCtr="0">
            <a:noAutofit/>
          </a:bodyPr>
          <a:lstStyle/>
          <a:p>
            <a:pPr marL="0" lvl="0" indent="0">
              <a:lnSpc>
                <a:spcPct val="100000"/>
              </a:lnSpc>
              <a:spcAft>
                <a:spcPts val="0"/>
              </a:spcAft>
              <a:buClrTx/>
              <a:buSzTx/>
              <a:buFontTx/>
              <a:tabLst/>
            </a:pPr>
            <a:r>
              <a:rPr lang="en-US"/>
              <a:t>Click to edit Master title style</a:t>
            </a:r>
          </a:p>
        </p:txBody>
      </p:sp>
    </p:spTree>
    <p:extLst>
      <p:ext uri="{BB962C8B-B14F-4D97-AF65-F5344CB8AC3E}">
        <p14:creationId xmlns:p14="http://schemas.microsoft.com/office/powerpoint/2010/main" val="2873591818"/>
      </p:ext>
    </p:extLst>
  </p:cSld>
  <p:clrMap bg1="dk1" tx1="lt1" bg2="dk2" tx2="lt2" accent1="accent1" accent2="accent2" accent3="accent3" accent4="accent4" accent5="accent5" accent6="accent6" hlink="hlink" folHlink="folHlink"/>
  <p:sldLayoutIdLst>
    <p:sldLayoutId id="2147483814" r:id="rId1"/>
    <p:sldLayoutId id="2147483815" r:id="rId2"/>
    <p:sldLayoutId id="2147483816" r:id="rId3"/>
  </p:sldLayoutIdLst>
  <p:hf hdr="0" dt="0"/>
  <p:txStyles>
    <p:titleStyle>
      <a:lvl1pPr algn="l" defTabSz="1218988" rtl="0" eaLnBrk="1" latinLnBrk="0" hangingPunct="1">
        <a:spcBef>
          <a:spcPct val="0"/>
        </a:spcBef>
        <a:spcAft>
          <a:spcPts val="1800"/>
        </a:spcAft>
        <a:buNone/>
        <a:defRPr lang="en-US" sz="2400" b="0" i="0" kern="1200" smtClean="0">
          <a:solidFill>
            <a:srgbClr val="000000"/>
          </a:solidFill>
          <a:latin typeface="Proximus ExtraBold"/>
          <a:ea typeface="+mj-ea"/>
          <a:cs typeface="Proximus ExtraBold" panose="00000900000000000000" pitchFamily="2"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1218988" rtl="0" eaLnBrk="1" latinLnBrk="0" hangingPunct="1">
        <a:lnSpc>
          <a:spcPct val="113000"/>
        </a:lnSpc>
        <a:spcBef>
          <a:spcPts val="0"/>
        </a:spcBef>
        <a:spcAft>
          <a:spcPts val="1800"/>
        </a:spcAft>
        <a:buClr>
          <a:schemeClr val="bg1"/>
        </a:buClr>
        <a:buSzPct val="100000"/>
        <a:buFont typeface="Arial" panose="020B0604020202020204" pitchFamily="34" charset="0"/>
        <a:buNone/>
        <a:tabLst/>
        <a:defRPr lang="en-US" sz="3200" kern="1200" dirty="0" smtClean="0">
          <a:solidFill>
            <a:srgbClr val="000000"/>
          </a:solidFill>
          <a:latin typeface="Proximus Light" panose="00000500000000000000" pitchFamily="2" charset="0"/>
          <a:ea typeface="+mn-ea"/>
          <a:cs typeface="+mn-cs"/>
        </a:defRPr>
      </a:lvl1pPr>
      <a:lvl2pPr marL="243373" indent="0" algn="l" defTabSz="1218988" rtl="0" eaLnBrk="1" latinLnBrk="0" hangingPunct="1">
        <a:spcBef>
          <a:spcPts val="0"/>
        </a:spcBef>
        <a:spcAft>
          <a:spcPts val="1800"/>
        </a:spcAft>
        <a:buClr>
          <a:schemeClr val="bg1"/>
        </a:buClr>
        <a:buSzPct val="100000"/>
        <a:buFont typeface="Arial" panose="020B0604020202020204" pitchFamily="34" charset="0"/>
        <a:buNone/>
        <a:tabLst/>
        <a:defRPr sz="4000" kern="1200">
          <a:solidFill>
            <a:srgbClr val="000000"/>
          </a:solidFill>
          <a:latin typeface="Proximus ExtraBold" panose="00000900000000000000" pitchFamily="2" charset="0"/>
          <a:ea typeface="+mn-ea"/>
          <a:cs typeface="+mn-cs"/>
        </a:defRPr>
      </a:lvl2pPr>
      <a:lvl3pPr marL="478280" indent="0" algn="l" defTabSz="1218988" rtl="0" eaLnBrk="1" latinLnBrk="0" hangingPunct="1">
        <a:lnSpc>
          <a:spcPct val="113000"/>
        </a:lnSpc>
        <a:spcBef>
          <a:spcPts val="0"/>
        </a:spcBef>
        <a:spcAft>
          <a:spcPts val="1800"/>
        </a:spcAft>
        <a:buClr>
          <a:schemeClr val="bg1"/>
        </a:buClr>
        <a:buSzPct val="100000"/>
        <a:buFont typeface="Arial" panose="020B0604020202020204" pitchFamily="34" charset="0"/>
        <a:buNone/>
        <a:tabLst/>
        <a:defRPr sz="2800" kern="1200">
          <a:solidFill>
            <a:srgbClr val="000000"/>
          </a:solidFill>
          <a:latin typeface="Proximus Light" panose="00000500000000000000" pitchFamily="2" charset="0"/>
          <a:ea typeface="+mn-ea"/>
          <a:cs typeface="+mn-cs"/>
        </a:defRPr>
      </a:lvl3pPr>
      <a:lvl4pPr marL="715307" indent="0" algn="l" defTabSz="1218988" rtl="0" eaLnBrk="1" latinLnBrk="0" hangingPunct="1">
        <a:spcBef>
          <a:spcPts val="0"/>
        </a:spcBef>
        <a:spcAft>
          <a:spcPts val="1800"/>
        </a:spcAft>
        <a:buClr>
          <a:schemeClr val="bg1"/>
        </a:buClr>
        <a:buSzPct val="100000"/>
        <a:buFont typeface="Arial" panose="020B0604020202020204" pitchFamily="34" charset="0"/>
        <a:buNone/>
        <a:tabLst/>
        <a:defRPr sz="3200" kern="1200">
          <a:solidFill>
            <a:srgbClr val="000000"/>
          </a:solidFill>
          <a:latin typeface="Proximus ExtraBold" panose="00000900000000000000" pitchFamily="2" charset="0"/>
          <a:ea typeface="+mn-ea"/>
          <a:cs typeface="+mn-cs"/>
        </a:defRPr>
      </a:lvl4pPr>
      <a:lvl5pPr marL="950215" indent="0" algn="l" defTabSz="1218988" rtl="0" eaLnBrk="1" latinLnBrk="0" hangingPunct="1">
        <a:spcBef>
          <a:spcPts val="0"/>
        </a:spcBef>
        <a:spcAft>
          <a:spcPts val="1467"/>
        </a:spcAft>
        <a:buClr>
          <a:schemeClr val="bg1"/>
        </a:buClr>
        <a:buSzPct val="100000"/>
        <a:buFont typeface="Arial" panose="020B0604020202020204" pitchFamily="34" charset="0"/>
        <a:buNone/>
        <a:tabLst/>
        <a:defRPr sz="1600" kern="1200">
          <a:solidFill>
            <a:srgbClr val="000000"/>
          </a:solidFill>
          <a:latin typeface="Proximus" panose="00000500000000000000" pitchFamily="2" charset="0"/>
          <a:ea typeface="+mn-ea"/>
          <a:cs typeface="+mn-cs"/>
        </a:defRPr>
      </a:lvl5pPr>
      <a:lvl6pPr marL="3047466" indent="0" algn="l" defTabSz="1218988" rtl="0" eaLnBrk="1" latinLnBrk="0" hangingPunct="1">
        <a:lnSpc>
          <a:spcPct val="113000"/>
        </a:lnSpc>
        <a:spcBef>
          <a:spcPts val="0"/>
        </a:spcBef>
        <a:spcAft>
          <a:spcPts val="1800"/>
        </a:spcAft>
        <a:buFontTx/>
        <a:buNone/>
        <a:defRPr sz="2400" kern="1200">
          <a:solidFill>
            <a:srgbClr val="000000"/>
          </a:solidFill>
          <a:latin typeface="+mj-lt"/>
          <a:ea typeface="+mn-ea"/>
          <a:cs typeface="+mn-cs"/>
        </a:defRPr>
      </a:lvl6pPr>
      <a:lvl7pPr marL="3656959" indent="0" algn="l" defTabSz="1218988" rtl="0" eaLnBrk="1" latinLnBrk="0" hangingPunct="1">
        <a:lnSpc>
          <a:spcPct val="110000"/>
        </a:lnSpc>
        <a:spcBef>
          <a:spcPts val="0"/>
        </a:spcBef>
        <a:spcAft>
          <a:spcPts val="1800"/>
        </a:spcAft>
        <a:buFontTx/>
        <a:buNone/>
        <a:defRPr sz="2667" kern="1200">
          <a:solidFill>
            <a:srgbClr val="000000"/>
          </a:solidFill>
          <a:latin typeface="Proximus ExtraBold" panose="00000900000000000000" pitchFamily="2" charset="0"/>
          <a:ea typeface="+mn-ea"/>
          <a:cs typeface="Aparajita" panose="020B0502040204020203" pitchFamily="18" charset="0"/>
        </a:defRPr>
      </a:lvl7pPr>
      <a:lvl8pPr marL="4266453" indent="0" algn="l" defTabSz="1218988" rtl="0" eaLnBrk="1" latinLnBrk="0" hangingPunct="1">
        <a:lnSpc>
          <a:spcPct val="125000"/>
        </a:lnSpc>
        <a:spcBef>
          <a:spcPts val="0"/>
        </a:spcBef>
        <a:spcAft>
          <a:spcPts val="300"/>
        </a:spcAft>
        <a:buFontTx/>
        <a:buNone/>
        <a:defRPr sz="1800" kern="1200">
          <a:solidFill>
            <a:srgbClr val="000000"/>
          </a:solidFill>
          <a:latin typeface="Proximus Bold" panose="00000800000000000000" pitchFamily="2" charset="0"/>
          <a:ea typeface="+mn-ea"/>
          <a:cs typeface="+mn-cs"/>
        </a:defRPr>
      </a:lvl8pPr>
      <a:lvl9pPr marL="4875947" indent="0" algn="l" defTabSz="1218988" rtl="0" eaLnBrk="1" latinLnBrk="0" hangingPunct="1">
        <a:lnSpc>
          <a:spcPct val="130000"/>
        </a:lnSpc>
        <a:spcBef>
          <a:spcPts val="0"/>
        </a:spcBef>
        <a:spcAft>
          <a:spcPts val="600"/>
        </a:spcAft>
        <a:buFontTx/>
        <a:buNone/>
        <a:defRPr sz="1600" kern="1200">
          <a:solidFill>
            <a:srgbClr val="000000"/>
          </a:solidFill>
          <a:latin typeface="+mn-lt"/>
          <a:ea typeface="+mn-ea"/>
          <a:cs typeface="+mn-cs"/>
        </a:defRPr>
      </a:lvl9pPr>
    </p:bodyStyle>
    <p:otherStyle>
      <a:defPPr>
        <a:defRPr lang="nl-BE"/>
      </a:defPPr>
      <a:lvl1pPr marL="0" algn="l" defTabSz="1218988" rtl="0" eaLnBrk="1" latinLnBrk="0" hangingPunct="1">
        <a:defRPr sz="2400" kern="1200">
          <a:solidFill>
            <a:schemeClr val="tx1"/>
          </a:solidFill>
          <a:latin typeface="+mn-lt"/>
          <a:ea typeface="+mn-ea"/>
          <a:cs typeface="+mn-cs"/>
        </a:defRPr>
      </a:lvl1pPr>
      <a:lvl2pPr marL="609494" algn="l" defTabSz="1218988" rtl="0" eaLnBrk="1" latinLnBrk="0" hangingPunct="1">
        <a:defRPr sz="2400" kern="1200">
          <a:solidFill>
            <a:schemeClr val="tx1"/>
          </a:solidFill>
          <a:latin typeface="+mn-lt"/>
          <a:ea typeface="+mn-ea"/>
          <a:cs typeface="+mn-cs"/>
        </a:defRPr>
      </a:lvl2pPr>
      <a:lvl3pPr marL="1218988" algn="l" defTabSz="1218988" rtl="0" eaLnBrk="1" latinLnBrk="0" hangingPunct="1">
        <a:defRPr sz="2400" kern="1200">
          <a:solidFill>
            <a:schemeClr val="tx1"/>
          </a:solidFill>
          <a:latin typeface="+mn-lt"/>
          <a:ea typeface="+mn-ea"/>
          <a:cs typeface="+mn-cs"/>
        </a:defRPr>
      </a:lvl3pPr>
      <a:lvl4pPr marL="1828481" algn="l" defTabSz="1218988" rtl="0" eaLnBrk="1" latinLnBrk="0" hangingPunct="1">
        <a:defRPr sz="2400" kern="1200">
          <a:solidFill>
            <a:schemeClr val="tx1"/>
          </a:solidFill>
          <a:latin typeface="+mn-lt"/>
          <a:ea typeface="+mn-ea"/>
          <a:cs typeface="+mn-cs"/>
        </a:defRPr>
      </a:lvl4pPr>
      <a:lvl5pPr marL="2437974" algn="l" defTabSz="1218988" rtl="0" eaLnBrk="1" latinLnBrk="0" hangingPunct="1">
        <a:defRPr sz="2400" kern="1200">
          <a:solidFill>
            <a:schemeClr val="tx1"/>
          </a:solidFill>
          <a:latin typeface="+mn-lt"/>
          <a:ea typeface="+mn-ea"/>
          <a:cs typeface="+mn-cs"/>
        </a:defRPr>
      </a:lvl5pPr>
      <a:lvl6pPr marL="3047466" algn="l" defTabSz="1218988" rtl="0" eaLnBrk="1" latinLnBrk="0" hangingPunct="1">
        <a:defRPr sz="2400" kern="1200">
          <a:solidFill>
            <a:schemeClr val="tx1"/>
          </a:solidFill>
          <a:latin typeface="+mn-lt"/>
          <a:ea typeface="+mn-ea"/>
          <a:cs typeface="+mn-cs"/>
        </a:defRPr>
      </a:lvl6pPr>
      <a:lvl7pPr marL="3656959" algn="l" defTabSz="1218988" rtl="0" eaLnBrk="1" latinLnBrk="0" hangingPunct="1">
        <a:defRPr sz="2400" kern="1200">
          <a:solidFill>
            <a:schemeClr val="tx1"/>
          </a:solidFill>
          <a:latin typeface="+mn-lt"/>
          <a:ea typeface="+mn-ea"/>
          <a:cs typeface="+mn-cs"/>
        </a:defRPr>
      </a:lvl7pPr>
      <a:lvl8pPr marL="4266453" algn="l" defTabSz="1218988" rtl="0" eaLnBrk="1" latinLnBrk="0" hangingPunct="1">
        <a:defRPr sz="2400" kern="1200">
          <a:solidFill>
            <a:schemeClr val="tx1"/>
          </a:solidFill>
          <a:latin typeface="+mn-lt"/>
          <a:ea typeface="+mn-ea"/>
          <a:cs typeface="+mn-cs"/>
        </a:defRPr>
      </a:lvl8pPr>
      <a:lvl9pPr marL="4875947" algn="l" defTabSz="1218988"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
          <p15:clr>
            <a:srgbClr val="F26B43"/>
          </p15:clr>
        </p15:guide>
        <p15:guide id="2" pos="5468">
          <p15:clr>
            <a:srgbClr val="F26B43"/>
          </p15:clr>
        </p15:guide>
        <p15:guide id="3" pos="2880">
          <p15:clr>
            <a:srgbClr val="F26B43"/>
          </p15:clr>
        </p15:guide>
        <p15:guide id="4" pos="290">
          <p15:clr>
            <a:srgbClr val="F26B43"/>
          </p15:clr>
        </p15:guide>
        <p15:guide id="5" orient="horz" pos="2951">
          <p15:clr>
            <a:srgbClr val="F26B43"/>
          </p15:clr>
        </p15:guide>
        <p15:guide id="6" orient="horz" pos="2869">
          <p15:clr>
            <a:srgbClr val="F26B43"/>
          </p15:clr>
        </p15:guide>
        <p15:guide id="7" orient="horz" pos="1620">
          <p15:clr>
            <a:srgbClr val="F26B43"/>
          </p15:clr>
        </p15:guide>
        <p15:guide id="8" orient="horz" pos="284">
          <p15:clr>
            <a:srgbClr val="F26B43"/>
          </p15:clr>
        </p15:guide>
        <p15:guide id="9" orient="horz" pos="239">
          <p15:clr>
            <a:srgbClr val="F26B43"/>
          </p15:clr>
        </p15:guide>
        <p15:guide id="10" orient="horz" pos="65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D6F769A-55EC-AE12-3C58-71EC193C0AE4}"/>
              </a:ext>
            </a:extLst>
          </p:cNvPr>
          <p:cNvGraphicFramePr>
            <a:graphicFrameLocks noChangeAspect="1"/>
          </p:cNvGraphicFramePr>
          <p:nvPr userDrawn="1">
            <p:custDataLst>
              <p:tags r:id="rId47"/>
            </p:custDataLst>
            <p:extLst>
              <p:ext uri="{D42A27DB-BD31-4B8C-83A1-F6EECF244321}">
                <p14:modId xmlns:p14="http://schemas.microsoft.com/office/powerpoint/2010/main" val="2345339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425" imgH="425" progId="TCLayout.ActiveDocument.1">
                  <p:embed/>
                </p:oleObj>
              </mc:Choice>
              <mc:Fallback>
                <p:oleObj name="think-cell Slide" r:id="rId48" imgW="425" imgH="425" progId="TCLayout.ActiveDocument.1">
                  <p:embed/>
                  <p:pic>
                    <p:nvPicPr>
                      <p:cNvPr id="4" name="think-cell data - do not delete" hidden="1">
                        <a:extLst>
                          <a:ext uri="{FF2B5EF4-FFF2-40B4-BE49-F238E27FC236}">
                            <a16:creationId xmlns:a16="http://schemas.microsoft.com/office/drawing/2014/main" id="{CD6F769A-55EC-AE12-3C58-71EC193C0AE4}"/>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13838" y="503769"/>
            <a:ext cx="10962217" cy="880123"/>
          </a:xfrm>
          <a:prstGeom prst="rect">
            <a:avLst/>
          </a:prstGeom>
        </p:spPr>
        <p:txBody>
          <a:bodyPr vert="horz" lIns="0" tIns="0" rIns="0" bIns="0" rtlCol="0" anchor="t" anchorCtr="0">
            <a:noAutofit/>
          </a:bodyPr>
          <a:lstStyle/>
          <a:p>
            <a:r>
              <a:rPr lang="en-US"/>
              <a:t>Click to edit Master title style</a:t>
            </a:r>
            <a:endParaRPr lang="nl-BE"/>
          </a:p>
        </p:txBody>
      </p:sp>
      <p:sp>
        <p:nvSpPr>
          <p:cNvPr id="3" name="Text Placeholder 2"/>
          <p:cNvSpPr>
            <a:spLocks noGrp="1"/>
          </p:cNvSpPr>
          <p:nvPr>
            <p:ph type="body" idx="1"/>
          </p:nvPr>
        </p:nvSpPr>
        <p:spPr>
          <a:xfrm>
            <a:off x="613835" y="1384303"/>
            <a:ext cx="10962216" cy="4684184"/>
          </a:xfrm>
          <a:prstGeom prst="rect">
            <a:avLst/>
          </a:prstGeom>
        </p:spPr>
        <p:txBody>
          <a:bodyPr vert="horz" lIns="0" tIns="0" rIns="0" bIns="0" numCol="1" spcCol="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7" name="Footer Placeholder 6">
            <a:extLst>
              <a:ext uri="{FF2B5EF4-FFF2-40B4-BE49-F238E27FC236}">
                <a16:creationId xmlns:a16="http://schemas.microsoft.com/office/drawing/2014/main" id="{B30106E4-EB5D-9768-762D-92066157333F}"/>
              </a:ext>
            </a:extLst>
          </p:cNvPr>
          <p:cNvSpPr>
            <a:spLocks noGrp="1"/>
          </p:cNvSpPr>
          <p:nvPr>
            <p:ph type="ftr" sz="quarter" idx="3"/>
          </p:nvPr>
        </p:nvSpPr>
        <p:spPr>
          <a:xfrm>
            <a:off x="643653" y="6356353"/>
            <a:ext cx="4114800" cy="366183"/>
          </a:xfrm>
          <a:prstGeom prst="rect">
            <a:avLst/>
          </a:prstGeom>
        </p:spPr>
        <p:txBody>
          <a:bodyPr vert="horz" lIns="91440" tIns="45720" rIns="91440" bIns="45720" rtlCol="0" anchor="ctr"/>
          <a:lstStyle>
            <a:lvl1pPr algn="ctr">
              <a:defRPr sz="1600">
                <a:solidFill>
                  <a:schemeClr val="tx1">
                    <a:tint val="75000"/>
                  </a:schemeClr>
                </a:solidFill>
              </a:defRPr>
            </a:lvl1pPr>
          </a:lstStyle>
          <a:p>
            <a:r>
              <a:rPr lang="en-GB"/>
              <a:t>Proximus</a:t>
            </a:r>
          </a:p>
        </p:txBody>
      </p:sp>
      <p:sp>
        <p:nvSpPr>
          <p:cNvPr id="8" name="Slide Number Placeholder 7">
            <a:extLst>
              <a:ext uri="{FF2B5EF4-FFF2-40B4-BE49-F238E27FC236}">
                <a16:creationId xmlns:a16="http://schemas.microsoft.com/office/drawing/2014/main" id="{374EA5AF-894E-074D-7E7E-C5CAF55CB9CB}"/>
              </a:ext>
            </a:extLst>
          </p:cNvPr>
          <p:cNvSpPr>
            <a:spLocks noGrp="1"/>
          </p:cNvSpPr>
          <p:nvPr>
            <p:ph type="sldNum" sz="quarter" idx="4"/>
          </p:nvPr>
        </p:nvSpPr>
        <p:spPr>
          <a:xfrm>
            <a:off x="8610600" y="6356353"/>
            <a:ext cx="2743200" cy="366183"/>
          </a:xfrm>
          <a:prstGeom prst="rect">
            <a:avLst/>
          </a:prstGeom>
        </p:spPr>
        <p:txBody>
          <a:bodyPr vert="horz" lIns="91440" tIns="45720" rIns="91440" bIns="45720" rtlCol="0" anchor="ctr"/>
          <a:lstStyle>
            <a:lvl1pPr algn="r">
              <a:defRPr sz="1600">
                <a:solidFill>
                  <a:schemeClr val="tx1">
                    <a:tint val="75000"/>
                  </a:schemeClr>
                </a:solidFill>
              </a:defRPr>
            </a:lvl1pPr>
          </a:lstStyle>
          <a:p>
            <a:fld id="{F95374F0-6A41-400A-9B3B-E5B9D4DF7FD1}" type="slidenum">
              <a:rPr lang="en-GB" smtClean="0"/>
              <a:t>‹#›</a:t>
            </a:fld>
            <a:endParaRPr lang="en-GB"/>
          </a:p>
        </p:txBody>
      </p:sp>
      <p:sp>
        <p:nvSpPr>
          <p:cNvPr id="5" name="TextBox 4">
            <a:extLst>
              <a:ext uri="{FF2B5EF4-FFF2-40B4-BE49-F238E27FC236}">
                <a16:creationId xmlns:a16="http://schemas.microsoft.com/office/drawing/2014/main" id="{A5851833-EA4E-B439-8AE9-3910596A0C3C}"/>
              </a:ext>
            </a:extLst>
          </p:cNvPr>
          <p:cNvSpPr txBox="1"/>
          <p:nvPr userDrawn="1">
            <p:extLst>
              <p:ext uri="{1162E1C5-73C7-4A58-AE30-91384D911F3F}">
                <p184:classification xmlns:p184="http://schemas.microsoft.com/office/powerpoint/2018/4/main" val="ftr"/>
              </p:ext>
            </p:extLst>
          </p:nvPr>
        </p:nvSpPr>
        <p:spPr>
          <a:xfrm>
            <a:off x="4039361" y="6687821"/>
            <a:ext cx="4133851" cy="107722"/>
          </a:xfrm>
          <a:prstGeom prst="rect">
            <a:avLst/>
          </a:prstGeom>
        </p:spPr>
        <p:txBody>
          <a:bodyPr horzOverflow="overflow" lIns="0" tIns="0" rIns="0" bIns="0">
            <a:spAutoFit/>
          </a:bodyPr>
          <a:lstStyle/>
          <a:p>
            <a:pPr algn="l"/>
            <a:r>
              <a:rPr lang="en-GB" sz="700">
                <a:solidFill>
                  <a:srgbClr val="737373"/>
                </a:solidFill>
                <a:latin typeface="Calibri" panose="020F0502020204030204" pitchFamily="34" charset="0"/>
                <a:ea typeface="Calibri" panose="020F0502020204030204" pitchFamily="34" charset="0"/>
                <a:cs typeface="Calibri" panose="020F0502020204030204" pitchFamily="34" charset="0"/>
              </a:rPr>
              <a:t>Confidential - Not for you? Notify the sender and delete. See more on https://www.proximus.com/confidentiality</a:t>
            </a:r>
          </a:p>
        </p:txBody>
      </p:sp>
    </p:spTree>
    <p:extLst>
      <p:ext uri="{BB962C8B-B14F-4D97-AF65-F5344CB8AC3E}">
        <p14:creationId xmlns:p14="http://schemas.microsoft.com/office/powerpoint/2010/main" val="1671043241"/>
      </p:ext>
    </p:extLst>
  </p:cSld>
  <p:clrMap bg1="dk1" tx1="lt1" bg2="dk2" tx2="lt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 id="2147483830" r:id="rId13"/>
    <p:sldLayoutId id="2147483831" r:id="rId14"/>
    <p:sldLayoutId id="2147483832" r:id="rId15"/>
    <p:sldLayoutId id="2147483833" r:id="rId16"/>
    <p:sldLayoutId id="2147483834" r:id="rId17"/>
    <p:sldLayoutId id="2147483835" r:id="rId18"/>
    <p:sldLayoutId id="2147483836" r:id="rId19"/>
    <p:sldLayoutId id="2147483837" r:id="rId20"/>
    <p:sldLayoutId id="2147483838" r:id="rId21"/>
    <p:sldLayoutId id="2147483839" r:id="rId22"/>
    <p:sldLayoutId id="2147483840" r:id="rId23"/>
    <p:sldLayoutId id="2147483841" r:id="rId24"/>
    <p:sldLayoutId id="2147483842" r:id="rId25"/>
    <p:sldLayoutId id="2147483843" r:id="rId26"/>
    <p:sldLayoutId id="2147483844" r:id="rId27"/>
    <p:sldLayoutId id="2147483845" r:id="rId28"/>
    <p:sldLayoutId id="2147483846" r:id="rId29"/>
    <p:sldLayoutId id="2147483847" r:id="rId30"/>
    <p:sldLayoutId id="2147483848" r:id="rId31"/>
    <p:sldLayoutId id="2147483849" r:id="rId32"/>
    <p:sldLayoutId id="2147483850" r:id="rId33"/>
    <p:sldLayoutId id="2147483851" r:id="rId34"/>
    <p:sldLayoutId id="2147483852" r:id="rId35"/>
    <p:sldLayoutId id="2147483853" r:id="rId36"/>
    <p:sldLayoutId id="2147483854" r:id="rId37"/>
    <p:sldLayoutId id="2147483855" r:id="rId38"/>
    <p:sldLayoutId id="2147483856" r:id="rId39"/>
    <p:sldLayoutId id="2147483857" r:id="rId40"/>
    <p:sldLayoutId id="2147483858" r:id="rId41"/>
    <p:sldLayoutId id="2147483859" r:id="rId42"/>
    <p:sldLayoutId id="2147483860" r:id="rId43"/>
    <p:sldLayoutId id="2147483861" r:id="rId44"/>
    <p:sldLayoutId id="2147483863" r:id="rId45"/>
  </p:sldLayoutIdLst>
  <p:hf hdr="0" dt="0"/>
  <p:txStyles>
    <p:titleStyle>
      <a:lvl1pPr algn="l" defTabSz="1218988" rtl="0" eaLnBrk="1" latinLnBrk="0" hangingPunct="1">
        <a:spcBef>
          <a:spcPct val="0"/>
        </a:spcBef>
        <a:buNone/>
        <a:defRPr sz="3200" b="1" i="0" kern="1200">
          <a:solidFill>
            <a:schemeClr val="bg1"/>
          </a:solidFill>
          <a:latin typeface="Proximus" panose="020B0604020202020204" charset="0"/>
          <a:ea typeface="+mj-ea"/>
          <a:cs typeface="Proximus" panose="020B060402020202020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1218988" rtl="0" eaLnBrk="1" latinLnBrk="0" hangingPunct="1">
        <a:lnSpc>
          <a:spcPct val="100000"/>
        </a:lnSpc>
        <a:spcBef>
          <a:spcPts val="1600"/>
        </a:spcBef>
        <a:spcAft>
          <a:spcPts val="0"/>
        </a:spcAft>
        <a:buClr>
          <a:schemeClr val="bg1"/>
        </a:buClr>
        <a:buSzPct val="100000"/>
        <a:buFont typeface="Arial" panose="020B0604020202020204" pitchFamily="34" charset="0"/>
        <a:buNone/>
        <a:tabLst/>
        <a:defRPr sz="1867" kern="1200">
          <a:solidFill>
            <a:srgbClr val="000000"/>
          </a:solidFill>
          <a:latin typeface="Proximus" panose="00000500000000000000" pitchFamily="2" charset="0"/>
          <a:ea typeface="+mn-ea"/>
          <a:cs typeface="+mn-cs"/>
        </a:defRPr>
      </a:lvl1pPr>
      <a:lvl2pPr marL="235189" indent="-234911" algn="l" defTabSz="1218988" rtl="0" eaLnBrk="1" latinLnBrk="0" hangingPunct="1">
        <a:spcBef>
          <a:spcPts val="800"/>
        </a:spcBef>
        <a:spcAft>
          <a:spcPts val="0"/>
        </a:spcAft>
        <a:buClr>
          <a:schemeClr val="bg1"/>
        </a:buClr>
        <a:buSzPct val="100000"/>
        <a:buFont typeface="Arial" panose="020B0604020202020204" pitchFamily="34" charset="0"/>
        <a:buChar char="•"/>
        <a:tabLst/>
        <a:defRPr sz="1867" kern="1200">
          <a:solidFill>
            <a:srgbClr val="000000"/>
          </a:solidFill>
          <a:latin typeface="Proximus" panose="00000500000000000000" pitchFamily="2" charset="0"/>
          <a:ea typeface="+mn-ea"/>
          <a:cs typeface="+mn-cs"/>
        </a:defRPr>
      </a:lvl2pPr>
      <a:lvl3pPr marL="479976" indent="-237027" algn="l" defTabSz="1218988" rtl="0" eaLnBrk="1" latinLnBrk="0" hangingPunct="1">
        <a:spcBef>
          <a:spcPts val="800"/>
        </a:spcBef>
        <a:spcAft>
          <a:spcPts val="0"/>
        </a:spcAft>
        <a:buClr>
          <a:schemeClr val="bg1"/>
        </a:buClr>
        <a:buSzPct val="100000"/>
        <a:buFont typeface="Arial" panose="020B0604020202020204" pitchFamily="34" charset="0"/>
        <a:buChar char="•"/>
        <a:tabLst/>
        <a:defRPr sz="1600" kern="1200">
          <a:solidFill>
            <a:srgbClr val="000000"/>
          </a:solidFill>
          <a:latin typeface="Proximus" panose="00000500000000000000" pitchFamily="2" charset="0"/>
          <a:ea typeface="+mn-ea"/>
          <a:cs typeface="+mn-cs"/>
        </a:defRPr>
      </a:lvl3pPr>
      <a:lvl4pPr marL="715165" indent="-234911" algn="l" defTabSz="1218988" rtl="0" eaLnBrk="1" latinLnBrk="0" hangingPunct="1">
        <a:spcBef>
          <a:spcPts val="800"/>
        </a:spcBef>
        <a:spcAft>
          <a:spcPts val="0"/>
        </a:spcAft>
        <a:buClr>
          <a:schemeClr val="bg1"/>
        </a:buClr>
        <a:buSzPct val="100000"/>
        <a:buFont typeface="Arial" panose="020B0604020202020204" pitchFamily="34" charset="0"/>
        <a:buChar char="•"/>
        <a:tabLst/>
        <a:defRPr sz="1600" kern="1200">
          <a:solidFill>
            <a:srgbClr val="000000"/>
          </a:solidFill>
          <a:latin typeface="Proximus Light" panose="020B0604020202020204" charset="0"/>
          <a:ea typeface="+mn-ea"/>
          <a:cs typeface="+mn-cs"/>
        </a:defRPr>
      </a:lvl4pPr>
      <a:lvl5pPr marL="0" indent="0" algn="l" defTabSz="1218988" rtl="0" eaLnBrk="1" latinLnBrk="0" hangingPunct="1">
        <a:spcBef>
          <a:spcPts val="3200"/>
        </a:spcBef>
        <a:spcAft>
          <a:spcPts val="0"/>
        </a:spcAft>
        <a:buClr>
          <a:schemeClr val="bg1"/>
        </a:buClr>
        <a:buSzPct val="100000"/>
        <a:buFont typeface="Arial" panose="020B0604020202020204" pitchFamily="34" charset="0"/>
        <a:buNone/>
        <a:tabLst/>
        <a:defRPr sz="2133" kern="1200">
          <a:solidFill>
            <a:schemeClr val="bg1"/>
          </a:solidFill>
          <a:latin typeface="Proximus Light" panose="020B0604020202020204" charset="0"/>
          <a:ea typeface="+mn-ea"/>
          <a:cs typeface="+mn-cs"/>
        </a:defRPr>
      </a:lvl5pPr>
      <a:lvl6pPr marL="3352215" indent="-304747" algn="l" defTabSz="1218988"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1708" indent="-304747" algn="l" defTabSz="1218988"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200" indent="-304747" algn="l" defTabSz="1218988"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0694" indent="-304747" algn="l" defTabSz="1218988"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nl-BE"/>
      </a:defPPr>
      <a:lvl1pPr marL="0" algn="l" defTabSz="1218988" rtl="0" eaLnBrk="1" latinLnBrk="0" hangingPunct="1">
        <a:defRPr sz="2400" kern="1200">
          <a:solidFill>
            <a:schemeClr val="tx1"/>
          </a:solidFill>
          <a:latin typeface="+mn-lt"/>
          <a:ea typeface="+mn-ea"/>
          <a:cs typeface="+mn-cs"/>
        </a:defRPr>
      </a:lvl1pPr>
      <a:lvl2pPr marL="609494" algn="l" defTabSz="1218988" rtl="0" eaLnBrk="1" latinLnBrk="0" hangingPunct="1">
        <a:defRPr sz="2400" kern="1200">
          <a:solidFill>
            <a:schemeClr val="tx1"/>
          </a:solidFill>
          <a:latin typeface="+mn-lt"/>
          <a:ea typeface="+mn-ea"/>
          <a:cs typeface="+mn-cs"/>
        </a:defRPr>
      </a:lvl2pPr>
      <a:lvl3pPr marL="1218988" algn="l" defTabSz="1218988" rtl="0" eaLnBrk="1" latinLnBrk="0" hangingPunct="1">
        <a:defRPr sz="2400" kern="1200">
          <a:solidFill>
            <a:schemeClr val="tx1"/>
          </a:solidFill>
          <a:latin typeface="+mn-lt"/>
          <a:ea typeface="+mn-ea"/>
          <a:cs typeface="+mn-cs"/>
        </a:defRPr>
      </a:lvl3pPr>
      <a:lvl4pPr marL="1828481" algn="l" defTabSz="1218988" rtl="0" eaLnBrk="1" latinLnBrk="0" hangingPunct="1">
        <a:defRPr sz="2400" kern="1200">
          <a:solidFill>
            <a:schemeClr val="tx1"/>
          </a:solidFill>
          <a:latin typeface="+mn-lt"/>
          <a:ea typeface="+mn-ea"/>
          <a:cs typeface="+mn-cs"/>
        </a:defRPr>
      </a:lvl4pPr>
      <a:lvl5pPr marL="2437974" algn="l" defTabSz="1218988" rtl="0" eaLnBrk="1" latinLnBrk="0" hangingPunct="1">
        <a:defRPr sz="2400" kern="1200">
          <a:solidFill>
            <a:schemeClr val="tx1"/>
          </a:solidFill>
          <a:latin typeface="+mn-lt"/>
          <a:ea typeface="+mn-ea"/>
          <a:cs typeface="+mn-cs"/>
        </a:defRPr>
      </a:lvl5pPr>
      <a:lvl6pPr marL="3047466" algn="l" defTabSz="1218988" rtl="0" eaLnBrk="1" latinLnBrk="0" hangingPunct="1">
        <a:defRPr sz="2400" kern="1200">
          <a:solidFill>
            <a:schemeClr val="tx1"/>
          </a:solidFill>
          <a:latin typeface="+mn-lt"/>
          <a:ea typeface="+mn-ea"/>
          <a:cs typeface="+mn-cs"/>
        </a:defRPr>
      </a:lvl6pPr>
      <a:lvl7pPr marL="3656959" algn="l" defTabSz="1218988" rtl="0" eaLnBrk="1" latinLnBrk="0" hangingPunct="1">
        <a:defRPr sz="2400" kern="1200">
          <a:solidFill>
            <a:schemeClr val="tx1"/>
          </a:solidFill>
          <a:latin typeface="+mn-lt"/>
          <a:ea typeface="+mn-ea"/>
          <a:cs typeface="+mn-cs"/>
        </a:defRPr>
      </a:lvl7pPr>
      <a:lvl8pPr marL="4266453" algn="l" defTabSz="1218988" rtl="0" eaLnBrk="1" latinLnBrk="0" hangingPunct="1">
        <a:defRPr sz="2400" kern="1200">
          <a:solidFill>
            <a:schemeClr val="tx1"/>
          </a:solidFill>
          <a:latin typeface="+mn-lt"/>
          <a:ea typeface="+mn-ea"/>
          <a:cs typeface="+mn-cs"/>
        </a:defRPr>
      </a:lvl8pPr>
      <a:lvl9pPr marL="4875947" algn="l" defTabSz="1218988"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5468">
          <p15:clr>
            <a:srgbClr val="F26B43"/>
          </p15:clr>
        </p15:guide>
        <p15:guide id="3" pos="2880">
          <p15:clr>
            <a:srgbClr val="F26B43"/>
          </p15:clr>
        </p15:guide>
        <p15:guide id="4" pos="290">
          <p15:clr>
            <a:srgbClr val="F26B43"/>
          </p15:clr>
        </p15:guide>
        <p15:guide id="5" orient="horz" pos="2958">
          <p15:clr>
            <a:srgbClr val="F26B43"/>
          </p15:clr>
        </p15:guide>
        <p15:guide id="6" orient="horz" pos="2869">
          <p15:clr>
            <a:srgbClr val="F26B43"/>
          </p15:clr>
        </p15:guide>
        <p15:guide id="7" orient="horz" pos="1620">
          <p15:clr>
            <a:srgbClr val="F26B43"/>
          </p15:clr>
        </p15:guide>
        <p15:guide id="8" orient="horz" pos="284">
          <p15:clr>
            <a:srgbClr val="F26B43"/>
          </p15:clr>
        </p15:guide>
        <p15:guide id="9" orient="horz" pos="239">
          <p15:clr>
            <a:srgbClr val="F26B43"/>
          </p15:clr>
        </p15:guide>
        <p15:guide id="10" orient="horz" pos="65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C2ECF54-D8EF-1FEB-9930-FA16CB8E276B}"/>
              </a:ext>
            </a:extLst>
          </p:cNvPr>
          <p:cNvGraphicFramePr>
            <a:graphicFrameLocks noChangeAspect="1"/>
          </p:cNvGraphicFramePr>
          <p:nvPr userDrawn="1">
            <p:custDataLst>
              <p:tags r:id="rId39"/>
            </p:custDataLst>
            <p:extLst>
              <p:ext uri="{D42A27DB-BD31-4B8C-83A1-F6EECF244321}">
                <p14:modId xmlns:p14="http://schemas.microsoft.com/office/powerpoint/2010/main" val="1887708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425" imgH="425" progId="TCLayout.ActiveDocument.1">
                  <p:embed/>
                </p:oleObj>
              </mc:Choice>
              <mc:Fallback>
                <p:oleObj name="think-cell Slide" r:id="rId40" imgW="425" imgH="425" progId="TCLayout.ActiveDocument.1">
                  <p:embed/>
                  <p:pic>
                    <p:nvPicPr>
                      <p:cNvPr id="2" name="think-cell data - do not delete" hidden="1">
                        <a:extLst>
                          <a:ext uri="{FF2B5EF4-FFF2-40B4-BE49-F238E27FC236}">
                            <a16:creationId xmlns:a16="http://schemas.microsoft.com/office/drawing/2014/main" id="{AC2ECF54-D8EF-1FEB-9930-FA16CB8E276B}"/>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4" name="Title Placeholder 1">
            <a:extLst>
              <a:ext uri="{FF2B5EF4-FFF2-40B4-BE49-F238E27FC236}">
                <a16:creationId xmlns:a16="http://schemas.microsoft.com/office/drawing/2014/main" id="{495D19D1-2ACA-DF4A-F1BC-271842946CFF}"/>
              </a:ext>
            </a:extLst>
          </p:cNvPr>
          <p:cNvSpPr>
            <a:spLocks noGrp="1"/>
          </p:cNvSpPr>
          <p:nvPr>
            <p:ph type="title"/>
          </p:nvPr>
        </p:nvSpPr>
        <p:spPr>
          <a:xfrm>
            <a:off x="613837" y="503768"/>
            <a:ext cx="10962217" cy="880123"/>
          </a:xfrm>
          <a:prstGeom prst="rect">
            <a:avLst/>
          </a:prstGeom>
        </p:spPr>
        <p:txBody>
          <a:bodyPr vert="horz" lIns="0" tIns="0" rIns="0" bIns="0" rtlCol="0" anchor="t" anchorCtr="0">
            <a:noAutofit/>
          </a:bodyPr>
          <a:lstStyle/>
          <a:p>
            <a:r>
              <a:rPr lang="en-US"/>
              <a:t>Click to edit Master title style</a:t>
            </a:r>
            <a:endParaRPr lang="nl-BE"/>
          </a:p>
        </p:txBody>
      </p:sp>
      <p:sp>
        <p:nvSpPr>
          <p:cNvPr id="5" name="Text Placeholder 2">
            <a:extLst>
              <a:ext uri="{FF2B5EF4-FFF2-40B4-BE49-F238E27FC236}">
                <a16:creationId xmlns:a16="http://schemas.microsoft.com/office/drawing/2014/main" id="{29841850-44C8-8048-CDC3-CFF4B7084B71}"/>
              </a:ext>
            </a:extLst>
          </p:cNvPr>
          <p:cNvSpPr>
            <a:spLocks noGrp="1"/>
          </p:cNvSpPr>
          <p:nvPr>
            <p:ph type="body" idx="1"/>
          </p:nvPr>
        </p:nvSpPr>
        <p:spPr>
          <a:xfrm>
            <a:off x="613835" y="1384303"/>
            <a:ext cx="10962216" cy="4684184"/>
          </a:xfrm>
          <a:prstGeom prst="rect">
            <a:avLst/>
          </a:prstGeom>
        </p:spPr>
        <p:txBody>
          <a:bodyPr vert="horz" lIns="0" tIns="0" rIns="0" bIns="0" numCol="1" spcCol="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3" name="TextBox 2">
            <a:extLst>
              <a:ext uri="{FF2B5EF4-FFF2-40B4-BE49-F238E27FC236}">
                <a16:creationId xmlns:a16="http://schemas.microsoft.com/office/drawing/2014/main" id="{DCCBCEDF-3197-2EEE-7805-D1B8A651BB4B}"/>
              </a:ext>
            </a:extLst>
          </p:cNvPr>
          <p:cNvSpPr txBox="1"/>
          <p:nvPr userDrawn="1">
            <p:extLst>
              <p:ext uri="{1162E1C5-73C7-4A58-AE30-91384D911F3F}">
                <p184:classification xmlns:p184="http://schemas.microsoft.com/office/powerpoint/2018/4/main" val="ftr"/>
              </p:ext>
            </p:extLst>
          </p:nvPr>
        </p:nvSpPr>
        <p:spPr>
          <a:xfrm>
            <a:off x="3956812" y="6687820"/>
            <a:ext cx="4295775" cy="106680"/>
          </a:xfrm>
          <a:prstGeom prst="rect">
            <a:avLst/>
          </a:prstGeom>
        </p:spPr>
        <p:txBody>
          <a:bodyPr horzOverflow="overflow" lIns="0" tIns="0" rIns="0" bIns="0">
            <a:spAutoFit/>
          </a:bodyPr>
          <a:lstStyle/>
          <a:p>
            <a:pPr algn="l"/>
            <a:r>
              <a:rPr lang="en-BE" sz="700">
                <a:solidFill>
                  <a:srgbClr val="737373">
                    <a:alpha val="50000"/>
                  </a:srgbClr>
                </a:solidFill>
                <a:latin typeface="Aptos" panose="020B0004020202020204" pitchFamily="34" charset="0"/>
              </a:rPr>
              <a:t>Confidential - Not for you? Notify the sender and delete. See more on https://www.proximus.com/confidentiality</a:t>
            </a:r>
          </a:p>
        </p:txBody>
      </p:sp>
    </p:spTree>
    <p:extLst>
      <p:ext uri="{BB962C8B-B14F-4D97-AF65-F5344CB8AC3E}">
        <p14:creationId xmlns:p14="http://schemas.microsoft.com/office/powerpoint/2010/main" val="1105418393"/>
      </p:ext>
    </p:extLst>
  </p:cSld>
  <p:clrMap bg1="dk1" tx1="lt1" bg2="dk2" tx2="lt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8" r:id="rId8"/>
    <p:sldLayoutId id="2147483909" r:id="rId9"/>
    <p:sldLayoutId id="2147483910" r:id="rId10"/>
    <p:sldLayoutId id="2147483911" r:id="rId11"/>
    <p:sldLayoutId id="2147483912" r:id="rId12"/>
    <p:sldLayoutId id="2147483913" r:id="rId13"/>
    <p:sldLayoutId id="2147483914" r:id="rId14"/>
    <p:sldLayoutId id="2147483915" r:id="rId15"/>
    <p:sldLayoutId id="2147483916" r:id="rId16"/>
    <p:sldLayoutId id="2147483917" r:id="rId17"/>
    <p:sldLayoutId id="2147483918" r:id="rId18"/>
    <p:sldLayoutId id="2147483919" r:id="rId19"/>
    <p:sldLayoutId id="2147483920" r:id="rId20"/>
    <p:sldLayoutId id="2147483921" r:id="rId21"/>
    <p:sldLayoutId id="2147483922" r:id="rId22"/>
    <p:sldLayoutId id="2147483923" r:id="rId23"/>
    <p:sldLayoutId id="2147483924" r:id="rId24"/>
    <p:sldLayoutId id="2147483925" r:id="rId25"/>
    <p:sldLayoutId id="2147483926" r:id="rId26"/>
    <p:sldLayoutId id="2147483927" r:id="rId27"/>
    <p:sldLayoutId id="2147483928" r:id="rId28"/>
    <p:sldLayoutId id="2147483929" r:id="rId29"/>
    <p:sldLayoutId id="2147483930" r:id="rId30"/>
    <p:sldLayoutId id="2147483931" r:id="rId31"/>
    <p:sldLayoutId id="2147483932" r:id="rId32"/>
    <p:sldLayoutId id="2147483933" r:id="rId33"/>
    <p:sldLayoutId id="2147483934" r:id="rId34"/>
    <p:sldLayoutId id="2147483935" r:id="rId35"/>
    <p:sldLayoutId id="2147483936" r:id="rId36"/>
    <p:sldLayoutId id="2147483937" r:id="rId37"/>
  </p:sldLayoutIdLst>
  <p:hf sldNum="0" hdr="0" ftr="0" dt="0"/>
  <p:txStyles>
    <p:titleStyle>
      <a:lvl1pPr algn="l" defTabSz="1219019" rtl="0" eaLnBrk="1" latinLnBrk="0" hangingPunct="1">
        <a:spcBef>
          <a:spcPct val="0"/>
        </a:spcBef>
        <a:buNone/>
        <a:defRPr sz="3465" b="1" i="0" kern="1200">
          <a:solidFill>
            <a:schemeClr val="bg1"/>
          </a:solidFill>
          <a:latin typeface="Proximus" panose="020B0604020202020204" charset="0"/>
          <a:ea typeface="+mj-ea"/>
          <a:cs typeface="Proximus" panose="020B060402020202020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35194" indent="-235194" algn="l" defTabSz="1219019" rtl="0" eaLnBrk="1" latinLnBrk="0" hangingPunct="1">
        <a:lnSpc>
          <a:spcPct val="100000"/>
        </a:lnSpc>
        <a:spcBef>
          <a:spcPts val="800"/>
        </a:spcBef>
        <a:spcAft>
          <a:spcPts val="0"/>
        </a:spcAft>
        <a:buClr>
          <a:schemeClr val="bg1"/>
        </a:buClr>
        <a:buSzPct val="100000"/>
        <a:buFont typeface="Arial" panose="020B0604020202020204" pitchFamily="34" charset="0"/>
        <a:buChar char="•"/>
        <a:tabLst/>
        <a:defRPr sz="1867" kern="1200">
          <a:solidFill>
            <a:srgbClr val="000000"/>
          </a:solidFill>
          <a:latin typeface="Proximus" panose="00000500000000000000" pitchFamily="2" charset="0"/>
          <a:ea typeface="+mn-ea"/>
          <a:cs typeface="+mn-cs"/>
        </a:defRPr>
      </a:lvl1pPr>
      <a:lvl2pPr marL="479988" indent="-234917" algn="l" defTabSz="1219019" rtl="0" eaLnBrk="1" latinLnBrk="0" hangingPunct="1">
        <a:spcBef>
          <a:spcPts val="800"/>
        </a:spcBef>
        <a:spcAft>
          <a:spcPts val="0"/>
        </a:spcAft>
        <a:buClr>
          <a:schemeClr val="bg1"/>
        </a:buClr>
        <a:buSzPct val="100000"/>
        <a:buFont typeface="Arial" panose="020B0604020202020204" pitchFamily="34" charset="0"/>
        <a:buChar char="•"/>
        <a:tabLst/>
        <a:defRPr sz="1600" kern="1200">
          <a:solidFill>
            <a:srgbClr val="000000"/>
          </a:solidFill>
          <a:latin typeface="Proximus" panose="00000500000000000000" pitchFamily="2" charset="0"/>
          <a:ea typeface="+mn-ea"/>
          <a:cs typeface="+mn-cs"/>
        </a:defRPr>
      </a:lvl2pPr>
      <a:lvl3pPr marL="715182" indent="-237033" algn="l" defTabSz="1219019" rtl="0" eaLnBrk="1" latinLnBrk="0" hangingPunct="1">
        <a:spcBef>
          <a:spcPts val="800"/>
        </a:spcBef>
        <a:spcAft>
          <a:spcPts val="0"/>
        </a:spcAft>
        <a:buClr>
          <a:schemeClr val="bg1"/>
        </a:buClr>
        <a:buSzPct val="100000"/>
        <a:buFont typeface="Arial" panose="020B0604020202020204" pitchFamily="34" charset="0"/>
        <a:buChar char="•"/>
        <a:tabLst/>
        <a:defRPr sz="1600" kern="1200">
          <a:solidFill>
            <a:srgbClr val="000000"/>
          </a:solidFill>
          <a:latin typeface="Proximus Light" panose="00000400000000000000" pitchFamily="50" charset="0"/>
          <a:ea typeface="+mn-ea"/>
          <a:cs typeface="+mn-cs"/>
        </a:defRPr>
      </a:lvl3pPr>
      <a:lvl4pPr marL="0" indent="0" algn="l" defTabSz="1219019" rtl="0" eaLnBrk="1" latinLnBrk="0" hangingPunct="1">
        <a:spcBef>
          <a:spcPts val="1600"/>
        </a:spcBef>
        <a:spcAft>
          <a:spcPts val="0"/>
        </a:spcAft>
        <a:buClr>
          <a:schemeClr val="bg1"/>
        </a:buClr>
        <a:buSzPct val="100000"/>
        <a:buFont typeface="Arial" panose="020B0604020202020204" pitchFamily="34" charset="0"/>
        <a:buNone/>
        <a:tabLst/>
        <a:defRPr sz="1867" kern="1200">
          <a:solidFill>
            <a:srgbClr val="000000"/>
          </a:solidFill>
          <a:latin typeface="+mn-lt"/>
          <a:ea typeface="+mn-ea"/>
          <a:cs typeface="+mn-cs"/>
        </a:defRPr>
      </a:lvl4pPr>
      <a:lvl5pPr marL="0" indent="0" algn="l" defTabSz="1219019" rtl="0" eaLnBrk="1" latinLnBrk="0" hangingPunct="1">
        <a:spcBef>
          <a:spcPts val="2400"/>
        </a:spcBef>
        <a:spcAft>
          <a:spcPts val="0"/>
        </a:spcAft>
        <a:buClr>
          <a:schemeClr val="bg1"/>
        </a:buClr>
        <a:buSzPct val="100000"/>
        <a:buFont typeface="Arial" panose="020B0604020202020204" pitchFamily="34" charset="0"/>
        <a:buNone/>
        <a:tabLst/>
        <a:defRPr sz="2133" kern="1200">
          <a:solidFill>
            <a:schemeClr val="bg1"/>
          </a:solidFill>
          <a:latin typeface="Proximus Light" panose="020B0604020202020204" charset="0"/>
          <a:ea typeface="+mn-ea"/>
          <a:cs typeface="+mn-cs"/>
        </a:defRPr>
      </a:lvl5pPr>
      <a:lvl6pPr marL="3352298" indent="-304755" algn="l" defTabSz="1219019"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1806" indent="-304755" algn="l" defTabSz="1219019"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315" indent="-304755" algn="l" defTabSz="1219019"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0824" indent="-304755" algn="l" defTabSz="1219019"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nl-BE"/>
      </a:defPPr>
      <a:lvl1pPr marL="0" algn="l" defTabSz="1219019" rtl="0" eaLnBrk="1" latinLnBrk="0" hangingPunct="1">
        <a:defRPr sz="2400" kern="1200">
          <a:solidFill>
            <a:schemeClr val="tx1"/>
          </a:solidFill>
          <a:latin typeface="+mn-lt"/>
          <a:ea typeface="+mn-ea"/>
          <a:cs typeface="+mn-cs"/>
        </a:defRPr>
      </a:lvl1pPr>
      <a:lvl2pPr marL="609509" algn="l" defTabSz="1219019" rtl="0" eaLnBrk="1" latinLnBrk="0" hangingPunct="1">
        <a:defRPr sz="2400" kern="1200">
          <a:solidFill>
            <a:schemeClr val="tx1"/>
          </a:solidFill>
          <a:latin typeface="+mn-lt"/>
          <a:ea typeface="+mn-ea"/>
          <a:cs typeface="+mn-cs"/>
        </a:defRPr>
      </a:lvl2pPr>
      <a:lvl3pPr marL="1219019" algn="l" defTabSz="1219019" rtl="0" eaLnBrk="1" latinLnBrk="0" hangingPunct="1">
        <a:defRPr sz="2400" kern="1200">
          <a:solidFill>
            <a:schemeClr val="tx1"/>
          </a:solidFill>
          <a:latin typeface="+mn-lt"/>
          <a:ea typeface="+mn-ea"/>
          <a:cs typeface="+mn-cs"/>
        </a:defRPr>
      </a:lvl3pPr>
      <a:lvl4pPr marL="1828526" algn="l" defTabSz="1219019" rtl="0" eaLnBrk="1" latinLnBrk="0" hangingPunct="1">
        <a:defRPr sz="2400" kern="1200">
          <a:solidFill>
            <a:schemeClr val="tx1"/>
          </a:solidFill>
          <a:latin typeface="+mn-lt"/>
          <a:ea typeface="+mn-ea"/>
          <a:cs typeface="+mn-cs"/>
        </a:defRPr>
      </a:lvl4pPr>
      <a:lvl5pPr marL="2438034" algn="l" defTabSz="1219019" rtl="0" eaLnBrk="1" latinLnBrk="0" hangingPunct="1">
        <a:defRPr sz="2400" kern="1200">
          <a:solidFill>
            <a:schemeClr val="tx1"/>
          </a:solidFill>
          <a:latin typeface="+mn-lt"/>
          <a:ea typeface="+mn-ea"/>
          <a:cs typeface="+mn-cs"/>
        </a:defRPr>
      </a:lvl5pPr>
      <a:lvl6pPr marL="3047542" algn="l" defTabSz="1219019" rtl="0" eaLnBrk="1" latinLnBrk="0" hangingPunct="1">
        <a:defRPr sz="2400" kern="1200">
          <a:solidFill>
            <a:schemeClr val="tx1"/>
          </a:solidFill>
          <a:latin typeface="+mn-lt"/>
          <a:ea typeface="+mn-ea"/>
          <a:cs typeface="+mn-cs"/>
        </a:defRPr>
      </a:lvl6pPr>
      <a:lvl7pPr marL="3657051" algn="l" defTabSz="1219019" rtl="0" eaLnBrk="1" latinLnBrk="0" hangingPunct="1">
        <a:defRPr sz="2400" kern="1200">
          <a:solidFill>
            <a:schemeClr val="tx1"/>
          </a:solidFill>
          <a:latin typeface="+mn-lt"/>
          <a:ea typeface="+mn-ea"/>
          <a:cs typeface="+mn-cs"/>
        </a:defRPr>
      </a:lvl7pPr>
      <a:lvl8pPr marL="4266560" algn="l" defTabSz="1219019" rtl="0" eaLnBrk="1" latinLnBrk="0" hangingPunct="1">
        <a:defRPr sz="2400" kern="1200">
          <a:solidFill>
            <a:schemeClr val="tx1"/>
          </a:solidFill>
          <a:latin typeface="+mn-lt"/>
          <a:ea typeface="+mn-ea"/>
          <a:cs typeface="+mn-cs"/>
        </a:defRPr>
      </a:lvl8pPr>
      <a:lvl9pPr marL="4876069" algn="l" defTabSz="1219019"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5468">
          <p15:clr>
            <a:srgbClr val="F26B43"/>
          </p15:clr>
        </p15:guide>
        <p15:guide id="3" pos="2880">
          <p15:clr>
            <a:srgbClr val="F26B43"/>
          </p15:clr>
        </p15:guide>
        <p15:guide id="4" pos="290">
          <p15:clr>
            <a:srgbClr val="F26B43"/>
          </p15:clr>
        </p15:guide>
        <p15:guide id="5" orient="horz" pos="2958">
          <p15:clr>
            <a:srgbClr val="F26B43"/>
          </p15:clr>
        </p15:guide>
        <p15:guide id="6" orient="horz" pos="2869">
          <p15:clr>
            <a:srgbClr val="F26B43"/>
          </p15:clr>
        </p15:guide>
        <p15:guide id="7" orient="horz" pos="1620">
          <p15:clr>
            <a:srgbClr val="F26B43"/>
          </p15:clr>
        </p15:guide>
        <p15:guide id="8" orient="horz" pos="284">
          <p15:clr>
            <a:srgbClr val="F26B43"/>
          </p15:clr>
        </p15:guide>
        <p15:guide id="9" orient="horz" pos="239">
          <p15:clr>
            <a:srgbClr val="F26B43"/>
          </p15:clr>
        </p15:guide>
        <p15:guide id="10" orient="horz" pos="654">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F59C5B7-A9DD-00F1-C668-BDA45A277C84}"/>
              </a:ext>
            </a:extLst>
          </p:cNvPr>
          <p:cNvGraphicFramePr>
            <a:graphicFrameLocks noChangeAspect="1"/>
          </p:cNvGraphicFramePr>
          <p:nvPr>
            <p:custDataLst>
              <p:tags r:id="rId5"/>
            </p:custDataLst>
            <p:extLst>
              <p:ext uri="{D42A27DB-BD31-4B8C-83A1-F6EECF244321}">
                <p14:modId xmlns:p14="http://schemas.microsoft.com/office/powerpoint/2010/main" val="3070684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2" name="think-cell data - do not delete" hidden="1">
                        <a:extLst>
                          <a:ext uri="{FF2B5EF4-FFF2-40B4-BE49-F238E27FC236}">
                            <a16:creationId xmlns:a16="http://schemas.microsoft.com/office/drawing/2014/main" id="{1F59C5B7-A9DD-00F1-C668-BDA45A277C8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MSIPCMContentMarking" descr="{&quot;HashCode&quot;:1902120773,&quot;Placement&quot;:&quot;Footer&quot;,&quot;Top&quot;:388.380066,&quot;Left&quot;:185.568817,&quot;SlideWidth&quot;:720,&quot;SlideHeight&quot;:405}">
            <a:extLst>
              <a:ext uri="{FF2B5EF4-FFF2-40B4-BE49-F238E27FC236}">
                <a16:creationId xmlns:a16="http://schemas.microsoft.com/office/drawing/2014/main" id="{BE753F0D-675D-8A3B-5DF9-14DB048847E5}"/>
              </a:ext>
            </a:extLst>
          </p:cNvPr>
          <p:cNvSpPr txBox="1"/>
          <p:nvPr/>
        </p:nvSpPr>
        <p:spPr>
          <a:xfrm>
            <a:off x="3142299" y="6645502"/>
            <a:ext cx="5907404" cy="143565"/>
          </a:xfrm>
          <a:prstGeom prst="rect">
            <a:avLst/>
          </a:prstGeom>
          <a:noFill/>
          <a:extLst>
            <a:ext uri="{909E8E84-426E-40DD-AFC4-6F175D3DCCD1}">
              <a14:hiddenFill xmlns:a14="http://schemas.microsoft.com/office/drawing/2010/main">
                <a:solidFill>
                  <a:schemeClr val="bg1"/>
                </a:solidFill>
              </a14:hiddenFill>
            </a:ext>
          </a:extLst>
        </p:spPr>
        <p:txBody>
          <a:bodyPr vert="horz" wrap="square" lIns="0" tIns="0" rIns="0" bIns="0" rtlCol="0" anchor="ctr" anchorCtr="1">
            <a:spAutoFit/>
          </a:bodyPr>
          <a:lstStyle/>
          <a:p>
            <a:pPr algn="ctr" rtl="0">
              <a:spcBef>
                <a:spcPts val="0"/>
              </a:spcBef>
              <a:spcAft>
                <a:spcPts val="0"/>
              </a:spcAft>
            </a:pPr>
            <a:r>
              <a:rPr lang="en-GB" sz="933">
                <a:solidFill>
                  <a:srgbClr val="737373"/>
                </a:solidFill>
                <a:latin typeface="Calibri" panose="020F0502020204030204" pitchFamily="34" charset="0"/>
              </a:rPr>
              <a:t>Confidential - Not for you? Notify the sender and delete. See more on https://www.proximus.com/confidentiality</a:t>
            </a:r>
          </a:p>
        </p:txBody>
      </p:sp>
      <p:sp>
        <p:nvSpPr>
          <p:cNvPr id="7" name="Title Placeholder 6">
            <a:extLst>
              <a:ext uri="{FF2B5EF4-FFF2-40B4-BE49-F238E27FC236}">
                <a16:creationId xmlns:a16="http://schemas.microsoft.com/office/drawing/2014/main" id="{6CA2F42D-09C0-FADA-9928-7098CE1CAC51}"/>
              </a:ext>
            </a:extLst>
          </p:cNvPr>
          <p:cNvSpPr>
            <a:spLocks noGrp="1"/>
          </p:cNvSpPr>
          <p:nvPr>
            <p:ph type="title"/>
          </p:nvPr>
        </p:nvSpPr>
        <p:spPr>
          <a:xfrm>
            <a:off x="656983" y="503119"/>
            <a:ext cx="11091863" cy="882650"/>
          </a:xfrm>
          <a:prstGeom prst="rect">
            <a:avLst/>
          </a:prstGeom>
        </p:spPr>
        <p:txBody>
          <a:bodyPr vert="horz" lIns="0" tIns="0" rIns="0" bIns="0" rtlCol="0" anchor="t" anchorCtr="0">
            <a:noAutofit/>
          </a:bodyPr>
          <a:lstStyle/>
          <a:p>
            <a:pPr marL="0" lvl="0" indent="0">
              <a:lnSpc>
                <a:spcPct val="100000"/>
              </a:lnSpc>
              <a:spcAft>
                <a:spcPts val="0"/>
              </a:spcAft>
              <a:buClrTx/>
              <a:buSzTx/>
              <a:buFontTx/>
              <a:tabLst/>
            </a:pPr>
            <a:r>
              <a:rPr lang="en-GB"/>
              <a:t>Click to edit Master title style</a:t>
            </a:r>
          </a:p>
        </p:txBody>
      </p:sp>
    </p:spTree>
    <p:extLst>
      <p:ext uri="{BB962C8B-B14F-4D97-AF65-F5344CB8AC3E}">
        <p14:creationId xmlns:p14="http://schemas.microsoft.com/office/powerpoint/2010/main" val="1595285955"/>
      </p:ext>
    </p:extLst>
  </p:cSld>
  <p:clrMap bg1="dk1" tx1="lt1" bg2="dk2" tx2="lt2" accent1="accent1" accent2="accent2" accent3="accent3" accent4="accent4" accent5="accent5" accent6="accent6" hlink="hlink" folHlink="folHlink"/>
  <p:sldLayoutIdLst>
    <p:sldLayoutId id="2147483939" r:id="rId1"/>
    <p:sldLayoutId id="2147483940" r:id="rId2"/>
    <p:sldLayoutId id="2147483941" r:id="rId3"/>
  </p:sldLayoutIdLst>
  <p:hf hdr="0" dt="0"/>
  <p:txStyles>
    <p:titleStyle>
      <a:lvl1pPr algn="l" defTabSz="1219019" rtl="0" eaLnBrk="1" latinLnBrk="0" hangingPunct="1">
        <a:spcBef>
          <a:spcPct val="0"/>
        </a:spcBef>
        <a:spcAft>
          <a:spcPts val="1800"/>
        </a:spcAft>
        <a:buNone/>
        <a:defRPr lang="en-US" sz="2400" b="0" i="0" kern="1200" smtClean="0">
          <a:solidFill>
            <a:srgbClr val="000000"/>
          </a:solidFill>
          <a:latin typeface="Proximus ExtraBold"/>
          <a:ea typeface="+mj-ea"/>
          <a:cs typeface="Proximus ExtraBold" panose="00000900000000000000" pitchFamily="2"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1219019" rtl="0" eaLnBrk="1" latinLnBrk="0" hangingPunct="1">
        <a:lnSpc>
          <a:spcPct val="113000"/>
        </a:lnSpc>
        <a:spcBef>
          <a:spcPts val="0"/>
        </a:spcBef>
        <a:spcAft>
          <a:spcPts val="1800"/>
        </a:spcAft>
        <a:buClr>
          <a:schemeClr val="bg1"/>
        </a:buClr>
        <a:buSzPct val="100000"/>
        <a:buFont typeface="Arial" panose="020B0604020202020204" pitchFamily="34" charset="0"/>
        <a:buNone/>
        <a:tabLst/>
        <a:defRPr lang="en-US" sz="3200" kern="1200" dirty="0" smtClean="0">
          <a:solidFill>
            <a:srgbClr val="000000"/>
          </a:solidFill>
          <a:latin typeface="Proximus Light" panose="00000500000000000000" pitchFamily="2" charset="0"/>
          <a:ea typeface="+mn-ea"/>
          <a:cs typeface="+mn-cs"/>
        </a:defRPr>
      </a:lvl1pPr>
      <a:lvl2pPr marL="243378" indent="0" algn="l" defTabSz="1219019" rtl="0" eaLnBrk="1" latinLnBrk="0" hangingPunct="1">
        <a:spcBef>
          <a:spcPts val="0"/>
        </a:spcBef>
        <a:spcAft>
          <a:spcPts val="1800"/>
        </a:spcAft>
        <a:buClr>
          <a:schemeClr val="bg1"/>
        </a:buClr>
        <a:buSzPct val="100000"/>
        <a:buFont typeface="Arial" panose="020B0604020202020204" pitchFamily="34" charset="0"/>
        <a:buNone/>
        <a:tabLst/>
        <a:defRPr sz="4000" kern="1200">
          <a:solidFill>
            <a:srgbClr val="000000"/>
          </a:solidFill>
          <a:latin typeface="Proximus ExtraBold" panose="00000900000000000000" pitchFamily="2" charset="0"/>
          <a:ea typeface="+mn-ea"/>
          <a:cs typeface="+mn-cs"/>
        </a:defRPr>
      </a:lvl2pPr>
      <a:lvl3pPr marL="478292" indent="0" algn="l" defTabSz="1219019" rtl="0" eaLnBrk="1" latinLnBrk="0" hangingPunct="1">
        <a:lnSpc>
          <a:spcPct val="113000"/>
        </a:lnSpc>
        <a:spcBef>
          <a:spcPts val="0"/>
        </a:spcBef>
        <a:spcAft>
          <a:spcPts val="1800"/>
        </a:spcAft>
        <a:buClr>
          <a:schemeClr val="bg1"/>
        </a:buClr>
        <a:buSzPct val="100000"/>
        <a:buFont typeface="Arial" panose="020B0604020202020204" pitchFamily="34" charset="0"/>
        <a:buNone/>
        <a:tabLst/>
        <a:defRPr sz="2800" kern="1200">
          <a:solidFill>
            <a:srgbClr val="000000"/>
          </a:solidFill>
          <a:latin typeface="Proximus Light" panose="00000500000000000000" pitchFamily="2" charset="0"/>
          <a:ea typeface="+mn-ea"/>
          <a:cs typeface="+mn-cs"/>
        </a:defRPr>
      </a:lvl3pPr>
      <a:lvl4pPr marL="715325" indent="0" algn="l" defTabSz="1219019" rtl="0" eaLnBrk="1" latinLnBrk="0" hangingPunct="1">
        <a:spcBef>
          <a:spcPts val="0"/>
        </a:spcBef>
        <a:spcAft>
          <a:spcPts val="1800"/>
        </a:spcAft>
        <a:buClr>
          <a:schemeClr val="bg1"/>
        </a:buClr>
        <a:buSzPct val="100000"/>
        <a:buFont typeface="Arial" panose="020B0604020202020204" pitchFamily="34" charset="0"/>
        <a:buNone/>
        <a:tabLst/>
        <a:defRPr sz="3200" kern="1200">
          <a:solidFill>
            <a:srgbClr val="000000"/>
          </a:solidFill>
          <a:latin typeface="Proximus ExtraBold" panose="00000900000000000000" pitchFamily="2" charset="0"/>
          <a:ea typeface="+mn-ea"/>
          <a:cs typeface="+mn-cs"/>
        </a:defRPr>
      </a:lvl4pPr>
      <a:lvl5pPr marL="950239" indent="0" algn="l" defTabSz="1219019" rtl="0" eaLnBrk="1" latinLnBrk="0" hangingPunct="1">
        <a:spcBef>
          <a:spcPts val="0"/>
        </a:spcBef>
        <a:spcAft>
          <a:spcPts val="1467"/>
        </a:spcAft>
        <a:buClr>
          <a:schemeClr val="bg1"/>
        </a:buClr>
        <a:buSzPct val="100000"/>
        <a:buFont typeface="Arial" panose="020B0604020202020204" pitchFamily="34" charset="0"/>
        <a:buNone/>
        <a:tabLst/>
        <a:defRPr sz="1600" kern="1200">
          <a:solidFill>
            <a:srgbClr val="000000"/>
          </a:solidFill>
          <a:latin typeface="Proximus" panose="00000500000000000000" pitchFamily="2" charset="0"/>
          <a:ea typeface="+mn-ea"/>
          <a:cs typeface="+mn-cs"/>
        </a:defRPr>
      </a:lvl5pPr>
      <a:lvl6pPr marL="3047543" indent="0" algn="l" defTabSz="1219019" rtl="0" eaLnBrk="1" latinLnBrk="0" hangingPunct="1">
        <a:lnSpc>
          <a:spcPct val="113000"/>
        </a:lnSpc>
        <a:spcBef>
          <a:spcPts val="0"/>
        </a:spcBef>
        <a:spcAft>
          <a:spcPts val="1800"/>
        </a:spcAft>
        <a:buFontTx/>
        <a:buNone/>
        <a:defRPr sz="2400" kern="1200">
          <a:solidFill>
            <a:srgbClr val="000000"/>
          </a:solidFill>
          <a:latin typeface="+mj-lt"/>
          <a:ea typeface="+mn-ea"/>
          <a:cs typeface="+mn-cs"/>
        </a:defRPr>
      </a:lvl6pPr>
      <a:lvl7pPr marL="3657051" indent="0" algn="l" defTabSz="1219019" rtl="0" eaLnBrk="1" latinLnBrk="0" hangingPunct="1">
        <a:lnSpc>
          <a:spcPct val="110000"/>
        </a:lnSpc>
        <a:spcBef>
          <a:spcPts val="0"/>
        </a:spcBef>
        <a:spcAft>
          <a:spcPts val="1800"/>
        </a:spcAft>
        <a:buFontTx/>
        <a:buNone/>
        <a:defRPr sz="2667" kern="1200">
          <a:solidFill>
            <a:srgbClr val="000000"/>
          </a:solidFill>
          <a:latin typeface="Proximus ExtraBold" panose="00000900000000000000" pitchFamily="2" charset="0"/>
          <a:ea typeface="+mn-ea"/>
          <a:cs typeface="Aparajita" panose="020B0502040204020203" pitchFamily="18" charset="0"/>
        </a:defRPr>
      </a:lvl7pPr>
      <a:lvl8pPr marL="4266560" indent="0" algn="l" defTabSz="1219019" rtl="0" eaLnBrk="1" latinLnBrk="0" hangingPunct="1">
        <a:lnSpc>
          <a:spcPct val="125000"/>
        </a:lnSpc>
        <a:spcBef>
          <a:spcPts val="0"/>
        </a:spcBef>
        <a:spcAft>
          <a:spcPts val="300"/>
        </a:spcAft>
        <a:buFontTx/>
        <a:buNone/>
        <a:defRPr sz="1800" kern="1200">
          <a:solidFill>
            <a:srgbClr val="000000"/>
          </a:solidFill>
          <a:latin typeface="Proximus Bold" panose="00000800000000000000" pitchFamily="2" charset="0"/>
          <a:ea typeface="+mn-ea"/>
          <a:cs typeface="+mn-cs"/>
        </a:defRPr>
      </a:lvl8pPr>
      <a:lvl9pPr marL="4876069" indent="0" algn="l" defTabSz="1219019" rtl="0" eaLnBrk="1" latinLnBrk="0" hangingPunct="1">
        <a:lnSpc>
          <a:spcPct val="130000"/>
        </a:lnSpc>
        <a:spcBef>
          <a:spcPts val="0"/>
        </a:spcBef>
        <a:spcAft>
          <a:spcPts val="600"/>
        </a:spcAft>
        <a:buFontTx/>
        <a:buNone/>
        <a:defRPr sz="1600" kern="1200">
          <a:solidFill>
            <a:srgbClr val="000000"/>
          </a:solidFill>
          <a:latin typeface="+mn-lt"/>
          <a:ea typeface="+mn-ea"/>
          <a:cs typeface="+mn-cs"/>
        </a:defRPr>
      </a:lvl9pPr>
    </p:bodyStyle>
    <p:otherStyle>
      <a:defPPr>
        <a:defRPr lang="nl-BE"/>
      </a:defPPr>
      <a:lvl1pPr marL="0" algn="l" defTabSz="1219019" rtl="0" eaLnBrk="1" latinLnBrk="0" hangingPunct="1">
        <a:defRPr sz="2400" kern="1200">
          <a:solidFill>
            <a:schemeClr val="tx1"/>
          </a:solidFill>
          <a:latin typeface="+mn-lt"/>
          <a:ea typeface="+mn-ea"/>
          <a:cs typeface="+mn-cs"/>
        </a:defRPr>
      </a:lvl1pPr>
      <a:lvl2pPr marL="609509" algn="l" defTabSz="1219019" rtl="0" eaLnBrk="1" latinLnBrk="0" hangingPunct="1">
        <a:defRPr sz="2400" kern="1200">
          <a:solidFill>
            <a:schemeClr val="tx1"/>
          </a:solidFill>
          <a:latin typeface="+mn-lt"/>
          <a:ea typeface="+mn-ea"/>
          <a:cs typeface="+mn-cs"/>
        </a:defRPr>
      </a:lvl2pPr>
      <a:lvl3pPr marL="1219019" algn="l" defTabSz="1219019" rtl="0" eaLnBrk="1" latinLnBrk="0" hangingPunct="1">
        <a:defRPr sz="2400" kern="1200">
          <a:solidFill>
            <a:schemeClr val="tx1"/>
          </a:solidFill>
          <a:latin typeface="+mn-lt"/>
          <a:ea typeface="+mn-ea"/>
          <a:cs typeface="+mn-cs"/>
        </a:defRPr>
      </a:lvl3pPr>
      <a:lvl4pPr marL="1828526" algn="l" defTabSz="1219019" rtl="0" eaLnBrk="1" latinLnBrk="0" hangingPunct="1">
        <a:defRPr sz="2400" kern="1200">
          <a:solidFill>
            <a:schemeClr val="tx1"/>
          </a:solidFill>
          <a:latin typeface="+mn-lt"/>
          <a:ea typeface="+mn-ea"/>
          <a:cs typeface="+mn-cs"/>
        </a:defRPr>
      </a:lvl4pPr>
      <a:lvl5pPr marL="2438034" algn="l" defTabSz="1219019" rtl="0" eaLnBrk="1" latinLnBrk="0" hangingPunct="1">
        <a:defRPr sz="2400" kern="1200">
          <a:solidFill>
            <a:schemeClr val="tx1"/>
          </a:solidFill>
          <a:latin typeface="+mn-lt"/>
          <a:ea typeface="+mn-ea"/>
          <a:cs typeface="+mn-cs"/>
        </a:defRPr>
      </a:lvl5pPr>
      <a:lvl6pPr marL="3047542" algn="l" defTabSz="1219019" rtl="0" eaLnBrk="1" latinLnBrk="0" hangingPunct="1">
        <a:defRPr sz="2400" kern="1200">
          <a:solidFill>
            <a:schemeClr val="tx1"/>
          </a:solidFill>
          <a:latin typeface="+mn-lt"/>
          <a:ea typeface="+mn-ea"/>
          <a:cs typeface="+mn-cs"/>
        </a:defRPr>
      </a:lvl6pPr>
      <a:lvl7pPr marL="3657051" algn="l" defTabSz="1219019" rtl="0" eaLnBrk="1" latinLnBrk="0" hangingPunct="1">
        <a:defRPr sz="2400" kern="1200">
          <a:solidFill>
            <a:schemeClr val="tx1"/>
          </a:solidFill>
          <a:latin typeface="+mn-lt"/>
          <a:ea typeface="+mn-ea"/>
          <a:cs typeface="+mn-cs"/>
        </a:defRPr>
      </a:lvl7pPr>
      <a:lvl8pPr marL="4266560" algn="l" defTabSz="1219019" rtl="0" eaLnBrk="1" latinLnBrk="0" hangingPunct="1">
        <a:defRPr sz="2400" kern="1200">
          <a:solidFill>
            <a:schemeClr val="tx1"/>
          </a:solidFill>
          <a:latin typeface="+mn-lt"/>
          <a:ea typeface="+mn-ea"/>
          <a:cs typeface="+mn-cs"/>
        </a:defRPr>
      </a:lvl8pPr>
      <a:lvl9pPr marL="4876069" algn="l" defTabSz="1219019"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
          <p15:clr>
            <a:srgbClr val="F26B43"/>
          </p15:clr>
        </p15:guide>
        <p15:guide id="2" pos="5468">
          <p15:clr>
            <a:srgbClr val="F26B43"/>
          </p15:clr>
        </p15:guide>
        <p15:guide id="3" pos="2880">
          <p15:clr>
            <a:srgbClr val="F26B43"/>
          </p15:clr>
        </p15:guide>
        <p15:guide id="4" pos="290">
          <p15:clr>
            <a:srgbClr val="F26B43"/>
          </p15:clr>
        </p15:guide>
        <p15:guide id="5" orient="horz" pos="2951">
          <p15:clr>
            <a:srgbClr val="F26B43"/>
          </p15:clr>
        </p15:guide>
        <p15:guide id="6" orient="horz" pos="2869">
          <p15:clr>
            <a:srgbClr val="F26B43"/>
          </p15:clr>
        </p15:guide>
        <p15:guide id="7" orient="horz" pos="1620">
          <p15:clr>
            <a:srgbClr val="F26B43"/>
          </p15:clr>
        </p15:guide>
        <p15:guide id="8" orient="horz" pos="284">
          <p15:clr>
            <a:srgbClr val="F26B43"/>
          </p15:clr>
        </p15:guide>
        <p15:guide id="9" orient="horz" pos="239">
          <p15:clr>
            <a:srgbClr val="F26B43"/>
          </p15:clr>
        </p15:guide>
        <p15:guide id="10" orient="horz" pos="65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185.xml"/><Relationship Id="rId1" Type="http://schemas.openxmlformats.org/officeDocument/2006/relationships/tags" Target="../tags/tag28.xml"/><Relationship Id="rId4" Type="http://schemas.openxmlformats.org/officeDocument/2006/relationships/image" Target="../media/image4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0.xml"/><Relationship Id="rId1" Type="http://schemas.openxmlformats.org/officeDocument/2006/relationships/tags" Target="../tags/tag34.xml"/><Relationship Id="rId4" Type="http://schemas.openxmlformats.org/officeDocument/2006/relationships/image" Target="../media/image48.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94.png"/><Relationship Id="rId2" Type="http://schemas.openxmlformats.org/officeDocument/2006/relationships/slideLayout" Target="../slideLayouts/slideLayout135.xml"/><Relationship Id="rId1" Type="http://schemas.openxmlformats.org/officeDocument/2006/relationships/tags" Target="../tags/tag35.xml"/><Relationship Id="rId6" Type="http://schemas.openxmlformats.org/officeDocument/2006/relationships/image" Target="../media/image93.png"/><Relationship Id="rId5" Type="http://schemas.openxmlformats.org/officeDocument/2006/relationships/image" Target="../media/image81.emf"/><Relationship Id="rId4" Type="http://schemas.openxmlformats.org/officeDocument/2006/relationships/oleObject" Target="../embeddings/oleObject29.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35.xml"/><Relationship Id="rId1" Type="http://schemas.openxmlformats.org/officeDocument/2006/relationships/tags" Target="../tags/tag36.xml"/><Relationship Id="rId6" Type="http://schemas.openxmlformats.org/officeDocument/2006/relationships/image" Target="../media/image95.png"/><Relationship Id="rId5" Type="http://schemas.openxmlformats.org/officeDocument/2006/relationships/image" Target="../media/image81.emf"/><Relationship Id="rId4" Type="http://schemas.openxmlformats.org/officeDocument/2006/relationships/oleObject" Target="../embeddings/oleObject29.bin"/></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0.xml"/><Relationship Id="rId1" Type="http://schemas.openxmlformats.org/officeDocument/2006/relationships/tags" Target="../tags/tag37.xml"/><Relationship Id="rId4" Type="http://schemas.openxmlformats.org/officeDocument/2006/relationships/image" Target="../media/image48.emf"/></Relationships>
</file>

<file path=ppt/slides/_rels/slide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6.png"/><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8" Type="http://schemas.openxmlformats.org/officeDocument/2006/relationships/image" Target="../media/image99.png"/><Relationship Id="rId13" Type="http://schemas.openxmlformats.org/officeDocument/2006/relationships/image" Target="../media/image104.svg"/><Relationship Id="rId18" Type="http://schemas.openxmlformats.org/officeDocument/2006/relationships/image" Target="../media/image109.png"/><Relationship Id="rId3" Type="http://schemas.openxmlformats.org/officeDocument/2006/relationships/notesSlide" Target="../notesSlides/notesSlide10.xml"/><Relationship Id="rId7" Type="http://schemas.openxmlformats.org/officeDocument/2006/relationships/image" Target="../media/image98.svg"/><Relationship Id="rId12" Type="http://schemas.openxmlformats.org/officeDocument/2006/relationships/image" Target="../media/image103.png"/><Relationship Id="rId17" Type="http://schemas.openxmlformats.org/officeDocument/2006/relationships/image" Target="../media/image108.svg"/><Relationship Id="rId2" Type="http://schemas.openxmlformats.org/officeDocument/2006/relationships/slideLayout" Target="../slideLayouts/slideLayout20.xml"/><Relationship Id="rId16" Type="http://schemas.openxmlformats.org/officeDocument/2006/relationships/image" Target="../media/image107.png"/><Relationship Id="rId1" Type="http://schemas.openxmlformats.org/officeDocument/2006/relationships/tags" Target="../tags/tag38.xml"/><Relationship Id="rId6" Type="http://schemas.openxmlformats.org/officeDocument/2006/relationships/image" Target="../media/image97.png"/><Relationship Id="rId11" Type="http://schemas.openxmlformats.org/officeDocument/2006/relationships/image" Target="../media/image102.svg"/><Relationship Id="rId5" Type="http://schemas.openxmlformats.org/officeDocument/2006/relationships/image" Target="../media/image48.emf"/><Relationship Id="rId15" Type="http://schemas.openxmlformats.org/officeDocument/2006/relationships/image" Target="../media/image106.svg"/><Relationship Id="rId10" Type="http://schemas.openxmlformats.org/officeDocument/2006/relationships/image" Target="../media/image101.png"/><Relationship Id="rId19" Type="http://schemas.openxmlformats.org/officeDocument/2006/relationships/image" Target="../media/image110.svg"/><Relationship Id="rId4" Type="http://schemas.openxmlformats.org/officeDocument/2006/relationships/oleObject" Target="../embeddings/oleObject26.bin"/><Relationship Id="rId9" Type="http://schemas.openxmlformats.org/officeDocument/2006/relationships/image" Target="../media/image100.svg"/><Relationship Id="rId14" Type="http://schemas.openxmlformats.org/officeDocument/2006/relationships/image" Target="../media/image105.png"/></Relationships>
</file>

<file path=ppt/slides/_rels/slide16.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6.svg"/><Relationship Id="rId18" Type="http://schemas.openxmlformats.org/officeDocument/2006/relationships/image" Target="../media/image111.png"/><Relationship Id="rId3" Type="http://schemas.openxmlformats.org/officeDocument/2006/relationships/notesSlide" Target="../notesSlides/notesSlide11.xml"/><Relationship Id="rId21" Type="http://schemas.openxmlformats.org/officeDocument/2006/relationships/image" Target="../media/image97.png"/><Relationship Id="rId7" Type="http://schemas.openxmlformats.org/officeDocument/2006/relationships/image" Target="../media/image100.svg"/><Relationship Id="rId12" Type="http://schemas.openxmlformats.org/officeDocument/2006/relationships/image" Target="../media/image105.png"/><Relationship Id="rId17" Type="http://schemas.openxmlformats.org/officeDocument/2006/relationships/image" Target="../media/image110.svg"/><Relationship Id="rId2" Type="http://schemas.openxmlformats.org/officeDocument/2006/relationships/slideLayout" Target="../slideLayouts/slideLayout20.xml"/><Relationship Id="rId16" Type="http://schemas.openxmlformats.org/officeDocument/2006/relationships/image" Target="../media/image109.png"/><Relationship Id="rId20" Type="http://schemas.openxmlformats.org/officeDocument/2006/relationships/image" Target="../media/image113.svg"/><Relationship Id="rId1" Type="http://schemas.openxmlformats.org/officeDocument/2006/relationships/tags" Target="../tags/tag39.xml"/><Relationship Id="rId6" Type="http://schemas.openxmlformats.org/officeDocument/2006/relationships/image" Target="../media/image99.png"/><Relationship Id="rId11" Type="http://schemas.openxmlformats.org/officeDocument/2006/relationships/image" Target="../media/image104.svg"/><Relationship Id="rId5" Type="http://schemas.openxmlformats.org/officeDocument/2006/relationships/image" Target="../media/image48.emf"/><Relationship Id="rId15" Type="http://schemas.openxmlformats.org/officeDocument/2006/relationships/image" Target="../media/image108.svg"/><Relationship Id="rId10" Type="http://schemas.openxmlformats.org/officeDocument/2006/relationships/image" Target="../media/image103.png"/><Relationship Id="rId19" Type="http://schemas.openxmlformats.org/officeDocument/2006/relationships/image" Target="../media/image112.svg"/><Relationship Id="rId4" Type="http://schemas.openxmlformats.org/officeDocument/2006/relationships/oleObject" Target="../embeddings/oleObject26.bin"/><Relationship Id="rId9" Type="http://schemas.openxmlformats.org/officeDocument/2006/relationships/image" Target="../media/image102.svg"/><Relationship Id="rId14" Type="http://schemas.openxmlformats.org/officeDocument/2006/relationships/image" Target="../media/image107.png"/><Relationship Id="rId22" Type="http://schemas.openxmlformats.org/officeDocument/2006/relationships/image" Target="../media/image98.svg"/></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0.xml"/><Relationship Id="rId1" Type="http://schemas.openxmlformats.org/officeDocument/2006/relationships/tags" Target="../tags/tag40.xml"/><Relationship Id="rId4" Type="http://schemas.openxmlformats.org/officeDocument/2006/relationships/image" Target="../media/image4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0.xml"/><Relationship Id="rId1" Type="http://schemas.openxmlformats.org/officeDocument/2006/relationships/tags" Target="../tags/tag41.xml"/><Relationship Id="rId4" Type="http://schemas.openxmlformats.org/officeDocument/2006/relationships/image" Target="../media/image48.emf"/></Relationships>
</file>

<file path=ppt/slides/_rels/slide19.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12.xml"/><Relationship Id="rId1" Type="http://schemas.openxmlformats.org/officeDocument/2006/relationships/slideLayout" Target="../slideLayouts/slideLayout20.xml"/><Relationship Id="rId6" Type="http://schemas.openxmlformats.org/officeDocument/2006/relationships/image" Target="../media/image117.svg"/><Relationship Id="rId5" Type="http://schemas.openxmlformats.org/officeDocument/2006/relationships/image" Target="../media/image116.png"/><Relationship Id="rId4" Type="http://schemas.openxmlformats.org/officeDocument/2006/relationships/image" Target="../media/image115.svg"/></Relationships>
</file>

<file path=ppt/slides/_rels/slide2.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0.xml"/><Relationship Id="rId1" Type="http://schemas.openxmlformats.org/officeDocument/2006/relationships/tags" Target="../tags/tag42.xml"/><Relationship Id="rId4" Type="http://schemas.openxmlformats.org/officeDocument/2006/relationships/image" Target="../media/image48.emf"/></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119.png"/><Relationship Id="rId2" Type="http://schemas.openxmlformats.org/officeDocument/2006/relationships/slideLayout" Target="../slideLayouts/slideLayout135.xml"/><Relationship Id="rId1" Type="http://schemas.openxmlformats.org/officeDocument/2006/relationships/tags" Target="../tags/tag43.xml"/><Relationship Id="rId6" Type="http://schemas.openxmlformats.org/officeDocument/2006/relationships/image" Target="../media/image118.png"/><Relationship Id="rId5" Type="http://schemas.openxmlformats.org/officeDocument/2006/relationships/image" Target="../media/image18.emf"/><Relationship Id="rId4" Type="http://schemas.openxmlformats.org/officeDocument/2006/relationships/oleObject" Target="../embeddings/oleObject30.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35.xml"/><Relationship Id="rId1" Type="http://schemas.openxmlformats.org/officeDocument/2006/relationships/tags" Target="../tags/tag44.xml"/><Relationship Id="rId5" Type="http://schemas.openxmlformats.org/officeDocument/2006/relationships/image" Target="../media/image18.emf"/><Relationship Id="rId4" Type="http://schemas.openxmlformats.org/officeDocument/2006/relationships/oleObject" Target="../embeddings/oleObject30.bin"/></Relationships>
</file>

<file path=ppt/slides/_rels/slide3.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68.png"/><Relationship Id="rId3" Type="http://schemas.openxmlformats.org/officeDocument/2006/relationships/image" Target="../media/image58.png"/><Relationship Id="rId7" Type="http://schemas.openxmlformats.org/officeDocument/2006/relationships/image" Target="../media/image62.png"/><Relationship Id="rId12" Type="http://schemas.openxmlformats.org/officeDocument/2006/relationships/image" Target="../media/image67.png"/><Relationship Id="rId2" Type="http://schemas.openxmlformats.org/officeDocument/2006/relationships/notesSlide" Target="../notesSlides/notesSlide2.xml"/><Relationship Id="rId1" Type="http://schemas.openxmlformats.org/officeDocument/2006/relationships/slideLayout" Target="../slideLayouts/slideLayout20.xml"/><Relationship Id="rId6" Type="http://schemas.openxmlformats.org/officeDocument/2006/relationships/image" Target="../media/image61.png"/><Relationship Id="rId11" Type="http://schemas.openxmlformats.org/officeDocument/2006/relationships/image" Target="../media/image66.png"/><Relationship Id="rId5" Type="http://schemas.openxmlformats.org/officeDocument/2006/relationships/image" Target="../media/image60.jpeg"/><Relationship Id="rId10" Type="http://schemas.openxmlformats.org/officeDocument/2006/relationships/image" Target="../media/image65.png"/><Relationship Id="rId4" Type="http://schemas.openxmlformats.org/officeDocument/2006/relationships/image" Target="../media/image59.png"/><Relationship Id="rId9" Type="http://schemas.openxmlformats.org/officeDocument/2006/relationships/image" Target="../media/image64.png"/><Relationship Id="rId14" Type="http://schemas.openxmlformats.org/officeDocument/2006/relationships/image" Target="../media/image69.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notesSlide" Target="../notesSlides/notesSlide4.xml"/><Relationship Id="rId7" Type="http://schemas.openxmlformats.org/officeDocument/2006/relationships/image" Target="../media/image71.svg"/><Relationship Id="rId2" Type="http://schemas.openxmlformats.org/officeDocument/2006/relationships/slideLayout" Target="../slideLayouts/slideLayout133.xml"/><Relationship Id="rId1" Type="http://schemas.openxmlformats.org/officeDocument/2006/relationships/tags" Target="../tags/tag29.xml"/><Relationship Id="rId6" Type="http://schemas.openxmlformats.org/officeDocument/2006/relationships/image" Target="../media/image70.png"/><Relationship Id="rId5" Type="http://schemas.openxmlformats.org/officeDocument/2006/relationships/image" Target="../media/image48.emf"/><Relationship Id="rId4" Type="http://schemas.openxmlformats.org/officeDocument/2006/relationships/oleObject" Target="../embeddings/oleObject24.bin"/><Relationship Id="rId9" Type="http://schemas.openxmlformats.org/officeDocument/2006/relationships/image" Target="../media/image73.png"/></Relationships>
</file>

<file path=ppt/slides/_rels/slide6.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notesSlide" Target="../notesSlides/notesSlide5.xml"/><Relationship Id="rId7" Type="http://schemas.openxmlformats.org/officeDocument/2006/relationships/image" Target="../media/image75.svg"/><Relationship Id="rId12" Type="http://schemas.openxmlformats.org/officeDocument/2006/relationships/image" Target="../media/image80.png"/><Relationship Id="rId2" Type="http://schemas.openxmlformats.org/officeDocument/2006/relationships/slideLayout" Target="../slideLayouts/slideLayout20.xml"/><Relationship Id="rId1" Type="http://schemas.openxmlformats.org/officeDocument/2006/relationships/tags" Target="../tags/tag30.xml"/><Relationship Id="rId6" Type="http://schemas.openxmlformats.org/officeDocument/2006/relationships/image" Target="../media/image74.png"/><Relationship Id="rId11" Type="http://schemas.openxmlformats.org/officeDocument/2006/relationships/image" Target="../media/image79.svg"/><Relationship Id="rId5" Type="http://schemas.openxmlformats.org/officeDocument/2006/relationships/image" Target="../media/image48.emf"/><Relationship Id="rId10" Type="http://schemas.openxmlformats.org/officeDocument/2006/relationships/image" Target="../media/image78.png"/><Relationship Id="rId4" Type="http://schemas.openxmlformats.org/officeDocument/2006/relationships/oleObject" Target="../embeddings/oleObject25.bin"/><Relationship Id="rId9" Type="http://schemas.openxmlformats.org/officeDocument/2006/relationships/image" Target="../media/image77.sv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0.xml"/><Relationship Id="rId1" Type="http://schemas.openxmlformats.org/officeDocument/2006/relationships/tags" Target="../tags/tag31.xml"/><Relationship Id="rId4" Type="http://schemas.openxmlformats.org/officeDocument/2006/relationships/image" Target="../media/image48.emf"/></Relationships>
</file>

<file path=ppt/slides/_rels/slide8.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image" Target="../media/image89.svg"/><Relationship Id="rId3" Type="http://schemas.openxmlformats.org/officeDocument/2006/relationships/notesSlide" Target="../notesSlides/notesSlide6.xml"/><Relationship Id="rId7" Type="http://schemas.openxmlformats.org/officeDocument/2006/relationships/image" Target="../media/image83.svg"/><Relationship Id="rId12" Type="http://schemas.openxmlformats.org/officeDocument/2006/relationships/image" Target="../media/image88.png"/><Relationship Id="rId2" Type="http://schemas.openxmlformats.org/officeDocument/2006/relationships/slideLayout" Target="../slideLayouts/slideLayout223.xml"/><Relationship Id="rId16" Type="http://schemas.openxmlformats.org/officeDocument/2006/relationships/image" Target="../media/image92.png"/><Relationship Id="rId1" Type="http://schemas.openxmlformats.org/officeDocument/2006/relationships/tags" Target="../tags/tag32.xml"/><Relationship Id="rId6" Type="http://schemas.openxmlformats.org/officeDocument/2006/relationships/image" Target="../media/image82.png"/><Relationship Id="rId11" Type="http://schemas.openxmlformats.org/officeDocument/2006/relationships/image" Target="../media/image87.svg"/><Relationship Id="rId5" Type="http://schemas.openxmlformats.org/officeDocument/2006/relationships/image" Target="../media/image81.emf"/><Relationship Id="rId15" Type="http://schemas.openxmlformats.org/officeDocument/2006/relationships/image" Target="../media/image91.svg"/><Relationship Id="rId10" Type="http://schemas.openxmlformats.org/officeDocument/2006/relationships/image" Target="../media/image86.png"/><Relationship Id="rId4" Type="http://schemas.openxmlformats.org/officeDocument/2006/relationships/oleObject" Target="../embeddings/oleObject27.bin"/><Relationship Id="rId9" Type="http://schemas.openxmlformats.org/officeDocument/2006/relationships/image" Target="../media/image85.svg"/><Relationship Id="rId14" Type="http://schemas.openxmlformats.org/officeDocument/2006/relationships/image" Target="../media/image90.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0.xml"/><Relationship Id="rId1" Type="http://schemas.openxmlformats.org/officeDocument/2006/relationships/tags" Target="../tags/tag33.xml"/><Relationship Id="rId5" Type="http://schemas.openxmlformats.org/officeDocument/2006/relationships/image" Target="../media/image48.emf"/><Relationship Id="rId4" Type="http://schemas.openxmlformats.org/officeDocument/2006/relationships/oleObject" Target="../embeddings/oleObject2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73EBC29-52BF-1FA1-3904-D9DFC7B8935C}"/>
              </a:ext>
            </a:extLst>
          </p:cNvPr>
          <p:cNvGraphicFramePr>
            <a:graphicFrameLocks/>
          </p:cNvGraphicFramePr>
          <p:nvPr>
            <p:custDataLst>
              <p:tags r:id="rId1"/>
            </p:custDataLst>
            <p:extLst>
              <p:ext uri="{D42A27DB-BD31-4B8C-83A1-F6EECF244321}">
                <p14:modId xmlns:p14="http://schemas.microsoft.com/office/powerpoint/2010/main" val="3119661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773EBC29-52BF-1FA1-3904-D9DFC7B893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242CF86-7FF9-C5DB-30F7-B40F09D86D09}"/>
              </a:ext>
            </a:extLst>
          </p:cNvPr>
          <p:cNvSpPr>
            <a:spLocks noGrp="1"/>
          </p:cNvSpPr>
          <p:nvPr>
            <p:ph type="title"/>
          </p:nvPr>
        </p:nvSpPr>
        <p:spPr/>
        <p:txBody>
          <a:bodyPr vert="horz" rIns="0"/>
          <a:lstStyle/>
          <a:p>
            <a:r>
              <a:rPr lang="en-US">
                <a:latin typeface="Proximus ExtraBold"/>
              </a:rPr>
              <a:t>The Composable enterprise:</a:t>
            </a:r>
            <a:br>
              <a:rPr lang="en-US">
                <a:latin typeface="Proximus ExtraBold"/>
              </a:rPr>
            </a:br>
            <a:r>
              <a:rPr lang="en-US">
                <a:latin typeface="Proximus ExtraBold"/>
              </a:rPr>
              <a:t>The Factory line</a:t>
            </a:r>
            <a:endParaRPr lang="en-BE"/>
          </a:p>
        </p:txBody>
      </p:sp>
      <p:sp>
        <p:nvSpPr>
          <p:cNvPr id="3" name="Subtitle 2">
            <a:extLst>
              <a:ext uri="{FF2B5EF4-FFF2-40B4-BE49-F238E27FC236}">
                <a16:creationId xmlns:a16="http://schemas.microsoft.com/office/drawing/2014/main" id="{AA43986B-E051-7399-ABDE-2A266054459F}"/>
              </a:ext>
            </a:extLst>
          </p:cNvPr>
          <p:cNvSpPr>
            <a:spLocks noGrp="1"/>
          </p:cNvSpPr>
          <p:nvPr>
            <p:ph type="subTitle" idx="1"/>
          </p:nvPr>
        </p:nvSpPr>
        <p:spPr/>
        <p:txBody>
          <a:bodyPr/>
          <a:lstStyle/>
          <a:p>
            <a:r>
              <a:rPr lang="en-US"/>
              <a:t>Jeroen Verbruggen </a:t>
            </a:r>
          </a:p>
          <a:p>
            <a:r>
              <a:rPr lang="en-US" sz="2000"/>
              <a:t>Proximus IT Lead </a:t>
            </a:r>
            <a:endParaRPr lang="en-BE" sz="2000"/>
          </a:p>
        </p:txBody>
      </p:sp>
      <p:sp>
        <p:nvSpPr>
          <p:cNvPr id="4" name="Date Placeholder 3">
            <a:extLst>
              <a:ext uri="{FF2B5EF4-FFF2-40B4-BE49-F238E27FC236}">
                <a16:creationId xmlns:a16="http://schemas.microsoft.com/office/drawing/2014/main" id="{6A65AB92-AC56-656F-78B3-852EC2E35E60}"/>
              </a:ext>
            </a:extLst>
          </p:cNvPr>
          <p:cNvSpPr>
            <a:spLocks noGrp="1"/>
          </p:cNvSpPr>
          <p:nvPr>
            <p:ph type="dt" sz="half" idx="2"/>
          </p:nvPr>
        </p:nvSpPr>
        <p:spPr>
          <a:xfrm>
            <a:off x="704214" y="5978289"/>
            <a:ext cx="2160000" cy="375711"/>
          </a:xfrm>
        </p:spPr>
        <p:txBody>
          <a:bodyPr lIns="108000" rIns="108000" anchor="ctr" anchorCtr="1">
            <a:noAutofit/>
          </a:bodyPr>
          <a:lstStyle/>
          <a:p>
            <a:pPr lvl="0" defTabSz="544125">
              <a:defRPr/>
            </a:pPr>
            <a:r>
              <a:rPr lang="en-US">
                <a:solidFill>
                  <a:srgbClr val="5C2D91"/>
                </a:solidFill>
              </a:rPr>
              <a:t>10 March 2026</a:t>
            </a:r>
          </a:p>
        </p:txBody>
      </p:sp>
    </p:spTree>
    <p:extLst>
      <p:ext uri="{BB962C8B-B14F-4D97-AF65-F5344CB8AC3E}">
        <p14:creationId xmlns:p14="http://schemas.microsoft.com/office/powerpoint/2010/main" val="29314352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lumMod val="95000"/>
          </a:schemeClr>
        </a:solidFill>
        <a:effectLst/>
      </p:bgPr>
    </p:bg>
    <p:spTree>
      <p:nvGrpSpPr>
        <p:cNvPr id="1" name="">
          <a:extLst>
            <a:ext uri="{FF2B5EF4-FFF2-40B4-BE49-F238E27FC236}">
              <a16:creationId xmlns:a16="http://schemas.microsoft.com/office/drawing/2014/main" id="{525CD5E8-03FC-8174-8FA7-D4BCDD3E411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E3B7AC0-A48F-2FC3-24C0-FC3A250C0BDA}"/>
              </a:ext>
            </a:extLst>
          </p:cNvPr>
          <p:cNvGraphicFramePr>
            <a:graphicFrameLocks/>
          </p:cNvGraphicFramePr>
          <p:nvPr>
            <p:custDataLst>
              <p:tags r:id="rId1"/>
            </p:custDataLst>
            <p:extLst>
              <p:ext uri="{D42A27DB-BD31-4B8C-83A1-F6EECF244321}">
                <p14:modId xmlns:p14="http://schemas.microsoft.com/office/powerpoint/2010/main" val="3016731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4" name="think-cell data - do not delete" hidden="1">
                        <a:extLst>
                          <a:ext uri="{FF2B5EF4-FFF2-40B4-BE49-F238E27FC236}">
                            <a16:creationId xmlns:a16="http://schemas.microsoft.com/office/drawing/2014/main" id="{4E3B7AC0-A48F-2FC3-24C0-FC3A250C0B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Rounded Corners 7">
            <a:extLst>
              <a:ext uri="{FF2B5EF4-FFF2-40B4-BE49-F238E27FC236}">
                <a16:creationId xmlns:a16="http://schemas.microsoft.com/office/drawing/2014/main" id="{3DC794EF-4FA2-7543-DB40-79D39D882FD7}"/>
              </a:ext>
            </a:extLst>
          </p:cNvPr>
          <p:cNvSpPr/>
          <p:nvPr/>
        </p:nvSpPr>
        <p:spPr>
          <a:xfrm>
            <a:off x="1863501" y="1543282"/>
            <a:ext cx="8740021" cy="443331"/>
          </a:xfrm>
          <a:prstGeom prst="roundRect">
            <a:avLst/>
          </a:prstGeom>
          <a:solidFill>
            <a:schemeClr val="tx1"/>
          </a:solidFill>
          <a:ln>
            <a:noFill/>
            <a:prstDash val="solid"/>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Proximus ExtraBold"/>
              <a:ea typeface="+mn-ea"/>
              <a:cs typeface="Proximus Bold"/>
            </a:endParaRPr>
          </a:p>
        </p:txBody>
      </p:sp>
      <p:sp>
        <p:nvSpPr>
          <p:cNvPr id="10" name="Oval 9">
            <a:extLst>
              <a:ext uri="{FF2B5EF4-FFF2-40B4-BE49-F238E27FC236}">
                <a16:creationId xmlns:a16="http://schemas.microsoft.com/office/drawing/2014/main" id="{1CC92206-8444-3905-FDB5-DE5ABC5C0C58}"/>
              </a:ext>
            </a:extLst>
          </p:cNvPr>
          <p:cNvSpPr/>
          <p:nvPr/>
        </p:nvSpPr>
        <p:spPr>
          <a:xfrm>
            <a:off x="1681623" y="1546885"/>
            <a:ext cx="447472" cy="43038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Proximus ExtraBold"/>
                <a:ea typeface="+mn-ea"/>
                <a:cs typeface="Proximus Bold"/>
              </a:rPr>
              <a:t>1</a:t>
            </a:r>
          </a:p>
        </p:txBody>
      </p:sp>
      <p:sp>
        <p:nvSpPr>
          <p:cNvPr id="11" name="Rectangle 10">
            <a:extLst>
              <a:ext uri="{FF2B5EF4-FFF2-40B4-BE49-F238E27FC236}">
                <a16:creationId xmlns:a16="http://schemas.microsoft.com/office/drawing/2014/main" id="{FD2B2DDC-8C67-4DD2-CA84-9ABE3CA475D2}"/>
              </a:ext>
            </a:extLst>
          </p:cNvPr>
          <p:cNvSpPr/>
          <p:nvPr/>
        </p:nvSpPr>
        <p:spPr>
          <a:xfrm>
            <a:off x="2394687" y="1568059"/>
            <a:ext cx="7188928" cy="388033"/>
          </a:xfrm>
          <a:prstGeom prst="rect">
            <a:avLst/>
          </a:prstGeom>
          <a:noFill/>
          <a:ln w="9525" cap="flat" cmpd="sng" algn="ctr">
            <a:noFill/>
            <a:prstDash val="solid"/>
          </a:ln>
          <a:effectLst/>
        </p:spPr>
        <p:txBody>
          <a:bodyPr vert="horz" lIns="144000" tIns="144000" rIns="144000" bIns="144000" rtlCol="0" anchor="ctr" anchorCtr="0"/>
          <a:lstStyle/>
          <a:p>
            <a:pPr marL="0" marR="0" lvl="0" indent="0" defTabSz="121841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82233"/>
                </a:solidFill>
                <a:effectLst/>
                <a:uLnTx/>
                <a:uFillTx/>
                <a:latin typeface="Proximus ExtraBold"/>
                <a:ea typeface="+mn-ea"/>
                <a:cs typeface="Proximus Bold"/>
              </a:rPr>
              <a:t>Shift focus from ‘adoption’ of AI tools to ‘meaningful use’ – and measure it</a:t>
            </a:r>
            <a:endParaRPr kumimoji="0" lang="en-US" sz="1400" b="0" i="0" u="none" strike="noStrike" kern="1200" cap="none" spc="0" normalizeH="0" baseline="0" noProof="0">
              <a:ln>
                <a:noFill/>
              </a:ln>
              <a:solidFill>
                <a:srgbClr val="282233"/>
              </a:solidFill>
              <a:effectLst/>
              <a:uLnTx/>
              <a:uFillTx/>
              <a:latin typeface="Proximus Bold" panose="00000500000000000000" pitchFamily="2" charset="0"/>
              <a:ea typeface="+mn-ea"/>
              <a:cs typeface="Proximus Bold"/>
            </a:endParaRPr>
          </a:p>
        </p:txBody>
      </p:sp>
      <p:sp>
        <p:nvSpPr>
          <p:cNvPr id="5" name="Rectangle: Rounded Corners 4">
            <a:extLst>
              <a:ext uri="{FF2B5EF4-FFF2-40B4-BE49-F238E27FC236}">
                <a16:creationId xmlns:a16="http://schemas.microsoft.com/office/drawing/2014/main" id="{F761704B-BED1-244E-6F1E-7E0B2FB14E45}"/>
              </a:ext>
            </a:extLst>
          </p:cNvPr>
          <p:cNvSpPr/>
          <p:nvPr/>
        </p:nvSpPr>
        <p:spPr>
          <a:xfrm>
            <a:off x="1863501" y="2290628"/>
            <a:ext cx="8740021" cy="443331"/>
          </a:xfrm>
          <a:prstGeom prst="roundRect">
            <a:avLst/>
          </a:prstGeom>
          <a:solidFill>
            <a:schemeClr val="tx1"/>
          </a:solidFill>
          <a:ln>
            <a:noFill/>
            <a:prstDash val="solid"/>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Proximus ExtraBold"/>
              <a:ea typeface="+mn-ea"/>
              <a:cs typeface="Proximus Bold"/>
            </a:endParaRPr>
          </a:p>
        </p:txBody>
      </p:sp>
      <p:sp>
        <p:nvSpPr>
          <p:cNvPr id="6" name="Oval 5">
            <a:extLst>
              <a:ext uri="{FF2B5EF4-FFF2-40B4-BE49-F238E27FC236}">
                <a16:creationId xmlns:a16="http://schemas.microsoft.com/office/drawing/2014/main" id="{6128EC46-C347-6B98-B59F-7F270341B71D}"/>
              </a:ext>
            </a:extLst>
          </p:cNvPr>
          <p:cNvSpPr/>
          <p:nvPr/>
        </p:nvSpPr>
        <p:spPr>
          <a:xfrm>
            <a:off x="1681623" y="2294231"/>
            <a:ext cx="447472" cy="43038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r>
              <a:rPr lang="en-US" sz="1400" b="1">
                <a:solidFill>
                  <a:srgbClr val="FFFFFF"/>
                </a:solidFill>
                <a:latin typeface="Proximus ExtraBold"/>
                <a:cs typeface="Proximus Bold"/>
              </a:rPr>
              <a:t>2</a:t>
            </a:r>
            <a:endParaRPr kumimoji="0" lang="en-US" sz="1400" b="1" i="0" u="none" strike="noStrike" kern="1200" cap="none" spc="0" normalizeH="0" baseline="0" noProof="0">
              <a:ln>
                <a:noFill/>
              </a:ln>
              <a:solidFill>
                <a:srgbClr val="FFFFFF"/>
              </a:solidFill>
              <a:effectLst/>
              <a:uLnTx/>
              <a:uFillTx/>
              <a:latin typeface="Proximus ExtraBold"/>
              <a:ea typeface="+mn-ea"/>
              <a:cs typeface="Proximus Bold"/>
            </a:endParaRPr>
          </a:p>
        </p:txBody>
      </p:sp>
      <p:sp>
        <p:nvSpPr>
          <p:cNvPr id="12" name="Rectangle 11">
            <a:extLst>
              <a:ext uri="{FF2B5EF4-FFF2-40B4-BE49-F238E27FC236}">
                <a16:creationId xmlns:a16="http://schemas.microsoft.com/office/drawing/2014/main" id="{3F40B1DC-171C-6023-8583-EBBEE2D39F34}"/>
              </a:ext>
            </a:extLst>
          </p:cNvPr>
          <p:cNvSpPr/>
          <p:nvPr/>
        </p:nvSpPr>
        <p:spPr>
          <a:xfrm>
            <a:off x="2394687" y="2315405"/>
            <a:ext cx="7188928" cy="388033"/>
          </a:xfrm>
          <a:prstGeom prst="rect">
            <a:avLst/>
          </a:prstGeom>
          <a:noFill/>
          <a:ln w="9525" cap="flat" cmpd="sng" algn="ctr">
            <a:noFill/>
            <a:prstDash val="solid"/>
          </a:ln>
          <a:effectLst/>
        </p:spPr>
        <p:txBody>
          <a:bodyPr vert="horz" lIns="144000" tIns="144000" rIns="144000" bIns="144000" rtlCol="0" anchor="ctr" anchorCtr="0"/>
          <a:lstStyle/>
          <a:p>
            <a:pPr marL="0" marR="0" lvl="0" indent="0" defTabSz="121841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82233"/>
                </a:solidFill>
                <a:effectLst/>
                <a:uLnTx/>
                <a:uFillTx/>
                <a:latin typeface="Proximus ExtraBold"/>
                <a:ea typeface="+mn-ea"/>
                <a:cs typeface="Proximus Bold"/>
              </a:rPr>
              <a:t>Give AI agents ample context to work with</a:t>
            </a:r>
            <a:endParaRPr kumimoji="0" lang="en-US" sz="1400" b="0" i="0" u="none" strike="noStrike" kern="1200" cap="none" spc="0" normalizeH="0" baseline="0" noProof="0">
              <a:ln>
                <a:noFill/>
              </a:ln>
              <a:solidFill>
                <a:srgbClr val="282233"/>
              </a:solidFill>
              <a:effectLst/>
              <a:uLnTx/>
              <a:uFillTx/>
              <a:latin typeface="Proximus Bold" panose="00000500000000000000" pitchFamily="2" charset="0"/>
              <a:ea typeface="+mn-ea"/>
              <a:cs typeface="Proximus Bold"/>
            </a:endParaRPr>
          </a:p>
        </p:txBody>
      </p:sp>
    </p:spTree>
    <p:extLst>
      <p:ext uri="{BB962C8B-B14F-4D97-AF65-F5344CB8AC3E}">
        <p14:creationId xmlns:p14="http://schemas.microsoft.com/office/powerpoint/2010/main" val="3423728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10BA34-D07A-970B-C953-E4F60695B0FA}"/>
            </a:ext>
          </a:extLst>
        </p:cNvPr>
        <p:cNvGrpSpPr/>
        <p:nvPr/>
      </p:nvGrpSpPr>
      <p:grpSpPr>
        <a:xfrm>
          <a:off x="0" y="0"/>
          <a:ext cx="0" cy="0"/>
          <a:chOff x="0" y="0"/>
          <a:chExt cx="0" cy="0"/>
        </a:xfrm>
      </p:grpSpPr>
      <p:graphicFrame>
        <p:nvGraphicFramePr>
          <p:cNvPr id="38" name="think-cell data - do not delete" hidden="1">
            <a:extLst>
              <a:ext uri="{FF2B5EF4-FFF2-40B4-BE49-F238E27FC236}">
                <a16:creationId xmlns:a16="http://schemas.microsoft.com/office/drawing/2014/main" id="{A481D970-0628-3D72-DEC5-3157CB6C8F4A}"/>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8" name="think-cell data - do not delete" hidden="1">
                        <a:extLst>
                          <a:ext uri="{FF2B5EF4-FFF2-40B4-BE49-F238E27FC236}">
                            <a16:creationId xmlns:a16="http://schemas.microsoft.com/office/drawing/2014/main" id="{A481D970-0628-3D72-DEC5-3157CB6C8F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FB6B61BD-29AB-6E4C-D64B-167074E71F7B}"/>
              </a:ext>
            </a:extLst>
          </p:cNvPr>
          <p:cNvSpPr>
            <a:spLocks noGrp="1"/>
          </p:cNvSpPr>
          <p:nvPr>
            <p:ph type="title"/>
          </p:nvPr>
        </p:nvSpPr>
        <p:spPr>
          <a:xfrm>
            <a:off x="656983" y="503119"/>
            <a:ext cx="11179417" cy="882650"/>
          </a:xfrm>
        </p:spPr>
        <p:txBody>
          <a:bodyPr vert="horz" rIns="0"/>
          <a:lstStyle/>
          <a:p>
            <a:r>
              <a:rPr lang="en-US">
                <a:solidFill>
                  <a:schemeClr val="bg1"/>
                </a:solidFill>
                <a:latin typeface="Proximus ExtraBold" panose="00000900000000000000" pitchFamily="2" charset="0"/>
              </a:rPr>
              <a:t>AI without context</a:t>
            </a:r>
            <a:endParaRPr lang="en-US" noProof="0">
              <a:solidFill>
                <a:schemeClr val="bg1"/>
              </a:solidFill>
              <a:highlight>
                <a:srgbClr val="FFFF00"/>
              </a:highlight>
            </a:endParaRPr>
          </a:p>
        </p:txBody>
      </p:sp>
      <p:pic>
        <p:nvPicPr>
          <p:cNvPr id="5" name="Picture 4">
            <a:extLst>
              <a:ext uri="{FF2B5EF4-FFF2-40B4-BE49-F238E27FC236}">
                <a16:creationId xmlns:a16="http://schemas.microsoft.com/office/drawing/2014/main" id="{22F0AA31-102E-8D16-5E80-6FB883F01F9B}"/>
              </a:ext>
            </a:extLst>
          </p:cNvPr>
          <p:cNvPicPr>
            <a:picLocks noChangeAspect="1"/>
          </p:cNvPicPr>
          <p:nvPr/>
        </p:nvPicPr>
        <p:blipFill>
          <a:blip r:embed="rId6" cstate="print">
            <a:extLst>
              <a:ext uri="{28A0092B-C50C-407E-A947-70E740481C1C}">
                <a14:useLocalDpi xmlns:a14="http://schemas.microsoft.com/office/drawing/2010/main" val="0"/>
              </a:ext>
            </a:extLst>
          </a:blip>
          <a:srcRect b="59071"/>
          <a:stretch>
            <a:fillRect/>
          </a:stretch>
        </p:blipFill>
        <p:spPr>
          <a:xfrm>
            <a:off x="1322469" y="1885518"/>
            <a:ext cx="4082321" cy="3750172"/>
          </a:xfrm>
          <a:prstGeom prst="rect">
            <a:avLst/>
          </a:prstGeom>
        </p:spPr>
      </p:pic>
      <p:pic>
        <p:nvPicPr>
          <p:cNvPr id="8" name="Picture 7">
            <a:extLst>
              <a:ext uri="{FF2B5EF4-FFF2-40B4-BE49-F238E27FC236}">
                <a16:creationId xmlns:a16="http://schemas.microsoft.com/office/drawing/2014/main" id="{927DABDD-1C57-A7C6-6D85-C4474C028452}"/>
              </a:ext>
            </a:extLst>
          </p:cNvPr>
          <p:cNvPicPr>
            <a:picLocks noChangeAspect="1"/>
          </p:cNvPicPr>
          <p:nvPr/>
        </p:nvPicPr>
        <p:blipFill>
          <a:blip r:embed="rId7" cstate="print">
            <a:extLst>
              <a:ext uri="{28A0092B-C50C-407E-A947-70E740481C1C}">
                <a14:useLocalDpi xmlns:a14="http://schemas.microsoft.com/office/drawing/2010/main" val="0"/>
              </a:ext>
            </a:extLst>
          </a:blip>
          <a:srcRect b="57299"/>
          <a:stretch>
            <a:fillRect/>
          </a:stretch>
        </p:blipFill>
        <p:spPr>
          <a:xfrm>
            <a:off x="6105163" y="1870480"/>
            <a:ext cx="3897255" cy="3735135"/>
          </a:xfrm>
          <a:prstGeom prst="rect">
            <a:avLst/>
          </a:prstGeom>
        </p:spPr>
      </p:pic>
    </p:spTree>
    <p:extLst>
      <p:ext uri="{BB962C8B-B14F-4D97-AF65-F5344CB8AC3E}">
        <p14:creationId xmlns:p14="http://schemas.microsoft.com/office/powerpoint/2010/main" val="7609537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B10F01-B787-90D9-0AA4-AB4A2284C4DC}"/>
            </a:ext>
          </a:extLst>
        </p:cNvPr>
        <p:cNvGrpSpPr/>
        <p:nvPr/>
      </p:nvGrpSpPr>
      <p:grpSpPr>
        <a:xfrm>
          <a:off x="0" y="0"/>
          <a:ext cx="0" cy="0"/>
          <a:chOff x="0" y="0"/>
          <a:chExt cx="0" cy="0"/>
        </a:xfrm>
      </p:grpSpPr>
      <p:graphicFrame>
        <p:nvGraphicFramePr>
          <p:cNvPr id="38" name="think-cell data - do not delete" hidden="1">
            <a:extLst>
              <a:ext uri="{FF2B5EF4-FFF2-40B4-BE49-F238E27FC236}">
                <a16:creationId xmlns:a16="http://schemas.microsoft.com/office/drawing/2014/main" id="{9A83C833-CE09-E8FF-3D5D-64ED750293F0}"/>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8" name="think-cell data - do not delete" hidden="1">
                        <a:extLst>
                          <a:ext uri="{FF2B5EF4-FFF2-40B4-BE49-F238E27FC236}">
                            <a16:creationId xmlns:a16="http://schemas.microsoft.com/office/drawing/2014/main" id="{9A83C833-CE09-E8FF-3D5D-64ED750293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BDA43D9F-B99A-0781-CFE5-02464560ED5E}"/>
              </a:ext>
            </a:extLst>
          </p:cNvPr>
          <p:cNvSpPr>
            <a:spLocks noGrp="1"/>
          </p:cNvSpPr>
          <p:nvPr>
            <p:ph type="title"/>
          </p:nvPr>
        </p:nvSpPr>
        <p:spPr>
          <a:xfrm>
            <a:off x="656983" y="503119"/>
            <a:ext cx="11179417" cy="882650"/>
          </a:xfrm>
        </p:spPr>
        <p:txBody>
          <a:bodyPr vert="horz"/>
          <a:lstStyle/>
          <a:p>
            <a:r>
              <a:rPr lang="en-US">
                <a:solidFill>
                  <a:schemeClr val="bg1"/>
                </a:solidFill>
                <a:latin typeface="Proximus ExtraBold" panose="00000900000000000000" pitchFamily="2" charset="0"/>
              </a:rPr>
              <a:t>AI coding agents need context and instructions to be productive</a:t>
            </a:r>
            <a:endParaRPr lang="en-US" noProof="0">
              <a:solidFill>
                <a:schemeClr val="bg1"/>
              </a:solidFill>
              <a:highlight>
                <a:srgbClr val="FFFF00"/>
              </a:highlight>
            </a:endParaRPr>
          </a:p>
        </p:txBody>
      </p:sp>
      <p:sp>
        <p:nvSpPr>
          <p:cNvPr id="4" name="Oval 3">
            <a:extLst>
              <a:ext uri="{FF2B5EF4-FFF2-40B4-BE49-F238E27FC236}">
                <a16:creationId xmlns:a16="http://schemas.microsoft.com/office/drawing/2014/main" id="{635FC091-910A-CF99-8ED4-09BC5476CAB2}"/>
              </a:ext>
            </a:extLst>
          </p:cNvPr>
          <p:cNvSpPr/>
          <p:nvPr/>
        </p:nvSpPr>
        <p:spPr>
          <a:xfrm>
            <a:off x="5331324" y="1905913"/>
            <a:ext cx="1503415" cy="919401"/>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Proximus" panose="00000500000000000000" pitchFamily="2" charset="0"/>
              <a:ea typeface="+mn-ea"/>
              <a:cs typeface="Proximus"/>
            </a:endParaRPr>
          </a:p>
        </p:txBody>
      </p:sp>
      <p:sp>
        <p:nvSpPr>
          <p:cNvPr id="15" name="TextBox 14">
            <a:extLst>
              <a:ext uri="{FF2B5EF4-FFF2-40B4-BE49-F238E27FC236}">
                <a16:creationId xmlns:a16="http://schemas.microsoft.com/office/drawing/2014/main" id="{CDA3E6F9-104C-CB57-A99B-7FA492C6A36F}"/>
              </a:ext>
            </a:extLst>
          </p:cNvPr>
          <p:cNvSpPr txBox="1"/>
          <p:nvPr/>
        </p:nvSpPr>
        <p:spPr>
          <a:xfrm>
            <a:off x="5385707" y="2117566"/>
            <a:ext cx="1394643" cy="510778"/>
          </a:xfrm>
          <a:prstGeom prst="roundRect">
            <a:avLst/>
          </a:prstGeom>
          <a:noFill/>
        </p:spPr>
        <p:txBody>
          <a:bodyPr wrap="square" lIns="91440" tIns="45720" rIns="91440" bIns="45720" anchor="t">
            <a:spAutoFit/>
          </a:bodyPr>
          <a:lstStyle/>
          <a:p>
            <a:pPr lvl="0" algn="ctr">
              <a:spcBef>
                <a:spcPts val="600"/>
              </a:spcBef>
              <a:defRPr/>
            </a:pPr>
            <a:r>
              <a:rPr lang="en-US" sz="1200" b="1">
                <a:latin typeface="Proximus" panose="00000500000000000000" pitchFamily="2" charset="0"/>
              </a:rPr>
              <a:t>Orchestrator Agent</a:t>
            </a:r>
            <a:endParaRPr kumimoji="0" lang="en-US" sz="1200" b="1" i="0" u="none" strike="noStrike" kern="1200" cap="none" spc="0" normalizeH="0" baseline="30000" noProof="0">
              <a:ln>
                <a:noFill/>
              </a:ln>
              <a:solidFill>
                <a:srgbClr val="FFFFFF"/>
              </a:solidFill>
              <a:effectLst/>
              <a:uLnTx/>
              <a:uFillTx/>
              <a:latin typeface="Proximus"/>
              <a:ea typeface="+mn-ea"/>
              <a:cs typeface="+mn-cs"/>
            </a:endParaRPr>
          </a:p>
        </p:txBody>
      </p:sp>
      <p:sp>
        <p:nvSpPr>
          <p:cNvPr id="21" name="Oval 20">
            <a:extLst>
              <a:ext uri="{FF2B5EF4-FFF2-40B4-BE49-F238E27FC236}">
                <a16:creationId xmlns:a16="http://schemas.microsoft.com/office/drawing/2014/main" id="{DDC80AE4-F77B-2C82-8D6B-9909E0FB3C06}"/>
              </a:ext>
            </a:extLst>
          </p:cNvPr>
          <p:cNvSpPr/>
          <p:nvPr/>
        </p:nvSpPr>
        <p:spPr>
          <a:xfrm>
            <a:off x="10441564" y="1919477"/>
            <a:ext cx="1503362" cy="875427"/>
          </a:xfrm>
          <a:prstGeom prst="roundRect">
            <a:avLst/>
          </a:pr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Proximus" panose="00000500000000000000" pitchFamily="2" charset="0"/>
              <a:ea typeface="+mn-ea"/>
              <a:cs typeface="Proximus"/>
            </a:endParaRPr>
          </a:p>
        </p:txBody>
      </p:sp>
      <p:sp>
        <p:nvSpPr>
          <p:cNvPr id="26" name="Oval 25">
            <a:extLst>
              <a:ext uri="{FF2B5EF4-FFF2-40B4-BE49-F238E27FC236}">
                <a16:creationId xmlns:a16="http://schemas.microsoft.com/office/drawing/2014/main" id="{58D3813C-D672-5F18-62B5-60E6DCE90DAA}"/>
              </a:ext>
            </a:extLst>
          </p:cNvPr>
          <p:cNvSpPr/>
          <p:nvPr/>
        </p:nvSpPr>
        <p:spPr>
          <a:xfrm>
            <a:off x="5358508" y="2921742"/>
            <a:ext cx="1449047" cy="919401"/>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Proximus" panose="00000500000000000000" pitchFamily="2" charset="0"/>
              <a:ea typeface="+mn-ea"/>
              <a:cs typeface="Proximus"/>
            </a:endParaRPr>
          </a:p>
        </p:txBody>
      </p:sp>
      <p:sp>
        <p:nvSpPr>
          <p:cNvPr id="27" name="TextBox 26">
            <a:extLst>
              <a:ext uri="{FF2B5EF4-FFF2-40B4-BE49-F238E27FC236}">
                <a16:creationId xmlns:a16="http://schemas.microsoft.com/office/drawing/2014/main" id="{751C0455-2079-353D-CA0A-07BDA7AA4ADE}"/>
              </a:ext>
            </a:extLst>
          </p:cNvPr>
          <p:cNvSpPr txBox="1"/>
          <p:nvPr/>
        </p:nvSpPr>
        <p:spPr>
          <a:xfrm>
            <a:off x="5286898" y="3093102"/>
            <a:ext cx="1592263" cy="552066"/>
          </a:xfrm>
          <a:prstGeom prst="roundRect">
            <a:avLst/>
          </a:prstGeom>
          <a:noFill/>
        </p:spPr>
        <p:txBody>
          <a:bodyPr wrap="square" lIns="91440" tIns="45720" rIns="91440" bIns="45720" anchor="t">
            <a:spAutoFit/>
          </a:bodyPr>
          <a:lstStyle/>
          <a:p>
            <a:pPr algn="ctr">
              <a:lnSpc>
                <a:spcPct val="115000"/>
              </a:lnSpc>
              <a:spcAft>
                <a:spcPts val="1000"/>
              </a:spcAft>
              <a:buNone/>
            </a:pPr>
            <a:r>
              <a:rPr lang="en-US" sz="1200" b="1">
                <a:latin typeface="Proximus" panose="00000500000000000000" pitchFamily="2" charset="0"/>
              </a:rPr>
              <a:t>Code Agent</a:t>
            </a:r>
            <a:br>
              <a:rPr lang="en-US" sz="1200" b="1">
                <a:latin typeface="Proximus" panose="00000500000000000000" pitchFamily="2" charset="0"/>
              </a:rPr>
            </a:br>
            <a:r>
              <a:rPr lang="en-US" sz="1200">
                <a:latin typeface="Proximus" panose="00000500000000000000" pitchFamily="2" charset="0"/>
              </a:rPr>
              <a:t>(TP↔Code + UI)</a:t>
            </a:r>
            <a:endParaRPr lang="en-BE" sz="1200">
              <a:latin typeface="Proximus" panose="00000500000000000000" pitchFamily="2" charset="0"/>
              <a:ea typeface="MS Mincho" panose="02020609040205080304" pitchFamily="49" charset="-128"/>
              <a:cs typeface="Times New Roman" panose="02020603050405020304" pitchFamily="18" charset="0"/>
            </a:endParaRPr>
          </a:p>
        </p:txBody>
      </p:sp>
      <p:sp>
        <p:nvSpPr>
          <p:cNvPr id="28" name="Oval 27">
            <a:extLst>
              <a:ext uri="{FF2B5EF4-FFF2-40B4-BE49-F238E27FC236}">
                <a16:creationId xmlns:a16="http://schemas.microsoft.com/office/drawing/2014/main" id="{290E6CA1-A973-CB40-BB2F-08C3818AE3E9}"/>
              </a:ext>
            </a:extLst>
          </p:cNvPr>
          <p:cNvSpPr/>
          <p:nvPr/>
        </p:nvSpPr>
        <p:spPr>
          <a:xfrm>
            <a:off x="10422530" y="2913438"/>
            <a:ext cx="1541430" cy="919163"/>
          </a:xfrm>
          <a:prstGeom prst="roundRect">
            <a:avLst/>
          </a:pr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Proximus" panose="00000500000000000000" pitchFamily="2" charset="0"/>
              <a:ea typeface="+mn-ea"/>
              <a:cs typeface="Proximus"/>
            </a:endParaRPr>
          </a:p>
        </p:txBody>
      </p:sp>
      <p:sp>
        <p:nvSpPr>
          <p:cNvPr id="45" name="Oval 44">
            <a:extLst>
              <a:ext uri="{FF2B5EF4-FFF2-40B4-BE49-F238E27FC236}">
                <a16:creationId xmlns:a16="http://schemas.microsoft.com/office/drawing/2014/main" id="{1C09F720-B1C0-2F4B-9479-C08911E3E9AD}"/>
              </a:ext>
            </a:extLst>
          </p:cNvPr>
          <p:cNvSpPr/>
          <p:nvPr/>
        </p:nvSpPr>
        <p:spPr>
          <a:xfrm>
            <a:off x="5358531" y="3969265"/>
            <a:ext cx="1449001" cy="919402"/>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Proximus" panose="00000500000000000000" pitchFamily="2" charset="0"/>
              <a:ea typeface="+mn-ea"/>
              <a:cs typeface="Proximus"/>
            </a:endParaRPr>
          </a:p>
        </p:txBody>
      </p:sp>
      <p:sp>
        <p:nvSpPr>
          <p:cNvPr id="53" name="Oval 52">
            <a:extLst>
              <a:ext uri="{FF2B5EF4-FFF2-40B4-BE49-F238E27FC236}">
                <a16:creationId xmlns:a16="http://schemas.microsoft.com/office/drawing/2014/main" id="{3FC0D23D-58F2-B3D7-ECC9-E19F850303E5}"/>
              </a:ext>
            </a:extLst>
          </p:cNvPr>
          <p:cNvSpPr/>
          <p:nvPr/>
        </p:nvSpPr>
        <p:spPr>
          <a:xfrm>
            <a:off x="10447982" y="3963854"/>
            <a:ext cx="1490527" cy="913378"/>
          </a:xfrm>
          <a:prstGeom prst="roundRect">
            <a:avLst/>
          </a:pr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Proximus" panose="00000500000000000000" pitchFamily="2" charset="0"/>
              <a:ea typeface="+mn-ea"/>
              <a:cs typeface="Proximus"/>
            </a:endParaRPr>
          </a:p>
        </p:txBody>
      </p:sp>
      <p:sp>
        <p:nvSpPr>
          <p:cNvPr id="54" name="TextBox 53">
            <a:extLst>
              <a:ext uri="{FF2B5EF4-FFF2-40B4-BE49-F238E27FC236}">
                <a16:creationId xmlns:a16="http://schemas.microsoft.com/office/drawing/2014/main" id="{C157F5BF-E974-263A-E939-ED9D70D80BBA}"/>
              </a:ext>
            </a:extLst>
          </p:cNvPr>
          <p:cNvSpPr txBox="1"/>
          <p:nvPr/>
        </p:nvSpPr>
        <p:spPr>
          <a:xfrm>
            <a:off x="10339760" y="4020434"/>
            <a:ext cx="1706970" cy="800219"/>
          </a:xfrm>
          <a:prstGeom prst="roundRect">
            <a:avLst/>
          </a:prstGeom>
          <a:noFill/>
        </p:spPr>
        <p:txBody>
          <a:bodyPr wrap="square" lIns="91440" tIns="45720" rIns="91440" bIns="45720" anchor="t">
            <a:spAutoFit/>
          </a:bodyPr>
          <a:lstStyle/>
          <a:p>
            <a:pPr lvl="0" algn="ctr">
              <a:spcBef>
                <a:spcPts val="600"/>
              </a:spcBef>
              <a:defRPr/>
            </a:pPr>
            <a:r>
              <a:rPr lang="en-US" sz="1200" b="1">
                <a:solidFill>
                  <a:srgbClr val="FFFFFF"/>
                </a:solidFill>
                <a:latin typeface="Proximus ExtraBold" panose="00000900000000000000" pitchFamily="2" charset="0"/>
              </a:rPr>
              <a:t>-15% to 25%</a:t>
            </a:r>
          </a:p>
          <a:p>
            <a:pPr lvl="0" algn="ctr">
              <a:spcBef>
                <a:spcPts val="600"/>
              </a:spcBef>
              <a:defRPr/>
            </a:pPr>
            <a:r>
              <a:rPr lang="en-US" sz="1200">
                <a:solidFill>
                  <a:srgbClr val="FFFFFF"/>
                </a:solidFill>
              </a:rPr>
              <a:t>Testing &amp; compliance</a:t>
            </a:r>
            <a:endParaRPr lang="en-US" sz="1200" baseline="30000">
              <a:solidFill>
                <a:srgbClr val="FFFFFF"/>
              </a:solidFill>
            </a:endParaRPr>
          </a:p>
        </p:txBody>
      </p:sp>
      <p:sp>
        <p:nvSpPr>
          <p:cNvPr id="9" name="Rectangle 8">
            <a:extLst>
              <a:ext uri="{FF2B5EF4-FFF2-40B4-BE49-F238E27FC236}">
                <a16:creationId xmlns:a16="http://schemas.microsoft.com/office/drawing/2014/main" id="{06F8305F-FDC3-1A37-D753-9FB4AB3C585D}"/>
              </a:ext>
            </a:extLst>
          </p:cNvPr>
          <p:cNvSpPr/>
          <p:nvPr/>
        </p:nvSpPr>
        <p:spPr>
          <a:xfrm>
            <a:off x="5468161" y="1588706"/>
            <a:ext cx="1229740" cy="3048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vert="horz" lIns="72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82233"/>
                </a:solidFill>
                <a:effectLst/>
                <a:uLnTx/>
                <a:uFillTx/>
                <a:latin typeface="+mj-lt"/>
                <a:ea typeface="+mn-ea"/>
                <a:cs typeface="+mn-cs"/>
              </a:rPr>
              <a:t>Agent</a:t>
            </a:r>
            <a:endParaRPr kumimoji="0" lang="en-US" sz="2000" b="0" i="0" u="none" strike="noStrike" kern="1200" cap="none" spc="0" normalizeH="0" baseline="0" noProof="0">
              <a:ln>
                <a:noFill/>
              </a:ln>
              <a:solidFill>
                <a:srgbClr val="282233"/>
              </a:solidFill>
              <a:effectLst/>
              <a:uLnTx/>
              <a:uFillTx/>
              <a:latin typeface="+mj-lt"/>
              <a:ea typeface="+mn-ea"/>
              <a:cs typeface="+mn-cs"/>
            </a:endParaRPr>
          </a:p>
        </p:txBody>
      </p:sp>
      <p:sp>
        <p:nvSpPr>
          <p:cNvPr id="11" name="Rectangle 10">
            <a:extLst>
              <a:ext uri="{FF2B5EF4-FFF2-40B4-BE49-F238E27FC236}">
                <a16:creationId xmlns:a16="http://schemas.microsoft.com/office/drawing/2014/main" id="{CECE68E3-7169-94AA-4039-83F0AC62B30D}"/>
              </a:ext>
            </a:extLst>
          </p:cNvPr>
          <p:cNvSpPr/>
          <p:nvPr/>
        </p:nvSpPr>
        <p:spPr>
          <a:xfrm>
            <a:off x="8076080" y="1590294"/>
            <a:ext cx="1106715" cy="30321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vert="horz" lIns="72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5C2D91"/>
                </a:solidFill>
                <a:effectLst/>
                <a:uLnTx/>
                <a:uFillTx/>
                <a:latin typeface="+mj-lt"/>
                <a:ea typeface="+mn-ea"/>
                <a:cs typeface="+mn-cs"/>
              </a:rPr>
              <a:t>Purpose</a:t>
            </a:r>
            <a:endParaRPr kumimoji="0" lang="en-US" sz="2000" b="0" i="0" u="none" strike="noStrike" kern="1200" cap="none" spc="0" normalizeH="0" baseline="0" noProof="0">
              <a:ln>
                <a:noFill/>
              </a:ln>
              <a:solidFill>
                <a:srgbClr val="5C2D91"/>
              </a:solidFill>
              <a:effectLst/>
              <a:uLnTx/>
              <a:uFillTx/>
              <a:latin typeface="+mj-lt"/>
              <a:ea typeface="+mn-ea"/>
              <a:cs typeface="+mn-cs"/>
            </a:endParaRPr>
          </a:p>
        </p:txBody>
      </p:sp>
      <p:sp>
        <p:nvSpPr>
          <p:cNvPr id="14" name="Rectangle 13">
            <a:extLst>
              <a:ext uri="{FF2B5EF4-FFF2-40B4-BE49-F238E27FC236}">
                <a16:creationId xmlns:a16="http://schemas.microsoft.com/office/drawing/2014/main" id="{5C1D8DB6-605C-C66A-3050-A84A2B265E5F}"/>
              </a:ext>
            </a:extLst>
          </p:cNvPr>
          <p:cNvSpPr/>
          <p:nvPr/>
        </p:nvSpPr>
        <p:spPr>
          <a:xfrm>
            <a:off x="10580177" y="1580283"/>
            <a:ext cx="1226137" cy="29831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vert="horz" lIns="72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5C2D91">
                    <a:lumMod val="60000"/>
                    <a:lumOff val="40000"/>
                  </a:srgbClr>
                </a:solidFill>
                <a:effectLst/>
                <a:uLnTx/>
                <a:uFillTx/>
                <a:latin typeface="+mj-lt"/>
                <a:ea typeface="+mn-ea"/>
                <a:cs typeface="+mn-cs"/>
              </a:rPr>
              <a:t>Time saved</a:t>
            </a:r>
            <a:endParaRPr kumimoji="0" lang="en-US" sz="2000" b="0" i="0" u="none" strike="noStrike" kern="1200" cap="none" spc="0" normalizeH="0" baseline="0" noProof="0">
              <a:ln>
                <a:noFill/>
              </a:ln>
              <a:solidFill>
                <a:srgbClr val="5C2D91">
                  <a:lumMod val="60000"/>
                  <a:lumOff val="40000"/>
                </a:srgbClr>
              </a:solidFill>
              <a:effectLst/>
              <a:uLnTx/>
              <a:uFillTx/>
              <a:latin typeface="+mj-lt"/>
              <a:ea typeface="+mn-ea"/>
              <a:cs typeface="+mn-cs"/>
            </a:endParaRPr>
          </a:p>
        </p:txBody>
      </p:sp>
      <p:sp>
        <p:nvSpPr>
          <p:cNvPr id="17" name="Oval 16">
            <a:extLst>
              <a:ext uri="{FF2B5EF4-FFF2-40B4-BE49-F238E27FC236}">
                <a16:creationId xmlns:a16="http://schemas.microsoft.com/office/drawing/2014/main" id="{810EEA1D-0A6F-527B-1498-7CFCBF2FCBF9}"/>
              </a:ext>
            </a:extLst>
          </p:cNvPr>
          <p:cNvSpPr/>
          <p:nvPr/>
        </p:nvSpPr>
        <p:spPr>
          <a:xfrm>
            <a:off x="6909683" y="1924289"/>
            <a:ext cx="3439509" cy="882650"/>
          </a:xfrm>
          <a:prstGeom prst="round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Proximus" panose="00000500000000000000" pitchFamily="2" charset="0"/>
              <a:ea typeface="+mn-ea"/>
              <a:cs typeface="Proximus"/>
            </a:endParaRPr>
          </a:p>
        </p:txBody>
      </p:sp>
      <p:sp>
        <p:nvSpPr>
          <p:cNvPr id="18" name="TextBox 17">
            <a:extLst>
              <a:ext uri="{FF2B5EF4-FFF2-40B4-BE49-F238E27FC236}">
                <a16:creationId xmlns:a16="http://schemas.microsoft.com/office/drawing/2014/main" id="{A2A97F49-FD05-7159-76E1-62D7C7589114}"/>
              </a:ext>
            </a:extLst>
          </p:cNvPr>
          <p:cNvSpPr txBox="1"/>
          <p:nvPr/>
        </p:nvSpPr>
        <p:spPr>
          <a:xfrm>
            <a:off x="6958885" y="2084185"/>
            <a:ext cx="3390307" cy="547384"/>
          </a:xfrm>
          <a:prstGeom prst="roundRect">
            <a:avLst/>
          </a:prstGeom>
          <a:noFill/>
        </p:spPr>
        <p:txBody>
          <a:bodyPr wrap="square" lIns="91440" tIns="45720" rIns="91440" bIns="45720" anchor="t">
            <a:spAutoFit/>
          </a:bodyPr>
          <a:lstStyle/>
          <a:p>
            <a:pPr>
              <a:lnSpc>
                <a:spcPct val="115000"/>
              </a:lnSpc>
              <a:spcAft>
                <a:spcPts val="1000"/>
              </a:spcAft>
              <a:buNone/>
            </a:pPr>
            <a:r>
              <a:rPr lang="en-US" sz="1200" b="1"/>
              <a:t>Executes COE standards and enforces quality gates and code reviews</a:t>
            </a:r>
            <a:endParaRPr lang="en-BE" sz="1200">
              <a:latin typeface="Proximus" panose="00000500000000000000" pitchFamily="2" charset="0"/>
              <a:ea typeface="MS Mincho" panose="02020609040205080304" pitchFamily="49" charset="-128"/>
              <a:cs typeface="Times New Roman" panose="02020603050405020304" pitchFamily="18" charset="0"/>
            </a:endParaRPr>
          </a:p>
        </p:txBody>
      </p:sp>
      <p:sp>
        <p:nvSpPr>
          <p:cNvPr id="25" name="TextBox 24">
            <a:extLst>
              <a:ext uri="{FF2B5EF4-FFF2-40B4-BE49-F238E27FC236}">
                <a16:creationId xmlns:a16="http://schemas.microsoft.com/office/drawing/2014/main" id="{5C9B7A5D-CCF9-6E35-86DB-22F316421580}"/>
              </a:ext>
            </a:extLst>
          </p:cNvPr>
          <p:cNvSpPr txBox="1"/>
          <p:nvPr/>
        </p:nvSpPr>
        <p:spPr>
          <a:xfrm>
            <a:off x="7877791" y="3315776"/>
            <a:ext cx="1503293" cy="766763"/>
          </a:xfrm>
          <a:prstGeom prst="round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300" b="0" i="0" u="none" strike="noStrike" kern="1200" cap="none" spc="0" normalizeH="0" baseline="0" noProof="0">
                <a:ln>
                  <a:noFill/>
                </a:ln>
                <a:solidFill>
                  <a:srgbClr val="FFFFFF"/>
                </a:solidFill>
                <a:effectLst/>
                <a:uLnTx/>
                <a:uFillTx/>
                <a:latin typeface="Proximus" panose="00000500000000000000" pitchFamily="2" charset="0"/>
                <a:ea typeface="+mn-ea"/>
                <a:cs typeface="+mn-cs"/>
              </a:rPr>
              <a:t>Migration of the SCARLET IT Stack</a:t>
            </a:r>
          </a:p>
        </p:txBody>
      </p:sp>
      <p:sp>
        <p:nvSpPr>
          <p:cNvPr id="46" name="TextBox 45">
            <a:extLst>
              <a:ext uri="{FF2B5EF4-FFF2-40B4-BE49-F238E27FC236}">
                <a16:creationId xmlns:a16="http://schemas.microsoft.com/office/drawing/2014/main" id="{1F396F7E-04CE-9573-B10C-EF2E311B05E1}"/>
              </a:ext>
            </a:extLst>
          </p:cNvPr>
          <p:cNvSpPr txBox="1"/>
          <p:nvPr/>
        </p:nvSpPr>
        <p:spPr>
          <a:xfrm>
            <a:off x="5331350" y="4037795"/>
            <a:ext cx="1503362" cy="782342"/>
          </a:xfrm>
          <a:prstGeom prst="roundRect">
            <a:avLst/>
          </a:prstGeom>
          <a:noFill/>
        </p:spPr>
        <p:txBody>
          <a:bodyPr wrap="square" lIns="0" tIns="45720" rIns="0" bIns="45720" anchor="t">
            <a:spAutoFit/>
          </a:bodyPr>
          <a:lstStyle/>
          <a:p>
            <a:pPr algn="ctr">
              <a:lnSpc>
                <a:spcPct val="115000"/>
              </a:lnSpc>
              <a:spcAft>
                <a:spcPts val="1000"/>
              </a:spcAft>
              <a:buNone/>
            </a:pPr>
            <a:r>
              <a:rPr lang="en-US" sz="1200" b="1">
                <a:latin typeface="Proximus" panose="00000500000000000000" pitchFamily="2" charset="0"/>
              </a:rPr>
              <a:t>Quality agent</a:t>
            </a:r>
            <a:br>
              <a:rPr lang="en-US" sz="1200" b="1">
                <a:latin typeface="Proximus" panose="00000500000000000000" pitchFamily="2" charset="0"/>
              </a:rPr>
            </a:br>
            <a:r>
              <a:rPr lang="en-US" sz="1200">
                <a:latin typeface="Proximus" panose="00000500000000000000" pitchFamily="2" charset="0"/>
              </a:rPr>
              <a:t>(Unit + INT + Security)</a:t>
            </a:r>
            <a:endParaRPr lang="en-BE" sz="1400">
              <a:latin typeface="Proximus" panose="00000500000000000000" pitchFamily="2" charset="0"/>
              <a:ea typeface="MS Mincho" panose="02020609040205080304" pitchFamily="49" charset="-128"/>
              <a:cs typeface="Times New Roman" panose="02020603050405020304" pitchFamily="18" charset="0"/>
            </a:endParaRPr>
          </a:p>
        </p:txBody>
      </p:sp>
      <p:sp>
        <p:nvSpPr>
          <p:cNvPr id="32" name="Oval 31">
            <a:extLst>
              <a:ext uri="{FF2B5EF4-FFF2-40B4-BE49-F238E27FC236}">
                <a16:creationId xmlns:a16="http://schemas.microsoft.com/office/drawing/2014/main" id="{9EFE39A1-AA3E-8A2D-57CA-D018289413AD}"/>
              </a:ext>
            </a:extLst>
          </p:cNvPr>
          <p:cNvSpPr/>
          <p:nvPr/>
        </p:nvSpPr>
        <p:spPr>
          <a:xfrm>
            <a:off x="6934284" y="2921862"/>
            <a:ext cx="3390307" cy="919163"/>
          </a:xfrm>
          <a:prstGeom prst="round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Proximus" panose="00000500000000000000" pitchFamily="2" charset="0"/>
              <a:ea typeface="+mn-ea"/>
              <a:cs typeface="Proximus"/>
            </a:endParaRPr>
          </a:p>
        </p:txBody>
      </p:sp>
      <p:sp>
        <p:nvSpPr>
          <p:cNvPr id="34" name="TextBox 33">
            <a:extLst>
              <a:ext uri="{FF2B5EF4-FFF2-40B4-BE49-F238E27FC236}">
                <a16:creationId xmlns:a16="http://schemas.microsoft.com/office/drawing/2014/main" id="{E5D61DD7-F861-69AD-3E71-F6E3541E214F}"/>
              </a:ext>
            </a:extLst>
          </p:cNvPr>
          <p:cNvSpPr txBox="1"/>
          <p:nvPr/>
        </p:nvSpPr>
        <p:spPr>
          <a:xfrm>
            <a:off x="6934284" y="3107750"/>
            <a:ext cx="3443894" cy="547384"/>
          </a:xfrm>
          <a:prstGeom prst="roundRect">
            <a:avLst/>
          </a:prstGeom>
          <a:noFill/>
        </p:spPr>
        <p:txBody>
          <a:bodyPr wrap="square" lIns="91440" tIns="45720" rIns="91440" bIns="45720" anchor="t">
            <a:spAutoFit/>
          </a:bodyPr>
          <a:lstStyle/>
          <a:p>
            <a:pPr>
              <a:lnSpc>
                <a:spcPct val="115000"/>
              </a:lnSpc>
              <a:spcAft>
                <a:spcPts val="1000"/>
              </a:spcAft>
              <a:buNone/>
            </a:pPr>
            <a:r>
              <a:rPr lang="en-US" sz="1200" b="1"/>
              <a:t>Transforms TP into code and UI, using shared design patterns</a:t>
            </a:r>
            <a:endParaRPr lang="en-BE" sz="1000">
              <a:latin typeface="Proximus" panose="00000500000000000000" pitchFamily="2" charset="0"/>
              <a:ea typeface="MS Mincho" panose="02020609040205080304" pitchFamily="49" charset="-128"/>
              <a:cs typeface="Times New Roman" panose="02020603050405020304" pitchFamily="18" charset="0"/>
            </a:endParaRPr>
          </a:p>
        </p:txBody>
      </p:sp>
      <p:sp>
        <p:nvSpPr>
          <p:cNvPr id="49" name="Oval 48">
            <a:extLst>
              <a:ext uri="{FF2B5EF4-FFF2-40B4-BE49-F238E27FC236}">
                <a16:creationId xmlns:a16="http://schemas.microsoft.com/office/drawing/2014/main" id="{37422937-094E-19DA-4616-16C236C0EAD6}"/>
              </a:ext>
            </a:extLst>
          </p:cNvPr>
          <p:cNvSpPr/>
          <p:nvPr/>
        </p:nvSpPr>
        <p:spPr>
          <a:xfrm>
            <a:off x="6909683" y="3969386"/>
            <a:ext cx="3439509" cy="919163"/>
          </a:xfrm>
          <a:prstGeom prst="round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Proximus" panose="00000500000000000000" pitchFamily="2" charset="0"/>
              <a:ea typeface="+mn-ea"/>
              <a:cs typeface="Proximus"/>
            </a:endParaRPr>
          </a:p>
        </p:txBody>
      </p:sp>
      <p:sp>
        <p:nvSpPr>
          <p:cNvPr id="52" name="TextBox 51">
            <a:extLst>
              <a:ext uri="{FF2B5EF4-FFF2-40B4-BE49-F238E27FC236}">
                <a16:creationId xmlns:a16="http://schemas.microsoft.com/office/drawing/2014/main" id="{46DCB738-1C1C-3D93-0E6B-F8366DDE3ACE}"/>
              </a:ext>
            </a:extLst>
          </p:cNvPr>
          <p:cNvSpPr txBox="1"/>
          <p:nvPr/>
        </p:nvSpPr>
        <p:spPr>
          <a:xfrm>
            <a:off x="10479183" y="3075065"/>
            <a:ext cx="1428124" cy="595908"/>
          </a:xfrm>
          <a:prstGeom prst="roundRect">
            <a:avLst/>
          </a:prstGeom>
          <a:noFill/>
        </p:spPr>
        <p:txBody>
          <a:bodyPr wrap="square" lIns="91440" tIns="45720" rIns="91440" bIns="45720" anchor="t">
            <a:spAutoFit/>
          </a:bodyPr>
          <a:lstStyle/>
          <a:p>
            <a:pPr lvl="0" algn="ctr">
              <a:spcBef>
                <a:spcPts val="600"/>
              </a:spcBef>
              <a:defRPr/>
            </a:pPr>
            <a:r>
              <a:rPr lang="en-US" sz="1200" b="1">
                <a:solidFill>
                  <a:srgbClr val="FFFFFF"/>
                </a:solidFill>
                <a:latin typeface="+mj-lt"/>
              </a:rPr>
              <a:t>-15% to 20%</a:t>
            </a:r>
          </a:p>
          <a:p>
            <a:pPr lvl="0" algn="ctr">
              <a:spcBef>
                <a:spcPts val="600"/>
              </a:spcBef>
              <a:defRPr/>
            </a:pPr>
            <a:r>
              <a:rPr lang="en-US" sz="1200">
                <a:solidFill>
                  <a:srgbClr val="FFFFFF"/>
                </a:solidFill>
              </a:rPr>
              <a:t>On dev time</a:t>
            </a:r>
            <a:endParaRPr lang="en-US" sz="1200" baseline="30000">
              <a:solidFill>
                <a:srgbClr val="FFFFFF"/>
              </a:solidFill>
            </a:endParaRPr>
          </a:p>
        </p:txBody>
      </p:sp>
      <p:sp>
        <p:nvSpPr>
          <p:cNvPr id="56" name="TextBox 55">
            <a:extLst>
              <a:ext uri="{FF2B5EF4-FFF2-40B4-BE49-F238E27FC236}">
                <a16:creationId xmlns:a16="http://schemas.microsoft.com/office/drawing/2014/main" id="{93C13B7C-6679-B0E1-AD23-DCE9CD312F4A}"/>
              </a:ext>
            </a:extLst>
          </p:cNvPr>
          <p:cNvSpPr txBox="1"/>
          <p:nvPr/>
        </p:nvSpPr>
        <p:spPr>
          <a:xfrm>
            <a:off x="10441564" y="2050723"/>
            <a:ext cx="1503362" cy="612934"/>
          </a:xfrm>
          <a:prstGeom prst="round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mj-lt"/>
                <a:ea typeface="+mn-ea"/>
                <a:cs typeface="+mn-cs"/>
              </a:rPr>
              <a:t>-20% to 25%</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300" b="0" i="0" u="none" strike="noStrike" kern="1200" cap="none" spc="0" normalizeH="0" baseline="0" noProof="0">
                <a:ln>
                  <a:noFill/>
                </a:ln>
                <a:solidFill>
                  <a:srgbClr val="FFFFFF"/>
                </a:solidFill>
                <a:effectLst/>
                <a:uLnTx/>
                <a:uFillTx/>
                <a:latin typeface="Proximus"/>
                <a:ea typeface="+mn-ea"/>
                <a:cs typeface="+mn-cs"/>
              </a:rPr>
              <a:t>On cycle time</a:t>
            </a:r>
            <a:endParaRPr kumimoji="0" lang="en-US" sz="1300" b="0" i="0" u="none" strike="noStrike" kern="1200" cap="none" spc="0" normalizeH="0" baseline="30000" noProof="0">
              <a:ln>
                <a:noFill/>
              </a:ln>
              <a:solidFill>
                <a:srgbClr val="FFFFFF"/>
              </a:solidFill>
              <a:effectLst/>
              <a:uLnTx/>
              <a:uFillTx/>
              <a:latin typeface="Proximus"/>
              <a:ea typeface="+mn-ea"/>
              <a:cs typeface="+mn-cs"/>
            </a:endParaRPr>
          </a:p>
        </p:txBody>
      </p:sp>
      <p:sp>
        <p:nvSpPr>
          <p:cNvPr id="2" name="TextBox 1">
            <a:extLst>
              <a:ext uri="{FF2B5EF4-FFF2-40B4-BE49-F238E27FC236}">
                <a16:creationId xmlns:a16="http://schemas.microsoft.com/office/drawing/2014/main" id="{FDACC34B-0AD6-3271-631D-A6D4764B7353}"/>
              </a:ext>
            </a:extLst>
          </p:cNvPr>
          <p:cNvSpPr txBox="1"/>
          <p:nvPr/>
        </p:nvSpPr>
        <p:spPr>
          <a:xfrm>
            <a:off x="6927571" y="4037796"/>
            <a:ext cx="3403733" cy="782342"/>
          </a:xfrm>
          <a:prstGeom prst="roundRect">
            <a:avLst/>
          </a:prstGeom>
          <a:noFill/>
        </p:spPr>
        <p:txBody>
          <a:bodyPr wrap="square" lIns="91440" tIns="45720" rIns="91440" bIns="45720" anchor="t">
            <a:spAutoFit/>
          </a:bodyPr>
          <a:lstStyle/>
          <a:p>
            <a:pPr>
              <a:lnSpc>
                <a:spcPct val="115000"/>
              </a:lnSpc>
              <a:spcAft>
                <a:spcPts val="1000"/>
              </a:spcAft>
              <a:buNone/>
            </a:pPr>
            <a:r>
              <a:rPr lang="en-US" sz="1200" b="1"/>
              <a:t>Ensures test coverage, stabilizes integration tests, and supports security checks</a:t>
            </a:r>
            <a:endParaRPr lang="en-BE" sz="1000">
              <a:latin typeface="Proximus" panose="00000500000000000000" pitchFamily="2" charset="0"/>
              <a:ea typeface="MS Mincho" panose="02020609040205080304" pitchFamily="49" charset="-128"/>
              <a:cs typeface="Times New Roman" panose="02020603050405020304" pitchFamily="18" charset="0"/>
            </a:endParaRPr>
          </a:p>
        </p:txBody>
      </p:sp>
      <p:sp>
        <p:nvSpPr>
          <p:cNvPr id="10" name="Oval 44">
            <a:extLst>
              <a:ext uri="{FF2B5EF4-FFF2-40B4-BE49-F238E27FC236}">
                <a16:creationId xmlns:a16="http://schemas.microsoft.com/office/drawing/2014/main" id="{4BB508A0-A1EB-93A6-576D-3D2C808A1018}"/>
              </a:ext>
            </a:extLst>
          </p:cNvPr>
          <p:cNvSpPr/>
          <p:nvPr/>
        </p:nvSpPr>
        <p:spPr>
          <a:xfrm>
            <a:off x="5358531" y="5023151"/>
            <a:ext cx="1449001" cy="919402"/>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Proximus" panose="00000500000000000000" pitchFamily="2" charset="0"/>
              <a:ea typeface="+mn-ea"/>
              <a:cs typeface="Proximus"/>
            </a:endParaRPr>
          </a:p>
        </p:txBody>
      </p:sp>
      <p:sp>
        <p:nvSpPr>
          <p:cNvPr id="16" name="Oval 52">
            <a:extLst>
              <a:ext uri="{FF2B5EF4-FFF2-40B4-BE49-F238E27FC236}">
                <a16:creationId xmlns:a16="http://schemas.microsoft.com/office/drawing/2014/main" id="{84FA663A-9493-8A49-949D-9B7D2D321A05}"/>
              </a:ext>
            </a:extLst>
          </p:cNvPr>
          <p:cNvSpPr/>
          <p:nvPr/>
        </p:nvSpPr>
        <p:spPr>
          <a:xfrm>
            <a:off x="10447982" y="5017740"/>
            <a:ext cx="1490527" cy="913378"/>
          </a:xfrm>
          <a:prstGeom prst="roundRect">
            <a:avLst/>
          </a:pr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Proximus" panose="00000500000000000000" pitchFamily="2" charset="0"/>
              <a:ea typeface="+mn-ea"/>
              <a:cs typeface="Proximus"/>
            </a:endParaRPr>
          </a:p>
        </p:txBody>
      </p:sp>
      <p:sp>
        <p:nvSpPr>
          <p:cNvPr id="20" name="TextBox 19">
            <a:extLst>
              <a:ext uri="{FF2B5EF4-FFF2-40B4-BE49-F238E27FC236}">
                <a16:creationId xmlns:a16="http://schemas.microsoft.com/office/drawing/2014/main" id="{D6C03883-2B2C-F590-9DFA-CF75A6184C17}"/>
              </a:ext>
            </a:extLst>
          </p:cNvPr>
          <p:cNvSpPr txBox="1"/>
          <p:nvPr/>
        </p:nvSpPr>
        <p:spPr>
          <a:xfrm>
            <a:off x="10339760" y="5176475"/>
            <a:ext cx="1706970" cy="595908"/>
          </a:xfrm>
          <a:prstGeom prst="roundRect">
            <a:avLst/>
          </a:prstGeom>
          <a:noFill/>
        </p:spPr>
        <p:txBody>
          <a:bodyPr wrap="square" lIns="91440" tIns="45720" rIns="91440" bIns="45720" anchor="t">
            <a:spAutoFit/>
          </a:bodyPr>
          <a:lstStyle/>
          <a:p>
            <a:pPr lvl="0" algn="ctr">
              <a:spcBef>
                <a:spcPts val="600"/>
              </a:spcBef>
              <a:defRPr/>
            </a:pPr>
            <a:r>
              <a:rPr lang="en-US" sz="1200" b="1">
                <a:solidFill>
                  <a:srgbClr val="FFFFFF"/>
                </a:solidFill>
                <a:latin typeface="Proximus ExtraBold" panose="00000900000000000000" pitchFamily="2" charset="0"/>
              </a:rPr>
              <a:t>-10% to 20%</a:t>
            </a:r>
          </a:p>
          <a:p>
            <a:pPr lvl="0" algn="ctr">
              <a:spcBef>
                <a:spcPts val="600"/>
              </a:spcBef>
              <a:defRPr/>
            </a:pPr>
            <a:r>
              <a:rPr lang="en-US" sz="1200">
                <a:solidFill>
                  <a:srgbClr val="FFFFFF"/>
                </a:solidFill>
              </a:rPr>
              <a:t>On NFR regression</a:t>
            </a:r>
            <a:endParaRPr lang="en-US" sz="1200" baseline="30000">
              <a:solidFill>
                <a:srgbClr val="FFFFFF"/>
              </a:solidFill>
            </a:endParaRPr>
          </a:p>
        </p:txBody>
      </p:sp>
      <p:sp>
        <p:nvSpPr>
          <p:cNvPr id="22" name="TextBox 21">
            <a:extLst>
              <a:ext uri="{FF2B5EF4-FFF2-40B4-BE49-F238E27FC236}">
                <a16:creationId xmlns:a16="http://schemas.microsoft.com/office/drawing/2014/main" id="{79E2BD3D-0184-12EE-0974-7BBC216C392C}"/>
              </a:ext>
            </a:extLst>
          </p:cNvPr>
          <p:cNvSpPr txBox="1"/>
          <p:nvPr/>
        </p:nvSpPr>
        <p:spPr>
          <a:xfrm>
            <a:off x="5324218" y="5060595"/>
            <a:ext cx="1534389" cy="782342"/>
          </a:xfrm>
          <a:prstGeom prst="roundRect">
            <a:avLst/>
          </a:prstGeom>
          <a:noFill/>
        </p:spPr>
        <p:txBody>
          <a:bodyPr wrap="square" lIns="0" tIns="45720" rIns="0" bIns="45720" anchor="t">
            <a:spAutoFit/>
          </a:bodyPr>
          <a:lstStyle/>
          <a:p>
            <a:pPr algn="ctr">
              <a:lnSpc>
                <a:spcPct val="115000"/>
              </a:lnSpc>
              <a:spcAft>
                <a:spcPts val="1000"/>
              </a:spcAft>
              <a:buNone/>
            </a:pPr>
            <a:r>
              <a:rPr lang="en-US" sz="1200" b="1"/>
              <a:t>Runtime Agent</a:t>
            </a:r>
            <a:br>
              <a:rPr lang="en-US" sz="1200">
                <a:latin typeface="+mj-lt"/>
              </a:rPr>
            </a:br>
            <a:r>
              <a:rPr lang="en-US" sz="1200"/>
              <a:t>(Caching + Analytics)</a:t>
            </a:r>
            <a:endParaRPr lang="en-BE" sz="1400">
              <a:ea typeface="MS Mincho" panose="02020609040205080304" pitchFamily="49" charset="-128"/>
              <a:cs typeface="Times New Roman" panose="02020603050405020304" pitchFamily="18" charset="0"/>
            </a:endParaRPr>
          </a:p>
        </p:txBody>
      </p:sp>
      <p:sp>
        <p:nvSpPr>
          <p:cNvPr id="23" name="Oval 48">
            <a:extLst>
              <a:ext uri="{FF2B5EF4-FFF2-40B4-BE49-F238E27FC236}">
                <a16:creationId xmlns:a16="http://schemas.microsoft.com/office/drawing/2014/main" id="{BDC61808-8FED-E186-B0D2-A5E07B97CD4C}"/>
              </a:ext>
            </a:extLst>
          </p:cNvPr>
          <p:cNvSpPr/>
          <p:nvPr/>
        </p:nvSpPr>
        <p:spPr>
          <a:xfrm>
            <a:off x="6909683" y="5023272"/>
            <a:ext cx="3439509" cy="919163"/>
          </a:xfrm>
          <a:prstGeom prst="round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Proximus" panose="00000500000000000000" pitchFamily="2" charset="0"/>
              <a:ea typeface="+mn-ea"/>
              <a:cs typeface="Proximus"/>
            </a:endParaRPr>
          </a:p>
        </p:txBody>
      </p:sp>
      <p:sp>
        <p:nvSpPr>
          <p:cNvPr id="24" name="TextBox 23">
            <a:extLst>
              <a:ext uri="{FF2B5EF4-FFF2-40B4-BE49-F238E27FC236}">
                <a16:creationId xmlns:a16="http://schemas.microsoft.com/office/drawing/2014/main" id="{854C58A7-4B0D-4AA2-641F-F12207E6F89F}"/>
              </a:ext>
            </a:extLst>
          </p:cNvPr>
          <p:cNvSpPr txBox="1"/>
          <p:nvPr/>
        </p:nvSpPr>
        <p:spPr>
          <a:xfrm>
            <a:off x="6927571" y="5202801"/>
            <a:ext cx="3403733" cy="547384"/>
          </a:xfrm>
          <a:prstGeom prst="roundRect">
            <a:avLst/>
          </a:prstGeom>
          <a:noFill/>
        </p:spPr>
        <p:txBody>
          <a:bodyPr wrap="square" lIns="91440" tIns="45720" rIns="91440" bIns="45720" anchor="t">
            <a:spAutoFit/>
          </a:bodyPr>
          <a:lstStyle/>
          <a:p>
            <a:pPr>
              <a:lnSpc>
                <a:spcPct val="115000"/>
              </a:lnSpc>
              <a:spcAft>
                <a:spcPts val="1000"/>
              </a:spcAft>
              <a:buNone/>
            </a:pPr>
            <a:r>
              <a:rPr lang="en-US" sz="1200" b="1"/>
              <a:t>Handles caching, performance, storage patterns, and analytics(Adobe)</a:t>
            </a:r>
            <a:endParaRPr lang="en-BE" sz="1050">
              <a:latin typeface="Proximus" panose="00000500000000000000" pitchFamily="2" charset="0"/>
              <a:ea typeface="MS Mincho" panose="02020609040205080304" pitchFamily="49" charset="-128"/>
              <a:cs typeface="Times New Roman" panose="02020603050405020304" pitchFamily="18" charset="0"/>
            </a:endParaRPr>
          </a:p>
        </p:txBody>
      </p:sp>
      <p:sp>
        <p:nvSpPr>
          <p:cNvPr id="30" name="Rectangle: Rounded Corners 29">
            <a:extLst>
              <a:ext uri="{FF2B5EF4-FFF2-40B4-BE49-F238E27FC236}">
                <a16:creationId xmlns:a16="http://schemas.microsoft.com/office/drawing/2014/main" id="{3D35A7E2-78E0-5409-6402-6AEBB20CC20A}"/>
              </a:ext>
            </a:extLst>
          </p:cNvPr>
          <p:cNvSpPr/>
          <p:nvPr/>
        </p:nvSpPr>
        <p:spPr>
          <a:xfrm>
            <a:off x="656983" y="1905913"/>
            <a:ext cx="3547098" cy="806245"/>
          </a:xfrm>
          <a:prstGeom prst="roundRect">
            <a:avLst/>
          </a:prstGeom>
          <a:solidFill>
            <a:schemeClr val="tx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BE" sz="1200" b="1">
              <a:solidFill>
                <a:schemeClr val="tx1"/>
              </a:solidFill>
              <a:latin typeface="Proximus Bold" panose="00000500000000000000" pitchFamily="2" charset="0"/>
              <a:cs typeface="Proximus Bold"/>
            </a:endParaRPr>
          </a:p>
        </p:txBody>
      </p:sp>
      <p:sp>
        <p:nvSpPr>
          <p:cNvPr id="31" name="Rectangle: Rounded Corners 30">
            <a:extLst>
              <a:ext uri="{FF2B5EF4-FFF2-40B4-BE49-F238E27FC236}">
                <a16:creationId xmlns:a16="http://schemas.microsoft.com/office/drawing/2014/main" id="{6999FE5F-70D9-A871-5042-7DEAD9BA6563}"/>
              </a:ext>
            </a:extLst>
          </p:cNvPr>
          <p:cNvSpPr/>
          <p:nvPr/>
        </p:nvSpPr>
        <p:spPr>
          <a:xfrm>
            <a:off x="656983" y="3634673"/>
            <a:ext cx="886682" cy="806245"/>
          </a:xfrm>
          <a:prstGeom prst="roundRect">
            <a:avLst/>
          </a:prstGeom>
          <a:solidFill>
            <a:schemeClr val="tx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BE" sz="1200" b="1">
              <a:solidFill>
                <a:schemeClr val="tx1"/>
              </a:solidFill>
              <a:latin typeface="Proximus Bold" panose="00000500000000000000" pitchFamily="2" charset="0"/>
              <a:cs typeface="Proximus Bold"/>
            </a:endParaRPr>
          </a:p>
        </p:txBody>
      </p:sp>
      <p:sp>
        <p:nvSpPr>
          <p:cNvPr id="33" name="Rectangle: Rounded Corners 32">
            <a:extLst>
              <a:ext uri="{FF2B5EF4-FFF2-40B4-BE49-F238E27FC236}">
                <a16:creationId xmlns:a16="http://schemas.microsoft.com/office/drawing/2014/main" id="{7CBF2D1D-304A-DEB8-5D8D-4F6777026594}"/>
              </a:ext>
            </a:extLst>
          </p:cNvPr>
          <p:cNvSpPr/>
          <p:nvPr/>
        </p:nvSpPr>
        <p:spPr>
          <a:xfrm>
            <a:off x="1981318" y="3634673"/>
            <a:ext cx="886682" cy="806245"/>
          </a:xfrm>
          <a:prstGeom prst="roundRect">
            <a:avLst/>
          </a:prstGeom>
          <a:solidFill>
            <a:schemeClr val="tx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BE" sz="1200" b="1">
              <a:solidFill>
                <a:schemeClr val="tx1"/>
              </a:solidFill>
              <a:latin typeface="Proximus Bold" panose="00000500000000000000" pitchFamily="2" charset="0"/>
              <a:cs typeface="Proximus Bold"/>
            </a:endParaRPr>
          </a:p>
        </p:txBody>
      </p:sp>
      <p:sp>
        <p:nvSpPr>
          <p:cNvPr id="35" name="Rectangle: Rounded Corners 34">
            <a:extLst>
              <a:ext uri="{FF2B5EF4-FFF2-40B4-BE49-F238E27FC236}">
                <a16:creationId xmlns:a16="http://schemas.microsoft.com/office/drawing/2014/main" id="{6EFBE9A5-1DFB-AE9E-5AB0-B0353A5E5F74}"/>
              </a:ext>
            </a:extLst>
          </p:cNvPr>
          <p:cNvSpPr/>
          <p:nvPr/>
        </p:nvSpPr>
        <p:spPr>
          <a:xfrm>
            <a:off x="3305653" y="3636825"/>
            <a:ext cx="886682" cy="806245"/>
          </a:xfrm>
          <a:prstGeom prst="roundRect">
            <a:avLst/>
          </a:prstGeom>
          <a:solidFill>
            <a:schemeClr val="tx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BE" sz="1200" b="1">
              <a:solidFill>
                <a:schemeClr val="tx1"/>
              </a:solidFill>
              <a:latin typeface="Proximus Bold" panose="00000500000000000000" pitchFamily="2" charset="0"/>
              <a:cs typeface="Proximus Bold"/>
            </a:endParaRPr>
          </a:p>
        </p:txBody>
      </p:sp>
      <p:cxnSp>
        <p:nvCxnSpPr>
          <p:cNvPr id="37" name="Straight Connector 36">
            <a:extLst>
              <a:ext uri="{FF2B5EF4-FFF2-40B4-BE49-F238E27FC236}">
                <a16:creationId xmlns:a16="http://schemas.microsoft.com/office/drawing/2014/main" id="{05BD388D-781F-F219-A918-176B7AE26879}"/>
              </a:ext>
            </a:extLst>
          </p:cNvPr>
          <p:cNvCxnSpPr>
            <a:stCxn id="30" idx="2"/>
            <a:endCxn id="33" idx="0"/>
          </p:cNvCxnSpPr>
          <p:nvPr/>
        </p:nvCxnSpPr>
        <p:spPr>
          <a:xfrm flipH="1">
            <a:off x="2424659" y="2712158"/>
            <a:ext cx="5873" cy="922515"/>
          </a:xfrm>
          <a:prstGeom prst="line">
            <a:avLst/>
          </a:prstGeom>
          <a:ln w="19050">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12C56DB4-8BB1-F9E9-F383-AA9FD7F0E2EC}"/>
              </a:ext>
            </a:extLst>
          </p:cNvPr>
          <p:cNvCxnSpPr>
            <a:cxnSpLocks/>
          </p:cNvCxnSpPr>
          <p:nvPr/>
        </p:nvCxnSpPr>
        <p:spPr>
          <a:xfrm>
            <a:off x="1100324" y="3182603"/>
            <a:ext cx="2648670" cy="0"/>
          </a:xfrm>
          <a:prstGeom prst="line">
            <a:avLst/>
          </a:prstGeom>
          <a:ln w="19050">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7843AB62-72EB-C16E-C4AC-CFF7EC1D7676}"/>
              </a:ext>
            </a:extLst>
          </p:cNvPr>
          <p:cNvCxnSpPr>
            <a:cxnSpLocks/>
            <a:stCxn id="31" idx="0"/>
          </p:cNvCxnSpPr>
          <p:nvPr/>
        </p:nvCxnSpPr>
        <p:spPr>
          <a:xfrm flipV="1">
            <a:off x="1100324" y="3182603"/>
            <a:ext cx="0" cy="452070"/>
          </a:xfrm>
          <a:prstGeom prst="line">
            <a:avLst/>
          </a:prstGeom>
          <a:ln w="19050">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FBD33531-6BD0-3A1E-27C5-4A398BAF5DA6}"/>
              </a:ext>
            </a:extLst>
          </p:cNvPr>
          <p:cNvCxnSpPr>
            <a:cxnSpLocks/>
            <a:stCxn id="35" idx="0"/>
          </p:cNvCxnSpPr>
          <p:nvPr/>
        </p:nvCxnSpPr>
        <p:spPr>
          <a:xfrm flipV="1">
            <a:off x="3748994" y="3182603"/>
            <a:ext cx="0" cy="454222"/>
          </a:xfrm>
          <a:prstGeom prst="line">
            <a:avLst/>
          </a:prstGeom>
          <a:ln w="19050">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58" name="TextBox 57">
            <a:extLst>
              <a:ext uri="{FF2B5EF4-FFF2-40B4-BE49-F238E27FC236}">
                <a16:creationId xmlns:a16="http://schemas.microsoft.com/office/drawing/2014/main" id="{582C572A-F935-12BD-EF20-5A3A440405B1}"/>
              </a:ext>
            </a:extLst>
          </p:cNvPr>
          <p:cNvSpPr txBox="1"/>
          <p:nvPr/>
        </p:nvSpPr>
        <p:spPr>
          <a:xfrm>
            <a:off x="704471" y="3791916"/>
            <a:ext cx="790039" cy="369332"/>
          </a:xfrm>
          <a:prstGeom prst="rect">
            <a:avLst/>
          </a:prstGeom>
          <a:noFill/>
        </p:spPr>
        <p:txBody>
          <a:bodyPr wrap="square" lIns="0" tIns="0" rIns="0" bIns="0" rtlCol="0">
            <a:spAutoFit/>
          </a:bodyPr>
          <a:lstStyle/>
          <a:p>
            <a:pPr algn="ctr"/>
            <a:r>
              <a:rPr lang="en-US" sz="1200">
                <a:solidFill>
                  <a:schemeClr val="bg1"/>
                </a:solidFill>
                <a:latin typeface="+mj-lt"/>
              </a:rPr>
              <a:t>Code Agent</a:t>
            </a:r>
            <a:endParaRPr lang="en-BE" sz="1200" err="1">
              <a:solidFill>
                <a:schemeClr val="bg1"/>
              </a:solidFill>
              <a:latin typeface="+mj-lt"/>
            </a:endParaRPr>
          </a:p>
        </p:txBody>
      </p:sp>
      <p:sp>
        <p:nvSpPr>
          <p:cNvPr id="59" name="TextBox 58">
            <a:extLst>
              <a:ext uri="{FF2B5EF4-FFF2-40B4-BE49-F238E27FC236}">
                <a16:creationId xmlns:a16="http://schemas.microsoft.com/office/drawing/2014/main" id="{E8A3C6EC-7057-C01B-920F-A82AE35D7B5D}"/>
              </a:ext>
            </a:extLst>
          </p:cNvPr>
          <p:cNvSpPr txBox="1"/>
          <p:nvPr/>
        </p:nvSpPr>
        <p:spPr>
          <a:xfrm>
            <a:off x="2029640" y="3791918"/>
            <a:ext cx="790039" cy="369332"/>
          </a:xfrm>
          <a:prstGeom prst="rect">
            <a:avLst/>
          </a:prstGeom>
          <a:noFill/>
        </p:spPr>
        <p:txBody>
          <a:bodyPr wrap="square" lIns="0" tIns="0" rIns="0" bIns="0" rtlCol="0">
            <a:spAutoFit/>
          </a:bodyPr>
          <a:lstStyle/>
          <a:p>
            <a:pPr algn="ctr"/>
            <a:r>
              <a:rPr lang="en-US" sz="1200">
                <a:solidFill>
                  <a:schemeClr val="bg1"/>
                </a:solidFill>
                <a:latin typeface="+mj-lt"/>
              </a:rPr>
              <a:t>Quality Agent</a:t>
            </a:r>
            <a:endParaRPr lang="en-BE" sz="1200" err="1">
              <a:solidFill>
                <a:schemeClr val="bg1"/>
              </a:solidFill>
              <a:latin typeface="+mj-lt"/>
            </a:endParaRPr>
          </a:p>
        </p:txBody>
      </p:sp>
      <p:sp>
        <p:nvSpPr>
          <p:cNvPr id="60" name="TextBox 59">
            <a:extLst>
              <a:ext uri="{FF2B5EF4-FFF2-40B4-BE49-F238E27FC236}">
                <a16:creationId xmlns:a16="http://schemas.microsoft.com/office/drawing/2014/main" id="{5EED261A-B2B5-B57B-AA52-88893C0B9566}"/>
              </a:ext>
            </a:extLst>
          </p:cNvPr>
          <p:cNvSpPr txBox="1"/>
          <p:nvPr/>
        </p:nvSpPr>
        <p:spPr>
          <a:xfrm>
            <a:off x="3357161" y="3795559"/>
            <a:ext cx="790039" cy="369332"/>
          </a:xfrm>
          <a:prstGeom prst="rect">
            <a:avLst/>
          </a:prstGeom>
          <a:noFill/>
        </p:spPr>
        <p:txBody>
          <a:bodyPr wrap="square" lIns="0" tIns="0" rIns="0" bIns="0" rtlCol="0">
            <a:spAutoFit/>
          </a:bodyPr>
          <a:lstStyle/>
          <a:p>
            <a:pPr algn="ctr"/>
            <a:r>
              <a:rPr lang="en-US" sz="1200">
                <a:solidFill>
                  <a:schemeClr val="bg1"/>
                </a:solidFill>
                <a:latin typeface="+mj-lt"/>
              </a:rPr>
              <a:t>Runtime</a:t>
            </a:r>
          </a:p>
          <a:p>
            <a:pPr algn="ctr"/>
            <a:r>
              <a:rPr lang="en-US" sz="1200">
                <a:solidFill>
                  <a:schemeClr val="bg1"/>
                </a:solidFill>
                <a:latin typeface="+mj-lt"/>
              </a:rPr>
              <a:t>Agent</a:t>
            </a:r>
            <a:endParaRPr lang="en-BE" sz="1200" err="1">
              <a:solidFill>
                <a:schemeClr val="bg1"/>
              </a:solidFill>
              <a:latin typeface="+mj-lt"/>
            </a:endParaRPr>
          </a:p>
        </p:txBody>
      </p:sp>
      <p:sp>
        <p:nvSpPr>
          <p:cNvPr id="61" name="TextBox 60">
            <a:extLst>
              <a:ext uri="{FF2B5EF4-FFF2-40B4-BE49-F238E27FC236}">
                <a16:creationId xmlns:a16="http://schemas.microsoft.com/office/drawing/2014/main" id="{88082928-3FAD-2630-4C7E-246242F7E4A0}"/>
              </a:ext>
            </a:extLst>
          </p:cNvPr>
          <p:cNvSpPr txBox="1"/>
          <p:nvPr/>
        </p:nvSpPr>
        <p:spPr>
          <a:xfrm>
            <a:off x="818323" y="2142745"/>
            <a:ext cx="3212672" cy="184666"/>
          </a:xfrm>
          <a:prstGeom prst="rect">
            <a:avLst/>
          </a:prstGeom>
          <a:noFill/>
        </p:spPr>
        <p:txBody>
          <a:bodyPr wrap="square" lIns="0" tIns="0" rIns="0" bIns="0" rtlCol="0">
            <a:spAutoFit/>
          </a:bodyPr>
          <a:lstStyle/>
          <a:p>
            <a:pPr algn="ctr"/>
            <a:r>
              <a:rPr lang="en-US" sz="1200">
                <a:solidFill>
                  <a:schemeClr val="bg1"/>
                </a:solidFill>
                <a:latin typeface="+mj-lt"/>
              </a:rPr>
              <a:t>Orchestrator Agent</a:t>
            </a:r>
            <a:endParaRPr lang="en-BE" sz="1200" err="1">
              <a:solidFill>
                <a:schemeClr val="bg1"/>
              </a:solidFill>
              <a:latin typeface="+mj-lt"/>
            </a:endParaRPr>
          </a:p>
        </p:txBody>
      </p:sp>
      <p:sp>
        <p:nvSpPr>
          <p:cNvPr id="62" name="Oval 61">
            <a:extLst>
              <a:ext uri="{FF2B5EF4-FFF2-40B4-BE49-F238E27FC236}">
                <a16:creationId xmlns:a16="http://schemas.microsoft.com/office/drawing/2014/main" id="{8D8BF71F-B673-B816-9CDF-D7A07160F34A}"/>
              </a:ext>
            </a:extLst>
          </p:cNvPr>
          <p:cNvSpPr/>
          <p:nvPr/>
        </p:nvSpPr>
        <p:spPr>
          <a:xfrm>
            <a:off x="433247" y="1737866"/>
            <a:ext cx="447472" cy="43038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Proximus ExtraBold"/>
                <a:ea typeface="+mn-ea"/>
                <a:cs typeface="Proximus Bold"/>
              </a:rPr>
              <a:t>1</a:t>
            </a:r>
          </a:p>
        </p:txBody>
      </p:sp>
      <p:sp>
        <p:nvSpPr>
          <p:cNvPr id="63" name="Oval 62">
            <a:extLst>
              <a:ext uri="{FF2B5EF4-FFF2-40B4-BE49-F238E27FC236}">
                <a16:creationId xmlns:a16="http://schemas.microsoft.com/office/drawing/2014/main" id="{F8024D44-B63F-4A53-D3A8-018380354482}"/>
              </a:ext>
            </a:extLst>
          </p:cNvPr>
          <p:cNvSpPr/>
          <p:nvPr/>
        </p:nvSpPr>
        <p:spPr>
          <a:xfrm>
            <a:off x="445621" y="3464207"/>
            <a:ext cx="447472" cy="43038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r>
              <a:rPr lang="en-US" sz="1400" b="1">
                <a:solidFill>
                  <a:srgbClr val="FFFFFF"/>
                </a:solidFill>
                <a:latin typeface="Proximus ExtraBold"/>
                <a:cs typeface="Proximus Bold"/>
              </a:rPr>
              <a:t>2</a:t>
            </a:r>
            <a:endParaRPr kumimoji="0" lang="en-US" sz="1400" b="1" i="0" u="none" strike="noStrike" kern="1200" cap="none" spc="0" normalizeH="0" baseline="0" noProof="0">
              <a:ln>
                <a:noFill/>
              </a:ln>
              <a:solidFill>
                <a:srgbClr val="FFFFFF"/>
              </a:solidFill>
              <a:effectLst/>
              <a:uLnTx/>
              <a:uFillTx/>
              <a:latin typeface="Proximus ExtraBold"/>
              <a:ea typeface="+mn-ea"/>
              <a:cs typeface="Proximus Bold"/>
            </a:endParaRPr>
          </a:p>
        </p:txBody>
      </p:sp>
      <p:sp>
        <p:nvSpPr>
          <p:cNvPr id="64" name="Oval 63">
            <a:extLst>
              <a:ext uri="{FF2B5EF4-FFF2-40B4-BE49-F238E27FC236}">
                <a16:creationId xmlns:a16="http://schemas.microsoft.com/office/drawing/2014/main" id="{DDCF87E6-59D6-CE0D-C56D-D0A60B8A8B09}"/>
              </a:ext>
            </a:extLst>
          </p:cNvPr>
          <p:cNvSpPr/>
          <p:nvPr/>
        </p:nvSpPr>
        <p:spPr>
          <a:xfrm>
            <a:off x="1743516" y="3464207"/>
            <a:ext cx="447472" cy="43038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Proximus ExtraBold"/>
                <a:ea typeface="+mn-ea"/>
                <a:cs typeface="Proximus Bold"/>
              </a:rPr>
              <a:t>3</a:t>
            </a:r>
          </a:p>
        </p:txBody>
      </p:sp>
      <p:sp>
        <p:nvSpPr>
          <p:cNvPr id="65" name="Oval 64">
            <a:extLst>
              <a:ext uri="{FF2B5EF4-FFF2-40B4-BE49-F238E27FC236}">
                <a16:creationId xmlns:a16="http://schemas.microsoft.com/office/drawing/2014/main" id="{261E83AE-C847-20C2-F7B5-C648454F9F99}"/>
              </a:ext>
            </a:extLst>
          </p:cNvPr>
          <p:cNvSpPr/>
          <p:nvPr/>
        </p:nvSpPr>
        <p:spPr>
          <a:xfrm>
            <a:off x="3050148" y="3422749"/>
            <a:ext cx="447472" cy="43038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r>
              <a:rPr lang="en-US" sz="1400" b="1">
                <a:solidFill>
                  <a:srgbClr val="FFFFFF"/>
                </a:solidFill>
                <a:latin typeface="Proximus ExtraBold"/>
                <a:cs typeface="Proximus Bold"/>
              </a:rPr>
              <a:t>4</a:t>
            </a:r>
            <a:endParaRPr kumimoji="0" lang="en-US" sz="1400" b="1" i="0" u="none" strike="noStrike" kern="1200" cap="none" spc="0" normalizeH="0" baseline="0" noProof="0">
              <a:ln>
                <a:noFill/>
              </a:ln>
              <a:solidFill>
                <a:srgbClr val="FFFFFF"/>
              </a:solidFill>
              <a:effectLst/>
              <a:uLnTx/>
              <a:uFillTx/>
              <a:latin typeface="Proximus ExtraBold"/>
              <a:ea typeface="+mn-ea"/>
              <a:cs typeface="Proximus Bold"/>
            </a:endParaRPr>
          </a:p>
        </p:txBody>
      </p:sp>
      <p:sp>
        <p:nvSpPr>
          <p:cNvPr id="66" name="Oval 65">
            <a:extLst>
              <a:ext uri="{FF2B5EF4-FFF2-40B4-BE49-F238E27FC236}">
                <a16:creationId xmlns:a16="http://schemas.microsoft.com/office/drawing/2014/main" id="{A5788171-7616-50B7-4F06-C98F104D5660}"/>
              </a:ext>
            </a:extLst>
          </p:cNvPr>
          <p:cNvSpPr/>
          <p:nvPr/>
        </p:nvSpPr>
        <p:spPr>
          <a:xfrm>
            <a:off x="4829466" y="2117566"/>
            <a:ext cx="447472" cy="43038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Proximus ExtraBold"/>
                <a:ea typeface="+mn-ea"/>
                <a:cs typeface="Proximus Bold"/>
              </a:rPr>
              <a:t>1</a:t>
            </a:r>
          </a:p>
        </p:txBody>
      </p:sp>
      <p:sp>
        <p:nvSpPr>
          <p:cNvPr id="67" name="Oval 66">
            <a:extLst>
              <a:ext uri="{FF2B5EF4-FFF2-40B4-BE49-F238E27FC236}">
                <a16:creationId xmlns:a16="http://schemas.microsoft.com/office/drawing/2014/main" id="{23DB70B8-C338-0161-1DCD-C1D2D75FF2EB}"/>
              </a:ext>
            </a:extLst>
          </p:cNvPr>
          <p:cNvSpPr/>
          <p:nvPr/>
        </p:nvSpPr>
        <p:spPr>
          <a:xfrm>
            <a:off x="4832119" y="3153945"/>
            <a:ext cx="447472" cy="43038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r>
              <a:rPr lang="en-US" sz="1400" b="1">
                <a:solidFill>
                  <a:srgbClr val="FFFFFF"/>
                </a:solidFill>
                <a:latin typeface="Proximus ExtraBold"/>
                <a:cs typeface="Proximus Bold"/>
              </a:rPr>
              <a:t>2</a:t>
            </a:r>
            <a:endParaRPr kumimoji="0" lang="en-US" sz="1400" b="1" i="0" u="none" strike="noStrike" kern="1200" cap="none" spc="0" normalizeH="0" baseline="0" noProof="0">
              <a:ln>
                <a:noFill/>
              </a:ln>
              <a:solidFill>
                <a:srgbClr val="FFFFFF"/>
              </a:solidFill>
              <a:effectLst/>
              <a:uLnTx/>
              <a:uFillTx/>
              <a:latin typeface="Proximus ExtraBold"/>
              <a:ea typeface="+mn-ea"/>
              <a:cs typeface="Proximus Bold"/>
            </a:endParaRPr>
          </a:p>
        </p:txBody>
      </p:sp>
      <p:sp>
        <p:nvSpPr>
          <p:cNvPr id="68" name="Oval 67">
            <a:extLst>
              <a:ext uri="{FF2B5EF4-FFF2-40B4-BE49-F238E27FC236}">
                <a16:creationId xmlns:a16="http://schemas.microsoft.com/office/drawing/2014/main" id="{0CB9AF2E-FA77-4689-E43C-4794EEE0BCF4}"/>
              </a:ext>
            </a:extLst>
          </p:cNvPr>
          <p:cNvSpPr/>
          <p:nvPr/>
        </p:nvSpPr>
        <p:spPr>
          <a:xfrm>
            <a:off x="4832119" y="4202619"/>
            <a:ext cx="447472" cy="43038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r>
              <a:rPr lang="en-US" sz="1400" b="1">
                <a:solidFill>
                  <a:srgbClr val="FFFFFF"/>
                </a:solidFill>
                <a:latin typeface="Proximus ExtraBold"/>
                <a:cs typeface="Proximus Bold"/>
              </a:rPr>
              <a:t>3</a:t>
            </a:r>
            <a:endParaRPr kumimoji="0" lang="en-US" sz="1400" b="1" i="0" u="none" strike="noStrike" kern="1200" cap="none" spc="0" normalizeH="0" baseline="0" noProof="0">
              <a:ln>
                <a:noFill/>
              </a:ln>
              <a:solidFill>
                <a:srgbClr val="FFFFFF"/>
              </a:solidFill>
              <a:effectLst/>
              <a:uLnTx/>
              <a:uFillTx/>
              <a:latin typeface="Proximus ExtraBold"/>
              <a:ea typeface="+mn-ea"/>
              <a:cs typeface="Proximus Bold"/>
            </a:endParaRPr>
          </a:p>
        </p:txBody>
      </p:sp>
      <p:sp>
        <p:nvSpPr>
          <p:cNvPr id="69" name="Oval 68">
            <a:extLst>
              <a:ext uri="{FF2B5EF4-FFF2-40B4-BE49-F238E27FC236}">
                <a16:creationId xmlns:a16="http://schemas.microsoft.com/office/drawing/2014/main" id="{8088C45E-83BA-DB1A-4EE5-A14948133951}"/>
              </a:ext>
            </a:extLst>
          </p:cNvPr>
          <p:cNvSpPr/>
          <p:nvPr/>
        </p:nvSpPr>
        <p:spPr>
          <a:xfrm>
            <a:off x="4842169" y="5267662"/>
            <a:ext cx="447472" cy="43038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r>
              <a:rPr lang="en-US" sz="1400" b="1">
                <a:solidFill>
                  <a:srgbClr val="FFFFFF"/>
                </a:solidFill>
                <a:latin typeface="Proximus ExtraBold"/>
                <a:cs typeface="Proximus Bold"/>
              </a:rPr>
              <a:t>4</a:t>
            </a:r>
            <a:endParaRPr kumimoji="0" lang="en-US" sz="1400" b="1" i="0" u="none" strike="noStrike" kern="1200" cap="none" spc="0" normalizeH="0" baseline="0" noProof="0">
              <a:ln>
                <a:noFill/>
              </a:ln>
              <a:solidFill>
                <a:srgbClr val="FFFFFF"/>
              </a:solidFill>
              <a:effectLst/>
              <a:uLnTx/>
              <a:uFillTx/>
              <a:latin typeface="Proximus ExtraBold"/>
              <a:ea typeface="+mn-ea"/>
              <a:cs typeface="Proximus Bold"/>
            </a:endParaRPr>
          </a:p>
        </p:txBody>
      </p:sp>
      <p:pic>
        <p:nvPicPr>
          <p:cNvPr id="70" name="Picture 69">
            <a:extLst>
              <a:ext uri="{FF2B5EF4-FFF2-40B4-BE49-F238E27FC236}">
                <a16:creationId xmlns:a16="http://schemas.microsoft.com/office/drawing/2014/main" id="{AB18EA89-C880-BBFC-622D-17322CF6386D}"/>
              </a:ext>
            </a:extLst>
          </p:cNvPr>
          <p:cNvPicPr>
            <a:picLocks noChangeAspect="1"/>
          </p:cNvPicPr>
          <p:nvPr/>
        </p:nvPicPr>
        <p:blipFill>
          <a:blip r:embed="rId6"/>
          <a:stretch>
            <a:fillRect/>
          </a:stretch>
        </p:blipFill>
        <p:spPr>
          <a:xfrm>
            <a:off x="3873704" y="2392407"/>
            <a:ext cx="264000" cy="264174"/>
          </a:xfrm>
          <a:prstGeom prst="rect">
            <a:avLst/>
          </a:prstGeom>
        </p:spPr>
      </p:pic>
      <p:pic>
        <p:nvPicPr>
          <p:cNvPr id="71" name="Picture 70">
            <a:extLst>
              <a:ext uri="{FF2B5EF4-FFF2-40B4-BE49-F238E27FC236}">
                <a16:creationId xmlns:a16="http://schemas.microsoft.com/office/drawing/2014/main" id="{19886D26-F03B-D6B2-137A-58C3A600A4FC}"/>
              </a:ext>
            </a:extLst>
          </p:cNvPr>
          <p:cNvPicPr>
            <a:picLocks noChangeAspect="1"/>
          </p:cNvPicPr>
          <p:nvPr/>
        </p:nvPicPr>
        <p:blipFill>
          <a:blip r:embed="rId6"/>
          <a:stretch>
            <a:fillRect/>
          </a:stretch>
        </p:blipFill>
        <p:spPr>
          <a:xfrm>
            <a:off x="3977783" y="4233299"/>
            <a:ext cx="153140" cy="153241"/>
          </a:xfrm>
          <a:prstGeom prst="rect">
            <a:avLst/>
          </a:prstGeom>
        </p:spPr>
      </p:pic>
      <p:pic>
        <p:nvPicPr>
          <p:cNvPr id="72" name="Picture 71">
            <a:extLst>
              <a:ext uri="{FF2B5EF4-FFF2-40B4-BE49-F238E27FC236}">
                <a16:creationId xmlns:a16="http://schemas.microsoft.com/office/drawing/2014/main" id="{149B9465-79CC-502B-CE74-4A17A76BDE9A}"/>
              </a:ext>
            </a:extLst>
          </p:cNvPr>
          <p:cNvPicPr>
            <a:picLocks noChangeAspect="1"/>
          </p:cNvPicPr>
          <p:nvPr/>
        </p:nvPicPr>
        <p:blipFill>
          <a:blip r:embed="rId6"/>
          <a:stretch>
            <a:fillRect/>
          </a:stretch>
        </p:blipFill>
        <p:spPr>
          <a:xfrm>
            <a:off x="2656024" y="4232519"/>
            <a:ext cx="154698" cy="154800"/>
          </a:xfrm>
          <a:prstGeom prst="rect">
            <a:avLst/>
          </a:prstGeom>
        </p:spPr>
      </p:pic>
      <p:pic>
        <p:nvPicPr>
          <p:cNvPr id="73" name="Picture 72">
            <a:extLst>
              <a:ext uri="{FF2B5EF4-FFF2-40B4-BE49-F238E27FC236}">
                <a16:creationId xmlns:a16="http://schemas.microsoft.com/office/drawing/2014/main" id="{A588FBE0-2C18-15F7-3DB4-2CE6ABD5191F}"/>
              </a:ext>
            </a:extLst>
          </p:cNvPr>
          <p:cNvPicPr>
            <a:picLocks noChangeAspect="1"/>
          </p:cNvPicPr>
          <p:nvPr/>
        </p:nvPicPr>
        <p:blipFill>
          <a:blip r:embed="rId6"/>
          <a:stretch>
            <a:fillRect/>
          </a:stretch>
        </p:blipFill>
        <p:spPr>
          <a:xfrm>
            <a:off x="1328811" y="4232519"/>
            <a:ext cx="154698" cy="154800"/>
          </a:xfrm>
          <a:prstGeom prst="rect">
            <a:avLst/>
          </a:prstGeom>
        </p:spPr>
      </p:pic>
    </p:spTree>
    <p:extLst>
      <p:ext uri="{BB962C8B-B14F-4D97-AF65-F5344CB8AC3E}">
        <p14:creationId xmlns:p14="http://schemas.microsoft.com/office/powerpoint/2010/main" val="16146600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lumMod val="95000"/>
          </a:schemeClr>
        </a:solidFill>
        <a:effectLst/>
      </p:bgPr>
    </p:bg>
    <p:spTree>
      <p:nvGrpSpPr>
        <p:cNvPr id="1" name="">
          <a:extLst>
            <a:ext uri="{FF2B5EF4-FFF2-40B4-BE49-F238E27FC236}">
              <a16:creationId xmlns:a16="http://schemas.microsoft.com/office/drawing/2014/main" id="{FD7E6785-94CD-CB3E-E45F-DEDE1E11F6A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62A3B1E-3C19-0206-2343-BAFDA4547D0E}"/>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4" name="think-cell data - do not delete" hidden="1">
                        <a:extLst>
                          <a:ext uri="{FF2B5EF4-FFF2-40B4-BE49-F238E27FC236}">
                            <a16:creationId xmlns:a16="http://schemas.microsoft.com/office/drawing/2014/main" id="{F62A3B1E-3C19-0206-2343-BAFDA4547D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Rounded Corners 7">
            <a:extLst>
              <a:ext uri="{FF2B5EF4-FFF2-40B4-BE49-F238E27FC236}">
                <a16:creationId xmlns:a16="http://schemas.microsoft.com/office/drawing/2014/main" id="{0547BDA4-3B1A-D72E-5507-D0D5A01BC243}"/>
              </a:ext>
            </a:extLst>
          </p:cNvPr>
          <p:cNvSpPr/>
          <p:nvPr/>
        </p:nvSpPr>
        <p:spPr>
          <a:xfrm>
            <a:off x="1863501" y="1543282"/>
            <a:ext cx="8740021" cy="443331"/>
          </a:xfrm>
          <a:prstGeom prst="roundRect">
            <a:avLst/>
          </a:prstGeom>
          <a:solidFill>
            <a:schemeClr val="tx1"/>
          </a:solidFill>
          <a:ln>
            <a:noFill/>
            <a:prstDash val="solid"/>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Proximus ExtraBold"/>
              <a:ea typeface="+mn-ea"/>
              <a:cs typeface="Proximus Bold"/>
            </a:endParaRPr>
          </a:p>
        </p:txBody>
      </p:sp>
      <p:sp>
        <p:nvSpPr>
          <p:cNvPr id="10" name="Oval 9">
            <a:extLst>
              <a:ext uri="{FF2B5EF4-FFF2-40B4-BE49-F238E27FC236}">
                <a16:creationId xmlns:a16="http://schemas.microsoft.com/office/drawing/2014/main" id="{8622FAF2-2984-3648-8418-D32C2F9B7B95}"/>
              </a:ext>
            </a:extLst>
          </p:cNvPr>
          <p:cNvSpPr/>
          <p:nvPr/>
        </p:nvSpPr>
        <p:spPr>
          <a:xfrm>
            <a:off x="1681623" y="1546885"/>
            <a:ext cx="447472" cy="43038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Proximus ExtraBold"/>
                <a:ea typeface="+mn-ea"/>
                <a:cs typeface="Proximus Bold"/>
              </a:rPr>
              <a:t>1</a:t>
            </a:r>
          </a:p>
        </p:txBody>
      </p:sp>
      <p:sp>
        <p:nvSpPr>
          <p:cNvPr id="11" name="Rectangle 10">
            <a:extLst>
              <a:ext uri="{FF2B5EF4-FFF2-40B4-BE49-F238E27FC236}">
                <a16:creationId xmlns:a16="http://schemas.microsoft.com/office/drawing/2014/main" id="{03262E30-D353-DC39-EDF4-21E7F73957CE}"/>
              </a:ext>
            </a:extLst>
          </p:cNvPr>
          <p:cNvSpPr/>
          <p:nvPr/>
        </p:nvSpPr>
        <p:spPr>
          <a:xfrm>
            <a:off x="2394687" y="1568059"/>
            <a:ext cx="7188928" cy="388033"/>
          </a:xfrm>
          <a:prstGeom prst="rect">
            <a:avLst/>
          </a:prstGeom>
          <a:noFill/>
          <a:ln w="9525" cap="flat" cmpd="sng" algn="ctr">
            <a:noFill/>
            <a:prstDash val="solid"/>
          </a:ln>
          <a:effectLst/>
        </p:spPr>
        <p:txBody>
          <a:bodyPr vert="horz" lIns="144000" tIns="144000" rIns="144000" bIns="144000" rtlCol="0" anchor="ctr" anchorCtr="0"/>
          <a:lstStyle/>
          <a:p>
            <a:pPr marL="0" marR="0" lvl="0" indent="0" algn="l" defTabSz="121841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82233"/>
                </a:solidFill>
                <a:effectLst/>
                <a:uLnTx/>
                <a:uFillTx/>
                <a:latin typeface="Proximus ExtraBold"/>
                <a:ea typeface="+mn-ea"/>
                <a:cs typeface="Proximus Bold"/>
              </a:rPr>
              <a:t>Shift focus from ‘adoption’ of AI tools to ‘meaningful use’ – and measure it</a:t>
            </a:r>
            <a:endParaRPr kumimoji="0" lang="en-US" sz="1400" b="0" i="0" u="none" strike="noStrike" kern="1200" cap="none" spc="0" normalizeH="0" baseline="0" noProof="0">
              <a:ln>
                <a:noFill/>
              </a:ln>
              <a:solidFill>
                <a:srgbClr val="282233"/>
              </a:solidFill>
              <a:effectLst/>
              <a:uLnTx/>
              <a:uFillTx/>
              <a:latin typeface="Proximus Bold" panose="00000500000000000000" pitchFamily="2" charset="0"/>
              <a:ea typeface="+mn-ea"/>
              <a:cs typeface="Proximus Bold"/>
            </a:endParaRPr>
          </a:p>
        </p:txBody>
      </p:sp>
      <p:sp>
        <p:nvSpPr>
          <p:cNvPr id="5" name="Rectangle: Rounded Corners 4">
            <a:extLst>
              <a:ext uri="{FF2B5EF4-FFF2-40B4-BE49-F238E27FC236}">
                <a16:creationId xmlns:a16="http://schemas.microsoft.com/office/drawing/2014/main" id="{1DDC4E7C-C9DE-29EB-9EC1-4DE948B6CDC6}"/>
              </a:ext>
            </a:extLst>
          </p:cNvPr>
          <p:cNvSpPr/>
          <p:nvPr/>
        </p:nvSpPr>
        <p:spPr>
          <a:xfrm>
            <a:off x="1863501" y="2290628"/>
            <a:ext cx="8740021" cy="443331"/>
          </a:xfrm>
          <a:prstGeom prst="roundRect">
            <a:avLst/>
          </a:prstGeom>
          <a:solidFill>
            <a:schemeClr val="tx1"/>
          </a:solidFill>
          <a:ln>
            <a:noFill/>
            <a:prstDash val="solid"/>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Proximus ExtraBold"/>
              <a:ea typeface="+mn-ea"/>
              <a:cs typeface="Proximus Bold"/>
            </a:endParaRPr>
          </a:p>
        </p:txBody>
      </p:sp>
      <p:sp>
        <p:nvSpPr>
          <p:cNvPr id="6" name="Oval 5">
            <a:extLst>
              <a:ext uri="{FF2B5EF4-FFF2-40B4-BE49-F238E27FC236}">
                <a16:creationId xmlns:a16="http://schemas.microsoft.com/office/drawing/2014/main" id="{472CBD76-79C2-0843-DC36-481ABE1BB14E}"/>
              </a:ext>
            </a:extLst>
          </p:cNvPr>
          <p:cNvSpPr/>
          <p:nvPr/>
        </p:nvSpPr>
        <p:spPr>
          <a:xfrm>
            <a:off x="1681623" y="2294231"/>
            <a:ext cx="447472" cy="43038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Proximus ExtraBold"/>
                <a:ea typeface="+mn-ea"/>
                <a:cs typeface="Proximus Bold"/>
              </a:rPr>
              <a:t>2</a:t>
            </a:r>
          </a:p>
        </p:txBody>
      </p:sp>
      <p:sp>
        <p:nvSpPr>
          <p:cNvPr id="12" name="Rectangle 11">
            <a:extLst>
              <a:ext uri="{FF2B5EF4-FFF2-40B4-BE49-F238E27FC236}">
                <a16:creationId xmlns:a16="http://schemas.microsoft.com/office/drawing/2014/main" id="{1B03C349-5E25-AC68-C014-866F1F5CEC95}"/>
              </a:ext>
            </a:extLst>
          </p:cNvPr>
          <p:cNvSpPr/>
          <p:nvPr/>
        </p:nvSpPr>
        <p:spPr>
          <a:xfrm>
            <a:off x="2394687" y="2315405"/>
            <a:ext cx="7188928" cy="388033"/>
          </a:xfrm>
          <a:prstGeom prst="rect">
            <a:avLst/>
          </a:prstGeom>
          <a:noFill/>
          <a:ln w="9525" cap="flat" cmpd="sng" algn="ctr">
            <a:noFill/>
            <a:prstDash val="solid"/>
          </a:ln>
          <a:effectLst/>
        </p:spPr>
        <p:txBody>
          <a:bodyPr vert="horz" lIns="144000" tIns="144000" rIns="144000" bIns="144000" rtlCol="0" anchor="ctr" anchorCtr="0"/>
          <a:lstStyle/>
          <a:p>
            <a:pPr marL="0" marR="0" lvl="0" indent="0" algn="l" defTabSz="121841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82233"/>
                </a:solidFill>
                <a:effectLst/>
                <a:uLnTx/>
                <a:uFillTx/>
                <a:latin typeface="Proximus ExtraBold"/>
                <a:ea typeface="+mn-ea"/>
                <a:cs typeface="Proximus Bold"/>
              </a:rPr>
              <a:t>Give AI agents ample context to work with</a:t>
            </a:r>
            <a:endParaRPr kumimoji="0" lang="en-US" sz="1400" b="0" i="0" u="none" strike="noStrike" kern="1200" cap="none" spc="0" normalizeH="0" baseline="0" noProof="0">
              <a:ln>
                <a:noFill/>
              </a:ln>
              <a:solidFill>
                <a:srgbClr val="282233"/>
              </a:solidFill>
              <a:effectLst/>
              <a:uLnTx/>
              <a:uFillTx/>
              <a:latin typeface="Proximus Bold" panose="00000500000000000000" pitchFamily="2" charset="0"/>
              <a:ea typeface="+mn-ea"/>
              <a:cs typeface="Proximus Bold"/>
            </a:endParaRPr>
          </a:p>
        </p:txBody>
      </p:sp>
      <p:sp>
        <p:nvSpPr>
          <p:cNvPr id="13" name="Rectangle: Rounded Corners 12">
            <a:extLst>
              <a:ext uri="{FF2B5EF4-FFF2-40B4-BE49-F238E27FC236}">
                <a16:creationId xmlns:a16="http://schemas.microsoft.com/office/drawing/2014/main" id="{A920B71E-963C-992A-8E14-9CB9C23BCE8E}"/>
              </a:ext>
            </a:extLst>
          </p:cNvPr>
          <p:cNvSpPr/>
          <p:nvPr/>
        </p:nvSpPr>
        <p:spPr>
          <a:xfrm>
            <a:off x="1863501" y="2976428"/>
            <a:ext cx="8740021" cy="443331"/>
          </a:xfrm>
          <a:prstGeom prst="roundRect">
            <a:avLst/>
          </a:prstGeom>
          <a:solidFill>
            <a:schemeClr val="tx1"/>
          </a:solidFill>
          <a:ln>
            <a:noFill/>
            <a:prstDash val="solid"/>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Proximus ExtraBold"/>
              <a:ea typeface="+mn-ea"/>
              <a:cs typeface="Proximus Bold"/>
            </a:endParaRPr>
          </a:p>
        </p:txBody>
      </p:sp>
      <p:sp>
        <p:nvSpPr>
          <p:cNvPr id="14" name="Oval 13">
            <a:extLst>
              <a:ext uri="{FF2B5EF4-FFF2-40B4-BE49-F238E27FC236}">
                <a16:creationId xmlns:a16="http://schemas.microsoft.com/office/drawing/2014/main" id="{714B7DF1-C6C4-D3E0-CE09-DDC5AB3CB9A5}"/>
              </a:ext>
            </a:extLst>
          </p:cNvPr>
          <p:cNvSpPr/>
          <p:nvPr/>
        </p:nvSpPr>
        <p:spPr>
          <a:xfrm>
            <a:off x="1681623" y="2980031"/>
            <a:ext cx="447472" cy="43038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Proximus ExtraBold"/>
                <a:ea typeface="+mn-ea"/>
                <a:cs typeface="Proximus Bold"/>
              </a:rPr>
              <a:t>3</a:t>
            </a:r>
          </a:p>
        </p:txBody>
      </p:sp>
      <p:sp>
        <p:nvSpPr>
          <p:cNvPr id="15" name="Rectangle 14">
            <a:extLst>
              <a:ext uri="{FF2B5EF4-FFF2-40B4-BE49-F238E27FC236}">
                <a16:creationId xmlns:a16="http://schemas.microsoft.com/office/drawing/2014/main" id="{9E99D20E-C3E6-6184-1F9D-BB3308309CDD}"/>
              </a:ext>
            </a:extLst>
          </p:cNvPr>
          <p:cNvSpPr/>
          <p:nvPr/>
        </p:nvSpPr>
        <p:spPr>
          <a:xfrm>
            <a:off x="2394687" y="3001205"/>
            <a:ext cx="7188928" cy="388033"/>
          </a:xfrm>
          <a:prstGeom prst="rect">
            <a:avLst/>
          </a:prstGeom>
          <a:noFill/>
          <a:ln w="9525" cap="flat" cmpd="sng" algn="ctr">
            <a:noFill/>
            <a:prstDash val="solid"/>
          </a:ln>
          <a:effectLst/>
        </p:spPr>
        <p:txBody>
          <a:bodyPr vert="horz" lIns="144000" tIns="144000" rIns="144000" bIns="144000" rtlCol="0" anchor="ctr" anchorCtr="0"/>
          <a:lstStyle/>
          <a:p>
            <a:pPr lvl="0" defTabSz="1218418">
              <a:defRPr/>
            </a:pPr>
            <a:r>
              <a:rPr lang="en-US" sz="1400">
                <a:solidFill>
                  <a:srgbClr val="282233"/>
                </a:solidFill>
                <a:latin typeface="Proximus ExtraBold"/>
                <a:cs typeface="Proximus Bold"/>
              </a:rPr>
              <a:t>Apply AI in e2e software development lifecycle</a:t>
            </a:r>
            <a:endParaRPr lang="en-US" sz="1400">
              <a:solidFill>
                <a:srgbClr val="282233"/>
              </a:solidFill>
              <a:latin typeface="Proximus Bold" panose="00000500000000000000" pitchFamily="2" charset="0"/>
              <a:cs typeface="Proximus Bold"/>
            </a:endParaRPr>
          </a:p>
        </p:txBody>
      </p:sp>
    </p:spTree>
    <p:extLst>
      <p:ext uri="{BB962C8B-B14F-4D97-AF65-F5344CB8AC3E}">
        <p14:creationId xmlns:p14="http://schemas.microsoft.com/office/powerpoint/2010/main" val="4116424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lumMod val="95000"/>
          </a:schemeClr>
        </a:solidFill>
        <a:effectLst/>
      </p:bgPr>
    </p:bg>
    <p:spTree>
      <p:nvGrpSpPr>
        <p:cNvPr id="1" name="">
          <a:extLst>
            <a:ext uri="{FF2B5EF4-FFF2-40B4-BE49-F238E27FC236}">
              <a16:creationId xmlns:a16="http://schemas.microsoft.com/office/drawing/2014/main" id="{0829CBC8-1244-02C4-22D3-2302072BAC0F}"/>
            </a:ext>
          </a:extLst>
        </p:cNvPr>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F87E57F3-FBE5-D78B-8020-E901D55EF74E}"/>
              </a:ext>
            </a:extLst>
          </p:cNvPr>
          <p:cNvCxnSpPr>
            <a:cxnSpLocks/>
          </p:cNvCxnSpPr>
          <p:nvPr/>
        </p:nvCxnSpPr>
        <p:spPr>
          <a:xfrm>
            <a:off x="6096000" y="1406769"/>
            <a:ext cx="0" cy="5451231"/>
          </a:xfrm>
          <a:prstGeom prst="line">
            <a:avLst/>
          </a:prstGeom>
          <a:ln w="9525" cap="rnd">
            <a:solidFill>
              <a:schemeClr val="tx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12" name="Title 2">
            <a:extLst>
              <a:ext uri="{FF2B5EF4-FFF2-40B4-BE49-F238E27FC236}">
                <a16:creationId xmlns:a16="http://schemas.microsoft.com/office/drawing/2014/main" id="{52DF47D4-0EA5-1BE7-0E2C-ABD9FEE250C5}"/>
              </a:ext>
            </a:extLst>
          </p:cNvPr>
          <p:cNvSpPr>
            <a:spLocks noGrp="1"/>
          </p:cNvSpPr>
          <p:nvPr>
            <p:ph type="title"/>
          </p:nvPr>
        </p:nvSpPr>
        <p:spPr>
          <a:xfrm>
            <a:off x="656984" y="503119"/>
            <a:ext cx="11335724" cy="738664"/>
          </a:xfrm>
        </p:spPr>
        <p:txBody>
          <a:bodyPr vert="horz" wrap="square" lIns="0" tIns="0" rIns="0" bIns="0" rtlCol="0" anchor="t" anchorCtr="0">
            <a:spAutoFit/>
          </a:bodyPr>
          <a:lstStyle/>
          <a:p>
            <a:r>
              <a:rPr lang="en-US" sz="2400">
                <a:solidFill>
                  <a:schemeClr val="accent6"/>
                </a:solidFill>
                <a:latin typeface="Proximus ExtraBold" panose="00000900000000000000" pitchFamily="2" charset="0"/>
              </a:rPr>
              <a:t>The bottleneck isn’t only writing code, we have to become more efficient in the e2e cycle</a:t>
            </a:r>
          </a:p>
        </p:txBody>
      </p:sp>
      <p:pic>
        <p:nvPicPr>
          <p:cNvPr id="17" name="Content Placeholder 9">
            <a:extLst>
              <a:ext uri="{FF2B5EF4-FFF2-40B4-BE49-F238E27FC236}">
                <a16:creationId xmlns:a16="http://schemas.microsoft.com/office/drawing/2014/main" id="{5FA60A2D-0E88-4F84-4B0A-08AF5728D17D}"/>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backgroundRemoval t="6836" b="89844" l="1823" r="95703">
                        <a14:foregroundMark x1="10221" y1="11816" x2="12956" y2="34570"/>
                        <a14:foregroundMark x1="12956" y1="34570" x2="28255" y2="56445"/>
                        <a14:foregroundMark x1="28255" y1="56445" x2="30534" y2="26270"/>
                        <a14:foregroundMark x1="30534" y1="26270" x2="29622" y2="24414"/>
                        <a14:foregroundMark x1="34896" y1="15430" x2="5599" y2="15332"/>
                        <a14:foregroundMark x1="5599" y1="15332" x2="5469" y2="74316"/>
                        <a14:foregroundMark x1="5469" y1="74316" x2="16927" y2="87305"/>
                        <a14:foregroundMark x1="16927" y1="87305" x2="33984" y2="71973"/>
                        <a14:foregroundMark x1="33984" y1="71973" x2="37826" y2="32910"/>
                        <a14:foregroundMark x1="37826" y1="32910" x2="34440" y2="21094"/>
                        <a14:foregroundMark x1="34440" y1="21094" x2="33919" y2="10938"/>
                        <a14:foregroundMark x1="33919" y1="10938" x2="27669" y2="7617"/>
                        <a14:foregroundMark x1="27669" y1="7617" x2="5078" y2="8008"/>
                        <a14:foregroundMark x1="62370" y1="8398" x2="65495" y2="61230"/>
                        <a14:foregroundMark x1="65495" y1="61230" x2="84375" y2="76563"/>
                        <a14:foregroundMark x1="84375" y1="76563" x2="91211" y2="33398"/>
                        <a14:foregroundMark x1="91211" y1="33398" x2="83203" y2="14258"/>
                        <a14:foregroundMark x1="83203" y1="14258" x2="74023" y2="26758"/>
                        <a14:foregroundMark x1="74023" y1="26758" x2="80273" y2="62793"/>
                        <a14:foregroundMark x1="1823" y1="6836" x2="3516" y2="79980"/>
                        <a14:foregroundMark x1="95703" y1="7520" x2="93294" y2="61035"/>
                        <a14:foregroundMark x1="62370" y1="31836" x2="60938" y2="77246"/>
                        <a14:foregroundMark x1="73438" y1="46484" x2="73438" y2="72559"/>
                        <a14:foregroundMark x1="65039" y1="72070" x2="85612" y2="61426"/>
                        <a14:foregroundMark x1="63346" y1="83008" x2="79427" y2="75781"/>
                        <a14:foregroundMark x1="92904" y1="57227" x2="90495" y2="87305"/>
                      </a14:backgroundRemoval>
                    </a14:imgEffect>
                  </a14:imgLayer>
                </a14:imgProps>
              </a:ext>
              <a:ext uri="{28A0092B-C50C-407E-A947-70E740481C1C}">
                <a14:useLocalDpi xmlns:a14="http://schemas.microsoft.com/office/drawing/2010/main" val="0"/>
              </a:ext>
            </a:extLst>
          </a:blip>
          <a:stretch>
            <a:fillRect/>
          </a:stretch>
        </p:blipFill>
        <p:spPr>
          <a:xfrm>
            <a:off x="2566606" y="1476494"/>
            <a:ext cx="7317580" cy="4878387"/>
          </a:xfrm>
        </p:spPr>
      </p:pic>
    </p:spTree>
    <p:extLst>
      <p:ext uri="{BB962C8B-B14F-4D97-AF65-F5344CB8AC3E}">
        <p14:creationId xmlns:p14="http://schemas.microsoft.com/office/powerpoint/2010/main" val="39306052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lumMod val="95000"/>
          </a:schemeClr>
        </a:solidFill>
        <a:effectLst/>
      </p:bgPr>
    </p:bg>
    <p:spTree>
      <p:nvGrpSpPr>
        <p:cNvPr id="1" name="">
          <a:extLst>
            <a:ext uri="{FF2B5EF4-FFF2-40B4-BE49-F238E27FC236}">
              <a16:creationId xmlns:a16="http://schemas.microsoft.com/office/drawing/2014/main" id="{CCD74330-AF98-DDB8-96B2-208E4569BD7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FE428B8-5CA0-AD12-0F32-C3A9698CBF9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4" name="think-cell data - do not delete" hidden="1">
                        <a:extLst>
                          <a:ext uri="{FF2B5EF4-FFF2-40B4-BE49-F238E27FC236}">
                            <a16:creationId xmlns:a16="http://schemas.microsoft.com/office/drawing/2014/main" id="{9FE428B8-5CA0-AD12-0F32-C3A9698CBF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2">
            <a:extLst>
              <a:ext uri="{FF2B5EF4-FFF2-40B4-BE49-F238E27FC236}">
                <a16:creationId xmlns:a16="http://schemas.microsoft.com/office/drawing/2014/main" id="{92FE0349-0D4D-A576-AAFA-BB2F53A02D46}"/>
              </a:ext>
            </a:extLst>
          </p:cNvPr>
          <p:cNvSpPr>
            <a:spLocks noGrp="1"/>
          </p:cNvSpPr>
          <p:nvPr>
            <p:ph type="title"/>
          </p:nvPr>
        </p:nvSpPr>
        <p:spPr>
          <a:xfrm>
            <a:off x="656984" y="503119"/>
            <a:ext cx="11335724" cy="738664"/>
          </a:xfrm>
        </p:spPr>
        <p:txBody>
          <a:bodyPr vert="horz" wrap="square" lIns="0" tIns="0" rIns="0" bIns="0" rtlCol="0" anchor="t" anchorCtr="0">
            <a:spAutoFit/>
          </a:bodyPr>
          <a:lstStyle/>
          <a:p>
            <a:r>
              <a:rPr lang="en-US" sz="2400">
                <a:solidFill>
                  <a:schemeClr val="accent6"/>
                </a:solidFill>
                <a:latin typeface="Proximus ExtraBold" panose="00000900000000000000" pitchFamily="2" charset="0"/>
              </a:rPr>
              <a:t>AI could support the full development lifecycle, with the biggest productivity impact in development and testing</a:t>
            </a:r>
          </a:p>
        </p:txBody>
      </p:sp>
      <p:cxnSp>
        <p:nvCxnSpPr>
          <p:cNvPr id="3" name="Straight Connector 2">
            <a:extLst>
              <a:ext uri="{FF2B5EF4-FFF2-40B4-BE49-F238E27FC236}">
                <a16:creationId xmlns:a16="http://schemas.microsoft.com/office/drawing/2014/main" id="{AD18B5E0-D2EA-9A34-FE1F-58242E232E00}"/>
              </a:ext>
            </a:extLst>
          </p:cNvPr>
          <p:cNvCxnSpPr>
            <a:cxnSpLocks/>
          </p:cNvCxnSpPr>
          <p:nvPr/>
        </p:nvCxnSpPr>
        <p:spPr>
          <a:xfrm>
            <a:off x="0" y="2686426"/>
            <a:ext cx="12192000" cy="0"/>
          </a:xfrm>
          <a:prstGeom prst="line">
            <a:avLst/>
          </a:prstGeom>
          <a:ln w="28575" cap="rnd">
            <a:solidFill>
              <a:schemeClr val="bg1">
                <a:lumMod val="40000"/>
                <a:lumOff val="60000"/>
              </a:schemeClr>
            </a:solidFill>
            <a:prstDash val="sysDot"/>
            <a:tailEnd type="none"/>
          </a:ln>
          <a:effectLst/>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A259B7C8-B59B-C6F8-FCC2-EF818B010D7D}"/>
              </a:ext>
            </a:extLst>
          </p:cNvPr>
          <p:cNvSpPr txBox="1"/>
          <p:nvPr/>
        </p:nvSpPr>
        <p:spPr>
          <a:xfrm>
            <a:off x="146515" y="2528023"/>
            <a:ext cx="1462221" cy="307777"/>
          </a:xfrm>
          <a:prstGeom prst="rect">
            <a:avLst/>
          </a:prstGeom>
          <a:solidFill>
            <a:schemeClr val="tx1">
              <a:lumMod val="95000"/>
            </a:schemeClr>
          </a:solidFill>
        </p:spPr>
        <p:txBody>
          <a:bodyPr wrap="square">
            <a:spAutoFit/>
          </a:bodyPr>
          <a:lstStyle/>
          <a:p>
            <a:pPr algn="ctr"/>
            <a:r>
              <a:rPr lang="en-US" sz="1400" b="1" noProof="0">
                <a:solidFill>
                  <a:srgbClr val="282233"/>
                </a:solidFill>
              </a:rPr>
              <a:t>Requirements</a:t>
            </a:r>
          </a:p>
        </p:txBody>
      </p:sp>
      <p:sp>
        <p:nvSpPr>
          <p:cNvPr id="9" name="TextBox 8">
            <a:extLst>
              <a:ext uri="{FF2B5EF4-FFF2-40B4-BE49-F238E27FC236}">
                <a16:creationId xmlns:a16="http://schemas.microsoft.com/office/drawing/2014/main" id="{757F065F-97CD-39D0-AB92-7F0CEA797A6B}"/>
              </a:ext>
            </a:extLst>
          </p:cNvPr>
          <p:cNvSpPr txBox="1"/>
          <p:nvPr/>
        </p:nvSpPr>
        <p:spPr>
          <a:xfrm>
            <a:off x="2114898" y="2519214"/>
            <a:ext cx="819884" cy="307777"/>
          </a:xfrm>
          <a:prstGeom prst="rect">
            <a:avLst/>
          </a:prstGeom>
          <a:solidFill>
            <a:schemeClr val="tx1">
              <a:lumMod val="95000"/>
            </a:schemeClr>
          </a:solidFill>
        </p:spPr>
        <p:txBody>
          <a:bodyPr wrap="square">
            <a:spAutoFit/>
          </a:bodyPr>
          <a:lstStyle/>
          <a:p>
            <a:pPr algn="ctr"/>
            <a:r>
              <a:rPr lang="en-US" sz="1400" b="1">
                <a:solidFill>
                  <a:srgbClr val="282233"/>
                </a:solidFill>
              </a:rPr>
              <a:t>Design</a:t>
            </a:r>
            <a:endParaRPr lang="en-US" sz="1400" b="1" noProof="0">
              <a:solidFill>
                <a:srgbClr val="282233"/>
              </a:solidFill>
            </a:endParaRPr>
          </a:p>
        </p:txBody>
      </p:sp>
      <p:sp>
        <p:nvSpPr>
          <p:cNvPr id="16" name="TextBox 15">
            <a:extLst>
              <a:ext uri="{FF2B5EF4-FFF2-40B4-BE49-F238E27FC236}">
                <a16:creationId xmlns:a16="http://schemas.microsoft.com/office/drawing/2014/main" id="{2EDA75FB-CC0D-01D5-79D6-1DC685189580}"/>
              </a:ext>
            </a:extLst>
          </p:cNvPr>
          <p:cNvSpPr txBox="1"/>
          <p:nvPr/>
        </p:nvSpPr>
        <p:spPr>
          <a:xfrm>
            <a:off x="4191880" y="2532534"/>
            <a:ext cx="1438646" cy="307777"/>
          </a:xfrm>
          <a:prstGeom prst="rect">
            <a:avLst/>
          </a:prstGeom>
          <a:solidFill>
            <a:schemeClr val="tx1">
              <a:lumMod val="95000"/>
            </a:schemeClr>
          </a:solidFill>
        </p:spPr>
        <p:txBody>
          <a:bodyPr wrap="square">
            <a:spAutoFit/>
          </a:bodyPr>
          <a:lstStyle/>
          <a:p>
            <a:pPr algn="ctr"/>
            <a:r>
              <a:rPr lang="en-US" sz="1400" b="1" noProof="0">
                <a:solidFill>
                  <a:srgbClr val="282233"/>
                </a:solidFill>
              </a:rPr>
              <a:t>Development</a:t>
            </a:r>
          </a:p>
        </p:txBody>
      </p:sp>
      <p:sp>
        <p:nvSpPr>
          <p:cNvPr id="17" name="TextBox 16">
            <a:extLst>
              <a:ext uri="{FF2B5EF4-FFF2-40B4-BE49-F238E27FC236}">
                <a16:creationId xmlns:a16="http://schemas.microsoft.com/office/drawing/2014/main" id="{1C4F0012-622C-ACDB-6C48-6A3F547E4C17}"/>
              </a:ext>
            </a:extLst>
          </p:cNvPr>
          <p:cNvSpPr txBox="1"/>
          <p:nvPr/>
        </p:nvSpPr>
        <p:spPr>
          <a:xfrm>
            <a:off x="7373900" y="2519214"/>
            <a:ext cx="831790" cy="307777"/>
          </a:xfrm>
          <a:prstGeom prst="rect">
            <a:avLst/>
          </a:prstGeom>
          <a:solidFill>
            <a:schemeClr val="tx1">
              <a:lumMod val="95000"/>
            </a:schemeClr>
          </a:solidFill>
        </p:spPr>
        <p:txBody>
          <a:bodyPr wrap="square">
            <a:spAutoFit/>
          </a:bodyPr>
          <a:lstStyle/>
          <a:p>
            <a:pPr algn="ctr"/>
            <a:r>
              <a:rPr lang="en-US" sz="1400" b="1" noProof="0">
                <a:solidFill>
                  <a:srgbClr val="282233"/>
                </a:solidFill>
              </a:rPr>
              <a:t>Testing</a:t>
            </a:r>
          </a:p>
        </p:txBody>
      </p:sp>
      <p:pic>
        <p:nvPicPr>
          <p:cNvPr id="18" name="Graphic 17">
            <a:extLst>
              <a:ext uri="{FF2B5EF4-FFF2-40B4-BE49-F238E27FC236}">
                <a16:creationId xmlns:a16="http://schemas.microsoft.com/office/drawing/2014/main" id="{3FC6D8B9-488C-9A3C-1499-777DBAC41DE3}"/>
              </a:ext>
            </a:extLst>
          </p:cNvPr>
          <p:cNvPicPr>
            <a:picLocks noChangeAspect="1"/>
          </p:cNvPicPr>
          <p:nvPr/>
        </p:nvPicPr>
        <p:blipFill>
          <a:blip r:embed="rId6" cstate="hq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rot="10800000" flipH="1">
            <a:off x="1630959" y="2520137"/>
            <a:ext cx="214028" cy="334418"/>
          </a:xfrm>
          <a:prstGeom prst="rect">
            <a:avLst/>
          </a:prstGeom>
        </p:spPr>
      </p:pic>
      <p:pic>
        <p:nvPicPr>
          <p:cNvPr id="19" name="Graphic 18">
            <a:extLst>
              <a:ext uri="{FF2B5EF4-FFF2-40B4-BE49-F238E27FC236}">
                <a16:creationId xmlns:a16="http://schemas.microsoft.com/office/drawing/2014/main" id="{C467C6E2-421A-D559-5F43-F53C57A25C25}"/>
              </a:ext>
            </a:extLst>
          </p:cNvPr>
          <p:cNvPicPr>
            <a:picLocks noChangeAspect="1"/>
          </p:cNvPicPr>
          <p:nvPr/>
        </p:nvPicPr>
        <p:blipFill>
          <a:blip r:embed="rId6" cstate="hq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rot="10800000" flipH="1">
            <a:off x="3213918" y="2519214"/>
            <a:ext cx="214028" cy="334418"/>
          </a:xfrm>
          <a:prstGeom prst="rect">
            <a:avLst/>
          </a:prstGeom>
        </p:spPr>
      </p:pic>
      <p:pic>
        <p:nvPicPr>
          <p:cNvPr id="20" name="Graphic 19">
            <a:extLst>
              <a:ext uri="{FF2B5EF4-FFF2-40B4-BE49-F238E27FC236}">
                <a16:creationId xmlns:a16="http://schemas.microsoft.com/office/drawing/2014/main" id="{4B429A53-1EA7-319F-1101-DF894D00303F}"/>
              </a:ext>
            </a:extLst>
          </p:cNvPr>
          <p:cNvPicPr>
            <a:picLocks noChangeAspect="1"/>
          </p:cNvPicPr>
          <p:nvPr/>
        </p:nvPicPr>
        <p:blipFill>
          <a:blip r:embed="rId6" cstate="hq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rot="10800000" flipH="1">
            <a:off x="6819162" y="2519214"/>
            <a:ext cx="214028" cy="334418"/>
          </a:xfrm>
          <a:prstGeom prst="rect">
            <a:avLst/>
          </a:prstGeom>
        </p:spPr>
      </p:pic>
      <p:sp>
        <p:nvSpPr>
          <p:cNvPr id="25" name="Oval 24">
            <a:extLst>
              <a:ext uri="{FF2B5EF4-FFF2-40B4-BE49-F238E27FC236}">
                <a16:creationId xmlns:a16="http://schemas.microsoft.com/office/drawing/2014/main" id="{E6487D60-6888-219A-D469-58C27464A165}"/>
              </a:ext>
            </a:extLst>
          </p:cNvPr>
          <p:cNvSpPr/>
          <p:nvPr/>
        </p:nvSpPr>
        <p:spPr>
          <a:xfrm>
            <a:off x="7408147" y="1430239"/>
            <a:ext cx="819884" cy="819884"/>
          </a:xfrm>
          <a:prstGeom prst="ellipse">
            <a:avLst/>
          </a:prstGeom>
          <a:solidFill>
            <a:schemeClr val="bg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defPPr>
              <a:defRPr lang="en-B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418"/>
            <a:endParaRPr lang="en-US" sz="1200" b="1" noProof="0">
              <a:solidFill>
                <a:schemeClr val="tx1"/>
              </a:solidFill>
              <a:latin typeface="Proximus Bold" panose="00000500000000000000" pitchFamily="2" charset="0"/>
              <a:cs typeface="Proximus Bold"/>
            </a:endParaRPr>
          </a:p>
        </p:txBody>
      </p:sp>
      <p:sp>
        <p:nvSpPr>
          <p:cNvPr id="33" name="TextBox 32">
            <a:extLst>
              <a:ext uri="{FF2B5EF4-FFF2-40B4-BE49-F238E27FC236}">
                <a16:creationId xmlns:a16="http://schemas.microsoft.com/office/drawing/2014/main" id="{5B6D78A1-67A0-A219-2A56-1556442D9D17}"/>
              </a:ext>
            </a:extLst>
          </p:cNvPr>
          <p:cNvSpPr txBox="1"/>
          <p:nvPr/>
        </p:nvSpPr>
        <p:spPr>
          <a:xfrm>
            <a:off x="8814490" y="2512854"/>
            <a:ext cx="1319265" cy="307777"/>
          </a:xfrm>
          <a:prstGeom prst="rect">
            <a:avLst/>
          </a:prstGeom>
          <a:solidFill>
            <a:schemeClr val="tx1">
              <a:lumMod val="95000"/>
            </a:schemeClr>
          </a:solidFill>
        </p:spPr>
        <p:txBody>
          <a:bodyPr wrap="square">
            <a:spAutoFit/>
          </a:bodyPr>
          <a:lstStyle/>
          <a:p>
            <a:pPr algn="ctr"/>
            <a:r>
              <a:rPr lang="en-US" sz="1400" b="1" noProof="0">
                <a:solidFill>
                  <a:srgbClr val="282233"/>
                </a:solidFill>
              </a:rPr>
              <a:t>Deployment</a:t>
            </a:r>
          </a:p>
        </p:txBody>
      </p:sp>
      <p:pic>
        <p:nvPicPr>
          <p:cNvPr id="34" name="Graphic 33">
            <a:extLst>
              <a:ext uri="{FF2B5EF4-FFF2-40B4-BE49-F238E27FC236}">
                <a16:creationId xmlns:a16="http://schemas.microsoft.com/office/drawing/2014/main" id="{8D16FF9A-6D60-1A5E-8E9A-74B12208031D}"/>
              </a:ext>
            </a:extLst>
          </p:cNvPr>
          <p:cNvPicPr>
            <a:picLocks noChangeAspect="1"/>
          </p:cNvPicPr>
          <p:nvPr/>
        </p:nvPicPr>
        <p:blipFill>
          <a:blip r:embed="rId6" cstate="hq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rot="10800000" flipH="1">
            <a:off x="8435855" y="2519218"/>
            <a:ext cx="214028" cy="334418"/>
          </a:xfrm>
          <a:prstGeom prst="rect">
            <a:avLst/>
          </a:prstGeom>
        </p:spPr>
      </p:pic>
      <p:sp>
        <p:nvSpPr>
          <p:cNvPr id="36" name="Oval 35">
            <a:extLst>
              <a:ext uri="{FF2B5EF4-FFF2-40B4-BE49-F238E27FC236}">
                <a16:creationId xmlns:a16="http://schemas.microsoft.com/office/drawing/2014/main" id="{787AD51A-F8D3-8C32-9BF9-FEA0FEF9AFDA}"/>
              </a:ext>
            </a:extLst>
          </p:cNvPr>
          <p:cNvSpPr/>
          <p:nvPr/>
        </p:nvSpPr>
        <p:spPr>
          <a:xfrm>
            <a:off x="9033912" y="1430239"/>
            <a:ext cx="819884" cy="819884"/>
          </a:xfrm>
          <a:prstGeom prst="ellipse">
            <a:avLst/>
          </a:prstGeom>
          <a:solidFill>
            <a:schemeClr val="bg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defPPr>
              <a:defRPr lang="en-B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418"/>
            <a:endParaRPr lang="en-US" sz="1200" b="1" noProof="0">
              <a:solidFill>
                <a:schemeClr val="tx1"/>
              </a:solidFill>
              <a:latin typeface="Proximus Bold" panose="00000500000000000000" pitchFamily="2" charset="0"/>
              <a:cs typeface="Proximus Bold"/>
            </a:endParaRPr>
          </a:p>
        </p:txBody>
      </p:sp>
      <p:pic>
        <p:nvPicPr>
          <p:cNvPr id="38" name="Graphic 37">
            <a:extLst>
              <a:ext uri="{FF2B5EF4-FFF2-40B4-BE49-F238E27FC236}">
                <a16:creationId xmlns:a16="http://schemas.microsoft.com/office/drawing/2014/main" id="{99887965-77C2-7B86-2E11-30B36ABF2F13}"/>
              </a:ext>
            </a:extLst>
          </p:cNvPr>
          <p:cNvPicPr>
            <a:picLocks noChangeAspect="1"/>
          </p:cNvPicPr>
          <p:nvPr/>
        </p:nvPicPr>
        <p:blipFill>
          <a:blip r:embed="rId6" cstate="hq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rot="10800000" flipH="1">
            <a:off x="10321303" y="2512855"/>
            <a:ext cx="214028" cy="334418"/>
          </a:xfrm>
          <a:prstGeom prst="rect">
            <a:avLst/>
          </a:prstGeom>
        </p:spPr>
      </p:pic>
      <p:sp>
        <p:nvSpPr>
          <p:cNvPr id="39" name="TextBox 38">
            <a:extLst>
              <a:ext uri="{FF2B5EF4-FFF2-40B4-BE49-F238E27FC236}">
                <a16:creationId xmlns:a16="http://schemas.microsoft.com/office/drawing/2014/main" id="{5CB2203C-3F7C-662D-8BC9-DA249AF57E05}"/>
              </a:ext>
            </a:extLst>
          </p:cNvPr>
          <p:cNvSpPr txBox="1"/>
          <p:nvPr/>
        </p:nvSpPr>
        <p:spPr>
          <a:xfrm>
            <a:off x="10673443" y="2512855"/>
            <a:ext cx="1319265" cy="523220"/>
          </a:xfrm>
          <a:prstGeom prst="rect">
            <a:avLst/>
          </a:prstGeom>
          <a:solidFill>
            <a:schemeClr val="tx1">
              <a:lumMod val="95000"/>
            </a:schemeClr>
          </a:solidFill>
        </p:spPr>
        <p:txBody>
          <a:bodyPr wrap="square">
            <a:spAutoFit/>
          </a:bodyPr>
          <a:lstStyle/>
          <a:p>
            <a:pPr algn="ctr"/>
            <a:r>
              <a:rPr lang="en-US" sz="1400" b="1" noProof="0">
                <a:solidFill>
                  <a:srgbClr val="282233"/>
                </a:solidFill>
              </a:rPr>
              <a:t>Monitoring &amp; Ops.</a:t>
            </a:r>
          </a:p>
        </p:txBody>
      </p:sp>
      <p:sp>
        <p:nvSpPr>
          <p:cNvPr id="41" name="Oval 40">
            <a:extLst>
              <a:ext uri="{FF2B5EF4-FFF2-40B4-BE49-F238E27FC236}">
                <a16:creationId xmlns:a16="http://schemas.microsoft.com/office/drawing/2014/main" id="{0D910A70-1889-2B70-05EA-4342FB26902A}"/>
              </a:ext>
            </a:extLst>
          </p:cNvPr>
          <p:cNvSpPr/>
          <p:nvPr/>
        </p:nvSpPr>
        <p:spPr>
          <a:xfrm>
            <a:off x="10923133" y="1430239"/>
            <a:ext cx="819884" cy="819884"/>
          </a:xfrm>
          <a:prstGeom prst="ellipse">
            <a:avLst/>
          </a:prstGeom>
          <a:solidFill>
            <a:schemeClr val="bg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defPPr>
              <a:defRPr lang="en-B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418"/>
            <a:endParaRPr lang="en-US" sz="1200" b="1" noProof="0">
              <a:solidFill>
                <a:schemeClr val="tx1"/>
              </a:solidFill>
              <a:latin typeface="Proximus Bold" panose="00000500000000000000" pitchFamily="2" charset="0"/>
              <a:cs typeface="Proximus Bold"/>
            </a:endParaRPr>
          </a:p>
        </p:txBody>
      </p:sp>
      <p:grpSp>
        <p:nvGrpSpPr>
          <p:cNvPr id="127" name="Group 126">
            <a:extLst>
              <a:ext uri="{FF2B5EF4-FFF2-40B4-BE49-F238E27FC236}">
                <a16:creationId xmlns:a16="http://schemas.microsoft.com/office/drawing/2014/main" id="{77AFDFBA-055B-D9A9-9B22-6A9427F1ECB6}"/>
              </a:ext>
            </a:extLst>
          </p:cNvPr>
          <p:cNvGrpSpPr/>
          <p:nvPr/>
        </p:nvGrpSpPr>
        <p:grpSpPr>
          <a:xfrm>
            <a:off x="2161425" y="1420378"/>
            <a:ext cx="819884" cy="819884"/>
            <a:chOff x="2174355" y="1188387"/>
            <a:chExt cx="819884" cy="819884"/>
          </a:xfrm>
          <a:solidFill>
            <a:schemeClr val="bg1">
              <a:lumMod val="20000"/>
              <a:lumOff val="80000"/>
            </a:schemeClr>
          </a:solidFill>
        </p:grpSpPr>
        <p:sp>
          <p:nvSpPr>
            <p:cNvPr id="22" name="Oval 21">
              <a:extLst>
                <a:ext uri="{FF2B5EF4-FFF2-40B4-BE49-F238E27FC236}">
                  <a16:creationId xmlns:a16="http://schemas.microsoft.com/office/drawing/2014/main" id="{0CD21C53-9132-D8AA-FF26-C26D46C0C8CB}"/>
                </a:ext>
              </a:extLst>
            </p:cNvPr>
            <p:cNvSpPr/>
            <p:nvPr/>
          </p:nvSpPr>
          <p:spPr>
            <a:xfrm>
              <a:off x="2174355" y="1188387"/>
              <a:ext cx="819884" cy="819884"/>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defPPr>
                <a:defRPr lang="en-B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418"/>
              <a:endParaRPr lang="en-US" sz="1200" b="1" noProof="0">
                <a:solidFill>
                  <a:schemeClr val="tx1"/>
                </a:solidFill>
                <a:latin typeface="Proximus Bold" panose="00000500000000000000" pitchFamily="2" charset="0"/>
                <a:cs typeface="Proximus Bold"/>
              </a:endParaRPr>
            </a:p>
          </p:txBody>
        </p:sp>
        <p:pic>
          <p:nvPicPr>
            <p:cNvPr id="46" name="Graphic 45" descr="Architecture outline">
              <a:extLst>
                <a:ext uri="{FF2B5EF4-FFF2-40B4-BE49-F238E27FC236}">
                  <a16:creationId xmlns:a16="http://schemas.microsoft.com/office/drawing/2014/main" id="{65FD51E7-7B54-96F1-B651-0044A986F92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322687" y="1303864"/>
              <a:ext cx="523220" cy="523220"/>
            </a:xfrm>
            <a:prstGeom prst="rect">
              <a:avLst/>
            </a:prstGeom>
          </p:spPr>
        </p:pic>
      </p:grpSp>
      <p:grpSp>
        <p:nvGrpSpPr>
          <p:cNvPr id="128" name="Group 127">
            <a:extLst>
              <a:ext uri="{FF2B5EF4-FFF2-40B4-BE49-F238E27FC236}">
                <a16:creationId xmlns:a16="http://schemas.microsoft.com/office/drawing/2014/main" id="{CBCACE83-D3C5-2765-12BF-85997BF22F5F}"/>
              </a:ext>
            </a:extLst>
          </p:cNvPr>
          <p:cNvGrpSpPr/>
          <p:nvPr/>
        </p:nvGrpSpPr>
        <p:grpSpPr>
          <a:xfrm>
            <a:off x="4501261" y="1412465"/>
            <a:ext cx="819884" cy="819884"/>
            <a:chOff x="4748215" y="1226052"/>
            <a:chExt cx="819884" cy="819884"/>
          </a:xfrm>
        </p:grpSpPr>
        <p:sp>
          <p:nvSpPr>
            <p:cNvPr id="28" name="Oval 27">
              <a:extLst>
                <a:ext uri="{FF2B5EF4-FFF2-40B4-BE49-F238E27FC236}">
                  <a16:creationId xmlns:a16="http://schemas.microsoft.com/office/drawing/2014/main" id="{03E4C055-4612-3F05-A9A7-1185A9D24677}"/>
                </a:ext>
              </a:extLst>
            </p:cNvPr>
            <p:cNvSpPr/>
            <p:nvPr/>
          </p:nvSpPr>
          <p:spPr>
            <a:xfrm>
              <a:off x="4748215" y="1226052"/>
              <a:ext cx="819884" cy="819884"/>
            </a:xfrm>
            <a:prstGeom prst="ellipse">
              <a:avLst/>
            </a:prstGeom>
            <a:solidFill>
              <a:schemeClr val="bg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defPPr>
                <a:defRPr lang="en-B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418"/>
              <a:endParaRPr lang="en-US" sz="1200" b="1" noProof="0">
                <a:solidFill>
                  <a:schemeClr val="tx1"/>
                </a:solidFill>
                <a:latin typeface="Proximus Bold" panose="00000500000000000000" pitchFamily="2" charset="0"/>
                <a:cs typeface="Proximus Bold"/>
              </a:endParaRPr>
            </a:p>
          </p:txBody>
        </p:sp>
        <p:pic>
          <p:nvPicPr>
            <p:cNvPr id="48" name="Graphic 47" descr="Programmer male outline">
              <a:extLst>
                <a:ext uri="{FF2B5EF4-FFF2-40B4-BE49-F238E27FC236}">
                  <a16:creationId xmlns:a16="http://schemas.microsoft.com/office/drawing/2014/main" id="{FCDAECA7-C13D-AE5E-5C90-E14F245EE4B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890428" y="1374384"/>
              <a:ext cx="523220" cy="523220"/>
            </a:xfrm>
            <a:prstGeom prst="rect">
              <a:avLst/>
            </a:prstGeom>
          </p:spPr>
        </p:pic>
      </p:grpSp>
      <p:pic>
        <p:nvPicPr>
          <p:cNvPr id="50" name="Graphic 49" descr="Heart with pulse outline">
            <a:extLst>
              <a:ext uri="{FF2B5EF4-FFF2-40B4-BE49-F238E27FC236}">
                <a16:creationId xmlns:a16="http://schemas.microsoft.com/office/drawing/2014/main" id="{84DEBACE-4C7D-1469-F63F-703BE8C5636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1071465" y="1578571"/>
            <a:ext cx="523220" cy="523220"/>
          </a:xfrm>
          <a:prstGeom prst="rect">
            <a:avLst/>
          </a:prstGeom>
        </p:spPr>
      </p:pic>
      <p:pic>
        <p:nvPicPr>
          <p:cNvPr id="52" name="Graphic 51" descr="Clipboard Mixed outline">
            <a:extLst>
              <a:ext uri="{FF2B5EF4-FFF2-40B4-BE49-F238E27FC236}">
                <a16:creationId xmlns:a16="http://schemas.microsoft.com/office/drawing/2014/main" id="{E24A440B-CBBC-A12A-2D0F-16E388913DD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556479" y="1578571"/>
            <a:ext cx="523220" cy="523220"/>
          </a:xfrm>
          <a:prstGeom prst="rect">
            <a:avLst/>
          </a:prstGeom>
        </p:spPr>
      </p:pic>
      <p:grpSp>
        <p:nvGrpSpPr>
          <p:cNvPr id="126" name="Group 125">
            <a:extLst>
              <a:ext uri="{FF2B5EF4-FFF2-40B4-BE49-F238E27FC236}">
                <a16:creationId xmlns:a16="http://schemas.microsoft.com/office/drawing/2014/main" id="{8F437CA8-D2F5-B37E-528F-E2F2F5EA9C1D}"/>
              </a:ext>
            </a:extLst>
          </p:cNvPr>
          <p:cNvGrpSpPr/>
          <p:nvPr/>
        </p:nvGrpSpPr>
        <p:grpSpPr>
          <a:xfrm>
            <a:off x="467683" y="1430239"/>
            <a:ext cx="819884" cy="819884"/>
            <a:chOff x="656984" y="1188387"/>
            <a:chExt cx="819884" cy="819884"/>
          </a:xfrm>
          <a:solidFill>
            <a:schemeClr val="bg1">
              <a:lumMod val="20000"/>
              <a:lumOff val="80000"/>
            </a:schemeClr>
          </a:solidFill>
        </p:grpSpPr>
        <p:sp>
          <p:nvSpPr>
            <p:cNvPr id="31" name="Oval 30">
              <a:extLst>
                <a:ext uri="{FF2B5EF4-FFF2-40B4-BE49-F238E27FC236}">
                  <a16:creationId xmlns:a16="http://schemas.microsoft.com/office/drawing/2014/main" id="{ECB31178-7379-3B99-80E1-F04ABD77DBF9}"/>
                </a:ext>
              </a:extLst>
            </p:cNvPr>
            <p:cNvSpPr/>
            <p:nvPr/>
          </p:nvSpPr>
          <p:spPr>
            <a:xfrm>
              <a:off x="656984" y="1188387"/>
              <a:ext cx="819884" cy="819884"/>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defPPr>
                <a:defRPr lang="en-B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418"/>
              <a:endParaRPr lang="en-US" sz="1200" b="1" noProof="0">
                <a:solidFill>
                  <a:schemeClr val="tx1"/>
                </a:solidFill>
                <a:latin typeface="Proximus Bold" panose="00000500000000000000" pitchFamily="2" charset="0"/>
                <a:cs typeface="Proximus Bold"/>
              </a:endParaRPr>
            </a:p>
          </p:txBody>
        </p:sp>
        <p:pic>
          <p:nvPicPr>
            <p:cNvPr id="54" name="Graphic 53" descr="List outline">
              <a:extLst>
                <a:ext uri="{FF2B5EF4-FFF2-40B4-BE49-F238E27FC236}">
                  <a16:creationId xmlns:a16="http://schemas.microsoft.com/office/drawing/2014/main" id="{416F77C3-88F1-869E-F640-5D75F22796E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19625" y="1349760"/>
              <a:ext cx="494602" cy="494602"/>
            </a:xfrm>
            <a:prstGeom prst="rect">
              <a:avLst/>
            </a:prstGeom>
          </p:spPr>
        </p:pic>
      </p:grpSp>
      <p:grpSp>
        <p:nvGrpSpPr>
          <p:cNvPr id="58" name="Group 57">
            <a:extLst>
              <a:ext uri="{FF2B5EF4-FFF2-40B4-BE49-F238E27FC236}">
                <a16:creationId xmlns:a16="http://schemas.microsoft.com/office/drawing/2014/main" id="{2ADE4A3A-8638-A859-D08F-77EF450B0542}"/>
              </a:ext>
            </a:extLst>
          </p:cNvPr>
          <p:cNvGrpSpPr/>
          <p:nvPr/>
        </p:nvGrpSpPr>
        <p:grpSpPr>
          <a:xfrm>
            <a:off x="9105659" y="1501986"/>
            <a:ext cx="676390" cy="676390"/>
            <a:chOff x="5413649" y="4436399"/>
            <a:chExt cx="676390" cy="676390"/>
          </a:xfrm>
        </p:grpSpPr>
        <p:pic>
          <p:nvPicPr>
            <p:cNvPr id="56" name="Graphic 55" descr="Laptop outline">
              <a:extLst>
                <a:ext uri="{FF2B5EF4-FFF2-40B4-BE49-F238E27FC236}">
                  <a16:creationId xmlns:a16="http://schemas.microsoft.com/office/drawing/2014/main" id="{A80B94C8-F16E-9927-F9CF-6A8D50602DF2}"/>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413649" y="4436399"/>
              <a:ext cx="676390" cy="676390"/>
            </a:xfrm>
            <a:prstGeom prst="rect">
              <a:avLst/>
            </a:prstGeom>
          </p:spPr>
        </p:pic>
        <p:sp>
          <p:nvSpPr>
            <p:cNvPr id="57" name="Arrow: Down 56">
              <a:extLst>
                <a:ext uri="{FF2B5EF4-FFF2-40B4-BE49-F238E27FC236}">
                  <a16:creationId xmlns:a16="http://schemas.microsoft.com/office/drawing/2014/main" id="{288A9620-E266-0743-A419-D89714A84530}"/>
                </a:ext>
              </a:extLst>
            </p:cNvPr>
            <p:cNvSpPr/>
            <p:nvPr/>
          </p:nvSpPr>
          <p:spPr>
            <a:xfrm flipV="1">
              <a:off x="5668354" y="4436399"/>
              <a:ext cx="166980" cy="279168"/>
            </a:xfrm>
            <a:prstGeom prst="downArrow">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tx1"/>
                </a:solidFill>
                <a:latin typeface="Proximus" panose="00000500000000000000" pitchFamily="2" charset="0"/>
                <a:cs typeface="Proximus"/>
              </a:endParaRPr>
            </a:p>
          </p:txBody>
        </p:sp>
      </p:grpSp>
      <p:sp>
        <p:nvSpPr>
          <p:cNvPr id="59" name="TextBox 58">
            <a:extLst>
              <a:ext uri="{FF2B5EF4-FFF2-40B4-BE49-F238E27FC236}">
                <a16:creationId xmlns:a16="http://schemas.microsoft.com/office/drawing/2014/main" id="{FCB9061C-8EE4-3936-F7BF-9F9840E52E62}"/>
              </a:ext>
            </a:extLst>
          </p:cNvPr>
          <p:cNvSpPr txBox="1"/>
          <p:nvPr/>
        </p:nvSpPr>
        <p:spPr>
          <a:xfrm>
            <a:off x="5380516" y="3020784"/>
            <a:ext cx="1438646" cy="307777"/>
          </a:xfrm>
          <a:prstGeom prst="rect">
            <a:avLst/>
          </a:prstGeom>
          <a:solidFill>
            <a:schemeClr val="tx1">
              <a:lumMod val="95000"/>
            </a:schemeClr>
          </a:solidFill>
        </p:spPr>
        <p:txBody>
          <a:bodyPr wrap="square">
            <a:spAutoFit/>
          </a:bodyPr>
          <a:lstStyle/>
          <a:p>
            <a:pPr algn="ctr"/>
            <a:r>
              <a:rPr lang="en-US" sz="1400" b="1" u="sng" noProof="0">
                <a:solidFill>
                  <a:schemeClr val="tx1">
                    <a:lumMod val="50000"/>
                  </a:schemeClr>
                </a:solidFill>
              </a:rPr>
              <a:t>Examples</a:t>
            </a:r>
          </a:p>
        </p:txBody>
      </p:sp>
      <p:grpSp>
        <p:nvGrpSpPr>
          <p:cNvPr id="64" name="Group 63">
            <a:extLst>
              <a:ext uri="{FF2B5EF4-FFF2-40B4-BE49-F238E27FC236}">
                <a16:creationId xmlns:a16="http://schemas.microsoft.com/office/drawing/2014/main" id="{44C73F9C-EF4D-81BD-5AB6-E488B126DDDE}"/>
              </a:ext>
            </a:extLst>
          </p:cNvPr>
          <p:cNvGrpSpPr/>
          <p:nvPr/>
        </p:nvGrpSpPr>
        <p:grpSpPr>
          <a:xfrm>
            <a:off x="149121" y="3534509"/>
            <a:ext cx="1637195" cy="523219"/>
            <a:chOff x="166877" y="2760785"/>
            <a:chExt cx="1637195" cy="523219"/>
          </a:xfrm>
          <a:solidFill>
            <a:schemeClr val="tx1"/>
          </a:solidFill>
        </p:grpSpPr>
        <p:sp>
          <p:nvSpPr>
            <p:cNvPr id="62" name="Rectangle: Rounded Corners 61">
              <a:extLst>
                <a:ext uri="{FF2B5EF4-FFF2-40B4-BE49-F238E27FC236}">
                  <a16:creationId xmlns:a16="http://schemas.microsoft.com/office/drawing/2014/main" id="{32E4B40D-EB39-1492-DF2E-E2D433F84C43}"/>
                </a:ext>
              </a:extLst>
            </p:cNvPr>
            <p:cNvSpPr/>
            <p:nvPr/>
          </p:nvSpPr>
          <p:spPr>
            <a:xfrm>
              <a:off x="166877" y="2760785"/>
              <a:ext cx="1637195" cy="523219"/>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600" err="1">
                <a:solidFill>
                  <a:schemeClr val="tx1">
                    <a:lumMod val="50000"/>
                  </a:schemeClr>
                </a:solidFill>
                <a:latin typeface="Proximus" panose="00000500000000000000" pitchFamily="2" charset="0"/>
                <a:cs typeface="Proximus"/>
              </a:endParaRPr>
            </a:p>
          </p:txBody>
        </p:sp>
        <p:sp>
          <p:nvSpPr>
            <p:cNvPr id="63" name="TextBox 62">
              <a:extLst>
                <a:ext uri="{FF2B5EF4-FFF2-40B4-BE49-F238E27FC236}">
                  <a16:creationId xmlns:a16="http://schemas.microsoft.com/office/drawing/2014/main" id="{DF66C319-D3A4-5ADB-EF76-C4F11725F0AE}"/>
                </a:ext>
              </a:extLst>
            </p:cNvPr>
            <p:cNvSpPr txBox="1"/>
            <p:nvPr/>
          </p:nvSpPr>
          <p:spPr>
            <a:xfrm>
              <a:off x="236735" y="2831888"/>
              <a:ext cx="1514779" cy="307777"/>
            </a:xfrm>
            <a:prstGeom prst="rect">
              <a:avLst/>
            </a:prstGeom>
            <a:grpFill/>
          </p:spPr>
          <p:txBody>
            <a:bodyPr vert="horz" wrap="square" lIns="0" tIns="0" rIns="0" bIns="0" numCol="1" spcCol="0" rtlCol="0" anchor="t" anchorCtr="0">
              <a:noAutofit/>
            </a:bodyPr>
            <a:lstStyle/>
            <a:p>
              <a:r>
                <a:rPr lang="en-US" sz="1200">
                  <a:solidFill>
                    <a:schemeClr val="tx1">
                      <a:lumMod val="50000"/>
                    </a:schemeClr>
                  </a:solidFill>
                </a:rPr>
                <a:t>Draft structured requirements</a:t>
              </a:r>
              <a:endParaRPr lang="en-BE" sz="800" err="1">
                <a:solidFill>
                  <a:schemeClr val="tx1">
                    <a:lumMod val="50000"/>
                  </a:schemeClr>
                </a:solidFill>
              </a:endParaRPr>
            </a:p>
          </p:txBody>
        </p:sp>
      </p:grpSp>
      <p:grpSp>
        <p:nvGrpSpPr>
          <p:cNvPr id="65" name="Group 64">
            <a:extLst>
              <a:ext uri="{FF2B5EF4-FFF2-40B4-BE49-F238E27FC236}">
                <a16:creationId xmlns:a16="http://schemas.microsoft.com/office/drawing/2014/main" id="{85524B52-4A15-C41D-37C2-EF387AE675EA}"/>
              </a:ext>
            </a:extLst>
          </p:cNvPr>
          <p:cNvGrpSpPr/>
          <p:nvPr/>
        </p:nvGrpSpPr>
        <p:grpSpPr>
          <a:xfrm>
            <a:off x="141333" y="4130173"/>
            <a:ext cx="1708099" cy="523219"/>
            <a:chOff x="166877" y="2760785"/>
            <a:chExt cx="1852760" cy="523219"/>
          </a:xfrm>
          <a:solidFill>
            <a:schemeClr val="tx1"/>
          </a:solidFill>
        </p:grpSpPr>
        <p:sp>
          <p:nvSpPr>
            <p:cNvPr id="66" name="Rectangle: Rounded Corners 65">
              <a:extLst>
                <a:ext uri="{FF2B5EF4-FFF2-40B4-BE49-F238E27FC236}">
                  <a16:creationId xmlns:a16="http://schemas.microsoft.com/office/drawing/2014/main" id="{5D23A0FC-A7A7-5F91-09DB-CD56E3C074BB}"/>
                </a:ext>
              </a:extLst>
            </p:cNvPr>
            <p:cNvSpPr/>
            <p:nvPr/>
          </p:nvSpPr>
          <p:spPr>
            <a:xfrm>
              <a:off x="166877" y="2760785"/>
              <a:ext cx="1784298" cy="523219"/>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600" err="1">
                <a:solidFill>
                  <a:schemeClr val="tx1">
                    <a:lumMod val="50000"/>
                  </a:schemeClr>
                </a:solidFill>
                <a:latin typeface="Proximus" panose="00000500000000000000" pitchFamily="2" charset="0"/>
                <a:cs typeface="Proximus"/>
              </a:endParaRPr>
            </a:p>
          </p:txBody>
        </p:sp>
        <p:sp>
          <p:nvSpPr>
            <p:cNvPr id="67" name="TextBox 66">
              <a:extLst>
                <a:ext uri="{FF2B5EF4-FFF2-40B4-BE49-F238E27FC236}">
                  <a16:creationId xmlns:a16="http://schemas.microsoft.com/office/drawing/2014/main" id="{34CB777C-F00A-A68D-AF7C-D839E60457ED}"/>
                </a:ext>
              </a:extLst>
            </p:cNvPr>
            <p:cNvSpPr txBox="1"/>
            <p:nvPr/>
          </p:nvSpPr>
          <p:spPr>
            <a:xfrm>
              <a:off x="236735" y="2831888"/>
              <a:ext cx="1782902" cy="307777"/>
            </a:xfrm>
            <a:prstGeom prst="rect">
              <a:avLst/>
            </a:prstGeom>
            <a:noFill/>
          </p:spPr>
          <p:txBody>
            <a:bodyPr vert="horz" wrap="square" lIns="0" tIns="0" rIns="0" bIns="0" numCol="1" spcCol="0" rtlCol="0" anchor="t" anchorCtr="0">
              <a:noAutofit/>
            </a:bodyPr>
            <a:lstStyle/>
            <a:p>
              <a:pPr fontAlgn="ctr"/>
              <a:r>
                <a:rPr lang="en-US" sz="1200">
                  <a:solidFill>
                    <a:schemeClr val="tx1">
                      <a:lumMod val="50000"/>
                    </a:schemeClr>
                  </a:solidFill>
                </a:rPr>
                <a:t>Generate doc</a:t>
              </a:r>
            </a:p>
            <a:p>
              <a:pPr fontAlgn="ctr"/>
              <a:r>
                <a:rPr lang="en-US" sz="1200">
                  <a:solidFill>
                    <a:schemeClr val="tx1">
                      <a:lumMod val="50000"/>
                    </a:schemeClr>
                  </a:solidFill>
                </a:rPr>
                <a:t>templates</a:t>
              </a:r>
              <a:endParaRPr lang="en-BE" sz="1000" err="1">
                <a:solidFill>
                  <a:schemeClr val="tx1">
                    <a:lumMod val="50000"/>
                  </a:schemeClr>
                </a:solidFill>
              </a:endParaRPr>
            </a:p>
          </p:txBody>
        </p:sp>
      </p:grpSp>
      <p:grpSp>
        <p:nvGrpSpPr>
          <p:cNvPr id="68" name="Group 67">
            <a:extLst>
              <a:ext uri="{FF2B5EF4-FFF2-40B4-BE49-F238E27FC236}">
                <a16:creationId xmlns:a16="http://schemas.microsoft.com/office/drawing/2014/main" id="{3CB18221-10C3-7898-8C84-368AF8A074EF}"/>
              </a:ext>
            </a:extLst>
          </p:cNvPr>
          <p:cNvGrpSpPr/>
          <p:nvPr/>
        </p:nvGrpSpPr>
        <p:grpSpPr>
          <a:xfrm>
            <a:off x="141333" y="4724495"/>
            <a:ext cx="1637195" cy="523219"/>
            <a:chOff x="166877" y="2760785"/>
            <a:chExt cx="1637195" cy="523219"/>
          </a:xfrm>
          <a:solidFill>
            <a:schemeClr val="tx1"/>
          </a:solidFill>
        </p:grpSpPr>
        <p:sp>
          <p:nvSpPr>
            <p:cNvPr id="69" name="Rectangle: Rounded Corners 68">
              <a:extLst>
                <a:ext uri="{FF2B5EF4-FFF2-40B4-BE49-F238E27FC236}">
                  <a16:creationId xmlns:a16="http://schemas.microsoft.com/office/drawing/2014/main" id="{B92375F7-1191-87A4-2406-2034E29B9DF3}"/>
                </a:ext>
              </a:extLst>
            </p:cNvPr>
            <p:cNvSpPr/>
            <p:nvPr/>
          </p:nvSpPr>
          <p:spPr>
            <a:xfrm>
              <a:off x="166877" y="2760785"/>
              <a:ext cx="1637195" cy="523219"/>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600" err="1">
                <a:solidFill>
                  <a:schemeClr val="tx1">
                    <a:lumMod val="50000"/>
                  </a:schemeClr>
                </a:solidFill>
                <a:latin typeface="Proximus" panose="00000500000000000000" pitchFamily="2" charset="0"/>
                <a:cs typeface="Proximus"/>
              </a:endParaRPr>
            </a:p>
          </p:txBody>
        </p:sp>
        <p:sp>
          <p:nvSpPr>
            <p:cNvPr id="70" name="TextBox 69">
              <a:extLst>
                <a:ext uri="{FF2B5EF4-FFF2-40B4-BE49-F238E27FC236}">
                  <a16:creationId xmlns:a16="http://schemas.microsoft.com/office/drawing/2014/main" id="{8A8D33D6-C949-1826-893F-98A67F44201F}"/>
                </a:ext>
              </a:extLst>
            </p:cNvPr>
            <p:cNvSpPr txBox="1"/>
            <p:nvPr/>
          </p:nvSpPr>
          <p:spPr>
            <a:xfrm>
              <a:off x="236735" y="2831888"/>
              <a:ext cx="1514779" cy="307777"/>
            </a:xfrm>
            <a:prstGeom prst="rect">
              <a:avLst/>
            </a:prstGeom>
            <a:grpFill/>
          </p:spPr>
          <p:txBody>
            <a:bodyPr vert="horz" wrap="square" lIns="0" tIns="0" rIns="0" bIns="0" numCol="1" spcCol="0" rtlCol="0" anchor="t" anchorCtr="0">
              <a:noAutofit/>
            </a:bodyPr>
            <a:lstStyle/>
            <a:p>
              <a:pPr fontAlgn="ctr"/>
              <a:r>
                <a:rPr lang="en-US" sz="1200">
                  <a:solidFill>
                    <a:schemeClr val="tx1">
                      <a:lumMod val="50000"/>
                    </a:schemeClr>
                  </a:solidFill>
                </a:rPr>
                <a:t>Provide coding guidelines</a:t>
              </a:r>
            </a:p>
            <a:p>
              <a:pPr algn="l"/>
              <a:endParaRPr lang="en-BE" sz="1600" err="1">
                <a:solidFill>
                  <a:schemeClr val="tx1">
                    <a:lumMod val="50000"/>
                  </a:schemeClr>
                </a:solidFill>
              </a:endParaRPr>
            </a:p>
          </p:txBody>
        </p:sp>
      </p:grpSp>
      <p:grpSp>
        <p:nvGrpSpPr>
          <p:cNvPr id="71" name="Group 70">
            <a:extLst>
              <a:ext uri="{FF2B5EF4-FFF2-40B4-BE49-F238E27FC236}">
                <a16:creationId xmlns:a16="http://schemas.microsoft.com/office/drawing/2014/main" id="{BC269B35-BFAD-2B6A-83DA-C2F828104971}"/>
              </a:ext>
            </a:extLst>
          </p:cNvPr>
          <p:cNvGrpSpPr/>
          <p:nvPr/>
        </p:nvGrpSpPr>
        <p:grpSpPr>
          <a:xfrm>
            <a:off x="141332" y="5318817"/>
            <a:ext cx="1637195" cy="523219"/>
            <a:chOff x="166877" y="2760785"/>
            <a:chExt cx="1637195" cy="523219"/>
          </a:xfrm>
          <a:solidFill>
            <a:schemeClr val="tx1"/>
          </a:solidFill>
        </p:grpSpPr>
        <p:sp>
          <p:nvSpPr>
            <p:cNvPr id="72" name="Rectangle: Rounded Corners 71">
              <a:extLst>
                <a:ext uri="{FF2B5EF4-FFF2-40B4-BE49-F238E27FC236}">
                  <a16:creationId xmlns:a16="http://schemas.microsoft.com/office/drawing/2014/main" id="{91792EFA-B485-3E98-E588-F4366468583D}"/>
                </a:ext>
              </a:extLst>
            </p:cNvPr>
            <p:cNvSpPr/>
            <p:nvPr/>
          </p:nvSpPr>
          <p:spPr>
            <a:xfrm>
              <a:off x="166877" y="2760785"/>
              <a:ext cx="1637195" cy="523219"/>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600" err="1">
                <a:solidFill>
                  <a:schemeClr val="tx1">
                    <a:lumMod val="50000"/>
                  </a:schemeClr>
                </a:solidFill>
                <a:latin typeface="Proximus" panose="00000500000000000000" pitchFamily="2" charset="0"/>
                <a:cs typeface="Proximus"/>
              </a:endParaRPr>
            </a:p>
          </p:txBody>
        </p:sp>
        <p:sp>
          <p:nvSpPr>
            <p:cNvPr id="73" name="TextBox 72">
              <a:extLst>
                <a:ext uri="{FF2B5EF4-FFF2-40B4-BE49-F238E27FC236}">
                  <a16:creationId xmlns:a16="http://schemas.microsoft.com/office/drawing/2014/main" id="{F00CF809-3467-3786-334E-81724C1DB927}"/>
                </a:ext>
              </a:extLst>
            </p:cNvPr>
            <p:cNvSpPr txBox="1"/>
            <p:nvPr/>
          </p:nvSpPr>
          <p:spPr>
            <a:xfrm>
              <a:off x="236735" y="2831888"/>
              <a:ext cx="1514779" cy="378879"/>
            </a:xfrm>
            <a:prstGeom prst="rect">
              <a:avLst/>
            </a:prstGeom>
            <a:grpFill/>
          </p:spPr>
          <p:txBody>
            <a:bodyPr vert="horz" wrap="square" lIns="0" tIns="0" rIns="0" bIns="0" numCol="1" spcCol="0" rtlCol="0" anchor="t" anchorCtr="0">
              <a:noAutofit/>
            </a:bodyPr>
            <a:lstStyle/>
            <a:p>
              <a:pPr fontAlgn="ctr"/>
              <a:r>
                <a:rPr lang="en-US" sz="1200">
                  <a:solidFill>
                    <a:schemeClr val="tx1">
                      <a:lumMod val="50000"/>
                    </a:schemeClr>
                  </a:solidFill>
                </a:rPr>
                <a:t>Build reference datasets</a:t>
              </a:r>
              <a:endParaRPr lang="en-BE" sz="1050" err="1">
                <a:solidFill>
                  <a:schemeClr val="tx1">
                    <a:lumMod val="50000"/>
                  </a:schemeClr>
                </a:solidFill>
              </a:endParaRPr>
            </a:p>
          </p:txBody>
        </p:sp>
      </p:grpSp>
      <p:grpSp>
        <p:nvGrpSpPr>
          <p:cNvPr id="74" name="Group 73">
            <a:extLst>
              <a:ext uri="{FF2B5EF4-FFF2-40B4-BE49-F238E27FC236}">
                <a16:creationId xmlns:a16="http://schemas.microsoft.com/office/drawing/2014/main" id="{8D952FFF-3CC7-34BD-1043-FB08B3DFA336}"/>
              </a:ext>
            </a:extLst>
          </p:cNvPr>
          <p:cNvGrpSpPr/>
          <p:nvPr/>
        </p:nvGrpSpPr>
        <p:grpSpPr>
          <a:xfrm>
            <a:off x="149121" y="5920118"/>
            <a:ext cx="1637195" cy="523219"/>
            <a:chOff x="166877" y="2760785"/>
            <a:chExt cx="1637195" cy="523219"/>
          </a:xfrm>
          <a:solidFill>
            <a:schemeClr val="tx1"/>
          </a:solidFill>
        </p:grpSpPr>
        <p:sp>
          <p:nvSpPr>
            <p:cNvPr id="75" name="Rectangle: Rounded Corners 74">
              <a:extLst>
                <a:ext uri="{FF2B5EF4-FFF2-40B4-BE49-F238E27FC236}">
                  <a16:creationId xmlns:a16="http://schemas.microsoft.com/office/drawing/2014/main" id="{48F4CE64-D22A-37E6-1910-4EE50984E1B6}"/>
                </a:ext>
              </a:extLst>
            </p:cNvPr>
            <p:cNvSpPr/>
            <p:nvPr/>
          </p:nvSpPr>
          <p:spPr>
            <a:xfrm>
              <a:off x="166877" y="2760785"/>
              <a:ext cx="1637195" cy="523219"/>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600" err="1">
                <a:solidFill>
                  <a:schemeClr val="tx1">
                    <a:lumMod val="50000"/>
                  </a:schemeClr>
                </a:solidFill>
                <a:latin typeface="Proximus" panose="00000500000000000000" pitchFamily="2" charset="0"/>
                <a:cs typeface="Proximus"/>
              </a:endParaRPr>
            </a:p>
          </p:txBody>
        </p:sp>
        <p:sp>
          <p:nvSpPr>
            <p:cNvPr id="76" name="TextBox 75">
              <a:extLst>
                <a:ext uri="{FF2B5EF4-FFF2-40B4-BE49-F238E27FC236}">
                  <a16:creationId xmlns:a16="http://schemas.microsoft.com/office/drawing/2014/main" id="{75E6B805-3E9C-776F-9436-CBB80FE9C099}"/>
                </a:ext>
              </a:extLst>
            </p:cNvPr>
            <p:cNvSpPr txBox="1"/>
            <p:nvPr/>
          </p:nvSpPr>
          <p:spPr>
            <a:xfrm>
              <a:off x="236735" y="2831888"/>
              <a:ext cx="1514779" cy="378879"/>
            </a:xfrm>
            <a:prstGeom prst="rect">
              <a:avLst/>
            </a:prstGeom>
            <a:grpFill/>
          </p:spPr>
          <p:txBody>
            <a:bodyPr vert="horz" wrap="square" lIns="0" tIns="0" rIns="0" bIns="0" numCol="1" spcCol="0" rtlCol="0" anchor="t" anchorCtr="0">
              <a:noAutofit/>
            </a:bodyPr>
            <a:lstStyle/>
            <a:p>
              <a:pPr fontAlgn="ctr"/>
              <a:r>
                <a:rPr lang="en-US" sz="1200">
                  <a:solidFill>
                    <a:schemeClr val="tx1">
                      <a:lumMod val="50000"/>
                    </a:schemeClr>
                  </a:solidFill>
                </a:rPr>
                <a:t>Interpret old syntax/libraries</a:t>
              </a:r>
            </a:p>
            <a:p>
              <a:endParaRPr lang="en-US" sz="1200">
                <a:solidFill>
                  <a:schemeClr val="tx1">
                    <a:lumMod val="50000"/>
                  </a:schemeClr>
                </a:solidFill>
              </a:endParaRPr>
            </a:p>
            <a:p>
              <a:pPr algn="l"/>
              <a:endParaRPr lang="en-BE" sz="1600" err="1">
                <a:solidFill>
                  <a:schemeClr val="tx1">
                    <a:lumMod val="50000"/>
                  </a:schemeClr>
                </a:solidFill>
              </a:endParaRPr>
            </a:p>
          </p:txBody>
        </p:sp>
      </p:grpSp>
      <p:grpSp>
        <p:nvGrpSpPr>
          <p:cNvPr id="77" name="Group 76">
            <a:extLst>
              <a:ext uri="{FF2B5EF4-FFF2-40B4-BE49-F238E27FC236}">
                <a16:creationId xmlns:a16="http://schemas.microsoft.com/office/drawing/2014/main" id="{42787B44-6F68-EB35-5F0A-12D95FF73504}"/>
              </a:ext>
            </a:extLst>
          </p:cNvPr>
          <p:cNvGrpSpPr/>
          <p:nvPr/>
        </p:nvGrpSpPr>
        <p:grpSpPr>
          <a:xfrm>
            <a:off x="1860839" y="3534509"/>
            <a:ext cx="1479198" cy="523219"/>
            <a:chOff x="166877" y="2760785"/>
            <a:chExt cx="1637195" cy="523219"/>
          </a:xfrm>
          <a:solidFill>
            <a:schemeClr val="tx1"/>
          </a:solidFill>
        </p:grpSpPr>
        <p:sp>
          <p:nvSpPr>
            <p:cNvPr id="78" name="Rectangle: Rounded Corners 77">
              <a:extLst>
                <a:ext uri="{FF2B5EF4-FFF2-40B4-BE49-F238E27FC236}">
                  <a16:creationId xmlns:a16="http://schemas.microsoft.com/office/drawing/2014/main" id="{C8DBED45-5603-816A-9747-DF439193D591}"/>
                </a:ext>
              </a:extLst>
            </p:cNvPr>
            <p:cNvSpPr/>
            <p:nvPr/>
          </p:nvSpPr>
          <p:spPr>
            <a:xfrm>
              <a:off x="166877" y="2760785"/>
              <a:ext cx="1637195" cy="523219"/>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tx1">
                    <a:lumMod val="50000"/>
                  </a:schemeClr>
                </a:solidFill>
                <a:latin typeface="Proximus" panose="00000500000000000000" pitchFamily="2" charset="0"/>
                <a:cs typeface="Proximus"/>
              </a:endParaRPr>
            </a:p>
          </p:txBody>
        </p:sp>
        <p:sp>
          <p:nvSpPr>
            <p:cNvPr id="79" name="TextBox 78">
              <a:extLst>
                <a:ext uri="{FF2B5EF4-FFF2-40B4-BE49-F238E27FC236}">
                  <a16:creationId xmlns:a16="http://schemas.microsoft.com/office/drawing/2014/main" id="{9563BEBB-F5A0-4000-F7A9-80C56787B6A3}"/>
                </a:ext>
              </a:extLst>
            </p:cNvPr>
            <p:cNvSpPr txBox="1"/>
            <p:nvPr/>
          </p:nvSpPr>
          <p:spPr>
            <a:xfrm>
              <a:off x="236735" y="2831888"/>
              <a:ext cx="1514779" cy="307777"/>
            </a:xfrm>
            <a:prstGeom prst="rect">
              <a:avLst/>
            </a:prstGeom>
            <a:grpFill/>
          </p:spPr>
          <p:txBody>
            <a:bodyPr vert="horz" wrap="square" lIns="0" tIns="0" rIns="0" bIns="0" numCol="1" spcCol="0" rtlCol="0" anchor="t" anchorCtr="0">
              <a:noAutofit/>
            </a:bodyPr>
            <a:lstStyle/>
            <a:p>
              <a:r>
                <a:rPr lang="en-US" sz="1200">
                  <a:solidFill>
                    <a:schemeClr val="tx1">
                      <a:lumMod val="50000"/>
                    </a:schemeClr>
                  </a:solidFill>
                </a:rPr>
                <a:t>Produce code for prototypes</a:t>
              </a:r>
              <a:endParaRPr lang="en-BE" sz="1050" err="1">
                <a:solidFill>
                  <a:schemeClr val="tx1">
                    <a:lumMod val="50000"/>
                  </a:schemeClr>
                </a:solidFill>
              </a:endParaRPr>
            </a:p>
          </p:txBody>
        </p:sp>
      </p:grpSp>
      <p:grpSp>
        <p:nvGrpSpPr>
          <p:cNvPr id="80" name="Group 79">
            <a:extLst>
              <a:ext uri="{FF2B5EF4-FFF2-40B4-BE49-F238E27FC236}">
                <a16:creationId xmlns:a16="http://schemas.microsoft.com/office/drawing/2014/main" id="{651D3F03-CF08-ED19-41F6-B94A73C7B6C2}"/>
              </a:ext>
            </a:extLst>
          </p:cNvPr>
          <p:cNvGrpSpPr/>
          <p:nvPr/>
        </p:nvGrpSpPr>
        <p:grpSpPr>
          <a:xfrm>
            <a:off x="1853051" y="4130173"/>
            <a:ext cx="1479198" cy="523219"/>
            <a:chOff x="166877" y="2760785"/>
            <a:chExt cx="1637195" cy="523219"/>
          </a:xfrm>
          <a:solidFill>
            <a:schemeClr val="tx1"/>
          </a:solidFill>
        </p:grpSpPr>
        <p:sp>
          <p:nvSpPr>
            <p:cNvPr id="81" name="Rectangle: Rounded Corners 80">
              <a:extLst>
                <a:ext uri="{FF2B5EF4-FFF2-40B4-BE49-F238E27FC236}">
                  <a16:creationId xmlns:a16="http://schemas.microsoft.com/office/drawing/2014/main" id="{842612A2-E7DD-0E7B-2D87-974AEBDE9A5F}"/>
                </a:ext>
              </a:extLst>
            </p:cNvPr>
            <p:cNvSpPr/>
            <p:nvPr/>
          </p:nvSpPr>
          <p:spPr>
            <a:xfrm>
              <a:off x="166877" y="2760785"/>
              <a:ext cx="1637195" cy="523219"/>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bg1"/>
                </a:solidFill>
                <a:latin typeface="Proximus" panose="00000500000000000000" pitchFamily="2" charset="0"/>
                <a:cs typeface="Proximus"/>
              </a:endParaRPr>
            </a:p>
          </p:txBody>
        </p:sp>
        <p:sp>
          <p:nvSpPr>
            <p:cNvPr id="82" name="TextBox 81">
              <a:extLst>
                <a:ext uri="{FF2B5EF4-FFF2-40B4-BE49-F238E27FC236}">
                  <a16:creationId xmlns:a16="http://schemas.microsoft.com/office/drawing/2014/main" id="{3B77D1CD-738E-F4CA-6980-8785BBDC55A9}"/>
                </a:ext>
              </a:extLst>
            </p:cNvPr>
            <p:cNvSpPr txBox="1"/>
            <p:nvPr/>
          </p:nvSpPr>
          <p:spPr>
            <a:xfrm>
              <a:off x="236735" y="2831888"/>
              <a:ext cx="1514779" cy="307777"/>
            </a:xfrm>
            <a:prstGeom prst="rect">
              <a:avLst/>
            </a:prstGeom>
            <a:grpFill/>
          </p:spPr>
          <p:txBody>
            <a:bodyPr vert="horz" wrap="square" lIns="0" tIns="0" rIns="0" bIns="0" numCol="1" spcCol="0" rtlCol="0" anchor="t" anchorCtr="0">
              <a:noAutofit/>
            </a:bodyPr>
            <a:lstStyle/>
            <a:p>
              <a:pPr fontAlgn="ctr"/>
              <a:r>
                <a:rPr lang="en-US" sz="1200">
                  <a:solidFill>
                    <a:schemeClr val="bg1"/>
                  </a:solidFill>
                </a:rPr>
                <a:t>Create mock data</a:t>
              </a:r>
            </a:p>
            <a:p>
              <a:pPr algn="l"/>
              <a:endParaRPr lang="en-BE" sz="1400" err="1">
                <a:solidFill>
                  <a:schemeClr val="bg1"/>
                </a:solidFill>
              </a:endParaRPr>
            </a:p>
          </p:txBody>
        </p:sp>
      </p:grpSp>
      <p:grpSp>
        <p:nvGrpSpPr>
          <p:cNvPr id="83" name="Group 82">
            <a:extLst>
              <a:ext uri="{FF2B5EF4-FFF2-40B4-BE49-F238E27FC236}">
                <a16:creationId xmlns:a16="http://schemas.microsoft.com/office/drawing/2014/main" id="{B70328D2-9107-0432-6978-BF7F45362AD8}"/>
              </a:ext>
            </a:extLst>
          </p:cNvPr>
          <p:cNvGrpSpPr/>
          <p:nvPr/>
        </p:nvGrpSpPr>
        <p:grpSpPr>
          <a:xfrm>
            <a:off x="1853051" y="4724495"/>
            <a:ext cx="1479198" cy="523219"/>
            <a:chOff x="166877" y="2760785"/>
            <a:chExt cx="1637195" cy="523219"/>
          </a:xfrm>
          <a:solidFill>
            <a:schemeClr val="tx1"/>
          </a:solidFill>
        </p:grpSpPr>
        <p:sp>
          <p:nvSpPr>
            <p:cNvPr id="84" name="Rectangle: Rounded Corners 83">
              <a:extLst>
                <a:ext uri="{FF2B5EF4-FFF2-40B4-BE49-F238E27FC236}">
                  <a16:creationId xmlns:a16="http://schemas.microsoft.com/office/drawing/2014/main" id="{26B60465-16BD-6173-611A-CB832F0B2721}"/>
                </a:ext>
              </a:extLst>
            </p:cNvPr>
            <p:cNvSpPr/>
            <p:nvPr/>
          </p:nvSpPr>
          <p:spPr>
            <a:xfrm>
              <a:off x="166877" y="2760785"/>
              <a:ext cx="1637195" cy="523219"/>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tx1">
                    <a:lumMod val="50000"/>
                  </a:schemeClr>
                </a:solidFill>
                <a:latin typeface="Proximus" panose="00000500000000000000" pitchFamily="2" charset="0"/>
                <a:cs typeface="Proximus"/>
              </a:endParaRPr>
            </a:p>
          </p:txBody>
        </p:sp>
        <p:sp>
          <p:nvSpPr>
            <p:cNvPr id="85" name="TextBox 84">
              <a:extLst>
                <a:ext uri="{FF2B5EF4-FFF2-40B4-BE49-F238E27FC236}">
                  <a16:creationId xmlns:a16="http://schemas.microsoft.com/office/drawing/2014/main" id="{B4536CBE-B8F5-2F5C-72B3-75A86B3DBC43}"/>
                </a:ext>
              </a:extLst>
            </p:cNvPr>
            <p:cNvSpPr txBox="1"/>
            <p:nvPr/>
          </p:nvSpPr>
          <p:spPr>
            <a:xfrm>
              <a:off x="236735" y="2831888"/>
              <a:ext cx="1514779" cy="307777"/>
            </a:xfrm>
            <a:prstGeom prst="rect">
              <a:avLst/>
            </a:prstGeom>
            <a:grpFill/>
          </p:spPr>
          <p:txBody>
            <a:bodyPr vert="horz" wrap="square" lIns="0" tIns="0" rIns="0" bIns="0" numCol="1" spcCol="0" rtlCol="0" anchor="t" anchorCtr="0">
              <a:noAutofit/>
            </a:bodyPr>
            <a:lstStyle/>
            <a:p>
              <a:pPr fontAlgn="ctr"/>
              <a:r>
                <a:rPr lang="en-US" sz="1200">
                  <a:solidFill>
                    <a:schemeClr val="tx1">
                      <a:lumMod val="50000"/>
                    </a:schemeClr>
                  </a:solidFill>
                </a:rPr>
                <a:t>Validate design choices</a:t>
              </a:r>
            </a:p>
            <a:p>
              <a:pPr algn="l"/>
              <a:endParaRPr lang="en-BE" sz="1400" err="1">
                <a:solidFill>
                  <a:schemeClr val="tx1">
                    <a:lumMod val="50000"/>
                  </a:schemeClr>
                </a:solidFill>
              </a:endParaRPr>
            </a:p>
          </p:txBody>
        </p:sp>
      </p:grpSp>
      <p:grpSp>
        <p:nvGrpSpPr>
          <p:cNvPr id="86" name="Group 85">
            <a:extLst>
              <a:ext uri="{FF2B5EF4-FFF2-40B4-BE49-F238E27FC236}">
                <a16:creationId xmlns:a16="http://schemas.microsoft.com/office/drawing/2014/main" id="{0D44EA4A-05EE-ABBA-72A9-31C9340B119C}"/>
              </a:ext>
            </a:extLst>
          </p:cNvPr>
          <p:cNvGrpSpPr/>
          <p:nvPr/>
        </p:nvGrpSpPr>
        <p:grpSpPr>
          <a:xfrm>
            <a:off x="1853050" y="5318817"/>
            <a:ext cx="1479198" cy="523219"/>
            <a:chOff x="166877" y="2760785"/>
            <a:chExt cx="1637195" cy="523219"/>
          </a:xfrm>
          <a:solidFill>
            <a:schemeClr val="tx1"/>
          </a:solidFill>
        </p:grpSpPr>
        <p:sp>
          <p:nvSpPr>
            <p:cNvPr id="87" name="Rectangle: Rounded Corners 86">
              <a:extLst>
                <a:ext uri="{FF2B5EF4-FFF2-40B4-BE49-F238E27FC236}">
                  <a16:creationId xmlns:a16="http://schemas.microsoft.com/office/drawing/2014/main" id="{A174D218-4A41-A8A3-F8FF-D01B2565FE61}"/>
                </a:ext>
              </a:extLst>
            </p:cNvPr>
            <p:cNvSpPr/>
            <p:nvPr/>
          </p:nvSpPr>
          <p:spPr>
            <a:xfrm>
              <a:off x="166877" y="2760785"/>
              <a:ext cx="1637195" cy="523219"/>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tx1">
                    <a:lumMod val="50000"/>
                  </a:schemeClr>
                </a:solidFill>
                <a:latin typeface="Proximus" panose="00000500000000000000" pitchFamily="2" charset="0"/>
                <a:cs typeface="Proximus"/>
              </a:endParaRPr>
            </a:p>
          </p:txBody>
        </p:sp>
        <p:sp>
          <p:nvSpPr>
            <p:cNvPr id="88" name="TextBox 87">
              <a:extLst>
                <a:ext uri="{FF2B5EF4-FFF2-40B4-BE49-F238E27FC236}">
                  <a16:creationId xmlns:a16="http://schemas.microsoft.com/office/drawing/2014/main" id="{E8461112-0716-E164-122E-696C1ABBB5A1}"/>
                </a:ext>
              </a:extLst>
            </p:cNvPr>
            <p:cNvSpPr txBox="1"/>
            <p:nvPr/>
          </p:nvSpPr>
          <p:spPr>
            <a:xfrm>
              <a:off x="236735" y="2831888"/>
              <a:ext cx="1514779" cy="378879"/>
            </a:xfrm>
            <a:prstGeom prst="rect">
              <a:avLst/>
            </a:prstGeom>
            <a:grpFill/>
          </p:spPr>
          <p:txBody>
            <a:bodyPr vert="horz" wrap="square" lIns="0" tIns="0" rIns="0" bIns="0" numCol="1" spcCol="0" rtlCol="0" anchor="t" anchorCtr="0">
              <a:noAutofit/>
            </a:bodyPr>
            <a:lstStyle/>
            <a:p>
              <a:pPr fontAlgn="ctr"/>
              <a:r>
                <a:rPr lang="en-US" sz="1200">
                  <a:solidFill>
                    <a:schemeClr val="tx1">
                      <a:lumMod val="50000"/>
                    </a:schemeClr>
                  </a:solidFill>
                </a:rPr>
                <a:t>Flag design risks</a:t>
              </a:r>
            </a:p>
            <a:p>
              <a:pPr fontAlgn="ctr"/>
              <a:r>
                <a:rPr lang="en-US" sz="1200">
                  <a:solidFill>
                    <a:schemeClr val="tx1">
                      <a:lumMod val="50000"/>
                    </a:schemeClr>
                  </a:solidFill>
                </a:rPr>
                <a:t>the codebase</a:t>
              </a:r>
            </a:p>
            <a:p>
              <a:pPr algn="l"/>
              <a:endParaRPr lang="en-BE" sz="1400" err="1">
                <a:solidFill>
                  <a:schemeClr val="tx1">
                    <a:lumMod val="50000"/>
                  </a:schemeClr>
                </a:solidFill>
              </a:endParaRPr>
            </a:p>
          </p:txBody>
        </p:sp>
      </p:grpSp>
      <p:grpSp>
        <p:nvGrpSpPr>
          <p:cNvPr id="108" name="Group 107">
            <a:extLst>
              <a:ext uri="{FF2B5EF4-FFF2-40B4-BE49-F238E27FC236}">
                <a16:creationId xmlns:a16="http://schemas.microsoft.com/office/drawing/2014/main" id="{DB903E09-8D65-37E7-DF24-5D776D357698}"/>
              </a:ext>
            </a:extLst>
          </p:cNvPr>
          <p:cNvGrpSpPr/>
          <p:nvPr/>
        </p:nvGrpSpPr>
        <p:grpSpPr>
          <a:xfrm>
            <a:off x="3425417" y="3529439"/>
            <a:ext cx="3591546" cy="523219"/>
            <a:chOff x="166877" y="2760785"/>
            <a:chExt cx="1637195" cy="523219"/>
          </a:xfrm>
          <a:solidFill>
            <a:schemeClr val="tx1"/>
          </a:solidFill>
        </p:grpSpPr>
        <p:sp>
          <p:nvSpPr>
            <p:cNvPr id="109" name="Rectangle: Rounded Corners 108">
              <a:extLst>
                <a:ext uri="{FF2B5EF4-FFF2-40B4-BE49-F238E27FC236}">
                  <a16:creationId xmlns:a16="http://schemas.microsoft.com/office/drawing/2014/main" id="{F1359A66-5C80-3EC2-E80E-C1A42D61230F}"/>
                </a:ext>
              </a:extLst>
            </p:cNvPr>
            <p:cNvSpPr/>
            <p:nvPr/>
          </p:nvSpPr>
          <p:spPr>
            <a:xfrm>
              <a:off x="166877" y="2760785"/>
              <a:ext cx="1637195" cy="523219"/>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600" err="1">
                <a:solidFill>
                  <a:schemeClr val="bg1"/>
                </a:solidFill>
                <a:latin typeface="Proximus" panose="00000500000000000000" pitchFamily="2" charset="0"/>
                <a:cs typeface="Proximus"/>
              </a:endParaRPr>
            </a:p>
          </p:txBody>
        </p:sp>
        <p:sp>
          <p:nvSpPr>
            <p:cNvPr id="110" name="TextBox 109">
              <a:extLst>
                <a:ext uri="{FF2B5EF4-FFF2-40B4-BE49-F238E27FC236}">
                  <a16:creationId xmlns:a16="http://schemas.microsoft.com/office/drawing/2014/main" id="{5EC28F59-4EA3-4DD4-681C-1C46666158CC}"/>
                </a:ext>
              </a:extLst>
            </p:cNvPr>
            <p:cNvSpPr txBox="1"/>
            <p:nvPr/>
          </p:nvSpPr>
          <p:spPr>
            <a:xfrm>
              <a:off x="236735" y="2831888"/>
              <a:ext cx="1514779" cy="307777"/>
            </a:xfrm>
            <a:prstGeom prst="rect">
              <a:avLst/>
            </a:prstGeom>
            <a:grpFill/>
          </p:spPr>
          <p:txBody>
            <a:bodyPr vert="horz" wrap="square" lIns="0" tIns="0" rIns="0" bIns="0" numCol="1" spcCol="0" rtlCol="0" anchor="t" anchorCtr="0">
              <a:noAutofit/>
            </a:bodyPr>
            <a:lstStyle/>
            <a:p>
              <a:r>
                <a:rPr lang="en-US" sz="1200">
                  <a:solidFill>
                    <a:schemeClr val="bg1"/>
                  </a:solidFill>
                </a:rPr>
                <a:t>Auto</a:t>
              </a:r>
              <a:r>
                <a:rPr lang="en-BE" sz="1200">
                  <a:solidFill>
                    <a:schemeClr val="bg1"/>
                  </a:solidFill>
                </a:rPr>
                <a:t>‑</a:t>
              </a:r>
              <a:r>
                <a:rPr lang="en-US" sz="1200">
                  <a:solidFill>
                    <a:schemeClr val="bg1"/>
                  </a:solidFill>
                </a:rPr>
                <a:t>generate code</a:t>
              </a:r>
              <a:endParaRPr lang="en-BE" sz="500" err="1">
                <a:solidFill>
                  <a:schemeClr val="bg1"/>
                </a:solidFill>
              </a:endParaRPr>
            </a:p>
          </p:txBody>
        </p:sp>
      </p:grpSp>
      <p:grpSp>
        <p:nvGrpSpPr>
          <p:cNvPr id="111" name="Group 110">
            <a:extLst>
              <a:ext uri="{FF2B5EF4-FFF2-40B4-BE49-F238E27FC236}">
                <a16:creationId xmlns:a16="http://schemas.microsoft.com/office/drawing/2014/main" id="{79DD96DE-42E1-5EFE-1C99-58EF522CA12A}"/>
              </a:ext>
            </a:extLst>
          </p:cNvPr>
          <p:cNvGrpSpPr/>
          <p:nvPr/>
        </p:nvGrpSpPr>
        <p:grpSpPr>
          <a:xfrm>
            <a:off x="3417629" y="4125103"/>
            <a:ext cx="3599336" cy="523219"/>
            <a:chOff x="166877" y="2760785"/>
            <a:chExt cx="1784298" cy="523219"/>
          </a:xfrm>
          <a:solidFill>
            <a:schemeClr val="tx1"/>
          </a:solidFill>
        </p:grpSpPr>
        <p:sp>
          <p:nvSpPr>
            <p:cNvPr id="112" name="Rectangle: Rounded Corners 111">
              <a:extLst>
                <a:ext uri="{FF2B5EF4-FFF2-40B4-BE49-F238E27FC236}">
                  <a16:creationId xmlns:a16="http://schemas.microsoft.com/office/drawing/2014/main" id="{375BA2B5-7D05-38F7-3CB7-6DE0EE5B258D}"/>
                </a:ext>
              </a:extLst>
            </p:cNvPr>
            <p:cNvSpPr/>
            <p:nvPr/>
          </p:nvSpPr>
          <p:spPr>
            <a:xfrm>
              <a:off x="166877" y="2760785"/>
              <a:ext cx="1784298" cy="523219"/>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600" err="1">
                <a:solidFill>
                  <a:schemeClr val="bg1"/>
                </a:solidFill>
                <a:latin typeface="Proximus" panose="00000500000000000000" pitchFamily="2" charset="0"/>
                <a:cs typeface="Proximus"/>
              </a:endParaRPr>
            </a:p>
          </p:txBody>
        </p:sp>
        <p:sp>
          <p:nvSpPr>
            <p:cNvPr id="113" name="TextBox 112">
              <a:extLst>
                <a:ext uri="{FF2B5EF4-FFF2-40B4-BE49-F238E27FC236}">
                  <a16:creationId xmlns:a16="http://schemas.microsoft.com/office/drawing/2014/main" id="{922CCE6E-6C2D-44FE-0445-436D7E7F8F1C}"/>
                </a:ext>
              </a:extLst>
            </p:cNvPr>
            <p:cNvSpPr txBox="1"/>
            <p:nvPr/>
          </p:nvSpPr>
          <p:spPr>
            <a:xfrm>
              <a:off x="236737" y="2831888"/>
              <a:ext cx="1648982" cy="307777"/>
            </a:xfrm>
            <a:prstGeom prst="rect">
              <a:avLst/>
            </a:prstGeom>
            <a:noFill/>
          </p:spPr>
          <p:txBody>
            <a:bodyPr vert="horz" wrap="square" lIns="0" tIns="0" rIns="0" bIns="0" numCol="1" spcCol="0" rtlCol="0" anchor="t" anchorCtr="0">
              <a:noAutofit/>
            </a:bodyPr>
            <a:lstStyle/>
            <a:p>
              <a:pPr fontAlgn="ctr"/>
              <a:r>
                <a:rPr lang="en-US" sz="1200">
                  <a:solidFill>
                    <a:schemeClr val="bg1"/>
                  </a:solidFill>
                </a:rPr>
                <a:t>Refactor and optimize</a:t>
              </a:r>
              <a:endParaRPr lang="en-BE" sz="700" err="1">
                <a:solidFill>
                  <a:schemeClr val="bg1"/>
                </a:solidFill>
              </a:endParaRPr>
            </a:p>
          </p:txBody>
        </p:sp>
      </p:grpSp>
      <p:grpSp>
        <p:nvGrpSpPr>
          <p:cNvPr id="114" name="Group 113">
            <a:extLst>
              <a:ext uri="{FF2B5EF4-FFF2-40B4-BE49-F238E27FC236}">
                <a16:creationId xmlns:a16="http://schemas.microsoft.com/office/drawing/2014/main" id="{958AA3F9-8FAC-81C2-629D-24D1E7975C75}"/>
              </a:ext>
            </a:extLst>
          </p:cNvPr>
          <p:cNvGrpSpPr/>
          <p:nvPr/>
        </p:nvGrpSpPr>
        <p:grpSpPr>
          <a:xfrm>
            <a:off x="3417629" y="4719425"/>
            <a:ext cx="3599336" cy="523219"/>
            <a:chOff x="166877" y="2760785"/>
            <a:chExt cx="1637195" cy="523219"/>
          </a:xfrm>
          <a:solidFill>
            <a:schemeClr val="tx1"/>
          </a:solidFill>
        </p:grpSpPr>
        <p:sp>
          <p:nvSpPr>
            <p:cNvPr id="115" name="Rectangle: Rounded Corners 114">
              <a:extLst>
                <a:ext uri="{FF2B5EF4-FFF2-40B4-BE49-F238E27FC236}">
                  <a16:creationId xmlns:a16="http://schemas.microsoft.com/office/drawing/2014/main" id="{DF90B994-7939-F693-7D49-1F3542E502E6}"/>
                </a:ext>
              </a:extLst>
            </p:cNvPr>
            <p:cNvSpPr/>
            <p:nvPr/>
          </p:nvSpPr>
          <p:spPr>
            <a:xfrm>
              <a:off x="166877" y="2760785"/>
              <a:ext cx="1637195" cy="523219"/>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600" err="1">
                <a:solidFill>
                  <a:schemeClr val="bg1"/>
                </a:solidFill>
                <a:latin typeface="Proximus" panose="00000500000000000000" pitchFamily="2" charset="0"/>
                <a:cs typeface="Proximus"/>
              </a:endParaRPr>
            </a:p>
          </p:txBody>
        </p:sp>
        <p:sp>
          <p:nvSpPr>
            <p:cNvPr id="116" name="TextBox 115">
              <a:extLst>
                <a:ext uri="{FF2B5EF4-FFF2-40B4-BE49-F238E27FC236}">
                  <a16:creationId xmlns:a16="http://schemas.microsoft.com/office/drawing/2014/main" id="{9BF41A54-3694-3001-1192-68F24D62AE45}"/>
                </a:ext>
              </a:extLst>
            </p:cNvPr>
            <p:cNvSpPr txBox="1"/>
            <p:nvPr/>
          </p:nvSpPr>
          <p:spPr>
            <a:xfrm>
              <a:off x="236735" y="2831888"/>
              <a:ext cx="1514779" cy="307777"/>
            </a:xfrm>
            <a:prstGeom prst="rect">
              <a:avLst/>
            </a:prstGeom>
            <a:grpFill/>
          </p:spPr>
          <p:txBody>
            <a:bodyPr vert="horz" wrap="square" lIns="0" tIns="0" rIns="0" bIns="0" numCol="1" spcCol="0" rtlCol="0" anchor="t" anchorCtr="0">
              <a:noAutofit/>
            </a:bodyPr>
            <a:lstStyle/>
            <a:p>
              <a:pPr fontAlgn="ctr"/>
              <a:r>
                <a:rPr lang="en-US" sz="1200">
                  <a:solidFill>
                    <a:schemeClr val="bg1"/>
                  </a:solidFill>
                </a:rPr>
                <a:t>Enforce coding standards</a:t>
              </a:r>
              <a:endParaRPr lang="en-BE" sz="1100" err="1">
                <a:solidFill>
                  <a:schemeClr val="bg1"/>
                </a:solidFill>
              </a:endParaRPr>
            </a:p>
          </p:txBody>
        </p:sp>
      </p:grpSp>
      <p:grpSp>
        <p:nvGrpSpPr>
          <p:cNvPr id="117" name="Group 116">
            <a:extLst>
              <a:ext uri="{FF2B5EF4-FFF2-40B4-BE49-F238E27FC236}">
                <a16:creationId xmlns:a16="http://schemas.microsoft.com/office/drawing/2014/main" id="{44C100DB-44C9-1EC7-7F52-12EF6E619914}"/>
              </a:ext>
            </a:extLst>
          </p:cNvPr>
          <p:cNvGrpSpPr/>
          <p:nvPr/>
        </p:nvGrpSpPr>
        <p:grpSpPr>
          <a:xfrm>
            <a:off x="3417628" y="5313747"/>
            <a:ext cx="3599336" cy="523219"/>
            <a:chOff x="166877" y="2760785"/>
            <a:chExt cx="1637195" cy="523219"/>
          </a:xfrm>
          <a:solidFill>
            <a:schemeClr val="tx1"/>
          </a:solidFill>
        </p:grpSpPr>
        <p:sp>
          <p:nvSpPr>
            <p:cNvPr id="118" name="Rectangle: Rounded Corners 117">
              <a:extLst>
                <a:ext uri="{FF2B5EF4-FFF2-40B4-BE49-F238E27FC236}">
                  <a16:creationId xmlns:a16="http://schemas.microsoft.com/office/drawing/2014/main" id="{326213DC-0939-2C51-7086-C5C68F2F7661}"/>
                </a:ext>
              </a:extLst>
            </p:cNvPr>
            <p:cNvSpPr/>
            <p:nvPr/>
          </p:nvSpPr>
          <p:spPr>
            <a:xfrm>
              <a:off x="166877" y="2760785"/>
              <a:ext cx="1637195" cy="523219"/>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600" err="1">
                <a:solidFill>
                  <a:schemeClr val="bg1"/>
                </a:solidFill>
                <a:latin typeface="Proximus" panose="00000500000000000000" pitchFamily="2" charset="0"/>
                <a:cs typeface="Proximus"/>
              </a:endParaRPr>
            </a:p>
          </p:txBody>
        </p:sp>
        <p:sp>
          <p:nvSpPr>
            <p:cNvPr id="119" name="TextBox 118">
              <a:extLst>
                <a:ext uri="{FF2B5EF4-FFF2-40B4-BE49-F238E27FC236}">
                  <a16:creationId xmlns:a16="http://schemas.microsoft.com/office/drawing/2014/main" id="{8C8EBE23-DB49-9077-7E92-AB42310F9DA8}"/>
                </a:ext>
              </a:extLst>
            </p:cNvPr>
            <p:cNvSpPr txBox="1"/>
            <p:nvPr/>
          </p:nvSpPr>
          <p:spPr>
            <a:xfrm>
              <a:off x="236735" y="2831888"/>
              <a:ext cx="1514779" cy="378879"/>
            </a:xfrm>
            <a:prstGeom prst="rect">
              <a:avLst/>
            </a:prstGeom>
            <a:grpFill/>
          </p:spPr>
          <p:txBody>
            <a:bodyPr vert="horz" wrap="square" lIns="0" tIns="0" rIns="0" bIns="0" numCol="1" spcCol="0" rtlCol="0" anchor="t" anchorCtr="0">
              <a:noAutofit/>
            </a:bodyPr>
            <a:lstStyle/>
            <a:p>
              <a:pPr fontAlgn="ctr"/>
              <a:r>
                <a:rPr lang="en-US" sz="1200">
                  <a:solidFill>
                    <a:schemeClr val="bg1"/>
                  </a:solidFill>
                </a:rPr>
                <a:t>Support code reviews</a:t>
              </a:r>
              <a:endParaRPr lang="en-BE" sz="800" err="1">
                <a:solidFill>
                  <a:schemeClr val="bg1"/>
                </a:solidFill>
              </a:endParaRPr>
            </a:p>
          </p:txBody>
        </p:sp>
      </p:grpSp>
      <p:grpSp>
        <p:nvGrpSpPr>
          <p:cNvPr id="123" name="Group 122">
            <a:extLst>
              <a:ext uri="{FF2B5EF4-FFF2-40B4-BE49-F238E27FC236}">
                <a16:creationId xmlns:a16="http://schemas.microsoft.com/office/drawing/2014/main" id="{BA61E150-B712-92E2-3999-0C931111494E}"/>
              </a:ext>
            </a:extLst>
          </p:cNvPr>
          <p:cNvGrpSpPr/>
          <p:nvPr/>
        </p:nvGrpSpPr>
        <p:grpSpPr>
          <a:xfrm>
            <a:off x="3417627" y="5908069"/>
            <a:ext cx="3599336" cy="523219"/>
            <a:chOff x="166877" y="2760785"/>
            <a:chExt cx="1637195" cy="523219"/>
          </a:xfrm>
          <a:solidFill>
            <a:schemeClr val="tx1"/>
          </a:solidFill>
        </p:grpSpPr>
        <p:sp>
          <p:nvSpPr>
            <p:cNvPr id="124" name="Rectangle: Rounded Corners 123">
              <a:extLst>
                <a:ext uri="{FF2B5EF4-FFF2-40B4-BE49-F238E27FC236}">
                  <a16:creationId xmlns:a16="http://schemas.microsoft.com/office/drawing/2014/main" id="{A80C6351-4235-2060-510B-24E05EB45BA2}"/>
                </a:ext>
              </a:extLst>
            </p:cNvPr>
            <p:cNvSpPr/>
            <p:nvPr/>
          </p:nvSpPr>
          <p:spPr>
            <a:xfrm>
              <a:off x="166877" y="2760785"/>
              <a:ext cx="1637195" cy="523219"/>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600" err="1">
                <a:solidFill>
                  <a:schemeClr val="bg1"/>
                </a:solidFill>
                <a:latin typeface="Proximus" panose="00000500000000000000" pitchFamily="2" charset="0"/>
                <a:cs typeface="Proximus"/>
              </a:endParaRPr>
            </a:p>
          </p:txBody>
        </p:sp>
        <p:sp>
          <p:nvSpPr>
            <p:cNvPr id="125" name="TextBox 124">
              <a:extLst>
                <a:ext uri="{FF2B5EF4-FFF2-40B4-BE49-F238E27FC236}">
                  <a16:creationId xmlns:a16="http://schemas.microsoft.com/office/drawing/2014/main" id="{F8323127-29A1-38A1-45AE-D6F46CAC7942}"/>
                </a:ext>
              </a:extLst>
            </p:cNvPr>
            <p:cNvSpPr txBox="1"/>
            <p:nvPr/>
          </p:nvSpPr>
          <p:spPr>
            <a:xfrm>
              <a:off x="236735" y="2831888"/>
              <a:ext cx="1514779" cy="378879"/>
            </a:xfrm>
            <a:prstGeom prst="rect">
              <a:avLst/>
            </a:prstGeom>
            <a:grpFill/>
          </p:spPr>
          <p:txBody>
            <a:bodyPr vert="horz" wrap="square" lIns="0" tIns="0" rIns="0" bIns="0" numCol="1" spcCol="0" rtlCol="0" anchor="t" anchorCtr="0">
              <a:noAutofit/>
            </a:bodyPr>
            <a:lstStyle/>
            <a:p>
              <a:pPr fontAlgn="ctr"/>
              <a:r>
                <a:rPr lang="en-US" sz="1200">
                  <a:solidFill>
                    <a:schemeClr val="bg1"/>
                  </a:solidFill>
                </a:rPr>
                <a:t>Code documentation</a:t>
              </a:r>
              <a:endParaRPr lang="en-BE" sz="800" err="1">
                <a:solidFill>
                  <a:schemeClr val="bg1"/>
                </a:solidFill>
              </a:endParaRPr>
            </a:p>
          </p:txBody>
        </p:sp>
      </p:grpSp>
      <p:grpSp>
        <p:nvGrpSpPr>
          <p:cNvPr id="129" name="Group 128">
            <a:extLst>
              <a:ext uri="{FF2B5EF4-FFF2-40B4-BE49-F238E27FC236}">
                <a16:creationId xmlns:a16="http://schemas.microsoft.com/office/drawing/2014/main" id="{EB0AEA25-2307-9448-FE5A-940181249692}"/>
              </a:ext>
            </a:extLst>
          </p:cNvPr>
          <p:cNvGrpSpPr/>
          <p:nvPr/>
        </p:nvGrpSpPr>
        <p:grpSpPr>
          <a:xfrm>
            <a:off x="7126495" y="3524323"/>
            <a:ext cx="1479198" cy="523219"/>
            <a:chOff x="166877" y="2760785"/>
            <a:chExt cx="1637195" cy="523219"/>
          </a:xfrm>
          <a:solidFill>
            <a:schemeClr val="tx1"/>
          </a:solidFill>
        </p:grpSpPr>
        <p:sp>
          <p:nvSpPr>
            <p:cNvPr id="130" name="Rectangle: Rounded Corners 129">
              <a:extLst>
                <a:ext uri="{FF2B5EF4-FFF2-40B4-BE49-F238E27FC236}">
                  <a16:creationId xmlns:a16="http://schemas.microsoft.com/office/drawing/2014/main" id="{16E533C1-AECA-9AF9-95A5-D13EF899C34F}"/>
                </a:ext>
              </a:extLst>
            </p:cNvPr>
            <p:cNvSpPr/>
            <p:nvPr/>
          </p:nvSpPr>
          <p:spPr>
            <a:xfrm>
              <a:off x="166877" y="2760785"/>
              <a:ext cx="1637195" cy="523219"/>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bg1"/>
                </a:solidFill>
                <a:latin typeface="Proximus" panose="00000500000000000000" pitchFamily="2" charset="0"/>
                <a:cs typeface="Proximus"/>
              </a:endParaRPr>
            </a:p>
          </p:txBody>
        </p:sp>
        <p:sp>
          <p:nvSpPr>
            <p:cNvPr id="131" name="TextBox 130">
              <a:extLst>
                <a:ext uri="{FF2B5EF4-FFF2-40B4-BE49-F238E27FC236}">
                  <a16:creationId xmlns:a16="http://schemas.microsoft.com/office/drawing/2014/main" id="{CFAA92C5-ECE8-8F4D-1641-5B64F7B73DD6}"/>
                </a:ext>
              </a:extLst>
            </p:cNvPr>
            <p:cNvSpPr txBox="1"/>
            <p:nvPr/>
          </p:nvSpPr>
          <p:spPr>
            <a:xfrm>
              <a:off x="236735" y="2831888"/>
              <a:ext cx="1514779" cy="307777"/>
            </a:xfrm>
            <a:prstGeom prst="rect">
              <a:avLst/>
            </a:prstGeom>
            <a:grpFill/>
          </p:spPr>
          <p:txBody>
            <a:bodyPr vert="horz" wrap="square" lIns="0" tIns="0" rIns="0" bIns="0" numCol="1" spcCol="0" rtlCol="0" anchor="t" anchorCtr="0">
              <a:noAutofit/>
            </a:bodyPr>
            <a:lstStyle/>
            <a:p>
              <a:pPr fontAlgn="ctr"/>
              <a:r>
                <a:rPr lang="en-US" sz="1200">
                  <a:solidFill>
                    <a:schemeClr val="bg1"/>
                  </a:solidFill>
                </a:rPr>
                <a:t>Generate test cases</a:t>
              </a:r>
            </a:p>
          </p:txBody>
        </p:sp>
      </p:grpSp>
      <p:grpSp>
        <p:nvGrpSpPr>
          <p:cNvPr id="132" name="Group 131">
            <a:extLst>
              <a:ext uri="{FF2B5EF4-FFF2-40B4-BE49-F238E27FC236}">
                <a16:creationId xmlns:a16="http://schemas.microsoft.com/office/drawing/2014/main" id="{487B776C-4024-B8A1-211D-680BE479E2DF}"/>
              </a:ext>
            </a:extLst>
          </p:cNvPr>
          <p:cNvGrpSpPr/>
          <p:nvPr/>
        </p:nvGrpSpPr>
        <p:grpSpPr>
          <a:xfrm>
            <a:off x="7118707" y="4119987"/>
            <a:ext cx="1479198" cy="523219"/>
            <a:chOff x="166877" y="2760785"/>
            <a:chExt cx="1637195" cy="523219"/>
          </a:xfrm>
          <a:solidFill>
            <a:schemeClr val="tx1"/>
          </a:solidFill>
        </p:grpSpPr>
        <p:sp>
          <p:nvSpPr>
            <p:cNvPr id="133" name="Rectangle: Rounded Corners 132">
              <a:extLst>
                <a:ext uri="{FF2B5EF4-FFF2-40B4-BE49-F238E27FC236}">
                  <a16:creationId xmlns:a16="http://schemas.microsoft.com/office/drawing/2014/main" id="{D86672D0-E326-EFB8-DAC0-D3F8FC955AE1}"/>
                </a:ext>
              </a:extLst>
            </p:cNvPr>
            <p:cNvSpPr/>
            <p:nvPr/>
          </p:nvSpPr>
          <p:spPr>
            <a:xfrm>
              <a:off x="166877" y="2760785"/>
              <a:ext cx="1637195" cy="523219"/>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bg1"/>
                </a:solidFill>
                <a:latin typeface="Proximus" panose="00000500000000000000" pitchFamily="2" charset="0"/>
                <a:cs typeface="Proximus"/>
              </a:endParaRPr>
            </a:p>
          </p:txBody>
        </p:sp>
        <p:sp>
          <p:nvSpPr>
            <p:cNvPr id="134" name="TextBox 133">
              <a:extLst>
                <a:ext uri="{FF2B5EF4-FFF2-40B4-BE49-F238E27FC236}">
                  <a16:creationId xmlns:a16="http://schemas.microsoft.com/office/drawing/2014/main" id="{A5181C31-050B-AE23-48A3-3928CD2AB802}"/>
                </a:ext>
              </a:extLst>
            </p:cNvPr>
            <p:cNvSpPr txBox="1"/>
            <p:nvPr/>
          </p:nvSpPr>
          <p:spPr>
            <a:xfrm>
              <a:off x="236735" y="2831888"/>
              <a:ext cx="1514779" cy="307777"/>
            </a:xfrm>
            <a:prstGeom prst="rect">
              <a:avLst/>
            </a:prstGeom>
            <a:grpFill/>
          </p:spPr>
          <p:txBody>
            <a:bodyPr vert="horz" wrap="square" lIns="0" tIns="0" rIns="0" bIns="0" numCol="1" spcCol="0" rtlCol="0" anchor="t" anchorCtr="0">
              <a:noAutofit/>
            </a:bodyPr>
            <a:lstStyle/>
            <a:p>
              <a:pPr fontAlgn="ctr"/>
              <a:r>
                <a:rPr lang="en-US" sz="1200">
                  <a:solidFill>
                    <a:schemeClr val="bg1"/>
                  </a:solidFill>
                </a:rPr>
                <a:t>Detect and fix bugs</a:t>
              </a:r>
            </a:p>
            <a:p>
              <a:pPr algn="l"/>
              <a:endParaRPr lang="en-BE" sz="1400" err="1">
                <a:solidFill>
                  <a:schemeClr val="bg1"/>
                </a:solidFill>
              </a:endParaRPr>
            </a:p>
          </p:txBody>
        </p:sp>
      </p:grpSp>
      <p:grpSp>
        <p:nvGrpSpPr>
          <p:cNvPr id="135" name="Group 134">
            <a:extLst>
              <a:ext uri="{FF2B5EF4-FFF2-40B4-BE49-F238E27FC236}">
                <a16:creationId xmlns:a16="http://schemas.microsoft.com/office/drawing/2014/main" id="{B9419569-92B5-1DB7-B5A7-3AE0FC2BE20A}"/>
              </a:ext>
            </a:extLst>
          </p:cNvPr>
          <p:cNvGrpSpPr/>
          <p:nvPr/>
        </p:nvGrpSpPr>
        <p:grpSpPr>
          <a:xfrm>
            <a:off x="7118707" y="4714309"/>
            <a:ext cx="1479198" cy="523219"/>
            <a:chOff x="166877" y="2760785"/>
            <a:chExt cx="1637195" cy="523219"/>
          </a:xfrm>
          <a:solidFill>
            <a:schemeClr val="tx1"/>
          </a:solidFill>
        </p:grpSpPr>
        <p:sp>
          <p:nvSpPr>
            <p:cNvPr id="136" name="Rectangle: Rounded Corners 135">
              <a:extLst>
                <a:ext uri="{FF2B5EF4-FFF2-40B4-BE49-F238E27FC236}">
                  <a16:creationId xmlns:a16="http://schemas.microsoft.com/office/drawing/2014/main" id="{2173EA44-942C-C804-19C5-8594260A4C74}"/>
                </a:ext>
              </a:extLst>
            </p:cNvPr>
            <p:cNvSpPr/>
            <p:nvPr/>
          </p:nvSpPr>
          <p:spPr>
            <a:xfrm>
              <a:off x="166877" y="2760785"/>
              <a:ext cx="1637195" cy="523219"/>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bg1"/>
                </a:solidFill>
                <a:latin typeface="Proximus" panose="00000500000000000000" pitchFamily="2" charset="0"/>
                <a:cs typeface="Proximus"/>
              </a:endParaRPr>
            </a:p>
          </p:txBody>
        </p:sp>
        <p:sp>
          <p:nvSpPr>
            <p:cNvPr id="137" name="TextBox 136">
              <a:extLst>
                <a:ext uri="{FF2B5EF4-FFF2-40B4-BE49-F238E27FC236}">
                  <a16:creationId xmlns:a16="http://schemas.microsoft.com/office/drawing/2014/main" id="{6C738D2B-C1B2-AFAE-BB73-3881C765B622}"/>
                </a:ext>
              </a:extLst>
            </p:cNvPr>
            <p:cNvSpPr txBox="1"/>
            <p:nvPr/>
          </p:nvSpPr>
          <p:spPr>
            <a:xfrm>
              <a:off x="236735" y="2831888"/>
              <a:ext cx="1514779" cy="307777"/>
            </a:xfrm>
            <a:prstGeom prst="rect">
              <a:avLst/>
            </a:prstGeom>
            <a:grpFill/>
          </p:spPr>
          <p:txBody>
            <a:bodyPr vert="horz" wrap="square" lIns="0" tIns="0" rIns="0" bIns="0" numCol="1" spcCol="0" rtlCol="0" anchor="t" anchorCtr="0">
              <a:noAutofit/>
            </a:bodyPr>
            <a:lstStyle/>
            <a:p>
              <a:pPr fontAlgn="ctr"/>
              <a:r>
                <a:rPr lang="en-US" sz="1200">
                  <a:solidFill>
                    <a:schemeClr val="bg1"/>
                  </a:solidFill>
                </a:rPr>
                <a:t>Scan for vulnerabilities</a:t>
              </a:r>
            </a:p>
            <a:p>
              <a:pPr algn="l"/>
              <a:endParaRPr lang="en-BE" sz="1400" err="1">
                <a:solidFill>
                  <a:schemeClr val="bg1"/>
                </a:solidFill>
              </a:endParaRPr>
            </a:p>
          </p:txBody>
        </p:sp>
      </p:grpSp>
      <p:grpSp>
        <p:nvGrpSpPr>
          <p:cNvPr id="138" name="Group 137">
            <a:extLst>
              <a:ext uri="{FF2B5EF4-FFF2-40B4-BE49-F238E27FC236}">
                <a16:creationId xmlns:a16="http://schemas.microsoft.com/office/drawing/2014/main" id="{DA2FA97F-C92D-C3F4-45F9-BA8F02DF6236}"/>
              </a:ext>
            </a:extLst>
          </p:cNvPr>
          <p:cNvGrpSpPr/>
          <p:nvPr/>
        </p:nvGrpSpPr>
        <p:grpSpPr>
          <a:xfrm>
            <a:off x="7118706" y="5308631"/>
            <a:ext cx="1479198" cy="523219"/>
            <a:chOff x="166877" y="2760785"/>
            <a:chExt cx="1637195" cy="523219"/>
          </a:xfrm>
          <a:solidFill>
            <a:schemeClr val="tx1"/>
          </a:solidFill>
        </p:grpSpPr>
        <p:sp>
          <p:nvSpPr>
            <p:cNvPr id="139" name="Rectangle: Rounded Corners 138">
              <a:extLst>
                <a:ext uri="{FF2B5EF4-FFF2-40B4-BE49-F238E27FC236}">
                  <a16:creationId xmlns:a16="http://schemas.microsoft.com/office/drawing/2014/main" id="{C0131064-7C79-7F3A-D219-3330B4549C61}"/>
                </a:ext>
              </a:extLst>
            </p:cNvPr>
            <p:cNvSpPr/>
            <p:nvPr/>
          </p:nvSpPr>
          <p:spPr>
            <a:xfrm>
              <a:off x="166877" y="2760785"/>
              <a:ext cx="1637195" cy="523219"/>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tx1">
                    <a:lumMod val="50000"/>
                  </a:schemeClr>
                </a:solidFill>
                <a:latin typeface="Proximus" panose="00000500000000000000" pitchFamily="2" charset="0"/>
                <a:cs typeface="Proximus"/>
              </a:endParaRPr>
            </a:p>
          </p:txBody>
        </p:sp>
        <p:sp>
          <p:nvSpPr>
            <p:cNvPr id="140" name="TextBox 139">
              <a:extLst>
                <a:ext uri="{FF2B5EF4-FFF2-40B4-BE49-F238E27FC236}">
                  <a16:creationId xmlns:a16="http://schemas.microsoft.com/office/drawing/2014/main" id="{87EC16E0-FC49-DF6B-4DFA-B90BD8101393}"/>
                </a:ext>
              </a:extLst>
            </p:cNvPr>
            <p:cNvSpPr txBox="1"/>
            <p:nvPr/>
          </p:nvSpPr>
          <p:spPr>
            <a:xfrm>
              <a:off x="236735" y="2831888"/>
              <a:ext cx="1514779" cy="378879"/>
            </a:xfrm>
            <a:prstGeom prst="rect">
              <a:avLst/>
            </a:prstGeom>
            <a:grpFill/>
          </p:spPr>
          <p:txBody>
            <a:bodyPr vert="horz" wrap="square" lIns="0" tIns="0" rIns="0" bIns="0" numCol="1" spcCol="0" rtlCol="0" anchor="t" anchorCtr="0">
              <a:noAutofit/>
            </a:bodyPr>
            <a:lstStyle/>
            <a:p>
              <a:pPr fontAlgn="ctr"/>
              <a:r>
                <a:rPr lang="en-US" sz="1200">
                  <a:solidFill>
                    <a:schemeClr val="tx1">
                      <a:lumMod val="50000"/>
                    </a:schemeClr>
                  </a:solidFill>
                </a:rPr>
                <a:t>Optimize test paths</a:t>
              </a:r>
            </a:p>
            <a:p>
              <a:pPr algn="l"/>
              <a:endParaRPr lang="en-BE" sz="1400" err="1">
                <a:solidFill>
                  <a:schemeClr val="tx1">
                    <a:lumMod val="50000"/>
                  </a:schemeClr>
                </a:solidFill>
              </a:endParaRPr>
            </a:p>
          </p:txBody>
        </p:sp>
      </p:grpSp>
      <p:grpSp>
        <p:nvGrpSpPr>
          <p:cNvPr id="142" name="Group 141">
            <a:extLst>
              <a:ext uri="{FF2B5EF4-FFF2-40B4-BE49-F238E27FC236}">
                <a16:creationId xmlns:a16="http://schemas.microsoft.com/office/drawing/2014/main" id="{C84C68D3-FA2E-0BE7-576C-34BCCC4E816B}"/>
              </a:ext>
            </a:extLst>
          </p:cNvPr>
          <p:cNvGrpSpPr/>
          <p:nvPr/>
        </p:nvGrpSpPr>
        <p:grpSpPr>
          <a:xfrm>
            <a:off x="8715224" y="3524323"/>
            <a:ext cx="1663301" cy="523219"/>
            <a:chOff x="166877" y="2760785"/>
            <a:chExt cx="1637195" cy="523219"/>
          </a:xfrm>
          <a:solidFill>
            <a:schemeClr val="tx1"/>
          </a:solidFill>
        </p:grpSpPr>
        <p:sp>
          <p:nvSpPr>
            <p:cNvPr id="143" name="Rectangle: Rounded Corners 142">
              <a:extLst>
                <a:ext uri="{FF2B5EF4-FFF2-40B4-BE49-F238E27FC236}">
                  <a16:creationId xmlns:a16="http://schemas.microsoft.com/office/drawing/2014/main" id="{0F7E9CC9-2597-A402-3177-F37A5606C8DB}"/>
                </a:ext>
              </a:extLst>
            </p:cNvPr>
            <p:cNvSpPr/>
            <p:nvPr/>
          </p:nvSpPr>
          <p:spPr>
            <a:xfrm>
              <a:off x="166877" y="2760785"/>
              <a:ext cx="1637195" cy="523219"/>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bg1"/>
                </a:solidFill>
                <a:latin typeface="Proximus" panose="00000500000000000000" pitchFamily="2" charset="0"/>
                <a:cs typeface="Proximus"/>
              </a:endParaRPr>
            </a:p>
          </p:txBody>
        </p:sp>
        <p:sp>
          <p:nvSpPr>
            <p:cNvPr id="144" name="TextBox 143">
              <a:extLst>
                <a:ext uri="{FF2B5EF4-FFF2-40B4-BE49-F238E27FC236}">
                  <a16:creationId xmlns:a16="http://schemas.microsoft.com/office/drawing/2014/main" id="{E18C6D59-9B47-D8EE-FE24-8138E5993027}"/>
                </a:ext>
              </a:extLst>
            </p:cNvPr>
            <p:cNvSpPr txBox="1"/>
            <p:nvPr/>
          </p:nvSpPr>
          <p:spPr>
            <a:xfrm>
              <a:off x="236735" y="2831888"/>
              <a:ext cx="1514779" cy="307777"/>
            </a:xfrm>
            <a:prstGeom prst="rect">
              <a:avLst/>
            </a:prstGeom>
            <a:grpFill/>
          </p:spPr>
          <p:txBody>
            <a:bodyPr vert="horz" wrap="square" lIns="0" tIns="0" rIns="0" bIns="0" numCol="1" spcCol="0" rtlCol="0" anchor="t" anchorCtr="0">
              <a:noAutofit/>
            </a:bodyPr>
            <a:lstStyle/>
            <a:p>
              <a:pPr fontAlgn="ctr"/>
              <a:r>
                <a:rPr lang="en-US" sz="1200">
                  <a:solidFill>
                    <a:schemeClr val="bg1"/>
                  </a:solidFill>
                </a:rPr>
                <a:t>Generate deployment scripts</a:t>
              </a:r>
            </a:p>
          </p:txBody>
        </p:sp>
      </p:grpSp>
      <p:grpSp>
        <p:nvGrpSpPr>
          <p:cNvPr id="145" name="Group 144">
            <a:extLst>
              <a:ext uri="{FF2B5EF4-FFF2-40B4-BE49-F238E27FC236}">
                <a16:creationId xmlns:a16="http://schemas.microsoft.com/office/drawing/2014/main" id="{F454E258-11D1-036E-8EB6-99DEB06C7936}"/>
              </a:ext>
            </a:extLst>
          </p:cNvPr>
          <p:cNvGrpSpPr/>
          <p:nvPr/>
        </p:nvGrpSpPr>
        <p:grpSpPr>
          <a:xfrm>
            <a:off x="8707437" y="4119987"/>
            <a:ext cx="1671088" cy="523219"/>
            <a:chOff x="166877" y="2760785"/>
            <a:chExt cx="1637195" cy="523219"/>
          </a:xfrm>
          <a:solidFill>
            <a:schemeClr val="tx1"/>
          </a:solidFill>
        </p:grpSpPr>
        <p:sp>
          <p:nvSpPr>
            <p:cNvPr id="146" name="Rectangle: Rounded Corners 145">
              <a:extLst>
                <a:ext uri="{FF2B5EF4-FFF2-40B4-BE49-F238E27FC236}">
                  <a16:creationId xmlns:a16="http://schemas.microsoft.com/office/drawing/2014/main" id="{9872F4E0-F573-B66C-E8A4-649715E27E51}"/>
                </a:ext>
              </a:extLst>
            </p:cNvPr>
            <p:cNvSpPr/>
            <p:nvPr/>
          </p:nvSpPr>
          <p:spPr>
            <a:xfrm>
              <a:off x="166877" y="2760785"/>
              <a:ext cx="1637195" cy="523219"/>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tx1">
                    <a:lumMod val="50000"/>
                  </a:schemeClr>
                </a:solidFill>
                <a:latin typeface="Proximus" panose="00000500000000000000" pitchFamily="2" charset="0"/>
                <a:cs typeface="Proximus"/>
              </a:endParaRPr>
            </a:p>
          </p:txBody>
        </p:sp>
        <p:sp>
          <p:nvSpPr>
            <p:cNvPr id="147" name="TextBox 146">
              <a:extLst>
                <a:ext uri="{FF2B5EF4-FFF2-40B4-BE49-F238E27FC236}">
                  <a16:creationId xmlns:a16="http://schemas.microsoft.com/office/drawing/2014/main" id="{77246DBD-5C39-C14E-61BD-8E5BABA297A6}"/>
                </a:ext>
              </a:extLst>
            </p:cNvPr>
            <p:cNvSpPr txBox="1"/>
            <p:nvPr/>
          </p:nvSpPr>
          <p:spPr>
            <a:xfrm>
              <a:off x="236735" y="2831888"/>
              <a:ext cx="1514779" cy="307777"/>
            </a:xfrm>
            <a:prstGeom prst="rect">
              <a:avLst/>
            </a:prstGeom>
            <a:grpFill/>
          </p:spPr>
          <p:txBody>
            <a:bodyPr vert="horz" wrap="square" lIns="0" tIns="0" rIns="0" bIns="0" numCol="1" spcCol="0" rtlCol="0" anchor="t" anchorCtr="0">
              <a:noAutofit/>
            </a:bodyPr>
            <a:lstStyle/>
            <a:p>
              <a:pPr fontAlgn="ctr"/>
              <a:r>
                <a:rPr lang="en-US" sz="1200">
                  <a:solidFill>
                    <a:schemeClr val="tx1">
                      <a:lumMod val="50000"/>
                    </a:schemeClr>
                  </a:solidFill>
                </a:rPr>
                <a:t>Validate configurations</a:t>
              </a:r>
            </a:p>
            <a:p>
              <a:pPr algn="l"/>
              <a:endParaRPr lang="en-BE" sz="1400" err="1">
                <a:solidFill>
                  <a:schemeClr val="tx1">
                    <a:lumMod val="50000"/>
                  </a:schemeClr>
                </a:solidFill>
              </a:endParaRPr>
            </a:p>
          </p:txBody>
        </p:sp>
      </p:grpSp>
      <p:grpSp>
        <p:nvGrpSpPr>
          <p:cNvPr id="148" name="Group 147">
            <a:extLst>
              <a:ext uri="{FF2B5EF4-FFF2-40B4-BE49-F238E27FC236}">
                <a16:creationId xmlns:a16="http://schemas.microsoft.com/office/drawing/2014/main" id="{8F385406-2EB7-7E9F-BF2B-A8828DDDE415}"/>
              </a:ext>
            </a:extLst>
          </p:cNvPr>
          <p:cNvGrpSpPr/>
          <p:nvPr/>
        </p:nvGrpSpPr>
        <p:grpSpPr>
          <a:xfrm>
            <a:off x="8707437" y="4714309"/>
            <a:ext cx="1671088" cy="523219"/>
            <a:chOff x="166877" y="2760785"/>
            <a:chExt cx="1637195" cy="523219"/>
          </a:xfrm>
          <a:solidFill>
            <a:schemeClr val="tx1"/>
          </a:solidFill>
        </p:grpSpPr>
        <p:sp>
          <p:nvSpPr>
            <p:cNvPr id="149" name="Rectangle: Rounded Corners 148">
              <a:extLst>
                <a:ext uri="{FF2B5EF4-FFF2-40B4-BE49-F238E27FC236}">
                  <a16:creationId xmlns:a16="http://schemas.microsoft.com/office/drawing/2014/main" id="{C18B3892-574D-A2FD-45E3-C351BDF53B29}"/>
                </a:ext>
              </a:extLst>
            </p:cNvPr>
            <p:cNvSpPr/>
            <p:nvPr/>
          </p:nvSpPr>
          <p:spPr>
            <a:xfrm>
              <a:off x="166877" y="2760785"/>
              <a:ext cx="1637195" cy="523219"/>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tx1">
                    <a:lumMod val="50000"/>
                  </a:schemeClr>
                </a:solidFill>
                <a:latin typeface="Proximus" panose="00000500000000000000" pitchFamily="2" charset="0"/>
                <a:cs typeface="Proximus"/>
              </a:endParaRPr>
            </a:p>
          </p:txBody>
        </p:sp>
        <p:sp>
          <p:nvSpPr>
            <p:cNvPr id="150" name="TextBox 149">
              <a:extLst>
                <a:ext uri="{FF2B5EF4-FFF2-40B4-BE49-F238E27FC236}">
                  <a16:creationId xmlns:a16="http://schemas.microsoft.com/office/drawing/2014/main" id="{CC54BF08-A964-F7BA-E56F-108F34C59018}"/>
                </a:ext>
              </a:extLst>
            </p:cNvPr>
            <p:cNvSpPr txBox="1"/>
            <p:nvPr/>
          </p:nvSpPr>
          <p:spPr>
            <a:xfrm>
              <a:off x="236735" y="2831888"/>
              <a:ext cx="1514779" cy="307777"/>
            </a:xfrm>
            <a:prstGeom prst="rect">
              <a:avLst/>
            </a:prstGeom>
            <a:grpFill/>
          </p:spPr>
          <p:txBody>
            <a:bodyPr vert="horz" wrap="square" lIns="0" tIns="0" rIns="0" bIns="0" numCol="1" spcCol="0" rtlCol="0" anchor="t" anchorCtr="0">
              <a:noAutofit/>
            </a:bodyPr>
            <a:lstStyle/>
            <a:p>
              <a:pPr fontAlgn="ctr"/>
              <a:r>
                <a:rPr lang="en-US" sz="1200">
                  <a:solidFill>
                    <a:schemeClr val="tx1">
                      <a:lumMod val="50000"/>
                    </a:schemeClr>
                  </a:solidFill>
                </a:rPr>
                <a:t>Produce release notes</a:t>
              </a:r>
              <a:endParaRPr lang="en-BE" sz="1050" err="1">
                <a:solidFill>
                  <a:schemeClr val="tx1">
                    <a:lumMod val="50000"/>
                  </a:schemeClr>
                </a:solidFill>
              </a:endParaRPr>
            </a:p>
          </p:txBody>
        </p:sp>
      </p:grpSp>
      <p:grpSp>
        <p:nvGrpSpPr>
          <p:cNvPr id="155" name="Group 154">
            <a:extLst>
              <a:ext uri="{FF2B5EF4-FFF2-40B4-BE49-F238E27FC236}">
                <a16:creationId xmlns:a16="http://schemas.microsoft.com/office/drawing/2014/main" id="{1CF6D27B-BAD6-BE2F-88F8-B2B3ED8FA4FB}"/>
              </a:ext>
            </a:extLst>
          </p:cNvPr>
          <p:cNvGrpSpPr/>
          <p:nvPr/>
        </p:nvGrpSpPr>
        <p:grpSpPr>
          <a:xfrm>
            <a:off x="10493823" y="3534509"/>
            <a:ext cx="1479198" cy="523219"/>
            <a:chOff x="166877" y="2760785"/>
            <a:chExt cx="1637195" cy="523219"/>
          </a:xfrm>
          <a:solidFill>
            <a:schemeClr val="tx1"/>
          </a:solidFill>
        </p:grpSpPr>
        <p:sp>
          <p:nvSpPr>
            <p:cNvPr id="156" name="Rectangle: Rounded Corners 155">
              <a:extLst>
                <a:ext uri="{FF2B5EF4-FFF2-40B4-BE49-F238E27FC236}">
                  <a16:creationId xmlns:a16="http://schemas.microsoft.com/office/drawing/2014/main" id="{4ACDABC4-E765-ACAC-B6A7-66BC93D49188}"/>
                </a:ext>
              </a:extLst>
            </p:cNvPr>
            <p:cNvSpPr/>
            <p:nvPr/>
          </p:nvSpPr>
          <p:spPr>
            <a:xfrm>
              <a:off x="166877" y="2760785"/>
              <a:ext cx="1637195" cy="523219"/>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bg1"/>
                </a:solidFill>
                <a:latin typeface="Proximus" panose="00000500000000000000" pitchFamily="2" charset="0"/>
                <a:cs typeface="Proximus"/>
              </a:endParaRPr>
            </a:p>
          </p:txBody>
        </p:sp>
        <p:sp>
          <p:nvSpPr>
            <p:cNvPr id="157" name="TextBox 156">
              <a:extLst>
                <a:ext uri="{FF2B5EF4-FFF2-40B4-BE49-F238E27FC236}">
                  <a16:creationId xmlns:a16="http://schemas.microsoft.com/office/drawing/2014/main" id="{34616695-A6F7-D0E7-074F-7AEB3D5B7442}"/>
                </a:ext>
              </a:extLst>
            </p:cNvPr>
            <p:cNvSpPr txBox="1"/>
            <p:nvPr/>
          </p:nvSpPr>
          <p:spPr>
            <a:xfrm>
              <a:off x="236735" y="2831888"/>
              <a:ext cx="1514779" cy="307777"/>
            </a:xfrm>
            <a:prstGeom prst="rect">
              <a:avLst/>
            </a:prstGeom>
            <a:grpFill/>
          </p:spPr>
          <p:txBody>
            <a:bodyPr vert="horz" wrap="square" lIns="0" tIns="0" rIns="0" bIns="0" numCol="1" spcCol="0" rtlCol="0" anchor="t" anchorCtr="0">
              <a:noAutofit/>
            </a:bodyPr>
            <a:lstStyle/>
            <a:p>
              <a:pPr fontAlgn="ctr"/>
              <a:r>
                <a:rPr lang="en-US" sz="1200">
                  <a:solidFill>
                    <a:schemeClr val="bg1"/>
                  </a:solidFill>
                </a:rPr>
                <a:t>Analyze system logs</a:t>
              </a:r>
            </a:p>
          </p:txBody>
        </p:sp>
      </p:grpSp>
      <p:grpSp>
        <p:nvGrpSpPr>
          <p:cNvPr id="158" name="Group 157">
            <a:extLst>
              <a:ext uri="{FF2B5EF4-FFF2-40B4-BE49-F238E27FC236}">
                <a16:creationId xmlns:a16="http://schemas.microsoft.com/office/drawing/2014/main" id="{7D0D365B-997A-D501-DB2E-3A2D38D51DA9}"/>
              </a:ext>
            </a:extLst>
          </p:cNvPr>
          <p:cNvGrpSpPr/>
          <p:nvPr/>
        </p:nvGrpSpPr>
        <p:grpSpPr>
          <a:xfrm>
            <a:off x="10486035" y="4130173"/>
            <a:ext cx="1479198" cy="523219"/>
            <a:chOff x="166877" y="2760785"/>
            <a:chExt cx="1637195" cy="523219"/>
          </a:xfrm>
          <a:solidFill>
            <a:schemeClr val="tx1"/>
          </a:solidFill>
        </p:grpSpPr>
        <p:sp>
          <p:nvSpPr>
            <p:cNvPr id="159" name="Rectangle: Rounded Corners 158">
              <a:extLst>
                <a:ext uri="{FF2B5EF4-FFF2-40B4-BE49-F238E27FC236}">
                  <a16:creationId xmlns:a16="http://schemas.microsoft.com/office/drawing/2014/main" id="{A8E1969D-5FB6-4542-CBA6-086D81CAB9C5}"/>
                </a:ext>
              </a:extLst>
            </p:cNvPr>
            <p:cNvSpPr/>
            <p:nvPr/>
          </p:nvSpPr>
          <p:spPr>
            <a:xfrm>
              <a:off x="166877" y="2760785"/>
              <a:ext cx="1637195" cy="523219"/>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bg1"/>
                </a:solidFill>
                <a:latin typeface="Proximus" panose="00000500000000000000" pitchFamily="2" charset="0"/>
                <a:cs typeface="Proximus"/>
              </a:endParaRPr>
            </a:p>
          </p:txBody>
        </p:sp>
        <p:sp>
          <p:nvSpPr>
            <p:cNvPr id="160" name="TextBox 159">
              <a:extLst>
                <a:ext uri="{FF2B5EF4-FFF2-40B4-BE49-F238E27FC236}">
                  <a16:creationId xmlns:a16="http://schemas.microsoft.com/office/drawing/2014/main" id="{695CCFDA-47F5-102E-BB35-159EA610CD6A}"/>
                </a:ext>
              </a:extLst>
            </p:cNvPr>
            <p:cNvSpPr txBox="1"/>
            <p:nvPr/>
          </p:nvSpPr>
          <p:spPr>
            <a:xfrm>
              <a:off x="236735" y="2831888"/>
              <a:ext cx="1514779" cy="307777"/>
            </a:xfrm>
            <a:prstGeom prst="rect">
              <a:avLst/>
            </a:prstGeom>
            <a:grpFill/>
          </p:spPr>
          <p:txBody>
            <a:bodyPr vert="horz" wrap="square" lIns="0" tIns="0" rIns="0" bIns="0" numCol="1" spcCol="0" rtlCol="0" anchor="t" anchorCtr="0">
              <a:noAutofit/>
            </a:bodyPr>
            <a:lstStyle/>
            <a:p>
              <a:pPr fontAlgn="ctr"/>
              <a:r>
                <a:rPr lang="en-US" sz="1200">
                  <a:solidFill>
                    <a:schemeClr val="bg1"/>
                  </a:solidFill>
                </a:rPr>
                <a:t>Detect anomalies</a:t>
              </a:r>
            </a:p>
            <a:p>
              <a:pPr algn="l"/>
              <a:endParaRPr lang="en-BE" sz="1400" err="1">
                <a:solidFill>
                  <a:schemeClr val="bg1"/>
                </a:solidFill>
              </a:endParaRPr>
            </a:p>
          </p:txBody>
        </p:sp>
      </p:grpSp>
      <p:grpSp>
        <p:nvGrpSpPr>
          <p:cNvPr id="161" name="Group 160">
            <a:extLst>
              <a:ext uri="{FF2B5EF4-FFF2-40B4-BE49-F238E27FC236}">
                <a16:creationId xmlns:a16="http://schemas.microsoft.com/office/drawing/2014/main" id="{5A9CC4DD-E1A7-E1E4-1B59-DD9C678F00A8}"/>
              </a:ext>
            </a:extLst>
          </p:cNvPr>
          <p:cNvGrpSpPr/>
          <p:nvPr/>
        </p:nvGrpSpPr>
        <p:grpSpPr>
          <a:xfrm>
            <a:off x="10486035" y="4724495"/>
            <a:ext cx="1479198" cy="523219"/>
            <a:chOff x="166877" y="2760785"/>
            <a:chExt cx="1637195" cy="523219"/>
          </a:xfrm>
          <a:solidFill>
            <a:schemeClr val="tx1"/>
          </a:solidFill>
        </p:grpSpPr>
        <p:sp>
          <p:nvSpPr>
            <p:cNvPr id="162" name="Rectangle: Rounded Corners 161">
              <a:extLst>
                <a:ext uri="{FF2B5EF4-FFF2-40B4-BE49-F238E27FC236}">
                  <a16:creationId xmlns:a16="http://schemas.microsoft.com/office/drawing/2014/main" id="{8FB606BD-75D0-9CCD-1022-C7646716E8D2}"/>
                </a:ext>
              </a:extLst>
            </p:cNvPr>
            <p:cNvSpPr/>
            <p:nvPr/>
          </p:nvSpPr>
          <p:spPr>
            <a:xfrm>
              <a:off x="166877" y="2760785"/>
              <a:ext cx="1637195" cy="523219"/>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tx1">
                    <a:lumMod val="50000"/>
                  </a:schemeClr>
                </a:solidFill>
                <a:latin typeface="Proximus" panose="00000500000000000000" pitchFamily="2" charset="0"/>
                <a:cs typeface="Proximus"/>
              </a:endParaRPr>
            </a:p>
          </p:txBody>
        </p:sp>
        <p:sp>
          <p:nvSpPr>
            <p:cNvPr id="163" name="TextBox 162">
              <a:extLst>
                <a:ext uri="{FF2B5EF4-FFF2-40B4-BE49-F238E27FC236}">
                  <a16:creationId xmlns:a16="http://schemas.microsoft.com/office/drawing/2014/main" id="{351B0B3F-B291-1723-226F-C5E059B3349F}"/>
                </a:ext>
              </a:extLst>
            </p:cNvPr>
            <p:cNvSpPr txBox="1"/>
            <p:nvPr/>
          </p:nvSpPr>
          <p:spPr>
            <a:xfrm>
              <a:off x="236735" y="2831888"/>
              <a:ext cx="1514779" cy="307777"/>
            </a:xfrm>
            <a:prstGeom prst="rect">
              <a:avLst/>
            </a:prstGeom>
            <a:grpFill/>
          </p:spPr>
          <p:txBody>
            <a:bodyPr vert="horz" wrap="square" lIns="0" tIns="0" rIns="0" bIns="0" numCol="1" spcCol="0" rtlCol="0" anchor="t" anchorCtr="0">
              <a:noAutofit/>
            </a:bodyPr>
            <a:lstStyle/>
            <a:p>
              <a:pPr fontAlgn="ctr"/>
              <a:r>
                <a:rPr lang="en-US" sz="1200">
                  <a:solidFill>
                    <a:schemeClr val="tx1">
                      <a:lumMod val="50000"/>
                    </a:schemeClr>
                  </a:solidFill>
                </a:rPr>
                <a:t>Recommend optimizations</a:t>
              </a:r>
              <a:endParaRPr lang="en-US">
                <a:solidFill>
                  <a:schemeClr val="tx1">
                    <a:lumMod val="50000"/>
                  </a:schemeClr>
                </a:solidFill>
              </a:endParaRPr>
            </a:p>
          </p:txBody>
        </p:sp>
      </p:grpSp>
      <p:cxnSp>
        <p:nvCxnSpPr>
          <p:cNvPr id="165" name="Straight Connector 164">
            <a:extLst>
              <a:ext uri="{FF2B5EF4-FFF2-40B4-BE49-F238E27FC236}">
                <a16:creationId xmlns:a16="http://schemas.microsoft.com/office/drawing/2014/main" id="{27FF0A16-22D8-B8BD-A02E-F9FDF65378D2}"/>
              </a:ext>
            </a:extLst>
          </p:cNvPr>
          <p:cNvCxnSpPr>
            <a:cxnSpLocks/>
          </p:cNvCxnSpPr>
          <p:nvPr/>
        </p:nvCxnSpPr>
        <p:spPr>
          <a:xfrm>
            <a:off x="0" y="3174672"/>
            <a:ext cx="5380516" cy="0"/>
          </a:xfrm>
          <a:prstGeom prst="line">
            <a:avLst/>
          </a:prstGeom>
          <a:ln w="9525" cap="rnd">
            <a:solidFill>
              <a:schemeClr val="tx1">
                <a:lumMod val="50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562C504C-13CC-B050-36D2-CF2C95FBFAB3}"/>
              </a:ext>
            </a:extLst>
          </p:cNvPr>
          <p:cNvCxnSpPr>
            <a:cxnSpLocks/>
          </p:cNvCxnSpPr>
          <p:nvPr/>
        </p:nvCxnSpPr>
        <p:spPr>
          <a:xfrm>
            <a:off x="6811484" y="3174672"/>
            <a:ext cx="5380516" cy="0"/>
          </a:xfrm>
          <a:prstGeom prst="line">
            <a:avLst/>
          </a:prstGeom>
          <a:ln w="9525" cap="rnd">
            <a:solidFill>
              <a:schemeClr val="tx1">
                <a:lumMod val="50000"/>
              </a:schemeClr>
            </a:solidFill>
            <a:prstDash val="sysDash"/>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75833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lumMod val="95000"/>
          </a:schemeClr>
        </a:solidFill>
        <a:effectLst/>
      </p:bgPr>
    </p:bg>
    <p:spTree>
      <p:nvGrpSpPr>
        <p:cNvPr id="1" name="">
          <a:extLst>
            <a:ext uri="{FF2B5EF4-FFF2-40B4-BE49-F238E27FC236}">
              <a16:creationId xmlns:a16="http://schemas.microsoft.com/office/drawing/2014/main" id="{06114C00-0B5E-95B0-8B67-3D919768F893}"/>
            </a:ext>
          </a:extLst>
        </p:cNvPr>
        <p:cNvGrpSpPr/>
        <p:nvPr/>
      </p:nvGrpSpPr>
      <p:grpSpPr>
        <a:xfrm>
          <a:off x="0" y="0"/>
          <a:ext cx="0" cy="0"/>
          <a:chOff x="0" y="0"/>
          <a:chExt cx="0" cy="0"/>
        </a:xfrm>
      </p:grpSpPr>
      <p:sp>
        <p:nvSpPr>
          <p:cNvPr id="35" name="Rectangle: Rounded Corners 34">
            <a:extLst>
              <a:ext uri="{FF2B5EF4-FFF2-40B4-BE49-F238E27FC236}">
                <a16:creationId xmlns:a16="http://schemas.microsoft.com/office/drawing/2014/main" id="{59E9AD93-3C88-433E-BBA2-55FF1DED1B47}"/>
              </a:ext>
            </a:extLst>
          </p:cNvPr>
          <p:cNvSpPr/>
          <p:nvPr/>
        </p:nvSpPr>
        <p:spPr>
          <a:xfrm>
            <a:off x="146514" y="3098307"/>
            <a:ext cx="11846193" cy="3187076"/>
          </a:xfrm>
          <a:prstGeom prst="round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tx1"/>
              </a:solidFill>
              <a:latin typeface="Proximus" panose="00000500000000000000" pitchFamily="2" charset="0"/>
              <a:cs typeface="Proximus"/>
            </a:endParaRPr>
          </a:p>
        </p:txBody>
      </p:sp>
      <p:sp>
        <p:nvSpPr>
          <p:cNvPr id="13" name="Flowchart: Connector 12">
            <a:extLst>
              <a:ext uri="{FF2B5EF4-FFF2-40B4-BE49-F238E27FC236}">
                <a16:creationId xmlns:a16="http://schemas.microsoft.com/office/drawing/2014/main" id="{6DF6F9D6-0C29-70F8-6CA9-19A2C9A0D89F}"/>
              </a:ext>
            </a:extLst>
          </p:cNvPr>
          <p:cNvSpPr/>
          <p:nvPr/>
        </p:nvSpPr>
        <p:spPr>
          <a:xfrm>
            <a:off x="1400734" y="3801705"/>
            <a:ext cx="1622994" cy="1634466"/>
          </a:xfrm>
          <a:prstGeom prst="flowChartConnector">
            <a:avLst/>
          </a:prstGeom>
          <a:noFill/>
          <a:ln w="57150">
            <a:solidFill>
              <a:schemeClr val="bg1"/>
            </a:solid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tx1"/>
              </a:solidFill>
              <a:latin typeface="Proximus" panose="00000500000000000000" pitchFamily="2" charset="0"/>
              <a:cs typeface="Proximus"/>
            </a:endParaRPr>
          </a:p>
        </p:txBody>
      </p:sp>
      <p:graphicFrame>
        <p:nvGraphicFramePr>
          <p:cNvPr id="4" name="think-cell data - do not delete" hidden="1">
            <a:extLst>
              <a:ext uri="{FF2B5EF4-FFF2-40B4-BE49-F238E27FC236}">
                <a16:creationId xmlns:a16="http://schemas.microsoft.com/office/drawing/2014/main" id="{F3F0FF93-751F-9343-2311-21FC58439989}"/>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4" name="think-cell data - do not delete" hidden="1">
                        <a:extLst>
                          <a:ext uri="{FF2B5EF4-FFF2-40B4-BE49-F238E27FC236}">
                            <a16:creationId xmlns:a16="http://schemas.microsoft.com/office/drawing/2014/main" id="{F3F0FF93-751F-9343-2311-21FC584399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2">
            <a:extLst>
              <a:ext uri="{FF2B5EF4-FFF2-40B4-BE49-F238E27FC236}">
                <a16:creationId xmlns:a16="http://schemas.microsoft.com/office/drawing/2014/main" id="{2FED20FE-BCDD-44FC-D4A8-648DC0B4A01E}"/>
              </a:ext>
            </a:extLst>
          </p:cNvPr>
          <p:cNvSpPr>
            <a:spLocks noGrp="1"/>
          </p:cNvSpPr>
          <p:nvPr>
            <p:ph type="title"/>
          </p:nvPr>
        </p:nvSpPr>
        <p:spPr>
          <a:xfrm>
            <a:off x="656984" y="503119"/>
            <a:ext cx="11335724" cy="738664"/>
          </a:xfrm>
        </p:spPr>
        <p:txBody>
          <a:bodyPr vert="horz" wrap="square" lIns="0" tIns="0" rIns="0" bIns="0" rtlCol="0" anchor="t" anchorCtr="0">
            <a:spAutoFit/>
          </a:bodyPr>
          <a:lstStyle/>
          <a:p>
            <a:r>
              <a:rPr lang="en-US" sz="2400">
                <a:solidFill>
                  <a:schemeClr val="accent6"/>
                </a:solidFill>
                <a:latin typeface="Proximus ExtraBold" panose="00000900000000000000" pitchFamily="2" charset="0"/>
              </a:rPr>
              <a:t>AI could bring structured iteration and continuous improvement throughout the development lifecycle</a:t>
            </a:r>
          </a:p>
        </p:txBody>
      </p:sp>
      <p:sp>
        <p:nvSpPr>
          <p:cNvPr id="25" name="Oval 24">
            <a:extLst>
              <a:ext uri="{FF2B5EF4-FFF2-40B4-BE49-F238E27FC236}">
                <a16:creationId xmlns:a16="http://schemas.microsoft.com/office/drawing/2014/main" id="{6D975908-8CC5-682B-6FB9-FDF3B5783746}"/>
              </a:ext>
            </a:extLst>
          </p:cNvPr>
          <p:cNvSpPr/>
          <p:nvPr/>
        </p:nvSpPr>
        <p:spPr>
          <a:xfrm>
            <a:off x="7408147" y="1430239"/>
            <a:ext cx="819884" cy="819884"/>
          </a:xfrm>
          <a:prstGeom prst="ellipse">
            <a:avLst/>
          </a:prstGeom>
          <a:solidFill>
            <a:schemeClr val="bg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defPPr>
              <a:defRPr lang="en-B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418"/>
            <a:endParaRPr lang="en-US" sz="1200" b="1" noProof="0">
              <a:solidFill>
                <a:schemeClr val="tx1"/>
              </a:solidFill>
              <a:latin typeface="Proximus Bold" panose="00000500000000000000" pitchFamily="2" charset="0"/>
              <a:cs typeface="Proximus Bold"/>
            </a:endParaRPr>
          </a:p>
        </p:txBody>
      </p:sp>
      <p:sp>
        <p:nvSpPr>
          <p:cNvPr id="36" name="Oval 35">
            <a:extLst>
              <a:ext uri="{FF2B5EF4-FFF2-40B4-BE49-F238E27FC236}">
                <a16:creationId xmlns:a16="http://schemas.microsoft.com/office/drawing/2014/main" id="{1391FF66-F6D8-6EA6-735C-EF9C5172330B}"/>
              </a:ext>
            </a:extLst>
          </p:cNvPr>
          <p:cNvSpPr/>
          <p:nvPr/>
        </p:nvSpPr>
        <p:spPr>
          <a:xfrm>
            <a:off x="9033912" y="1430239"/>
            <a:ext cx="819884" cy="819884"/>
          </a:xfrm>
          <a:prstGeom prst="ellipse">
            <a:avLst/>
          </a:prstGeom>
          <a:solidFill>
            <a:schemeClr val="bg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defPPr>
              <a:defRPr lang="en-B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418"/>
            <a:endParaRPr lang="en-US" sz="1200" b="1" noProof="0">
              <a:solidFill>
                <a:schemeClr val="tx1"/>
              </a:solidFill>
              <a:latin typeface="Proximus Bold" panose="00000500000000000000" pitchFamily="2" charset="0"/>
              <a:cs typeface="Proximus Bold"/>
            </a:endParaRPr>
          </a:p>
        </p:txBody>
      </p:sp>
      <p:sp>
        <p:nvSpPr>
          <p:cNvPr id="41" name="Oval 40">
            <a:extLst>
              <a:ext uri="{FF2B5EF4-FFF2-40B4-BE49-F238E27FC236}">
                <a16:creationId xmlns:a16="http://schemas.microsoft.com/office/drawing/2014/main" id="{B4C469B5-B7D0-A806-0D1D-47C4703742DB}"/>
              </a:ext>
            </a:extLst>
          </p:cNvPr>
          <p:cNvSpPr/>
          <p:nvPr/>
        </p:nvSpPr>
        <p:spPr>
          <a:xfrm>
            <a:off x="10923133" y="1430239"/>
            <a:ext cx="819884" cy="819884"/>
          </a:xfrm>
          <a:prstGeom prst="ellipse">
            <a:avLst/>
          </a:prstGeom>
          <a:solidFill>
            <a:schemeClr val="bg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defPPr>
              <a:defRPr lang="en-B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418"/>
            <a:endParaRPr lang="en-US" sz="1200" b="1" noProof="0">
              <a:solidFill>
                <a:schemeClr val="tx1"/>
              </a:solidFill>
              <a:latin typeface="Proximus Bold" panose="00000500000000000000" pitchFamily="2" charset="0"/>
              <a:cs typeface="Proximus Bold"/>
            </a:endParaRPr>
          </a:p>
        </p:txBody>
      </p:sp>
      <p:grpSp>
        <p:nvGrpSpPr>
          <p:cNvPr id="127" name="Group 126">
            <a:extLst>
              <a:ext uri="{FF2B5EF4-FFF2-40B4-BE49-F238E27FC236}">
                <a16:creationId xmlns:a16="http://schemas.microsoft.com/office/drawing/2014/main" id="{C18ABA65-2B7F-CAF1-E389-8FA93D90CA8D}"/>
              </a:ext>
            </a:extLst>
          </p:cNvPr>
          <p:cNvGrpSpPr/>
          <p:nvPr/>
        </p:nvGrpSpPr>
        <p:grpSpPr>
          <a:xfrm>
            <a:off x="2161425" y="1420378"/>
            <a:ext cx="819884" cy="819884"/>
            <a:chOff x="2174355" y="1188387"/>
            <a:chExt cx="819884" cy="819884"/>
          </a:xfrm>
          <a:solidFill>
            <a:schemeClr val="bg1">
              <a:lumMod val="20000"/>
              <a:lumOff val="80000"/>
            </a:schemeClr>
          </a:solidFill>
        </p:grpSpPr>
        <p:sp>
          <p:nvSpPr>
            <p:cNvPr id="22" name="Oval 21">
              <a:extLst>
                <a:ext uri="{FF2B5EF4-FFF2-40B4-BE49-F238E27FC236}">
                  <a16:creationId xmlns:a16="http://schemas.microsoft.com/office/drawing/2014/main" id="{08E490AD-ADEF-FF2B-0009-2B307CA37742}"/>
                </a:ext>
              </a:extLst>
            </p:cNvPr>
            <p:cNvSpPr/>
            <p:nvPr/>
          </p:nvSpPr>
          <p:spPr>
            <a:xfrm>
              <a:off x="2174355" y="1188387"/>
              <a:ext cx="819884" cy="819884"/>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defPPr>
                <a:defRPr lang="en-B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418"/>
              <a:endParaRPr lang="en-US" sz="1200" b="1" noProof="0">
                <a:solidFill>
                  <a:schemeClr val="tx1"/>
                </a:solidFill>
                <a:latin typeface="Proximus Bold" panose="00000500000000000000" pitchFamily="2" charset="0"/>
                <a:cs typeface="Proximus Bold"/>
              </a:endParaRPr>
            </a:p>
          </p:txBody>
        </p:sp>
        <p:pic>
          <p:nvPicPr>
            <p:cNvPr id="46" name="Graphic 45" descr="Architecture outline">
              <a:extLst>
                <a:ext uri="{FF2B5EF4-FFF2-40B4-BE49-F238E27FC236}">
                  <a16:creationId xmlns:a16="http://schemas.microsoft.com/office/drawing/2014/main" id="{CF3FB40A-F3D1-649D-CF34-9C1AC4C3510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322687" y="1303864"/>
              <a:ext cx="523220" cy="523220"/>
            </a:xfrm>
            <a:prstGeom prst="rect">
              <a:avLst/>
            </a:prstGeom>
          </p:spPr>
        </p:pic>
      </p:grpSp>
      <p:grpSp>
        <p:nvGrpSpPr>
          <p:cNvPr id="128" name="Group 127">
            <a:extLst>
              <a:ext uri="{FF2B5EF4-FFF2-40B4-BE49-F238E27FC236}">
                <a16:creationId xmlns:a16="http://schemas.microsoft.com/office/drawing/2014/main" id="{DAB194F7-1D0D-19C6-5529-7FF7BEA1B0C5}"/>
              </a:ext>
            </a:extLst>
          </p:cNvPr>
          <p:cNvGrpSpPr/>
          <p:nvPr/>
        </p:nvGrpSpPr>
        <p:grpSpPr>
          <a:xfrm>
            <a:off x="4501261" y="1412465"/>
            <a:ext cx="819884" cy="819884"/>
            <a:chOff x="4748215" y="1226052"/>
            <a:chExt cx="819884" cy="819884"/>
          </a:xfrm>
        </p:grpSpPr>
        <p:sp>
          <p:nvSpPr>
            <p:cNvPr id="28" name="Oval 27">
              <a:extLst>
                <a:ext uri="{FF2B5EF4-FFF2-40B4-BE49-F238E27FC236}">
                  <a16:creationId xmlns:a16="http://schemas.microsoft.com/office/drawing/2014/main" id="{46EAA892-3921-D5E8-09E8-4165CA3CF652}"/>
                </a:ext>
              </a:extLst>
            </p:cNvPr>
            <p:cNvSpPr/>
            <p:nvPr/>
          </p:nvSpPr>
          <p:spPr>
            <a:xfrm>
              <a:off x="4748215" y="1226052"/>
              <a:ext cx="819884" cy="819884"/>
            </a:xfrm>
            <a:prstGeom prst="ellipse">
              <a:avLst/>
            </a:prstGeom>
            <a:solidFill>
              <a:schemeClr val="bg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defPPr>
                <a:defRPr lang="en-B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418"/>
              <a:endParaRPr lang="en-US" sz="1200" b="1" noProof="0">
                <a:solidFill>
                  <a:schemeClr val="tx1"/>
                </a:solidFill>
                <a:latin typeface="Proximus Bold" panose="00000500000000000000" pitchFamily="2" charset="0"/>
                <a:cs typeface="Proximus Bold"/>
              </a:endParaRPr>
            </a:p>
          </p:txBody>
        </p:sp>
        <p:pic>
          <p:nvPicPr>
            <p:cNvPr id="48" name="Graphic 47" descr="Programmer male outline">
              <a:extLst>
                <a:ext uri="{FF2B5EF4-FFF2-40B4-BE49-F238E27FC236}">
                  <a16:creationId xmlns:a16="http://schemas.microsoft.com/office/drawing/2014/main" id="{1B1965F7-4B68-157B-C10D-8CA3F951644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90428" y="1374384"/>
              <a:ext cx="523220" cy="523220"/>
            </a:xfrm>
            <a:prstGeom prst="rect">
              <a:avLst/>
            </a:prstGeom>
          </p:spPr>
        </p:pic>
      </p:grpSp>
      <p:pic>
        <p:nvPicPr>
          <p:cNvPr id="50" name="Graphic 49" descr="Heart with pulse outline">
            <a:extLst>
              <a:ext uri="{FF2B5EF4-FFF2-40B4-BE49-F238E27FC236}">
                <a16:creationId xmlns:a16="http://schemas.microsoft.com/office/drawing/2014/main" id="{9BE64300-9FDD-6999-FC03-FFD657BEAFC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071465" y="1578571"/>
            <a:ext cx="523220" cy="523220"/>
          </a:xfrm>
          <a:prstGeom prst="rect">
            <a:avLst/>
          </a:prstGeom>
        </p:spPr>
      </p:pic>
      <p:pic>
        <p:nvPicPr>
          <p:cNvPr id="52" name="Graphic 51" descr="Clipboard Mixed outline">
            <a:extLst>
              <a:ext uri="{FF2B5EF4-FFF2-40B4-BE49-F238E27FC236}">
                <a16:creationId xmlns:a16="http://schemas.microsoft.com/office/drawing/2014/main" id="{392EDF83-6CEF-774B-0530-3237D3BD934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556479" y="1578571"/>
            <a:ext cx="523220" cy="523220"/>
          </a:xfrm>
          <a:prstGeom prst="rect">
            <a:avLst/>
          </a:prstGeom>
        </p:spPr>
      </p:pic>
      <p:grpSp>
        <p:nvGrpSpPr>
          <p:cNvPr id="126" name="Group 125">
            <a:extLst>
              <a:ext uri="{FF2B5EF4-FFF2-40B4-BE49-F238E27FC236}">
                <a16:creationId xmlns:a16="http://schemas.microsoft.com/office/drawing/2014/main" id="{A6E3FA9D-7347-EA63-ACB2-05617CD8B0B0}"/>
              </a:ext>
            </a:extLst>
          </p:cNvPr>
          <p:cNvGrpSpPr/>
          <p:nvPr/>
        </p:nvGrpSpPr>
        <p:grpSpPr>
          <a:xfrm>
            <a:off x="467683" y="1430239"/>
            <a:ext cx="819884" cy="819884"/>
            <a:chOff x="656984" y="1188387"/>
            <a:chExt cx="819884" cy="819884"/>
          </a:xfrm>
          <a:solidFill>
            <a:schemeClr val="bg1">
              <a:lumMod val="20000"/>
              <a:lumOff val="80000"/>
            </a:schemeClr>
          </a:solidFill>
        </p:grpSpPr>
        <p:sp>
          <p:nvSpPr>
            <p:cNvPr id="31" name="Oval 30">
              <a:extLst>
                <a:ext uri="{FF2B5EF4-FFF2-40B4-BE49-F238E27FC236}">
                  <a16:creationId xmlns:a16="http://schemas.microsoft.com/office/drawing/2014/main" id="{1CE40A24-7FF1-8707-F738-681C8314F683}"/>
                </a:ext>
              </a:extLst>
            </p:cNvPr>
            <p:cNvSpPr/>
            <p:nvPr/>
          </p:nvSpPr>
          <p:spPr>
            <a:xfrm>
              <a:off x="656984" y="1188387"/>
              <a:ext cx="819884" cy="819884"/>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defPPr>
                <a:defRPr lang="en-B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418"/>
              <a:endParaRPr lang="en-US" sz="1200" b="1" noProof="0">
                <a:solidFill>
                  <a:schemeClr val="tx1"/>
                </a:solidFill>
                <a:latin typeface="Proximus Bold" panose="00000500000000000000" pitchFamily="2" charset="0"/>
                <a:cs typeface="Proximus Bold"/>
              </a:endParaRPr>
            </a:p>
          </p:txBody>
        </p:sp>
        <p:pic>
          <p:nvPicPr>
            <p:cNvPr id="54" name="Graphic 53" descr="List outline">
              <a:extLst>
                <a:ext uri="{FF2B5EF4-FFF2-40B4-BE49-F238E27FC236}">
                  <a16:creationId xmlns:a16="http://schemas.microsoft.com/office/drawing/2014/main" id="{D61CC739-E658-B82F-8465-832DB7862E54}"/>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19625" y="1349760"/>
              <a:ext cx="494602" cy="494602"/>
            </a:xfrm>
            <a:prstGeom prst="rect">
              <a:avLst/>
            </a:prstGeom>
          </p:spPr>
        </p:pic>
      </p:grpSp>
      <p:grpSp>
        <p:nvGrpSpPr>
          <p:cNvPr id="58" name="Group 57">
            <a:extLst>
              <a:ext uri="{FF2B5EF4-FFF2-40B4-BE49-F238E27FC236}">
                <a16:creationId xmlns:a16="http://schemas.microsoft.com/office/drawing/2014/main" id="{3E2D34A4-0096-920A-F10B-702AF0B66665}"/>
              </a:ext>
            </a:extLst>
          </p:cNvPr>
          <p:cNvGrpSpPr/>
          <p:nvPr/>
        </p:nvGrpSpPr>
        <p:grpSpPr>
          <a:xfrm>
            <a:off x="9105659" y="1501986"/>
            <a:ext cx="676390" cy="676390"/>
            <a:chOff x="5413649" y="4436399"/>
            <a:chExt cx="676390" cy="676390"/>
          </a:xfrm>
        </p:grpSpPr>
        <p:pic>
          <p:nvPicPr>
            <p:cNvPr id="56" name="Graphic 55" descr="Laptop outline">
              <a:extLst>
                <a:ext uri="{FF2B5EF4-FFF2-40B4-BE49-F238E27FC236}">
                  <a16:creationId xmlns:a16="http://schemas.microsoft.com/office/drawing/2014/main" id="{A09EBFE4-8D0E-6870-C46C-591A2234C0B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5413649" y="4436399"/>
              <a:ext cx="676390" cy="676390"/>
            </a:xfrm>
            <a:prstGeom prst="rect">
              <a:avLst/>
            </a:prstGeom>
          </p:spPr>
        </p:pic>
        <p:sp>
          <p:nvSpPr>
            <p:cNvPr id="57" name="Arrow: Down 56">
              <a:extLst>
                <a:ext uri="{FF2B5EF4-FFF2-40B4-BE49-F238E27FC236}">
                  <a16:creationId xmlns:a16="http://schemas.microsoft.com/office/drawing/2014/main" id="{15B6182E-4A45-8734-1CAA-7633CDD116ED}"/>
                </a:ext>
              </a:extLst>
            </p:cNvPr>
            <p:cNvSpPr/>
            <p:nvPr/>
          </p:nvSpPr>
          <p:spPr>
            <a:xfrm flipV="1">
              <a:off x="5668354" y="4436399"/>
              <a:ext cx="166980" cy="279168"/>
            </a:xfrm>
            <a:prstGeom prst="downArrow">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tx1"/>
                </a:solidFill>
                <a:latin typeface="Proximus" panose="00000500000000000000" pitchFamily="2" charset="0"/>
                <a:cs typeface="Proximus"/>
              </a:endParaRPr>
            </a:p>
          </p:txBody>
        </p:sp>
      </p:grpSp>
      <p:sp>
        <p:nvSpPr>
          <p:cNvPr id="5" name="Rectangle: Rounded Corners 4">
            <a:extLst>
              <a:ext uri="{FF2B5EF4-FFF2-40B4-BE49-F238E27FC236}">
                <a16:creationId xmlns:a16="http://schemas.microsoft.com/office/drawing/2014/main" id="{90968711-4189-2B25-8F12-07CC949F0DBD}"/>
              </a:ext>
            </a:extLst>
          </p:cNvPr>
          <p:cNvSpPr/>
          <p:nvPr/>
        </p:nvSpPr>
        <p:spPr>
          <a:xfrm>
            <a:off x="2584793" y="3750611"/>
            <a:ext cx="1184059" cy="707622"/>
          </a:xfrm>
          <a:prstGeom prst="roundRect">
            <a:avLst>
              <a:gd name="adj" fmla="val 8542"/>
            </a:avLst>
          </a:prstGeom>
          <a:solidFill>
            <a:schemeClr val="bg1">
              <a:lumMod val="20000"/>
              <a:lumOff val="80000"/>
            </a:schemeClr>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r>
              <a:rPr lang="en-US" sz="1100">
                <a:solidFill>
                  <a:srgbClr val="282233"/>
                </a:solidFill>
                <a:latin typeface="Proximus"/>
                <a:cs typeface="Proximus"/>
              </a:rPr>
              <a:t>Fast Prototyping</a:t>
            </a:r>
            <a:endParaRPr lang="en-GB" sz="1100">
              <a:solidFill>
                <a:srgbClr val="282233"/>
              </a:solidFill>
              <a:latin typeface="Proximus"/>
              <a:cs typeface="Proximus"/>
            </a:endParaRPr>
          </a:p>
        </p:txBody>
      </p:sp>
      <p:sp>
        <p:nvSpPr>
          <p:cNvPr id="6" name="Rectangle: Rounded Corners 5">
            <a:extLst>
              <a:ext uri="{FF2B5EF4-FFF2-40B4-BE49-F238E27FC236}">
                <a16:creationId xmlns:a16="http://schemas.microsoft.com/office/drawing/2014/main" id="{DA0A9A6B-C0BD-0FDF-3D38-44155B33F4DF}"/>
              </a:ext>
            </a:extLst>
          </p:cNvPr>
          <p:cNvSpPr/>
          <p:nvPr/>
        </p:nvSpPr>
        <p:spPr>
          <a:xfrm>
            <a:off x="1624300" y="5133453"/>
            <a:ext cx="1184059" cy="707621"/>
          </a:xfrm>
          <a:prstGeom prst="roundRect">
            <a:avLst>
              <a:gd name="adj" fmla="val 8542"/>
            </a:avLst>
          </a:prstGeom>
          <a:solidFill>
            <a:schemeClr val="bg1">
              <a:lumMod val="20000"/>
              <a:lumOff val="80000"/>
            </a:schemeClr>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r>
              <a:rPr lang="en-US" sz="1100">
                <a:solidFill>
                  <a:srgbClr val="282233"/>
                </a:solidFill>
                <a:latin typeface="Proximus"/>
                <a:cs typeface="Proximus"/>
              </a:rPr>
              <a:t>Architecture adaptation</a:t>
            </a:r>
            <a:endParaRPr lang="en-GB" sz="1100">
              <a:solidFill>
                <a:srgbClr val="282233"/>
              </a:solidFill>
              <a:latin typeface="Proximus"/>
              <a:cs typeface="Proximus"/>
            </a:endParaRPr>
          </a:p>
        </p:txBody>
      </p:sp>
      <p:sp>
        <p:nvSpPr>
          <p:cNvPr id="8" name="Rectangle: Rounded Corners 7">
            <a:extLst>
              <a:ext uri="{FF2B5EF4-FFF2-40B4-BE49-F238E27FC236}">
                <a16:creationId xmlns:a16="http://schemas.microsoft.com/office/drawing/2014/main" id="{BCD9B62E-7D06-0BB2-9276-C707B0FA6DF6}"/>
              </a:ext>
            </a:extLst>
          </p:cNvPr>
          <p:cNvSpPr/>
          <p:nvPr/>
        </p:nvSpPr>
        <p:spPr>
          <a:xfrm>
            <a:off x="670251" y="3750612"/>
            <a:ext cx="1184059" cy="707620"/>
          </a:xfrm>
          <a:prstGeom prst="roundRect">
            <a:avLst>
              <a:gd name="adj" fmla="val 8542"/>
            </a:avLst>
          </a:prstGeom>
          <a:solidFill>
            <a:schemeClr val="bg1">
              <a:lumMod val="20000"/>
              <a:lumOff val="80000"/>
            </a:schemeClr>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r>
              <a:rPr lang="en-US" sz="1100">
                <a:solidFill>
                  <a:srgbClr val="282233"/>
                </a:solidFill>
                <a:latin typeface="Proximus"/>
                <a:cs typeface="Proximus"/>
              </a:rPr>
              <a:t>Requirements refinement</a:t>
            </a:r>
            <a:endParaRPr lang="en-GB" sz="1100">
              <a:solidFill>
                <a:srgbClr val="282233"/>
              </a:solidFill>
              <a:latin typeface="Proximus"/>
              <a:cs typeface="Proximus"/>
            </a:endParaRPr>
          </a:p>
        </p:txBody>
      </p:sp>
      <p:pic>
        <p:nvPicPr>
          <p:cNvPr id="14" name="Graphic 13">
            <a:extLst>
              <a:ext uri="{FF2B5EF4-FFF2-40B4-BE49-F238E27FC236}">
                <a16:creationId xmlns:a16="http://schemas.microsoft.com/office/drawing/2014/main" id="{DCFF7819-7A98-1505-D98D-BC84419987F4}"/>
              </a:ext>
            </a:extLst>
          </p:cNvPr>
          <p:cNvPicPr>
            <a:picLocks noChangeAspect="1"/>
          </p:cNvPicPr>
          <p:nvPr/>
        </p:nvPicPr>
        <p:blipFill>
          <a:blip r:embed="rId18" cstate="hqprint">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rot="10800000" flipH="1">
            <a:off x="2105217" y="3631905"/>
            <a:ext cx="214028" cy="334418"/>
          </a:xfrm>
          <a:prstGeom prst="rect">
            <a:avLst/>
          </a:prstGeom>
        </p:spPr>
      </p:pic>
      <p:pic>
        <p:nvPicPr>
          <p:cNvPr id="15" name="Graphic 14">
            <a:extLst>
              <a:ext uri="{FF2B5EF4-FFF2-40B4-BE49-F238E27FC236}">
                <a16:creationId xmlns:a16="http://schemas.microsoft.com/office/drawing/2014/main" id="{712667DD-2CD3-20DE-B7C8-F214D638B2DC}"/>
              </a:ext>
            </a:extLst>
          </p:cNvPr>
          <p:cNvPicPr>
            <a:picLocks noChangeAspect="1"/>
          </p:cNvPicPr>
          <p:nvPr/>
        </p:nvPicPr>
        <p:blipFill>
          <a:blip r:embed="rId18" cstate="hqprint">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rot="16200000" flipH="1">
            <a:off x="2854493" y="4624236"/>
            <a:ext cx="214028" cy="334418"/>
          </a:xfrm>
          <a:prstGeom prst="rect">
            <a:avLst/>
          </a:prstGeom>
        </p:spPr>
      </p:pic>
      <p:pic>
        <p:nvPicPr>
          <p:cNvPr id="21" name="Graphic 20">
            <a:extLst>
              <a:ext uri="{FF2B5EF4-FFF2-40B4-BE49-F238E27FC236}">
                <a16:creationId xmlns:a16="http://schemas.microsoft.com/office/drawing/2014/main" id="{D73FA720-2586-EA23-05A4-B41800E9D52E}"/>
              </a:ext>
            </a:extLst>
          </p:cNvPr>
          <p:cNvPicPr>
            <a:picLocks noChangeAspect="1"/>
          </p:cNvPicPr>
          <p:nvPr/>
        </p:nvPicPr>
        <p:blipFill>
          <a:blip r:embed="rId18" cstate="hqprint">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rot="5400000" flipH="1">
            <a:off x="1321431" y="4640317"/>
            <a:ext cx="214028" cy="334418"/>
          </a:xfrm>
          <a:prstGeom prst="rect">
            <a:avLst/>
          </a:prstGeom>
        </p:spPr>
      </p:pic>
      <p:sp>
        <p:nvSpPr>
          <p:cNvPr id="23" name="Flowchart: Connector 22">
            <a:extLst>
              <a:ext uri="{FF2B5EF4-FFF2-40B4-BE49-F238E27FC236}">
                <a16:creationId xmlns:a16="http://schemas.microsoft.com/office/drawing/2014/main" id="{EFFD0497-F72F-6879-BD74-C69AB2D288F9}"/>
              </a:ext>
            </a:extLst>
          </p:cNvPr>
          <p:cNvSpPr/>
          <p:nvPr/>
        </p:nvSpPr>
        <p:spPr>
          <a:xfrm>
            <a:off x="5682738" y="3801704"/>
            <a:ext cx="1622994" cy="1634466"/>
          </a:xfrm>
          <a:prstGeom prst="flowChartConnector">
            <a:avLst/>
          </a:prstGeom>
          <a:noFill/>
          <a:ln w="57150">
            <a:solidFill>
              <a:schemeClr val="bg1"/>
            </a:solid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tx1"/>
              </a:solidFill>
              <a:latin typeface="Proximus" panose="00000500000000000000" pitchFamily="2" charset="0"/>
              <a:cs typeface="Proximus"/>
            </a:endParaRPr>
          </a:p>
        </p:txBody>
      </p:sp>
      <p:sp>
        <p:nvSpPr>
          <p:cNvPr id="24" name="Rectangle: Rounded Corners 23">
            <a:extLst>
              <a:ext uri="{FF2B5EF4-FFF2-40B4-BE49-F238E27FC236}">
                <a16:creationId xmlns:a16="http://schemas.microsoft.com/office/drawing/2014/main" id="{3F055EDA-2073-9349-3EE4-C83E87BFF7EE}"/>
              </a:ext>
            </a:extLst>
          </p:cNvPr>
          <p:cNvSpPr/>
          <p:nvPr/>
        </p:nvSpPr>
        <p:spPr>
          <a:xfrm>
            <a:off x="6866797" y="3750610"/>
            <a:ext cx="1184059" cy="707622"/>
          </a:xfrm>
          <a:prstGeom prst="roundRect">
            <a:avLst>
              <a:gd name="adj" fmla="val 8542"/>
            </a:avLst>
          </a:prstGeom>
          <a:solidFill>
            <a:schemeClr val="bg1">
              <a:lumMod val="20000"/>
              <a:lumOff val="80000"/>
            </a:schemeClr>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r>
              <a:rPr lang="en-US" sz="1100">
                <a:solidFill>
                  <a:srgbClr val="282233"/>
                </a:solidFill>
                <a:latin typeface="Proximus"/>
                <a:cs typeface="Proximus"/>
              </a:rPr>
              <a:t>Smart testing</a:t>
            </a:r>
            <a:endParaRPr lang="en-GB" sz="1100">
              <a:solidFill>
                <a:srgbClr val="282233"/>
              </a:solidFill>
              <a:latin typeface="Proximus"/>
              <a:cs typeface="Proximus"/>
            </a:endParaRPr>
          </a:p>
        </p:txBody>
      </p:sp>
      <p:sp>
        <p:nvSpPr>
          <p:cNvPr id="26" name="Rectangle: Rounded Corners 25">
            <a:extLst>
              <a:ext uri="{FF2B5EF4-FFF2-40B4-BE49-F238E27FC236}">
                <a16:creationId xmlns:a16="http://schemas.microsoft.com/office/drawing/2014/main" id="{D180B555-42CC-8DEA-0D6F-E27E70BA5CC1}"/>
              </a:ext>
            </a:extLst>
          </p:cNvPr>
          <p:cNvSpPr/>
          <p:nvPr/>
        </p:nvSpPr>
        <p:spPr>
          <a:xfrm>
            <a:off x="5906304" y="5133452"/>
            <a:ext cx="1184059" cy="707621"/>
          </a:xfrm>
          <a:prstGeom prst="roundRect">
            <a:avLst>
              <a:gd name="adj" fmla="val 8542"/>
            </a:avLst>
          </a:prstGeom>
          <a:solidFill>
            <a:schemeClr val="bg1">
              <a:lumMod val="20000"/>
              <a:lumOff val="80000"/>
            </a:schemeClr>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r>
              <a:rPr lang="en-US" sz="1100">
                <a:solidFill>
                  <a:srgbClr val="282233"/>
                </a:solidFill>
                <a:latin typeface="Proximus"/>
                <a:cs typeface="Proximus"/>
              </a:rPr>
              <a:t>Continuous governance</a:t>
            </a:r>
            <a:endParaRPr lang="en-GB" sz="1100">
              <a:solidFill>
                <a:srgbClr val="282233"/>
              </a:solidFill>
              <a:latin typeface="Proximus"/>
              <a:cs typeface="Proximus"/>
            </a:endParaRPr>
          </a:p>
        </p:txBody>
      </p:sp>
      <p:sp>
        <p:nvSpPr>
          <p:cNvPr id="27" name="Rectangle: Rounded Corners 26">
            <a:extLst>
              <a:ext uri="{FF2B5EF4-FFF2-40B4-BE49-F238E27FC236}">
                <a16:creationId xmlns:a16="http://schemas.microsoft.com/office/drawing/2014/main" id="{318EA08C-3E40-F29D-8E61-25CDC6C1E72A}"/>
              </a:ext>
            </a:extLst>
          </p:cNvPr>
          <p:cNvSpPr/>
          <p:nvPr/>
        </p:nvSpPr>
        <p:spPr>
          <a:xfrm>
            <a:off x="4952255" y="3750611"/>
            <a:ext cx="1184059" cy="707620"/>
          </a:xfrm>
          <a:prstGeom prst="roundRect">
            <a:avLst>
              <a:gd name="adj" fmla="val 8542"/>
            </a:avLst>
          </a:prstGeom>
          <a:solidFill>
            <a:schemeClr val="bg1">
              <a:lumMod val="20000"/>
              <a:lumOff val="80000"/>
            </a:schemeClr>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r>
              <a:rPr lang="en-US" sz="1100">
                <a:solidFill>
                  <a:srgbClr val="282233"/>
                </a:solidFill>
                <a:latin typeface="Proximus"/>
                <a:cs typeface="Proximus"/>
              </a:rPr>
              <a:t>AI-assisted coding</a:t>
            </a:r>
            <a:endParaRPr lang="en-GB" sz="1100">
              <a:solidFill>
                <a:srgbClr val="282233"/>
              </a:solidFill>
              <a:latin typeface="Proximus"/>
              <a:cs typeface="Proximus"/>
            </a:endParaRPr>
          </a:p>
        </p:txBody>
      </p:sp>
      <p:pic>
        <p:nvPicPr>
          <p:cNvPr id="29" name="Graphic 28">
            <a:extLst>
              <a:ext uri="{FF2B5EF4-FFF2-40B4-BE49-F238E27FC236}">
                <a16:creationId xmlns:a16="http://schemas.microsoft.com/office/drawing/2014/main" id="{9E669444-53FB-3F5E-0BC9-3E10552C9AFC}"/>
              </a:ext>
            </a:extLst>
          </p:cNvPr>
          <p:cNvPicPr>
            <a:picLocks noChangeAspect="1"/>
          </p:cNvPicPr>
          <p:nvPr/>
        </p:nvPicPr>
        <p:blipFill>
          <a:blip r:embed="rId18" cstate="hqprint">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rot="10800000" flipH="1">
            <a:off x="6387221" y="3631904"/>
            <a:ext cx="214028" cy="334418"/>
          </a:xfrm>
          <a:prstGeom prst="rect">
            <a:avLst/>
          </a:prstGeom>
        </p:spPr>
      </p:pic>
      <p:pic>
        <p:nvPicPr>
          <p:cNvPr id="30" name="Graphic 29">
            <a:extLst>
              <a:ext uri="{FF2B5EF4-FFF2-40B4-BE49-F238E27FC236}">
                <a16:creationId xmlns:a16="http://schemas.microsoft.com/office/drawing/2014/main" id="{D993F8A4-B9E6-2B66-27F3-574DA95FA3C8}"/>
              </a:ext>
            </a:extLst>
          </p:cNvPr>
          <p:cNvPicPr>
            <a:picLocks noChangeAspect="1"/>
          </p:cNvPicPr>
          <p:nvPr/>
        </p:nvPicPr>
        <p:blipFill>
          <a:blip r:embed="rId18" cstate="hqprint">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rot="16200000" flipH="1">
            <a:off x="7136497" y="4624235"/>
            <a:ext cx="214028" cy="334418"/>
          </a:xfrm>
          <a:prstGeom prst="rect">
            <a:avLst/>
          </a:prstGeom>
        </p:spPr>
      </p:pic>
      <p:pic>
        <p:nvPicPr>
          <p:cNvPr id="32" name="Graphic 31">
            <a:extLst>
              <a:ext uri="{FF2B5EF4-FFF2-40B4-BE49-F238E27FC236}">
                <a16:creationId xmlns:a16="http://schemas.microsoft.com/office/drawing/2014/main" id="{B6898472-BEB2-E747-BACB-73A2F286EF72}"/>
              </a:ext>
            </a:extLst>
          </p:cNvPr>
          <p:cNvPicPr>
            <a:picLocks noChangeAspect="1"/>
          </p:cNvPicPr>
          <p:nvPr/>
        </p:nvPicPr>
        <p:blipFill>
          <a:blip r:embed="rId18" cstate="hqprint">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rot="5400000" flipH="1">
            <a:off x="5603435" y="4640316"/>
            <a:ext cx="214028" cy="334418"/>
          </a:xfrm>
          <a:prstGeom prst="rect">
            <a:avLst/>
          </a:prstGeom>
        </p:spPr>
      </p:pic>
      <p:cxnSp>
        <p:nvCxnSpPr>
          <p:cNvPr id="40" name="Straight Connector 39">
            <a:extLst>
              <a:ext uri="{FF2B5EF4-FFF2-40B4-BE49-F238E27FC236}">
                <a16:creationId xmlns:a16="http://schemas.microsoft.com/office/drawing/2014/main" id="{B5D9040C-08BB-3738-C585-C93D8D0BE7A2}"/>
              </a:ext>
            </a:extLst>
          </p:cNvPr>
          <p:cNvCxnSpPr/>
          <p:nvPr/>
        </p:nvCxnSpPr>
        <p:spPr>
          <a:xfrm>
            <a:off x="4191880" y="3098307"/>
            <a:ext cx="0" cy="3187076"/>
          </a:xfrm>
          <a:prstGeom prst="line">
            <a:avLst/>
          </a:prstGeom>
          <a:ln w="12700" cap="rnd">
            <a:solidFill>
              <a:schemeClr val="tx1">
                <a:lumMod val="65000"/>
              </a:schemeClr>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58E28DE7-5EFC-05BC-72F2-01C713DA3C74}"/>
              </a:ext>
            </a:extLst>
          </p:cNvPr>
          <p:cNvCxnSpPr/>
          <p:nvPr/>
        </p:nvCxnSpPr>
        <p:spPr>
          <a:xfrm>
            <a:off x="8817589" y="3114464"/>
            <a:ext cx="0" cy="3187076"/>
          </a:xfrm>
          <a:prstGeom prst="line">
            <a:avLst/>
          </a:prstGeom>
          <a:ln w="12700" cap="rnd">
            <a:solidFill>
              <a:schemeClr val="tx1">
                <a:lumMod val="65000"/>
              </a:schemeClr>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BE24438-D6AA-B1A9-52D8-C4F8776278D0}"/>
              </a:ext>
            </a:extLst>
          </p:cNvPr>
          <p:cNvCxnSpPr/>
          <p:nvPr/>
        </p:nvCxnSpPr>
        <p:spPr>
          <a:xfrm>
            <a:off x="10547751" y="3114464"/>
            <a:ext cx="0" cy="3187076"/>
          </a:xfrm>
          <a:prstGeom prst="line">
            <a:avLst/>
          </a:prstGeom>
          <a:ln w="12700" cap="rnd">
            <a:solidFill>
              <a:schemeClr val="tx1">
                <a:lumMod val="65000"/>
              </a:schemeClr>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351B2A4-3F4C-DF68-4C46-D09070C10368}"/>
              </a:ext>
            </a:extLst>
          </p:cNvPr>
          <p:cNvCxnSpPr>
            <a:cxnSpLocks/>
          </p:cNvCxnSpPr>
          <p:nvPr/>
        </p:nvCxnSpPr>
        <p:spPr>
          <a:xfrm>
            <a:off x="0" y="2686426"/>
            <a:ext cx="12192000" cy="0"/>
          </a:xfrm>
          <a:prstGeom prst="line">
            <a:avLst/>
          </a:prstGeom>
          <a:ln w="28575" cap="rnd">
            <a:solidFill>
              <a:schemeClr val="bg1">
                <a:lumMod val="40000"/>
                <a:lumOff val="60000"/>
              </a:schemeClr>
            </a:solidFill>
            <a:prstDash val="sysDot"/>
            <a:tailEnd type="none"/>
          </a:ln>
          <a:effectLst/>
        </p:spPr>
        <p:style>
          <a:lnRef idx="2">
            <a:schemeClr val="accent1"/>
          </a:lnRef>
          <a:fillRef idx="0">
            <a:schemeClr val="accent1"/>
          </a:fillRef>
          <a:effectRef idx="1">
            <a:schemeClr val="accent1"/>
          </a:effectRef>
          <a:fontRef idx="minor">
            <a:schemeClr val="tx1"/>
          </a:fontRef>
        </p:style>
      </p:cxnSp>
      <p:sp>
        <p:nvSpPr>
          <p:cNvPr id="45" name="TextBox 44">
            <a:extLst>
              <a:ext uri="{FF2B5EF4-FFF2-40B4-BE49-F238E27FC236}">
                <a16:creationId xmlns:a16="http://schemas.microsoft.com/office/drawing/2014/main" id="{3118DE0C-168B-212C-ED64-E707EAD16207}"/>
              </a:ext>
            </a:extLst>
          </p:cNvPr>
          <p:cNvSpPr txBox="1"/>
          <p:nvPr/>
        </p:nvSpPr>
        <p:spPr>
          <a:xfrm>
            <a:off x="146515" y="2528023"/>
            <a:ext cx="1462221" cy="307777"/>
          </a:xfrm>
          <a:prstGeom prst="rect">
            <a:avLst/>
          </a:prstGeom>
          <a:solidFill>
            <a:schemeClr val="tx1">
              <a:lumMod val="95000"/>
            </a:schemeClr>
          </a:solidFill>
        </p:spPr>
        <p:txBody>
          <a:bodyPr wrap="square">
            <a:spAutoFit/>
          </a:bodyPr>
          <a:lstStyle/>
          <a:p>
            <a:pPr algn="ctr"/>
            <a:r>
              <a:rPr lang="en-US" sz="1400" b="1" noProof="0">
                <a:solidFill>
                  <a:srgbClr val="282233"/>
                </a:solidFill>
              </a:rPr>
              <a:t>Requirements</a:t>
            </a:r>
          </a:p>
        </p:txBody>
      </p:sp>
      <p:sp>
        <p:nvSpPr>
          <p:cNvPr id="47" name="TextBox 46">
            <a:extLst>
              <a:ext uri="{FF2B5EF4-FFF2-40B4-BE49-F238E27FC236}">
                <a16:creationId xmlns:a16="http://schemas.microsoft.com/office/drawing/2014/main" id="{1335655D-AFAE-1162-14C5-74627AECCF71}"/>
              </a:ext>
            </a:extLst>
          </p:cNvPr>
          <p:cNvSpPr txBox="1"/>
          <p:nvPr/>
        </p:nvSpPr>
        <p:spPr>
          <a:xfrm>
            <a:off x="2114898" y="2519214"/>
            <a:ext cx="819884" cy="307777"/>
          </a:xfrm>
          <a:prstGeom prst="rect">
            <a:avLst/>
          </a:prstGeom>
          <a:solidFill>
            <a:schemeClr val="tx1">
              <a:lumMod val="95000"/>
            </a:schemeClr>
          </a:solidFill>
        </p:spPr>
        <p:txBody>
          <a:bodyPr wrap="square">
            <a:spAutoFit/>
          </a:bodyPr>
          <a:lstStyle/>
          <a:p>
            <a:pPr algn="ctr"/>
            <a:r>
              <a:rPr lang="en-US" sz="1400" b="1">
                <a:solidFill>
                  <a:srgbClr val="282233"/>
                </a:solidFill>
              </a:rPr>
              <a:t>Design</a:t>
            </a:r>
            <a:endParaRPr lang="en-US" sz="1400" b="1" noProof="0">
              <a:solidFill>
                <a:srgbClr val="282233"/>
              </a:solidFill>
            </a:endParaRPr>
          </a:p>
        </p:txBody>
      </p:sp>
      <p:sp>
        <p:nvSpPr>
          <p:cNvPr id="49" name="TextBox 48">
            <a:extLst>
              <a:ext uri="{FF2B5EF4-FFF2-40B4-BE49-F238E27FC236}">
                <a16:creationId xmlns:a16="http://schemas.microsoft.com/office/drawing/2014/main" id="{4F0207E8-1B3B-F6F1-6404-10CA1547F70D}"/>
              </a:ext>
            </a:extLst>
          </p:cNvPr>
          <p:cNvSpPr txBox="1"/>
          <p:nvPr/>
        </p:nvSpPr>
        <p:spPr>
          <a:xfrm>
            <a:off x="4191880" y="2532534"/>
            <a:ext cx="1438646" cy="307777"/>
          </a:xfrm>
          <a:prstGeom prst="rect">
            <a:avLst/>
          </a:prstGeom>
          <a:solidFill>
            <a:schemeClr val="tx1">
              <a:lumMod val="95000"/>
            </a:schemeClr>
          </a:solidFill>
        </p:spPr>
        <p:txBody>
          <a:bodyPr wrap="square">
            <a:spAutoFit/>
          </a:bodyPr>
          <a:lstStyle/>
          <a:p>
            <a:pPr algn="ctr"/>
            <a:r>
              <a:rPr lang="en-US" sz="1400" b="1" noProof="0">
                <a:solidFill>
                  <a:srgbClr val="282233"/>
                </a:solidFill>
              </a:rPr>
              <a:t>Development</a:t>
            </a:r>
          </a:p>
        </p:txBody>
      </p:sp>
      <p:sp>
        <p:nvSpPr>
          <p:cNvPr id="51" name="TextBox 50">
            <a:extLst>
              <a:ext uri="{FF2B5EF4-FFF2-40B4-BE49-F238E27FC236}">
                <a16:creationId xmlns:a16="http://schemas.microsoft.com/office/drawing/2014/main" id="{A2C7D4DE-E265-5E8E-F435-5B3DA9F8AF4B}"/>
              </a:ext>
            </a:extLst>
          </p:cNvPr>
          <p:cNvSpPr txBox="1"/>
          <p:nvPr/>
        </p:nvSpPr>
        <p:spPr>
          <a:xfrm>
            <a:off x="7373900" y="2519214"/>
            <a:ext cx="831790" cy="307777"/>
          </a:xfrm>
          <a:prstGeom prst="rect">
            <a:avLst/>
          </a:prstGeom>
          <a:solidFill>
            <a:schemeClr val="tx1">
              <a:lumMod val="95000"/>
            </a:schemeClr>
          </a:solidFill>
        </p:spPr>
        <p:txBody>
          <a:bodyPr wrap="square">
            <a:spAutoFit/>
          </a:bodyPr>
          <a:lstStyle/>
          <a:p>
            <a:pPr algn="ctr"/>
            <a:r>
              <a:rPr lang="en-US" sz="1400" b="1" noProof="0">
                <a:solidFill>
                  <a:srgbClr val="282233"/>
                </a:solidFill>
              </a:rPr>
              <a:t>Testing</a:t>
            </a:r>
          </a:p>
        </p:txBody>
      </p:sp>
      <p:pic>
        <p:nvPicPr>
          <p:cNvPr id="53" name="Graphic 52">
            <a:extLst>
              <a:ext uri="{FF2B5EF4-FFF2-40B4-BE49-F238E27FC236}">
                <a16:creationId xmlns:a16="http://schemas.microsoft.com/office/drawing/2014/main" id="{523AFDA3-1DEA-27ED-DD87-CC3287913280}"/>
              </a:ext>
            </a:extLst>
          </p:cNvPr>
          <p:cNvPicPr>
            <a:picLocks noChangeAspect="1"/>
          </p:cNvPicPr>
          <p:nvPr/>
        </p:nvPicPr>
        <p:blipFill>
          <a:blip r:embed="rId21" cstate="hqprint">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rot="10800000" flipH="1">
            <a:off x="1630959" y="2520137"/>
            <a:ext cx="214028" cy="334418"/>
          </a:xfrm>
          <a:prstGeom prst="rect">
            <a:avLst/>
          </a:prstGeom>
        </p:spPr>
      </p:pic>
      <p:pic>
        <p:nvPicPr>
          <p:cNvPr id="55" name="Graphic 54">
            <a:extLst>
              <a:ext uri="{FF2B5EF4-FFF2-40B4-BE49-F238E27FC236}">
                <a16:creationId xmlns:a16="http://schemas.microsoft.com/office/drawing/2014/main" id="{5F27B8AE-C6AD-0471-7820-547162D54AA9}"/>
              </a:ext>
            </a:extLst>
          </p:cNvPr>
          <p:cNvPicPr>
            <a:picLocks noChangeAspect="1"/>
          </p:cNvPicPr>
          <p:nvPr/>
        </p:nvPicPr>
        <p:blipFill>
          <a:blip r:embed="rId21" cstate="hqprint">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rot="10800000" flipH="1">
            <a:off x="3213918" y="2519214"/>
            <a:ext cx="214028" cy="334418"/>
          </a:xfrm>
          <a:prstGeom prst="rect">
            <a:avLst/>
          </a:prstGeom>
        </p:spPr>
      </p:pic>
      <p:pic>
        <p:nvPicPr>
          <p:cNvPr id="60" name="Graphic 59">
            <a:extLst>
              <a:ext uri="{FF2B5EF4-FFF2-40B4-BE49-F238E27FC236}">
                <a16:creationId xmlns:a16="http://schemas.microsoft.com/office/drawing/2014/main" id="{C1723859-2F9A-3374-4BDC-1487895BA490}"/>
              </a:ext>
            </a:extLst>
          </p:cNvPr>
          <p:cNvPicPr>
            <a:picLocks noChangeAspect="1"/>
          </p:cNvPicPr>
          <p:nvPr/>
        </p:nvPicPr>
        <p:blipFill>
          <a:blip r:embed="rId21" cstate="hqprint">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rot="10800000" flipH="1">
            <a:off x="6819162" y="2519214"/>
            <a:ext cx="214028" cy="334418"/>
          </a:xfrm>
          <a:prstGeom prst="rect">
            <a:avLst/>
          </a:prstGeom>
        </p:spPr>
      </p:pic>
      <p:sp>
        <p:nvSpPr>
          <p:cNvPr id="61" name="TextBox 60">
            <a:extLst>
              <a:ext uri="{FF2B5EF4-FFF2-40B4-BE49-F238E27FC236}">
                <a16:creationId xmlns:a16="http://schemas.microsoft.com/office/drawing/2014/main" id="{F426CDFD-05F8-1D5D-5A97-788D8D511C00}"/>
              </a:ext>
            </a:extLst>
          </p:cNvPr>
          <p:cNvSpPr txBox="1"/>
          <p:nvPr/>
        </p:nvSpPr>
        <p:spPr>
          <a:xfrm>
            <a:off x="8814490" y="2512854"/>
            <a:ext cx="1319265" cy="307777"/>
          </a:xfrm>
          <a:prstGeom prst="rect">
            <a:avLst/>
          </a:prstGeom>
          <a:solidFill>
            <a:schemeClr val="tx1">
              <a:lumMod val="95000"/>
            </a:schemeClr>
          </a:solidFill>
        </p:spPr>
        <p:txBody>
          <a:bodyPr wrap="square">
            <a:spAutoFit/>
          </a:bodyPr>
          <a:lstStyle/>
          <a:p>
            <a:pPr algn="ctr"/>
            <a:r>
              <a:rPr lang="en-US" sz="1400" b="1" noProof="0">
                <a:solidFill>
                  <a:srgbClr val="282233"/>
                </a:solidFill>
              </a:rPr>
              <a:t>Deployment</a:t>
            </a:r>
          </a:p>
        </p:txBody>
      </p:sp>
      <p:pic>
        <p:nvPicPr>
          <p:cNvPr id="89" name="Graphic 88">
            <a:extLst>
              <a:ext uri="{FF2B5EF4-FFF2-40B4-BE49-F238E27FC236}">
                <a16:creationId xmlns:a16="http://schemas.microsoft.com/office/drawing/2014/main" id="{FFE7F7A6-3C26-5188-1694-85C51DF4869E}"/>
              </a:ext>
            </a:extLst>
          </p:cNvPr>
          <p:cNvPicPr>
            <a:picLocks noChangeAspect="1"/>
          </p:cNvPicPr>
          <p:nvPr/>
        </p:nvPicPr>
        <p:blipFill>
          <a:blip r:embed="rId21" cstate="hqprint">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rot="10800000" flipH="1">
            <a:off x="8435855" y="2519218"/>
            <a:ext cx="214028" cy="334418"/>
          </a:xfrm>
          <a:prstGeom prst="rect">
            <a:avLst/>
          </a:prstGeom>
        </p:spPr>
      </p:pic>
      <p:pic>
        <p:nvPicPr>
          <p:cNvPr id="90" name="Graphic 89">
            <a:extLst>
              <a:ext uri="{FF2B5EF4-FFF2-40B4-BE49-F238E27FC236}">
                <a16:creationId xmlns:a16="http://schemas.microsoft.com/office/drawing/2014/main" id="{F8D6984D-7BB7-DF92-EC4E-36812F677FB4}"/>
              </a:ext>
            </a:extLst>
          </p:cNvPr>
          <p:cNvPicPr>
            <a:picLocks noChangeAspect="1"/>
          </p:cNvPicPr>
          <p:nvPr/>
        </p:nvPicPr>
        <p:blipFill>
          <a:blip r:embed="rId21" cstate="hqprint">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rot="10800000" flipH="1">
            <a:off x="10321303" y="2512855"/>
            <a:ext cx="214028" cy="334418"/>
          </a:xfrm>
          <a:prstGeom prst="rect">
            <a:avLst/>
          </a:prstGeom>
        </p:spPr>
      </p:pic>
      <p:sp>
        <p:nvSpPr>
          <p:cNvPr id="91" name="TextBox 90">
            <a:extLst>
              <a:ext uri="{FF2B5EF4-FFF2-40B4-BE49-F238E27FC236}">
                <a16:creationId xmlns:a16="http://schemas.microsoft.com/office/drawing/2014/main" id="{2EA345C2-0CC4-2AA9-28BD-520932A9BF9D}"/>
              </a:ext>
            </a:extLst>
          </p:cNvPr>
          <p:cNvSpPr txBox="1"/>
          <p:nvPr/>
        </p:nvSpPr>
        <p:spPr>
          <a:xfrm>
            <a:off x="10673443" y="2512855"/>
            <a:ext cx="1319265" cy="523220"/>
          </a:xfrm>
          <a:prstGeom prst="rect">
            <a:avLst/>
          </a:prstGeom>
          <a:solidFill>
            <a:schemeClr val="tx1">
              <a:lumMod val="95000"/>
            </a:schemeClr>
          </a:solidFill>
        </p:spPr>
        <p:txBody>
          <a:bodyPr wrap="square">
            <a:spAutoFit/>
          </a:bodyPr>
          <a:lstStyle/>
          <a:p>
            <a:pPr algn="ctr"/>
            <a:r>
              <a:rPr lang="en-US" sz="1400" b="1" noProof="0">
                <a:solidFill>
                  <a:srgbClr val="282233"/>
                </a:solidFill>
              </a:rPr>
              <a:t>Monitoring &amp; Ops.</a:t>
            </a:r>
          </a:p>
        </p:txBody>
      </p:sp>
      <p:sp>
        <p:nvSpPr>
          <p:cNvPr id="92" name="Rectangle: Rounded Corners 91">
            <a:extLst>
              <a:ext uri="{FF2B5EF4-FFF2-40B4-BE49-F238E27FC236}">
                <a16:creationId xmlns:a16="http://schemas.microsoft.com/office/drawing/2014/main" id="{05E6E1DA-94E7-A530-5CBF-5B89B89C7BC8}"/>
              </a:ext>
            </a:extLst>
          </p:cNvPr>
          <p:cNvSpPr/>
          <p:nvPr/>
        </p:nvSpPr>
        <p:spPr>
          <a:xfrm>
            <a:off x="9090641" y="3737892"/>
            <a:ext cx="1184059" cy="707620"/>
          </a:xfrm>
          <a:prstGeom prst="roundRect">
            <a:avLst>
              <a:gd name="adj" fmla="val 8542"/>
            </a:avLst>
          </a:prstGeom>
          <a:solidFill>
            <a:schemeClr val="bg1">
              <a:lumMod val="20000"/>
              <a:lumOff val="80000"/>
            </a:schemeClr>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r>
              <a:rPr lang="en-US" sz="1100">
                <a:solidFill>
                  <a:srgbClr val="282233"/>
                </a:solidFill>
                <a:latin typeface="Proximus"/>
                <a:cs typeface="Proximus"/>
              </a:rPr>
              <a:t>Self-optimized CIDC</a:t>
            </a:r>
            <a:endParaRPr lang="en-GB" sz="1100">
              <a:solidFill>
                <a:srgbClr val="282233"/>
              </a:solidFill>
              <a:latin typeface="Proximus"/>
              <a:cs typeface="Proximus"/>
            </a:endParaRPr>
          </a:p>
        </p:txBody>
      </p:sp>
      <p:sp>
        <p:nvSpPr>
          <p:cNvPr id="93" name="Rectangle: Rounded Corners 92">
            <a:extLst>
              <a:ext uri="{FF2B5EF4-FFF2-40B4-BE49-F238E27FC236}">
                <a16:creationId xmlns:a16="http://schemas.microsoft.com/office/drawing/2014/main" id="{6819D34E-24F6-5F96-A2E7-FE76D9894BA1}"/>
              </a:ext>
            </a:extLst>
          </p:cNvPr>
          <p:cNvSpPr/>
          <p:nvPr/>
        </p:nvSpPr>
        <p:spPr>
          <a:xfrm>
            <a:off x="10673443" y="3750610"/>
            <a:ext cx="1184059" cy="707620"/>
          </a:xfrm>
          <a:prstGeom prst="roundRect">
            <a:avLst>
              <a:gd name="adj" fmla="val 8542"/>
            </a:avLst>
          </a:prstGeom>
          <a:solidFill>
            <a:schemeClr val="bg1">
              <a:lumMod val="20000"/>
              <a:lumOff val="80000"/>
            </a:schemeClr>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r>
              <a:rPr lang="en-US" sz="1100">
                <a:solidFill>
                  <a:srgbClr val="282233"/>
                </a:solidFill>
                <a:latin typeface="Proximus"/>
                <a:cs typeface="Proximus"/>
              </a:rPr>
              <a:t>Predictive monitoring &amp; maintenance</a:t>
            </a:r>
            <a:endParaRPr lang="en-GB" sz="1100">
              <a:solidFill>
                <a:srgbClr val="282233"/>
              </a:solidFill>
              <a:latin typeface="Proximus"/>
              <a:cs typeface="Proximus"/>
            </a:endParaRPr>
          </a:p>
        </p:txBody>
      </p:sp>
      <p:cxnSp>
        <p:nvCxnSpPr>
          <p:cNvPr id="95" name="Straight Connector 94">
            <a:extLst>
              <a:ext uri="{FF2B5EF4-FFF2-40B4-BE49-F238E27FC236}">
                <a16:creationId xmlns:a16="http://schemas.microsoft.com/office/drawing/2014/main" id="{C944FA91-A090-C4EF-4E94-770AC57977C2}"/>
              </a:ext>
            </a:extLst>
          </p:cNvPr>
          <p:cNvCxnSpPr>
            <a:cxnSpLocks/>
          </p:cNvCxnSpPr>
          <p:nvPr/>
        </p:nvCxnSpPr>
        <p:spPr>
          <a:xfrm>
            <a:off x="146514" y="6557070"/>
            <a:ext cx="5234002" cy="0"/>
          </a:xfrm>
          <a:prstGeom prst="line">
            <a:avLst/>
          </a:prstGeom>
          <a:ln w="9525" cap="rnd">
            <a:solidFill>
              <a:schemeClr val="tx1">
                <a:lumMod val="50000"/>
              </a:schemeClr>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CFF7710C-7FDC-2102-2DE5-F7EA2B3CF59D}"/>
              </a:ext>
            </a:extLst>
          </p:cNvPr>
          <p:cNvCxnSpPr>
            <a:cxnSpLocks/>
          </p:cNvCxnSpPr>
          <p:nvPr/>
        </p:nvCxnSpPr>
        <p:spPr>
          <a:xfrm>
            <a:off x="6811484" y="6557070"/>
            <a:ext cx="5181223" cy="0"/>
          </a:xfrm>
          <a:prstGeom prst="line">
            <a:avLst/>
          </a:prstGeom>
          <a:ln w="9525" cap="rnd">
            <a:solidFill>
              <a:schemeClr val="tx1">
                <a:lumMod val="50000"/>
              </a:schemeClr>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a16="http://schemas.microsoft.com/office/drawing/2014/main" id="{09B37519-52A3-52C1-62B1-2A8D043089FE}"/>
              </a:ext>
            </a:extLst>
          </p:cNvPr>
          <p:cNvSpPr txBox="1"/>
          <p:nvPr/>
        </p:nvSpPr>
        <p:spPr>
          <a:xfrm>
            <a:off x="2901794" y="6373774"/>
            <a:ext cx="6335631" cy="307777"/>
          </a:xfrm>
          <a:prstGeom prst="rect">
            <a:avLst/>
          </a:prstGeom>
          <a:solidFill>
            <a:schemeClr val="tx1">
              <a:lumMod val="95000"/>
            </a:schemeClr>
          </a:solidFill>
        </p:spPr>
        <p:txBody>
          <a:bodyPr wrap="square">
            <a:spAutoFit/>
          </a:bodyPr>
          <a:lstStyle/>
          <a:p>
            <a:pPr algn="ctr"/>
            <a:r>
              <a:rPr lang="en-US" sz="1400" b="1">
                <a:solidFill>
                  <a:schemeClr val="tx1">
                    <a:lumMod val="50000"/>
                  </a:schemeClr>
                </a:solidFill>
              </a:rPr>
              <a:t>continuous feedback and improvement &amp; shared data across all stages</a:t>
            </a:r>
            <a:endParaRPr lang="en-US" sz="1100" b="1" noProof="0">
              <a:solidFill>
                <a:schemeClr val="tx1">
                  <a:lumMod val="50000"/>
                </a:schemeClr>
              </a:solidFill>
            </a:endParaRPr>
          </a:p>
        </p:txBody>
      </p:sp>
    </p:spTree>
    <p:extLst>
      <p:ext uri="{BB962C8B-B14F-4D97-AF65-F5344CB8AC3E}">
        <p14:creationId xmlns:p14="http://schemas.microsoft.com/office/powerpoint/2010/main" val="34557933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lumMod val="95000"/>
          </a:schemeClr>
        </a:solidFill>
        <a:effectLst/>
      </p:bgPr>
    </p:bg>
    <p:spTree>
      <p:nvGrpSpPr>
        <p:cNvPr id="1" name="">
          <a:extLst>
            <a:ext uri="{FF2B5EF4-FFF2-40B4-BE49-F238E27FC236}">
              <a16:creationId xmlns:a16="http://schemas.microsoft.com/office/drawing/2014/main" id="{547C0A2A-E393-A5E4-0E36-C608F397179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6619609-0F31-5974-00F3-A88856B77ED1}"/>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4" name="think-cell data - do not delete" hidden="1">
                        <a:extLst>
                          <a:ext uri="{FF2B5EF4-FFF2-40B4-BE49-F238E27FC236}">
                            <a16:creationId xmlns:a16="http://schemas.microsoft.com/office/drawing/2014/main" id="{A6619609-0F31-5974-00F3-A88856B77E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Rounded Corners 7">
            <a:extLst>
              <a:ext uri="{FF2B5EF4-FFF2-40B4-BE49-F238E27FC236}">
                <a16:creationId xmlns:a16="http://schemas.microsoft.com/office/drawing/2014/main" id="{6A878FE3-8310-06B9-4926-F29DE10E524D}"/>
              </a:ext>
            </a:extLst>
          </p:cNvPr>
          <p:cNvSpPr/>
          <p:nvPr/>
        </p:nvSpPr>
        <p:spPr>
          <a:xfrm>
            <a:off x="1863501" y="1543282"/>
            <a:ext cx="8740021" cy="443331"/>
          </a:xfrm>
          <a:prstGeom prst="roundRect">
            <a:avLst/>
          </a:prstGeom>
          <a:solidFill>
            <a:schemeClr val="tx1"/>
          </a:solidFill>
          <a:ln>
            <a:noFill/>
            <a:prstDash val="solid"/>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Proximus ExtraBold"/>
              <a:ea typeface="+mn-ea"/>
              <a:cs typeface="Proximus Bold"/>
            </a:endParaRPr>
          </a:p>
        </p:txBody>
      </p:sp>
      <p:sp>
        <p:nvSpPr>
          <p:cNvPr id="10" name="Oval 9">
            <a:extLst>
              <a:ext uri="{FF2B5EF4-FFF2-40B4-BE49-F238E27FC236}">
                <a16:creationId xmlns:a16="http://schemas.microsoft.com/office/drawing/2014/main" id="{9404BC85-A236-B0CA-9853-D1491F25940D}"/>
              </a:ext>
            </a:extLst>
          </p:cNvPr>
          <p:cNvSpPr/>
          <p:nvPr/>
        </p:nvSpPr>
        <p:spPr>
          <a:xfrm>
            <a:off x="1681623" y="1546885"/>
            <a:ext cx="447472" cy="43038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Proximus ExtraBold"/>
                <a:ea typeface="+mn-ea"/>
                <a:cs typeface="Proximus Bold"/>
              </a:rPr>
              <a:t>1</a:t>
            </a:r>
          </a:p>
        </p:txBody>
      </p:sp>
      <p:sp>
        <p:nvSpPr>
          <p:cNvPr id="11" name="Rectangle 10">
            <a:extLst>
              <a:ext uri="{FF2B5EF4-FFF2-40B4-BE49-F238E27FC236}">
                <a16:creationId xmlns:a16="http://schemas.microsoft.com/office/drawing/2014/main" id="{E930FAD2-196E-6FDE-B972-240AFBC31B1A}"/>
              </a:ext>
            </a:extLst>
          </p:cNvPr>
          <p:cNvSpPr/>
          <p:nvPr/>
        </p:nvSpPr>
        <p:spPr>
          <a:xfrm>
            <a:off x="2394687" y="1568059"/>
            <a:ext cx="7188928" cy="388033"/>
          </a:xfrm>
          <a:prstGeom prst="rect">
            <a:avLst/>
          </a:prstGeom>
          <a:noFill/>
          <a:ln w="9525" cap="flat" cmpd="sng" algn="ctr">
            <a:noFill/>
            <a:prstDash val="solid"/>
          </a:ln>
          <a:effectLst/>
        </p:spPr>
        <p:txBody>
          <a:bodyPr vert="horz" lIns="144000" tIns="144000" rIns="144000" bIns="144000" rtlCol="0" anchor="ctr" anchorCtr="0"/>
          <a:lstStyle/>
          <a:p>
            <a:pPr marL="0" marR="0" lvl="0" indent="0" algn="l" defTabSz="121841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82233"/>
                </a:solidFill>
                <a:effectLst/>
                <a:uLnTx/>
                <a:uFillTx/>
                <a:latin typeface="Proximus ExtraBold"/>
                <a:ea typeface="+mn-ea"/>
                <a:cs typeface="Proximus Bold"/>
              </a:rPr>
              <a:t>Shift focus from ‘adoption’ of AI tools to ‘meaningful use’ – and measure it</a:t>
            </a:r>
            <a:endParaRPr kumimoji="0" lang="en-US" sz="1400" b="0" i="0" u="none" strike="noStrike" kern="1200" cap="none" spc="0" normalizeH="0" baseline="0" noProof="0">
              <a:ln>
                <a:noFill/>
              </a:ln>
              <a:solidFill>
                <a:srgbClr val="282233"/>
              </a:solidFill>
              <a:effectLst/>
              <a:uLnTx/>
              <a:uFillTx/>
              <a:latin typeface="Proximus Bold" panose="00000500000000000000" pitchFamily="2" charset="0"/>
              <a:ea typeface="+mn-ea"/>
              <a:cs typeface="Proximus Bold"/>
            </a:endParaRPr>
          </a:p>
        </p:txBody>
      </p:sp>
      <p:sp>
        <p:nvSpPr>
          <p:cNvPr id="5" name="Rectangle: Rounded Corners 4">
            <a:extLst>
              <a:ext uri="{FF2B5EF4-FFF2-40B4-BE49-F238E27FC236}">
                <a16:creationId xmlns:a16="http://schemas.microsoft.com/office/drawing/2014/main" id="{561469B3-A5A5-E9D0-FA92-3369F354D7E3}"/>
              </a:ext>
            </a:extLst>
          </p:cNvPr>
          <p:cNvSpPr/>
          <p:nvPr/>
        </p:nvSpPr>
        <p:spPr>
          <a:xfrm>
            <a:off x="1863501" y="2290628"/>
            <a:ext cx="8740021" cy="443331"/>
          </a:xfrm>
          <a:prstGeom prst="roundRect">
            <a:avLst/>
          </a:prstGeom>
          <a:solidFill>
            <a:schemeClr val="tx1"/>
          </a:solidFill>
          <a:ln>
            <a:noFill/>
            <a:prstDash val="solid"/>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Proximus ExtraBold"/>
              <a:ea typeface="+mn-ea"/>
              <a:cs typeface="Proximus Bold"/>
            </a:endParaRPr>
          </a:p>
        </p:txBody>
      </p:sp>
      <p:sp>
        <p:nvSpPr>
          <p:cNvPr id="6" name="Oval 5">
            <a:extLst>
              <a:ext uri="{FF2B5EF4-FFF2-40B4-BE49-F238E27FC236}">
                <a16:creationId xmlns:a16="http://schemas.microsoft.com/office/drawing/2014/main" id="{AD79BE03-21E0-0231-E6A6-8E83F912A1E8}"/>
              </a:ext>
            </a:extLst>
          </p:cNvPr>
          <p:cNvSpPr/>
          <p:nvPr/>
        </p:nvSpPr>
        <p:spPr>
          <a:xfrm>
            <a:off x="1681623" y="2294231"/>
            <a:ext cx="447472" cy="43038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Proximus ExtraBold"/>
                <a:ea typeface="+mn-ea"/>
                <a:cs typeface="Proximus Bold"/>
              </a:rPr>
              <a:t>2</a:t>
            </a:r>
          </a:p>
        </p:txBody>
      </p:sp>
      <p:sp>
        <p:nvSpPr>
          <p:cNvPr id="12" name="Rectangle 11">
            <a:extLst>
              <a:ext uri="{FF2B5EF4-FFF2-40B4-BE49-F238E27FC236}">
                <a16:creationId xmlns:a16="http://schemas.microsoft.com/office/drawing/2014/main" id="{DA264A77-B4B8-1CF0-C58D-34DCB52F9908}"/>
              </a:ext>
            </a:extLst>
          </p:cNvPr>
          <p:cNvSpPr/>
          <p:nvPr/>
        </p:nvSpPr>
        <p:spPr>
          <a:xfrm>
            <a:off x="2394687" y="2315405"/>
            <a:ext cx="7188928" cy="388033"/>
          </a:xfrm>
          <a:prstGeom prst="rect">
            <a:avLst/>
          </a:prstGeom>
          <a:noFill/>
          <a:ln w="9525" cap="flat" cmpd="sng" algn="ctr">
            <a:noFill/>
            <a:prstDash val="solid"/>
          </a:ln>
          <a:effectLst/>
        </p:spPr>
        <p:txBody>
          <a:bodyPr vert="horz" lIns="144000" tIns="144000" rIns="144000" bIns="144000" rtlCol="0" anchor="ctr" anchorCtr="0"/>
          <a:lstStyle/>
          <a:p>
            <a:pPr marL="0" marR="0" lvl="0" indent="0" algn="l" defTabSz="121841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82233"/>
                </a:solidFill>
                <a:effectLst/>
                <a:uLnTx/>
                <a:uFillTx/>
                <a:latin typeface="Proximus ExtraBold"/>
                <a:ea typeface="+mn-ea"/>
                <a:cs typeface="Proximus Bold"/>
              </a:rPr>
              <a:t>Give AI agents ample context to work with</a:t>
            </a:r>
            <a:endParaRPr kumimoji="0" lang="en-US" sz="1400" b="0" i="0" u="none" strike="noStrike" kern="1200" cap="none" spc="0" normalizeH="0" baseline="0" noProof="0">
              <a:ln>
                <a:noFill/>
              </a:ln>
              <a:solidFill>
                <a:srgbClr val="282233"/>
              </a:solidFill>
              <a:effectLst/>
              <a:uLnTx/>
              <a:uFillTx/>
              <a:latin typeface="Proximus Bold" panose="00000500000000000000" pitchFamily="2" charset="0"/>
              <a:ea typeface="+mn-ea"/>
              <a:cs typeface="Proximus Bold"/>
            </a:endParaRPr>
          </a:p>
        </p:txBody>
      </p:sp>
      <p:sp>
        <p:nvSpPr>
          <p:cNvPr id="13" name="Rectangle: Rounded Corners 12">
            <a:extLst>
              <a:ext uri="{FF2B5EF4-FFF2-40B4-BE49-F238E27FC236}">
                <a16:creationId xmlns:a16="http://schemas.microsoft.com/office/drawing/2014/main" id="{DB7740E4-CF54-51A5-44E6-D5E7998B73F5}"/>
              </a:ext>
            </a:extLst>
          </p:cNvPr>
          <p:cNvSpPr/>
          <p:nvPr/>
        </p:nvSpPr>
        <p:spPr>
          <a:xfrm>
            <a:off x="1863501" y="2976428"/>
            <a:ext cx="8740021" cy="443331"/>
          </a:xfrm>
          <a:prstGeom prst="roundRect">
            <a:avLst/>
          </a:prstGeom>
          <a:solidFill>
            <a:schemeClr val="tx1"/>
          </a:solidFill>
          <a:ln>
            <a:noFill/>
            <a:prstDash val="solid"/>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Proximus ExtraBold"/>
              <a:ea typeface="+mn-ea"/>
              <a:cs typeface="Proximus Bold"/>
            </a:endParaRPr>
          </a:p>
        </p:txBody>
      </p:sp>
      <p:sp>
        <p:nvSpPr>
          <p:cNvPr id="14" name="Oval 13">
            <a:extLst>
              <a:ext uri="{FF2B5EF4-FFF2-40B4-BE49-F238E27FC236}">
                <a16:creationId xmlns:a16="http://schemas.microsoft.com/office/drawing/2014/main" id="{4E6B20AC-461B-85C0-459A-F7CFC988824C}"/>
              </a:ext>
            </a:extLst>
          </p:cNvPr>
          <p:cNvSpPr/>
          <p:nvPr/>
        </p:nvSpPr>
        <p:spPr>
          <a:xfrm>
            <a:off x="1681623" y="2980031"/>
            <a:ext cx="447472" cy="43038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Proximus ExtraBold"/>
                <a:ea typeface="+mn-ea"/>
                <a:cs typeface="Proximus Bold"/>
              </a:rPr>
              <a:t>3</a:t>
            </a:r>
          </a:p>
        </p:txBody>
      </p:sp>
      <p:sp>
        <p:nvSpPr>
          <p:cNvPr id="15" name="Rectangle 14">
            <a:extLst>
              <a:ext uri="{FF2B5EF4-FFF2-40B4-BE49-F238E27FC236}">
                <a16:creationId xmlns:a16="http://schemas.microsoft.com/office/drawing/2014/main" id="{C71C1017-71AF-F5E3-9F23-BA5480FA6A60}"/>
              </a:ext>
            </a:extLst>
          </p:cNvPr>
          <p:cNvSpPr/>
          <p:nvPr/>
        </p:nvSpPr>
        <p:spPr>
          <a:xfrm>
            <a:off x="2394687" y="3001205"/>
            <a:ext cx="7188928" cy="388033"/>
          </a:xfrm>
          <a:prstGeom prst="rect">
            <a:avLst/>
          </a:prstGeom>
          <a:noFill/>
          <a:ln w="9525" cap="flat" cmpd="sng" algn="ctr">
            <a:noFill/>
            <a:prstDash val="solid"/>
          </a:ln>
          <a:effectLst/>
        </p:spPr>
        <p:txBody>
          <a:bodyPr vert="horz" lIns="144000" tIns="144000" rIns="144000" bIns="144000" rtlCol="0" anchor="ctr" anchorCtr="0"/>
          <a:lstStyle/>
          <a:p>
            <a:pPr lvl="0" defTabSz="1218418">
              <a:defRPr/>
            </a:pPr>
            <a:r>
              <a:rPr lang="en-US" sz="1400">
                <a:solidFill>
                  <a:srgbClr val="282233"/>
                </a:solidFill>
                <a:latin typeface="Proximus ExtraBold"/>
                <a:cs typeface="Proximus Bold"/>
              </a:rPr>
              <a:t>Apply AI in e2e software development lifecycle</a:t>
            </a:r>
            <a:endParaRPr lang="en-US" sz="1400">
              <a:solidFill>
                <a:srgbClr val="282233"/>
              </a:solidFill>
              <a:latin typeface="Proximus Bold" panose="00000500000000000000" pitchFamily="2" charset="0"/>
              <a:cs typeface="Proximus Bold"/>
            </a:endParaRPr>
          </a:p>
        </p:txBody>
      </p:sp>
      <p:sp>
        <p:nvSpPr>
          <p:cNvPr id="16" name="Rectangle: Rounded Corners 15">
            <a:extLst>
              <a:ext uri="{FF2B5EF4-FFF2-40B4-BE49-F238E27FC236}">
                <a16:creationId xmlns:a16="http://schemas.microsoft.com/office/drawing/2014/main" id="{FE85152C-80A9-C361-2F46-85FD146A3ACA}"/>
              </a:ext>
            </a:extLst>
          </p:cNvPr>
          <p:cNvSpPr/>
          <p:nvPr/>
        </p:nvSpPr>
        <p:spPr>
          <a:xfrm>
            <a:off x="1863501" y="3674730"/>
            <a:ext cx="8740021" cy="443331"/>
          </a:xfrm>
          <a:prstGeom prst="roundRect">
            <a:avLst/>
          </a:prstGeom>
          <a:solidFill>
            <a:schemeClr val="tx1"/>
          </a:solidFill>
          <a:ln>
            <a:noFill/>
            <a:prstDash val="solid"/>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Proximus ExtraBold"/>
              <a:ea typeface="+mn-ea"/>
              <a:cs typeface="Proximus Bold"/>
            </a:endParaRPr>
          </a:p>
        </p:txBody>
      </p:sp>
      <p:sp>
        <p:nvSpPr>
          <p:cNvPr id="17" name="Oval 16">
            <a:extLst>
              <a:ext uri="{FF2B5EF4-FFF2-40B4-BE49-F238E27FC236}">
                <a16:creationId xmlns:a16="http://schemas.microsoft.com/office/drawing/2014/main" id="{E0BE7E2F-7783-1443-DCC1-BC7D22BA13DB}"/>
              </a:ext>
            </a:extLst>
          </p:cNvPr>
          <p:cNvSpPr/>
          <p:nvPr/>
        </p:nvSpPr>
        <p:spPr>
          <a:xfrm>
            <a:off x="1681623" y="3678333"/>
            <a:ext cx="447472" cy="43038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Proximus ExtraBold"/>
                <a:ea typeface="+mn-ea"/>
                <a:cs typeface="Proximus Bold"/>
              </a:rPr>
              <a:t>4</a:t>
            </a:r>
          </a:p>
        </p:txBody>
      </p:sp>
      <p:sp>
        <p:nvSpPr>
          <p:cNvPr id="18" name="Rectangle 17">
            <a:extLst>
              <a:ext uri="{FF2B5EF4-FFF2-40B4-BE49-F238E27FC236}">
                <a16:creationId xmlns:a16="http://schemas.microsoft.com/office/drawing/2014/main" id="{D6398F31-37F9-1B57-1E24-6281AC9A07CA}"/>
              </a:ext>
            </a:extLst>
          </p:cNvPr>
          <p:cNvSpPr/>
          <p:nvPr/>
        </p:nvSpPr>
        <p:spPr>
          <a:xfrm>
            <a:off x="2394687" y="3699507"/>
            <a:ext cx="7188928" cy="388033"/>
          </a:xfrm>
          <a:prstGeom prst="rect">
            <a:avLst/>
          </a:prstGeom>
          <a:noFill/>
          <a:ln w="9525" cap="flat" cmpd="sng" algn="ctr">
            <a:noFill/>
            <a:prstDash val="solid"/>
          </a:ln>
          <a:effectLst/>
        </p:spPr>
        <p:txBody>
          <a:bodyPr vert="horz" lIns="144000" tIns="144000" rIns="144000" bIns="144000" rtlCol="0" anchor="ctr" anchorCtr="0"/>
          <a:lstStyle/>
          <a:p>
            <a:pPr marL="0" marR="0" lvl="0" indent="0" algn="l" defTabSz="1218418" rtl="0" eaLnBrk="1" fontAlgn="auto" latinLnBrk="0" hangingPunct="1">
              <a:lnSpc>
                <a:spcPct val="100000"/>
              </a:lnSpc>
              <a:spcBef>
                <a:spcPts val="0"/>
              </a:spcBef>
              <a:spcAft>
                <a:spcPts val="0"/>
              </a:spcAft>
              <a:buClrTx/>
              <a:buSzTx/>
              <a:buFontTx/>
              <a:buNone/>
              <a:tabLst/>
              <a:defRPr/>
            </a:pPr>
            <a:r>
              <a:rPr lang="en-US" sz="1400">
                <a:solidFill>
                  <a:srgbClr val="282233"/>
                </a:solidFill>
                <a:latin typeface="Proximus ExtraBold"/>
                <a:cs typeface="Proximus Bold"/>
              </a:rPr>
              <a:t>Pioneer in applying e2e agentic coding for “repetitive” coding practices</a:t>
            </a:r>
            <a:endParaRPr kumimoji="0" lang="en-US" sz="1400" b="0" i="0" u="none" strike="noStrike" kern="1200" cap="none" spc="0" normalizeH="0" baseline="0" noProof="0">
              <a:ln>
                <a:noFill/>
              </a:ln>
              <a:solidFill>
                <a:srgbClr val="282233"/>
              </a:solidFill>
              <a:effectLst/>
              <a:uLnTx/>
              <a:uFillTx/>
              <a:latin typeface="Proximus Bold" panose="00000500000000000000" pitchFamily="2" charset="0"/>
              <a:ea typeface="+mn-ea"/>
              <a:cs typeface="Proximus Bold"/>
            </a:endParaRPr>
          </a:p>
        </p:txBody>
      </p:sp>
    </p:spTree>
    <p:extLst>
      <p:ext uri="{BB962C8B-B14F-4D97-AF65-F5344CB8AC3E}">
        <p14:creationId xmlns:p14="http://schemas.microsoft.com/office/powerpoint/2010/main" val="10812194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lumMod val="95000"/>
          </a:schemeClr>
        </a:solidFill>
        <a:effectLst/>
      </p:bgPr>
    </p:bg>
    <p:spTree>
      <p:nvGrpSpPr>
        <p:cNvPr id="1" name="">
          <a:extLst>
            <a:ext uri="{FF2B5EF4-FFF2-40B4-BE49-F238E27FC236}">
              <a16:creationId xmlns:a16="http://schemas.microsoft.com/office/drawing/2014/main" id="{31C4EAEE-F4CA-C350-9022-D906DA2887BE}"/>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6B4873B-9831-1342-BAF9-C0166C45283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4" name="think-cell data - do not delete" hidden="1">
                        <a:extLst>
                          <a:ext uri="{FF2B5EF4-FFF2-40B4-BE49-F238E27FC236}">
                            <a16:creationId xmlns:a16="http://schemas.microsoft.com/office/drawing/2014/main" id="{E6B4873B-9831-1342-BAF9-C0166C4528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Rounded Corners 7">
            <a:extLst>
              <a:ext uri="{FF2B5EF4-FFF2-40B4-BE49-F238E27FC236}">
                <a16:creationId xmlns:a16="http://schemas.microsoft.com/office/drawing/2014/main" id="{E0B57491-BF05-BAA2-51E5-FC0A1251C795}"/>
              </a:ext>
            </a:extLst>
          </p:cNvPr>
          <p:cNvSpPr/>
          <p:nvPr/>
        </p:nvSpPr>
        <p:spPr>
          <a:xfrm>
            <a:off x="1863501" y="1543282"/>
            <a:ext cx="8740021" cy="443331"/>
          </a:xfrm>
          <a:prstGeom prst="roundRect">
            <a:avLst/>
          </a:prstGeom>
          <a:solidFill>
            <a:schemeClr val="tx1"/>
          </a:solidFill>
          <a:ln>
            <a:noFill/>
            <a:prstDash val="solid"/>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Proximus ExtraBold"/>
              <a:ea typeface="+mn-ea"/>
              <a:cs typeface="Proximus Bold"/>
            </a:endParaRPr>
          </a:p>
        </p:txBody>
      </p:sp>
      <p:sp>
        <p:nvSpPr>
          <p:cNvPr id="10" name="Oval 9">
            <a:extLst>
              <a:ext uri="{FF2B5EF4-FFF2-40B4-BE49-F238E27FC236}">
                <a16:creationId xmlns:a16="http://schemas.microsoft.com/office/drawing/2014/main" id="{00302EB6-3D34-3834-FADE-13FA5C60D7D9}"/>
              </a:ext>
            </a:extLst>
          </p:cNvPr>
          <p:cNvSpPr/>
          <p:nvPr/>
        </p:nvSpPr>
        <p:spPr>
          <a:xfrm>
            <a:off x="1681623" y="1546885"/>
            <a:ext cx="447472" cy="43038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Proximus ExtraBold"/>
                <a:ea typeface="+mn-ea"/>
                <a:cs typeface="Proximus Bold"/>
              </a:rPr>
              <a:t>1</a:t>
            </a:r>
          </a:p>
        </p:txBody>
      </p:sp>
      <p:sp>
        <p:nvSpPr>
          <p:cNvPr id="11" name="Rectangle 10">
            <a:extLst>
              <a:ext uri="{FF2B5EF4-FFF2-40B4-BE49-F238E27FC236}">
                <a16:creationId xmlns:a16="http://schemas.microsoft.com/office/drawing/2014/main" id="{8FE87A73-5081-9FF5-10DE-29B1AEE7A6B2}"/>
              </a:ext>
            </a:extLst>
          </p:cNvPr>
          <p:cNvSpPr/>
          <p:nvPr/>
        </p:nvSpPr>
        <p:spPr>
          <a:xfrm>
            <a:off x="2394687" y="1568059"/>
            <a:ext cx="7188928" cy="388033"/>
          </a:xfrm>
          <a:prstGeom prst="rect">
            <a:avLst/>
          </a:prstGeom>
          <a:noFill/>
          <a:ln w="9525" cap="flat" cmpd="sng" algn="ctr">
            <a:noFill/>
            <a:prstDash val="solid"/>
          </a:ln>
          <a:effectLst/>
        </p:spPr>
        <p:txBody>
          <a:bodyPr vert="horz" lIns="144000" tIns="144000" rIns="144000" bIns="144000" rtlCol="0" anchor="ctr" anchorCtr="0"/>
          <a:lstStyle/>
          <a:p>
            <a:pPr marL="0" marR="0" lvl="0" indent="0" algn="l" defTabSz="121841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82233"/>
                </a:solidFill>
                <a:effectLst/>
                <a:uLnTx/>
                <a:uFillTx/>
                <a:latin typeface="Proximus ExtraBold"/>
                <a:ea typeface="+mn-ea"/>
                <a:cs typeface="Proximus Bold"/>
              </a:rPr>
              <a:t>Shift focus from ‘adoption’ of AI tools to ‘meaningful use’ – and measure it</a:t>
            </a:r>
            <a:endParaRPr kumimoji="0" lang="en-US" sz="1400" b="0" i="0" u="none" strike="noStrike" kern="1200" cap="none" spc="0" normalizeH="0" baseline="0" noProof="0">
              <a:ln>
                <a:noFill/>
              </a:ln>
              <a:solidFill>
                <a:srgbClr val="282233"/>
              </a:solidFill>
              <a:effectLst/>
              <a:uLnTx/>
              <a:uFillTx/>
              <a:latin typeface="Proximus Bold" panose="00000500000000000000" pitchFamily="2" charset="0"/>
              <a:ea typeface="+mn-ea"/>
              <a:cs typeface="Proximus Bold"/>
            </a:endParaRPr>
          </a:p>
        </p:txBody>
      </p:sp>
      <p:sp>
        <p:nvSpPr>
          <p:cNvPr id="5" name="Rectangle: Rounded Corners 4">
            <a:extLst>
              <a:ext uri="{FF2B5EF4-FFF2-40B4-BE49-F238E27FC236}">
                <a16:creationId xmlns:a16="http://schemas.microsoft.com/office/drawing/2014/main" id="{D7867C2F-4514-72A8-4D70-A8D8E8592FBF}"/>
              </a:ext>
            </a:extLst>
          </p:cNvPr>
          <p:cNvSpPr/>
          <p:nvPr/>
        </p:nvSpPr>
        <p:spPr>
          <a:xfrm>
            <a:off x="1863501" y="2290628"/>
            <a:ext cx="8740021" cy="443331"/>
          </a:xfrm>
          <a:prstGeom prst="roundRect">
            <a:avLst/>
          </a:prstGeom>
          <a:solidFill>
            <a:schemeClr val="tx1"/>
          </a:solidFill>
          <a:ln>
            <a:noFill/>
            <a:prstDash val="solid"/>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Proximus ExtraBold"/>
              <a:ea typeface="+mn-ea"/>
              <a:cs typeface="Proximus Bold"/>
            </a:endParaRPr>
          </a:p>
        </p:txBody>
      </p:sp>
      <p:sp>
        <p:nvSpPr>
          <p:cNvPr id="6" name="Oval 5">
            <a:extLst>
              <a:ext uri="{FF2B5EF4-FFF2-40B4-BE49-F238E27FC236}">
                <a16:creationId xmlns:a16="http://schemas.microsoft.com/office/drawing/2014/main" id="{B91604B7-4B10-D906-3669-AD597603B9DF}"/>
              </a:ext>
            </a:extLst>
          </p:cNvPr>
          <p:cNvSpPr/>
          <p:nvPr/>
        </p:nvSpPr>
        <p:spPr>
          <a:xfrm>
            <a:off x="1681623" y="2294231"/>
            <a:ext cx="447472" cy="43038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Proximus ExtraBold"/>
                <a:ea typeface="+mn-ea"/>
                <a:cs typeface="Proximus Bold"/>
              </a:rPr>
              <a:t>2</a:t>
            </a:r>
          </a:p>
        </p:txBody>
      </p:sp>
      <p:sp>
        <p:nvSpPr>
          <p:cNvPr id="12" name="Rectangle 11">
            <a:extLst>
              <a:ext uri="{FF2B5EF4-FFF2-40B4-BE49-F238E27FC236}">
                <a16:creationId xmlns:a16="http://schemas.microsoft.com/office/drawing/2014/main" id="{C582AE3E-94DA-CDF7-143E-E427BEC49EDF}"/>
              </a:ext>
            </a:extLst>
          </p:cNvPr>
          <p:cNvSpPr/>
          <p:nvPr/>
        </p:nvSpPr>
        <p:spPr>
          <a:xfrm>
            <a:off x="2394687" y="2315405"/>
            <a:ext cx="7188928" cy="388033"/>
          </a:xfrm>
          <a:prstGeom prst="rect">
            <a:avLst/>
          </a:prstGeom>
          <a:noFill/>
          <a:ln w="9525" cap="flat" cmpd="sng" algn="ctr">
            <a:noFill/>
            <a:prstDash val="solid"/>
          </a:ln>
          <a:effectLst/>
        </p:spPr>
        <p:txBody>
          <a:bodyPr vert="horz" lIns="144000" tIns="144000" rIns="144000" bIns="144000" rtlCol="0" anchor="ctr" anchorCtr="0"/>
          <a:lstStyle/>
          <a:p>
            <a:pPr marL="0" marR="0" lvl="0" indent="0" algn="l" defTabSz="121841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82233"/>
                </a:solidFill>
                <a:effectLst/>
                <a:uLnTx/>
                <a:uFillTx/>
                <a:latin typeface="Proximus ExtraBold"/>
                <a:ea typeface="+mn-ea"/>
                <a:cs typeface="Proximus Bold"/>
              </a:rPr>
              <a:t>Give AI agents ample context to work with</a:t>
            </a:r>
            <a:endParaRPr kumimoji="0" lang="en-US" sz="1400" b="0" i="0" u="none" strike="noStrike" kern="1200" cap="none" spc="0" normalizeH="0" baseline="0" noProof="0">
              <a:ln>
                <a:noFill/>
              </a:ln>
              <a:solidFill>
                <a:srgbClr val="282233"/>
              </a:solidFill>
              <a:effectLst/>
              <a:uLnTx/>
              <a:uFillTx/>
              <a:latin typeface="Proximus Bold" panose="00000500000000000000" pitchFamily="2" charset="0"/>
              <a:ea typeface="+mn-ea"/>
              <a:cs typeface="Proximus Bold"/>
            </a:endParaRPr>
          </a:p>
        </p:txBody>
      </p:sp>
      <p:sp>
        <p:nvSpPr>
          <p:cNvPr id="13" name="Rectangle: Rounded Corners 12">
            <a:extLst>
              <a:ext uri="{FF2B5EF4-FFF2-40B4-BE49-F238E27FC236}">
                <a16:creationId xmlns:a16="http://schemas.microsoft.com/office/drawing/2014/main" id="{76F3FC19-7E49-9D66-A637-E4B8E97C345A}"/>
              </a:ext>
            </a:extLst>
          </p:cNvPr>
          <p:cNvSpPr/>
          <p:nvPr/>
        </p:nvSpPr>
        <p:spPr>
          <a:xfrm>
            <a:off x="1863501" y="2976428"/>
            <a:ext cx="8740021" cy="443331"/>
          </a:xfrm>
          <a:prstGeom prst="roundRect">
            <a:avLst/>
          </a:prstGeom>
          <a:solidFill>
            <a:schemeClr val="tx1"/>
          </a:solidFill>
          <a:ln>
            <a:noFill/>
            <a:prstDash val="solid"/>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Proximus ExtraBold"/>
              <a:ea typeface="+mn-ea"/>
              <a:cs typeface="Proximus Bold"/>
            </a:endParaRPr>
          </a:p>
        </p:txBody>
      </p:sp>
      <p:sp>
        <p:nvSpPr>
          <p:cNvPr id="14" name="Oval 13">
            <a:extLst>
              <a:ext uri="{FF2B5EF4-FFF2-40B4-BE49-F238E27FC236}">
                <a16:creationId xmlns:a16="http://schemas.microsoft.com/office/drawing/2014/main" id="{17790270-5C09-7DAD-EE58-5729D49AA841}"/>
              </a:ext>
            </a:extLst>
          </p:cNvPr>
          <p:cNvSpPr/>
          <p:nvPr/>
        </p:nvSpPr>
        <p:spPr>
          <a:xfrm>
            <a:off x="1681623" y="2980031"/>
            <a:ext cx="447472" cy="43038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Proximus ExtraBold"/>
                <a:ea typeface="+mn-ea"/>
                <a:cs typeface="Proximus Bold"/>
              </a:rPr>
              <a:t>3</a:t>
            </a:r>
          </a:p>
        </p:txBody>
      </p:sp>
      <p:sp>
        <p:nvSpPr>
          <p:cNvPr id="15" name="Rectangle 14">
            <a:extLst>
              <a:ext uri="{FF2B5EF4-FFF2-40B4-BE49-F238E27FC236}">
                <a16:creationId xmlns:a16="http://schemas.microsoft.com/office/drawing/2014/main" id="{7F1CE1E6-C9D4-7718-4D97-77C70BB910E1}"/>
              </a:ext>
            </a:extLst>
          </p:cNvPr>
          <p:cNvSpPr/>
          <p:nvPr/>
        </p:nvSpPr>
        <p:spPr>
          <a:xfrm>
            <a:off x="2394687" y="3001205"/>
            <a:ext cx="7188928" cy="388033"/>
          </a:xfrm>
          <a:prstGeom prst="rect">
            <a:avLst/>
          </a:prstGeom>
          <a:noFill/>
          <a:ln w="9525" cap="flat" cmpd="sng" algn="ctr">
            <a:noFill/>
            <a:prstDash val="solid"/>
          </a:ln>
          <a:effectLst/>
        </p:spPr>
        <p:txBody>
          <a:bodyPr vert="horz" lIns="144000" tIns="144000" rIns="144000" bIns="144000" rtlCol="0" anchor="ctr" anchorCtr="0"/>
          <a:lstStyle/>
          <a:p>
            <a:pPr marL="0" marR="0" lvl="0" indent="0" algn="l" defTabSz="121841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82233"/>
                </a:solidFill>
                <a:effectLst/>
                <a:uLnTx/>
                <a:uFillTx/>
                <a:latin typeface="Proximus ExtraBold"/>
                <a:ea typeface="+mn-ea"/>
                <a:cs typeface="Proximus Bold"/>
              </a:rPr>
              <a:t>Learn fast by applying it on ‘repetitive development’ processes</a:t>
            </a:r>
            <a:endParaRPr kumimoji="0" lang="en-US" sz="1400" b="0" i="0" u="none" strike="noStrike" kern="1200" cap="none" spc="0" normalizeH="0" baseline="0" noProof="0">
              <a:ln>
                <a:noFill/>
              </a:ln>
              <a:solidFill>
                <a:srgbClr val="282233"/>
              </a:solidFill>
              <a:effectLst/>
              <a:uLnTx/>
              <a:uFillTx/>
              <a:latin typeface="Proximus Bold" panose="00000500000000000000" pitchFamily="2" charset="0"/>
              <a:ea typeface="+mn-ea"/>
              <a:cs typeface="Proximus Bold"/>
            </a:endParaRPr>
          </a:p>
        </p:txBody>
      </p:sp>
      <p:sp>
        <p:nvSpPr>
          <p:cNvPr id="16" name="Rectangle: Rounded Corners 15">
            <a:extLst>
              <a:ext uri="{FF2B5EF4-FFF2-40B4-BE49-F238E27FC236}">
                <a16:creationId xmlns:a16="http://schemas.microsoft.com/office/drawing/2014/main" id="{50A7DFDA-4833-0333-9E0C-19A92CCC7D08}"/>
              </a:ext>
            </a:extLst>
          </p:cNvPr>
          <p:cNvSpPr/>
          <p:nvPr/>
        </p:nvSpPr>
        <p:spPr>
          <a:xfrm>
            <a:off x="1863501" y="3674730"/>
            <a:ext cx="8740021" cy="443331"/>
          </a:xfrm>
          <a:prstGeom prst="roundRect">
            <a:avLst/>
          </a:prstGeom>
          <a:solidFill>
            <a:schemeClr val="tx1"/>
          </a:solidFill>
          <a:ln>
            <a:noFill/>
            <a:prstDash val="solid"/>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Proximus ExtraBold"/>
              <a:ea typeface="+mn-ea"/>
              <a:cs typeface="Proximus Bold"/>
            </a:endParaRPr>
          </a:p>
        </p:txBody>
      </p:sp>
      <p:sp>
        <p:nvSpPr>
          <p:cNvPr id="17" name="Oval 16">
            <a:extLst>
              <a:ext uri="{FF2B5EF4-FFF2-40B4-BE49-F238E27FC236}">
                <a16:creationId xmlns:a16="http://schemas.microsoft.com/office/drawing/2014/main" id="{1E4813BF-AB7C-A6BE-7360-2E574F5C5337}"/>
              </a:ext>
            </a:extLst>
          </p:cNvPr>
          <p:cNvSpPr/>
          <p:nvPr/>
        </p:nvSpPr>
        <p:spPr>
          <a:xfrm>
            <a:off x="1681623" y="3678333"/>
            <a:ext cx="447472" cy="43038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Proximus ExtraBold"/>
                <a:ea typeface="+mn-ea"/>
                <a:cs typeface="Proximus Bold"/>
              </a:rPr>
              <a:t>4</a:t>
            </a:r>
          </a:p>
        </p:txBody>
      </p:sp>
      <p:sp>
        <p:nvSpPr>
          <p:cNvPr id="18" name="Rectangle 17">
            <a:extLst>
              <a:ext uri="{FF2B5EF4-FFF2-40B4-BE49-F238E27FC236}">
                <a16:creationId xmlns:a16="http://schemas.microsoft.com/office/drawing/2014/main" id="{99C8AC1D-2D3D-1F10-2245-A616F4DA9DAA}"/>
              </a:ext>
            </a:extLst>
          </p:cNvPr>
          <p:cNvSpPr/>
          <p:nvPr/>
        </p:nvSpPr>
        <p:spPr>
          <a:xfrm>
            <a:off x="2394687" y="3699507"/>
            <a:ext cx="7188928" cy="388033"/>
          </a:xfrm>
          <a:prstGeom prst="rect">
            <a:avLst/>
          </a:prstGeom>
          <a:noFill/>
          <a:ln w="9525" cap="flat" cmpd="sng" algn="ctr">
            <a:noFill/>
            <a:prstDash val="solid"/>
          </a:ln>
          <a:effectLst/>
        </p:spPr>
        <p:txBody>
          <a:bodyPr vert="horz" lIns="144000" tIns="144000" rIns="144000" bIns="144000" rtlCol="0" anchor="ctr" anchorCtr="0"/>
          <a:lstStyle/>
          <a:p>
            <a:pPr marL="0" marR="0" lvl="0" indent="0" algn="l" defTabSz="121841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82233"/>
                </a:solidFill>
                <a:effectLst/>
                <a:uLnTx/>
                <a:uFillTx/>
                <a:latin typeface="Proximus ExtraBold"/>
                <a:ea typeface="+mn-ea"/>
                <a:cs typeface="Proximus Bold"/>
              </a:rPr>
              <a:t>Apply AI in e2e software development lifecycle</a:t>
            </a:r>
            <a:endParaRPr kumimoji="0" lang="en-US" sz="1400" b="0" i="0" u="none" strike="noStrike" kern="1200" cap="none" spc="0" normalizeH="0" baseline="0" noProof="0">
              <a:ln>
                <a:noFill/>
              </a:ln>
              <a:solidFill>
                <a:srgbClr val="282233"/>
              </a:solidFill>
              <a:effectLst/>
              <a:uLnTx/>
              <a:uFillTx/>
              <a:latin typeface="Proximus Bold" panose="00000500000000000000" pitchFamily="2" charset="0"/>
              <a:ea typeface="+mn-ea"/>
              <a:cs typeface="Proximus Bold"/>
            </a:endParaRPr>
          </a:p>
        </p:txBody>
      </p:sp>
      <p:sp>
        <p:nvSpPr>
          <p:cNvPr id="19" name="Rectangle: Rounded Corners 18">
            <a:extLst>
              <a:ext uri="{FF2B5EF4-FFF2-40B4-BE49-F238E27FC236}">
                <a16:creationId xmlns:a16="http://schemas.microsoft.com/office/drawing/2014/main" id="{5816D5AA-7815-B61D-4743-3C30D7E2E620}"/>
              </a:ext>
            </a:extLst>
          </p:cNvPr>
          <p:cNvSpPr/>
          <p:nvPr/>
        </p:nvSpPr>
        <p:spPr>
          <a:xfrm>
            <a:off x="1863501" y="4385983"/>
            <a:ext cx="8740021" cy="443331"/>
          </a:xfrm>
          <a:prstGeom prst="roundRect">
            <a:avLst/>
          </a:prstGeom>
          <a:solidFill>
            <a:schemeClr val="tx1"/>
          </a:solidFill>
          <a:ln>
            <a:noFill/>
            <a:prstDash val="solid"/>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Proximus ExtraBold"/>
              <a:ea typeface="+mn-ea"/>
              <a:cs typeface="Proximus Bold"/>
            </a:endParaRPr>
          </a:p>
        </p:txBody>
      </p:sp>
      <p:sp>
        <p:nvSpPr>
          <p:cNvPr id="20" name="Oval 19">
            <a:extLst>
              <a:ext uri="{FF2B5EF4-FFF2-40B4-BE49-F238E27FC236}">
                <a16:creationId xmlns:a16="http://schemas.microsoft.com/office/drawing/2014/main" id="{8511849A-5948-112C-B9C8-AFBA2370271D}"/>
              </a:ext>
            </a:extLst>
          </p:cNvPr>
          <p:cNvSpPr/>
          <p:nvPr/>
        </p:nvSpPr>
        <p:spPr>
          <a:xfrm>
            <a:off x="1681623" y="4389586"/>
            <a:ext cx="447472" cy="43038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Proximus ExtraBold"/>
                <a:ea typeface="+mn-ea"/>
                <a:cs typeface="Proximus Bold"/>
              </a:rPr>
              <a:t>5</a:t>
            </a:r>
          </a:p>
        </p:txBody>
      </p:sp>
      <p:sp>
        <p:nvSpPr>
          <p:cNvPr id="21" name="Rectangle 20">
            <a:extLst>
              <a:ext uri="{FF2B5EF4-FFF2-40B4-BE49-F238E27FC236}">
                <a16:creationId xmlns:a16="http://schemas.microsoft.com/office/drawing/2014/main" id="{DD3FCEDE-18C0-D273-9E54-3C9CF6443D7F}"/>
              </a:ext>
            </a:extLst>
          </p:cNvPr>
          <p:cNvSpPr/>
          <p:nvPr/>
        </p:nvSpPr>
        <p:spPr>
          <a:xfrm>
            <a:off x="2394687" y="4410760"/>
            <a:ext cx="7188928" cy="388033"/>
          </a:xfrm>
          <a:prstGeom prst="rect">
            <a:avLst/>
          </a:prstGeom>
          <a:noFill/>
          <a:ln w="9525" cap="flat" cmpd="sng" algn="ctr">
            <a:noFill/>
            <a:prstDash val="solid"/>
          </a:ln>
          <a:effectLst/>
        </p:spPr>
        <p:txBody>
          <a:bodyPr vert="horz" lIns="144000" tIns="144000" rIns="144000" bIns="144000" rtlCol="0" anchor="ctr" anchorCtr="0"/>
          <a:lstStyle/>
          <a:p>
            <a:pPr marL="0" marR="0" lvl="0" indent="0" algn="l" defTabSz="121841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82233"/>
                </a:solidFill>
                <a:effectLst/>
                <a:uLnTx/>
                <a:uFillTx/>
                <a:latin typeface="Proximus ExtraBold"/>
                <a:ea typeface="+mn-ea"/>
                <a:cs typeface="Proximus Bold"/>
              </a:rPr>
              <a:t>Adopt team set-ups ahead of the change</a:t>
            </a:r>
            <a:endParaRPr kumimoji="0" lang="en-US" sz="1400" b="0" i="0" u="none" strike="noStrike" kern="1200" cap="none" spc="0" normalizeH="0" baseline="0" noProof="0">
              <a:ln>
                <a:noFill/>
              </a:ln>
              <a:solidFill>
                <a:srgbClr val="282233"/>
              </a:solidFill>
              <a:effectLst/>
              <a:uLnTx/>
              <a:uFillTx/>
              <a:latin typeface="Proximus Bold" panose="00000500000000000000" pitchFamily="2" charset="0"/>
              <a:ea typeface="+mn-ea"/>
              <a:cs typeface="Proximus Bold"/>
            </a:endParaRPr>
          </a:p>
        </p:txBody>
      </p:sp>
    </p:spTree>
    <p:extLst>
      <p:ext uri="{BB962C8B-B14F-4D97-AF65-F5344CB8AC3E}">
        <p14:creationId xmlns:p14="http://schemas.microsoft.com/office/powerpoint/2010/main" val="26856936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lumMod val="95000"/>
          </a:schemeClr>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B4954C5A-D64D-D756-B4C6-CC4CFCD5F74E}"/>
              </a:ext>
            </a:extLst>
          </p:cNvPr>
          <p:cNvSpPr/>
          <p:nvPr/>
        </p:nvSpPr>
        <p:spPr>
          <a:xfrm>
            <a:off x="0" y="1422094"/>
            <a:ext cx="12192000" cy="588547"/>
          </a:xfrm>
          <a:prstGeom prst="rect">
            <a:avLst/>
          </a:prstGeom>
          <a:solidFill>
            <a:schemeClr val="tx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48000" tIns="48000" rIns="48000" bIns="96000" rtlCol="0" anchor="ctr" anchorCtr="0"/>
          <a:lstStyle/>
          <a:p>
            <a:pPr marL="0" marR="0" lvl="0" indent="0" algn="ctr" defTabSz="1624517"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Proximus" panose="00000500000000000000" pitchFamily="2" charset="0"/>
              <a:ea typeface="+mn-ea"/>
              <a:cs typeface="Proximus"/>
            </a:endParaRPr>
          </a:p>
        </p:txBody>
      </p:sp>
      <p:pic>
        <p:nvPicPr>
          <p:cNvPr id="6" name="Content Placeholder 5" descr="Pyramid with levels with solid fill">
            <a:extLst>
              <a:ext uri="{FF2B5EF4-FFF2-40B4-BE49-F238E27FC236}">
                <a16:creationId xmlns:a16="http://schemas.microsoft.com/office/drawing/2014/main" id="{FDFDAA4C-A523-9E8F-F2D7-18493931AF0A}"/>
              </a:ext>
            </a:extLst>
          </p:cNvPr>
          <p:cNvPicPr>
            <a:picLocks noGrp="1" noChangeAspect="1"/>
          </p:cNvPicPr>
          <p:nvPr>
            <p:ph idx="1"/>
          </p:nvPr>
        </p:nvPicPr>
        <p:blipFill>
          <a:blip r:embed="rId3">
            <a:extLst>
              <a:ext uri="{96DAC541-7B7A-43D3-8B79-37D633B846F1}">
                <asvg:svgBlip xmlns:asvg="http://schemas.microsoft.com/office/drawing/2016/SVG/main" r:embed="rId4"/>
              </a:ext>
            </a:extLst>
          </a:blip>
          <a:stretch>
            <a:fillRect/>
          </a:stretch>
        </p:blipFill>
        <p:spPr>
          <a:xfrm>
            <a:off x="1529013" y="2585109"/>
            <a:ext cx="3713812" cy="3713812"/>
          </a:xfrm>
        </p:spPr>
      </p:pic>
      <p:pic>
        <p:nvPicPr>
          <p:cNvPr id="9" name="Graphic 8" descr="Diamond outline">
            <a:extLst>
              <a:ext uri="{FF2B5EF4-FFF2-40B4-BE49-F238E27FC236}">
                <a16:creationId xmlns:a16="http://schemas.microsoft.com/office/drawing/2014/main" id="{681489C1-D728-360F-71A2-C6A98664406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73934" y="2648607"/>
            <a:ext cx="3650314" cy="3650314"/>
          </a:xfrm>
          <a:prstGeom prst="rect">
            <a:avLst/>
          </a:prstGeom>
        </p:spPr>
      </p:pic>
      <p:sp>
        <p:nvSpPr>
          <p:cNvPr id="10" name="Title 2">
            <a:extLst>
              <a:ext uri="{FF2B5EF4-FFF2-40B4-BE49-F238E27FC236}">
                <a16:creationId xmlns:a16="http://schemas.microsoft.com/office/drawing/2014/main" id="{339BDAE6-272E-DDE0-AFC6-0B74A42622FC}"/>
              </a:ext>
            </a:extLst>
          </p:cNvPr>
          <p:cNvSpPr>
            <a:spLocks noGrp="1"/>
          </p:cNvSpPr>
          <p:nvPr>
            <p:ph type="title"/>
          </p:nvPr>
        </p:nvSpPr>
        <p:spPr>
          <a:xfrm>
            <a:off x="656983" y="503119"/>
            <a:ext cx="9994918" cy="882650"/>
          </a:xfrm>
        </p:spPr>
        <p:txBody>
          <a:bodyPr vert="horz"/>
          <a:lstStyle/>
          <a:p>
            <a:pPr lvl="0" defTabSz="1218418">
              <a:spcBef>
                <a:spcPts val="0"/>
              </a:spcBef>
              <a:defRPr/>
            </a:pPr>
            <a:r>
              <a:rPr lang="en-US" sz="2400">
                <a:solidFill>
                  <a:schemeClr val="accent5"/>
                </a:solidFill>
                <a:latin typeface="Proximus ExtraBold" panose="00000900000000000000" pitchFamily="2" charset="0"/>
              </a:rPr>
              <a:t>Redesign team set</a:t>
            </a:r>
            <a:r>
              <a:rPr lang="en-BE" sz="2400">
                <a:solidFill>
                  <a:schemeClr val="accent5"/>
                </a:solidFill>
                <a:latin typeface="Proximus ExtraBold" panose="00000900000000000000" pitchFamily="2" charset="0"/>
              </a:rPr>
              <a:t>‑</a:t>
            </a:r>
            <a:r>
              <a:rPr lang="en-US" sz="2400">
                <a:solidFill>
                  <a:schemeClr val="accent5"/>
                </a:solidFill>
                <a:latin typeface="Proximus ExtraBold" panose="00000900000000000000" pitchFamily="2" charset="0"/>
              </a:rPr>
              <a:t>ups: from pyramidal to diamond structure</a:t>
            </a:r>
            <a:endParaRPr lang="en-US" sz="2400">
              <a:solidFill>
                <a:schemeClr val="accent5"/>
              </a:solidFill>
              <a:latin typeface="Proximus ExtraBold" panose="00000900000000000000" pitchFamily="2" charset="0"/>
              <a:cs typeface="Proximus Bold"/>
            </a:endParaRPr>
          </a:p>
        </p:txBody>
      </p:sp>
      <p:sp>
        <p:nvSpPr>
          <p:cNvPr id="11" name="TextBox 10">
            <a:extLst>
              <a:ext uri="{FF2B5EF4-FFF2-40B4-BE49-F238E27FC236}">
                <a16:creationId xmlns:a16="http://schemas.microsoft.com/office/drawing/2014/main" id="{2E2D91E0-B6E5-A029-957D-45A20BAB90C2}"/>
              </a:ext>
            </a:extLst>
          </p:cNvPr>
          <p:cNvSpPr txBox="1"/>
          <p:nvPr/>
        </p:nvSpPr>
        <p:spPr>
          <a:xfrm>
            <a:off x="2534493" y="1531701"/>
            <a:ext cx="1702852" cy="369332"/>
          </a:xfrm>
          <a:prstGeom prst="rect">
            <a:avLst/>
          </a:prstGeom>
        </p:spPr>
        <p:txBody>
          <a:bodyPr vert="horz" wrap="square" lIns="0" tIns="0" rIns="0" bIns="0" numCol="1" spcCol="0" rtlCol="0" anchor="t" anchorCtr="0">
            <a:spAutoFit/>
          </a:bodyPr>
          <a:lstStyle/>
          <a:p>
            <a:pPr marL="0" marR="0" lvl="0" indent="0" algn="ctr" defTabSz="5441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accent6"/>
                </a:solidFill>
                <a:effectLst/>
                <a:uLnTx/>
                <a:uFillTx/>
                <a:latin typeface="Proximus Bold"/>
                <a:ea typeface="+mn-ea"/>
                <a:cs typeface="+mn-cs"/>
              </a:rPr>
              <a:t>From</a:t>
            </a:r>
          </a:p>
        </p:txBody>
      </p:sp>
      <p:sp>
        <p:nvSpPr>
          <p:cNvPr id="15" name="Arrow: Pentagon 42">
            <a:extLst>
              <a:ext uri="{FF2B5EF4-FFF2-40B4-BE49-F238E27FC236}">
                <a16:creationId xmlns:a16="http://schemas.microsoft.com/office/drawing/2014/main" id="{E9439A09-E1D9-8BC6-6C93-2AAC68811A38}"/>
              </a:ext>
            </a:extLst>
          </p:cNvPr>
          <p:cNvSpPr/>
          <p:nvPr/>
        </p:nvSpPr>
        <p:spPr>
          <a:xfrm>
            <a:off x="6096001" y="1421167"/>
            <a:ext cx="6095999" cy="590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480000" tIns="144000" rIns="144000" bIns="144000" anchor="ctr"/>
          <a:lstStyle/>
          <a:p>
            <a:pPr marL="0" marR="0" lvl="0" indent="0" algn="l" defTabSz="1624477"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30000" noProof="0">
              <a:ln>
                <a:noFill/>
              </a:ln>
              <a:solidFill>
                <a:srgbClr val="FFFFFF"/>
              </a:solidFill>
              <a:effectLst/>
              <a:uLnTx/>
              <a:uFillTx/>
              <a:latin typeface="Proximus ExtraBold" pitchFamily="2" charset="77"/>
              <a:ea typeface="+mn-ea"/>
              <a:cs typeface="+mn-cs"/>
            </a:endParaRPr>
          </a:p>
        </p:txBody>
      </p:sp>
      <p:sp>
        <p:nvSpPr>
          <p:cNvPr id="12" name="TextBox 11">
            <a:extLst>
              <a:ext uri="{FF2B5EF4-FFF2-40B4-BE49-F238E27FC236}">
                <a16:creationId xmlns:a16="http://schemas.microsoft.com/office/drawing/2014/main" id="{A45A34E2-3E49-6F32-566B-F70AAC5626A9}"/>
              </a:ext>
            </a:extLst>
          </p:cNvPr>
          <p:cNvSpPr txBox="1"/>
          <p:nvPr/>
        </p:nvSpPr>
        <p:spPr>
          <a:xfrm>
            <a:off x="8550930" y="1531701"/>
            <a:ext cx="1186139" cy="369332"/>
          </a:xfrm>
          <a:prstGeom prst="rect">
            <a:avLst/>
          </a:prstGeom>
        </p:spPr>
        <p:txBody>
          <a:bodyPr vert="horz" wrap="square" lIns="0" tIns="0" rIns="0" bIns="0" numCol="1" spcCol="0" rtlCol="0" anchor="t" anchorCtr="0">
            <a:spAutoFit/>
          </a:bodyPr>
          <a:lstStyle/>
          <a:p>
            <a:pPr marL="0" marR="0" lvl="0" indent="0" algn="ctr" defTabSz="544125" rtl="0" eaLnBrk="1" fontAlgn="auto" latinLnBrk="0" hangingPunct="1">
              <a:lnSpc>
                <a:spcPct val="100000"/>
              </a:lnSpc>
              <a:spcBef>
                <a:spcPts val="0"/>
              </a:spcBef>
              <a:spcAft>
                <a:spcPts val="0"/>
              </a:spcAft>
              <a:buClrTx/>
              <a:buSzTx/>
              <a:buFontTx/>
              <a:buNone/>
              <a:tabLst/>
              <a:defRPr/>
            </a:pPr>
            <a:r>
              <a:rPr lang="en-US" sz="2400" b="1">
                <a:latin typeface="Proximus Bold"/>
              </a:rPr>
              <a:t>T</a:t>
            </a:r>
            <a:r>
              <a:rPr kumimoji="0" lang="en-US" sz="2400" b="1" i="0" u="none" strike="noStrike" kern="1200" cap="none" spc="0" normalizeH="0" baseline="0" noProof="0">
                <a:ln>
                  <a:noFill/>
                </a:ln>
                <a:effectLst/>
                <a:uLnTx/>
                <a:uFillTx/>
                <a:latin typeface="Proximus Bold"/>
                <a:ea typeface="+mn-ea"/>
                <a:cs typeface="+mn-cs"/>
              </a:rPr>
              <a:t>o</a:t>
            </a:r>
            <a:endParaRPr kumimoji="0" lang="en-US" sz="1800" b="0" i="0" u="none" strike="noStrike" kern="1200" cap="none" spc="0" normalizeH="0" baseline="0" noProof="0">
              <a:ln>
                <a:noFill/>
              </a:ln>
              <a:effectLst/>
              <a:uLnTx/>
              <a:uFillTx/>
              <a:latin typeface="Proximus"/>
              <a:ea typeface="+mn-ea"/>
              <a:cs typeface="+mn-cs"/>
            </a:endParaRPr>
          </a:p>
        </p:txBody>
      </p:sp>
      <p:cxnSp>
        <p:nvCxnSpPr>
          <p:cNvPr id="18" name="Straight Connector 17">
            <a:extLst>
              <a:ext uri="{FF2B5EF4-FFF2-40B4-BE49-F238E27FC236}">
                <a16:creationId xmlns:a16="http://schemas.microsoft.com/office/drawing/2014/main" id="{3381824A-3DF1-D4BA-E098-A2166A5E7429}"/>
              </a:ext>
            </a:extLst>
          </p:cNvPr>
          <p:cNvCxnSpPr>
            <a:stCxn id="14" idx="2"/>
          </p:cNvCxnSpPr>
          <p:nvPr/>
        </p:nvCxnSpPr>
        <p:spPr>
          <a:xfrm>
            <a:off x="6096000" y="2010641"/>
            <a:ext cx="0" cy="4847359"/>
          </a:xfrm>
          <a:prstGeom prst="line">
            <a:avLst/>
          </a:prstGeom>
          <a:ln w="25400" cap="rnd">
            <a:solidFill>
              <a:schemeClr val="tx1">
                <a:lumMod val="85000"/>
              </a:schemeClr>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13" name="Arrow: Right 12">
            <a:extLst>
              <a:ext uri="{FF2B5EF4-FFF2-40B4-BE49-F238E27FC236}">
                <a16:creationId xmlns:a16="http://schemas.microsoft.com/office/drawing/2014/main" id="{56115500-0E7F-07EA-39DC-0933737841E1}"/>
              </a:ext>
            </a:extLst>
          </p:cNvPr>
          <p:cNvSpPr/>
          <p:nvPr/>
        </p:nvSpPr>
        <p:spPr>
          <a:xfrm>
            <a:off x="5605130" y="3931503"/>
            <a:ext cx="981740" cy="542261"/>
          </a:xfrm>
          <a:prstGeom prst="rightArrow">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tx1"/>
              </a:solidFill>
              <a:latin typeface="Proximus" panose="00000500000000000000" pitchFamily="2" charset="0"/>
              <a:cs typeface="Proximus"/>
            </a:endParaRPr>
          </a:p>
        </p:txBody>
      </p:sp>
      <p:cxnSp>
        <p:nvCxnSpPr>
          <p:cNvPr id="7" name="Straight Connector 6">
            <a:extLst>
              <a:ext uri="{FF2B5EF4-FFF2-40B4-BE49-F238E27FC236}">
                <a16:creationId xmlns:a16="http://schemas.microsoft.com/office/drawing/2014/main" id="{C3CF9838-5340-5F70-D510-ABC9079C64EC}"/>
              </a:ext>
            </a:extLst>
          </p:cNvPr>
          <p:cNvCxnSpPr>
            <a:cxnSpLocks/>
          </p:cNvCxnSpPr>
          <p:nvPr/>
        </p:nvCxnSpPr>
        <p:spPr>
          <a:xfrm>
            <a:off x="7324531" y="4124131"/>
            <a:ext cx="895738" cy="1642187"/>
          </a:xfrm>
          <a:prstGeom prst="line">
            <a:avLst/>
          </a:prstGeom>
          <a:ln w="25400" cap="rnd">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12E0031-8639-8570-0C25-735A4B3340E2}"/>
              </a:ext>
            </a:extLst>
          </p:cNvPr>
          <p:cNvCxnSpPr>
            <a:cxnSpLocks/>
          </p:cNvCxnSpPr>
          <p:nvPr/>
        </p:nvCxnSpPr>
        <p:spPr>
          <a:xfrm flipH="1">
            <a:off x="9909110" y="4124131"/>
            <a:ext cx="742791" cy="1642187"/>
          </a:xfrm>
          <a:prstGeom prst="line">
            <a:avLst/>
          </a:prstGeom>
          <a:ln w="25400" cap="rnd">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E66AE70-3489-8022-37E6-C655782CDB1D}"/>
              </a:ext>
            </a:extLst>
          </p:cNvPr>
          <p:cNvCxnSpPr>
            <a:cxnSpLocks/>
          </p:cNvCxnSpPr>
          <p:nvPr/>
        </p:nvCxnSpPr>
        <p:spPr>
          <a:xfrm flipH="1">
            <a:off x="8220269" y="5766318"/>
            <a:ext cx="1688841" cy="0"/>
          </a:xfrm>
          <a:prstGeom prst="line">
            <a:avLst/>
          </a:prstGeom>
          <a:ln w="25400" cap="rnd">
            <a:solidFill>
              <a:schemeClr val="bg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57483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lumMod val="95000"/>
          </a:schemeClr>
        </a:solidFill>
        <a:effectLst/>
      </p:bgPr>
    </p:bg>
    <p:spTree>
      <p:nvGrpSpPr>
        <p:cNvPr id="1" name=""/>
        <p:cNvGrpSpPr/>
        <p:nvPr/>
      </p:nvGrpSpPr>
      <p:grpSpPr>
        <a:xfrm>
          <a:off x="0" y="0"/>
          <a:ext cx="0" cy="0"/>
          <a:chOff x="0" y="0"/>
          <a:chExt cx="0" cy="0"/>
        </a:xfrm>
      </p:grpSpPr>
      <p:pic>
        <p:nvPicPr>
          <p:cNvPr id="4098" name="Picture 2" descr="The History of Porsche | Volkswagen Group">
            <a:extLst>
              <a:ext uri="{FF2B5EF4-FFF2-40B4-BE49-F238E27FC236}">
                <a16:creationId xmlns:a16="http://schemas.microsoft.com/office/drawing/2014/main" id="{BA7C93B7-3CA2-4B32-EFE3-B60D8B6B87A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65034" y="487924"/>
            <a:ext cx="7861931" cy="5882151"/>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4769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lumMod val="95000"/>
          </a:schemeClr>
        </a:solidFill>
        <a:effectLst/>
      </p:bgPr>
    </p:bg>
    <p:spTree>
      <p:nvGrpSpPr>
        <p:cNvPr id="1" name="">
          <a:extLst>
            <a:ext uri="{FF2B5EF4-FFF2-40B4-BE49-F238E27FC236}">
              <a16:creationId xmlns:a16="http://schemas.microsoft.com/office/drawing/2014/main" id="{0B2CA9DB-D621-60BA-7994-8440D0D52FD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73B66DC-C088-9F41-CD3E-C05DF6354DF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4" name="think-cell data - do not delete" hidden="1">
                        <a:extLst>
                          <a:ext uri="{FF2B5EF4-FFF2-40B4-BE49-F238E27FC236}">
                            <a16:creationId xmlns:a16="http://schemas.microsoft.com/office/drawing/2014/main" id="{773B66DC-C088-9F41-CD3E-C05DF6354D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Rounded Corners 7">
            <a:extLst>
              <a:ext uri="{FF2B5EF4-FFF2-40B4-BE49-F238E27FC236}">
                <a16:creationId xmlns:a16="http://schemas.microsoft.com/office/drawing/2014/main" id="{2692C683-EB82-18D2-944A-62F2E0269B75}"/>
              </a:ext>
            </a:extLst>
          </p:cNvPr>
          <p:cNvSpPr/>
          <p:nvPr/>
        </p:nvSpPr>
        <p:spPr>
          <a:xfrm>
            <a:off x="1863501" y="1543282"/>
            <a:ext cx="8740021" cy="443331"/>
          </a:xfrm>
          <a:prstGeom prst="roundRect">
            <a:avLst/>
          </a:prstGeom>
          <a:solidFill>
            <a:schemeClr val="tx1"/>
          </a:solidFill>
          <a:ln>
            <a:noFill/>
            <a:prstDash val="solid"/>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Proximus ExtraBold"/>
              <a:ea typeface="+mn-ea"/>
              <a:cs typeface="Proximus Bold"/>
            </a:endParaRPr>
          </a:p>
        </p:txBody>
      </p:sp>
      <p:sp>
        <p:nvSpPr>
          <p:cNvPr id="10" name="Oval 9">
            <a:extLst>
              <a:ext uri="{FF2B5EF4-FFF2-40B4-BE49-F238E27FC236}">
                <a16:creationId xmlns:a16="http://schemas.microsoft.com/office/drawing/2014/main" id="{C1ACE968-7BEF-7DAF-FBA3-300F34A2B57F}"/>
              </a:ext>
            </a:extLst>
          </p:cNvPr>
          <p:cNvSpPr/>
          <p:nvPr/>
        </p:nvSpPr>
        <p:spPr>
          <a:xfrm>
            <a:off x="1681623" y="1546885"/>
            <a:ext cx="447472" cy="43038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Proximus ExtraBold"/>
                <a:ea typeface="+mn-ea"/>
                <a:cs typeface="Proximus Bold"/>
              </a:rPr>
              <a:t>1</a:t>
            </a:r>
          </a:p>
        </p:txBody>
      </p:sp>
      <p:sp>
        <p:nvSpPr>
          <p:cNvPr id="11" name="Rectangle 10">
            <a:extLst>
              <a:ext uri="{FF2B5EF4-FFF2-40B4-BE49-F238E27FC236}">
                <a16:creationId xmlns:a16="http://schemas.microsoft.com/office/drawing/2014/main" id="{DFD3D5EE-BD88-E750-08D1-D57957C45DDF}"/>
              </a:ext>
            </a:extLst>
          </p:cNvPr>
          <p:cNvSpPr/>
          <p:nvPr/>
        </p:nvSpPr>
        <p:spPr>
          <a:xfrm>
            <a:off x="2394687" y="1568059"/>
            <a:ext cx="7188928" cy="388033"/>
          </a:xfrm>
          <a:prstGeom prst="rect">
            <a:avLst/>
          </a:prstGeom>
          <a:noFill/>
          <a:ln w="9525" cap="flat" cmpd="sng" algn="ctr">
            <a:noFill/>
            <a:prstDash val="solid"/>
          </a:ln>
          <a:effectLst/>
        </p:spPr>
        <p:txBody>
          <a:bodyPr vert="horz" lIns="144000" tIns="144000" rIns="144000" bIns="144000" rtlCol="0" anchor="ctr" anchorCtr="0"/>
          <a:lstStyle/>
          <a:p>
            <a:pPr marL="0" marR="0" lvl="0" indent="0" algn="l" defTabSz="121841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82233"/>
                </a:solidFill>
                <a:effectLst/>
                <a:uLnTx/>
                <a:uFillTx/>
                <a:latin typeface="Proximus ExtraBold"/>
                <a:ea typeface="+mn-ea"/>
                <a:cs typeface="Proximus Bold"/>
              </a:rPr>
              <a:t>Shift focus from ‘adoption’ of AI tools to ‘meaningful use’ – and measure it</a:t>
            </a:r>
            <a:endParaRPr kumimoji="0" lang="en-US" sz="1400" b="0" i="0" u="none" strike="noStrike" kern="1200" cap="none" spc="0" normalizeH="0" baseline="0" noProof="0">
              <a:ln>
                <a:noFill/>
              </a:ln>
              <a:solidFill>
                <a:srgbClr val="282233"/>
              </a:solidFill>
              <a:effectLst/>
              <a:uLnTx/>
              <a:uFillTx/>
              <a:latin typeface="Proximus Bold" panose="00000500000000000000" pitchFamily="2" charset="0"/>
              <a:ea typeface="+mn-ea"/>
              <a:cs typeface="Proximus Bold"/>
            </a:endParaRPr>
          </a:p>
        </p:txBody>
      </p:sp>
      <p:sp>
        <p:nvSpPr>
          <p:cNvPr id="5" name="Rectangle: Rounded Corners 4">
            <a:extLst>
              <a:ext uri="{FF2B5EF4-FFF2-40B4-BE49-F238E27FC236}">
                <a16:creationId xmlns:a16="http://schemas.microsoft.com/office/drawing/2014/main" id="{7F070B13-6668-0B4C-26B4-2A8B948D7C6B}"/>
              </a:ext>
            </a:extLst>
          </p:cNvPr>
          <p:cNvSpPr/>
          <p:nvPr/>
        </p:nvSpPr>
        <p:spPr>
          <a:xfrm>
            <a:off x="1863501" y="2290628"/>
            <a:ext cx="8740021" cy="443331"/>
          </a:xfrm>
          <a:prstGeom prst="roundRect">
            <a:avLst/>
          </a:prstGeom>
          <a:solidFill>
            <a:schemeClr val="tx1"/>
          </a:solidFill>
          <a:ln>
            <a:noFill/>
            <a:prstDash val="solid"/>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Proximus ExtraBold"/>
              <a:ea typeface="+mn-ea"/>
              <a:cs typeface="Proximus Bold"/>
            </a:endParaRPr>
          </a:p>
        </p:txBody>
      </p:sp>
      <p:sp>
        <p:nvSpPr>
          <p:cNvPr id="6" name="Oval 5">
            <a:extLst>
              <a:ext uri="{FF2B5EF4-FFF2-40B4-BE49-F238E27FC236}">
                <a16:creationId xmlns:a16="http://schemas.microsoft.com/office/drawing/2014/main" id="{D16EEDC3-554E-D424-BBFA-EFDDB7C8FCAD}"/>
              </a:ext>
            </a:extLst>
          </p:cNvPr>
          <p:cNvSpPr/>
          <p:nvPr/>
        </p:nvSpPr>
        <p:spPr>
          <a:xfrm>
            <a:off x="1681623" y="2294231"/>
            <a:ext cx="447472" cy="43038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Proximus ExtraBold"/>
                <a:ea typeface="+mn-ea"/>
                <a:cs typeface="Proximus Bold"/>
              </a:rPr>
              <a:t>2</a:t>
            </a:r>
          </a:p>
        </p:txBody>
      </p:sp>
      <p:sp>
        <p:nvSpPr>
          <p:cNvPr id="12" name="Rectangle 11">
            <a:extLst>
              <a:ext uri="{FF2B5EF4-FFF2-40B4-BE49-F238E27FC236}">
                <a16:creationId xmlns:a16="http://schemas.microsoft.com/office/drawing/2014/main" id="{14DE600B-5E02-6713-0928-F55DCDD7DFF0}"/>
              </a:ext>
            </a:extLst>
          </p:cNvPr>
          <p:cNvSpPr/>
          <p:nvPr/>
        </p:nvSpPr>
        <p:spPr>
          <a:xfrm>
            <a:off x="2394687" y="2315405"/>
            <a:ext cx="7188928" cy="388033"/>
          </a:xfrm>
          <a:prstGeom prst="rect">
            <a:avLst/>
          </a:prstGeom>
          <a:noFill/>
          <a:ln w="9525" cap="flat" cmpd="sng" algn="ctr">
            <a:noFill/>
            <a:prstDash val="solid"/>
          </a:ln>
          <a:effectLst/>
        </p:spPr>
        <p:txBody>
          <a:bodyPr vert="horz" lIns="144000" tIns="144000" rIns="144000" bIns="144000" rtlCol="0" anchor="ctr" anchorCtr="0"/>
          <a:lstStyle/>
          <a:p>
            <a:pPr marL="0" marR="0" lvl="0" indent="0" algn="l" defTabSz="121841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82233"/>
                </a:solidFill>
                <a:effectLst/>
                <a:uLnTx/>
                <a:uFillTx/>
                <a:latin typeface="Proximus ExtraBold"/>
                <a:ea typeface="+mn-ea"/>
                <a:cs typeface="Proximus Bold"/>
              </a:rPr>
              <a:t>Give AI agents ample context to work with</a:t>
            </a:r>
            <a:endParaRPr kumimoji="0" lang="en-US" sz="1400" b="0" i="0" u="none" strike="noStrike" kern="1200" cap="none" spc="0" normalizeH="0" baseline="0" noProof="0">
              <a:ln>
                <a:noFill/>
              </a:ln>
              <a:solidFill>
                <a:srgbClr val="282233"/>
              </a:solidFill>
              <a:effectLst/>
              <a:uLnTx/>
              <a:uFillTx/>
              <a:latin typeface="Proximus Bold" panose="00000500000000000000" pitchFamily="2" charset="0"/>
              <a:ea typeface="+mn-ea"/>
              <a:cs typeface="Proximus Bold"/>
            </a:endParaRPr>
          </a:p>
        </p:txBody>
      </p:sp>
      <p:sp>
        <p:nvSpPr>
          <p:cNvPr id="13" name="Rectangle: Rounded Corners 12">
            <a:extLst>
              <a:ext uri="{FF2B5EF4-FFF2-40B4-BE49-F238E27FC236}">
                <a16:creationId xmlns:a16="http://schemas.microsoft.com/office/drawing/2014/main" id="{5B56DEC2-B1BE-1C2A-F70D-07F4790E7DDE}"/>
              </a:ext>
            </a:extLst>
          </p:cNvPr>
          <p:cNvSpPr/>
          <p:nvPr/>
        </p:nvSpPr>
        <p:spPr>
          <a:xfrm>
            <a:off x="1863501" y="2976428"/>
            <a:ext cx="8740021" cy="443331"/>
          </a:xfrm>
          <a:prstGeom prst="roundRect">
            <a:avLst/>
          </a:prstGeom>
          <a:solidFill>
            <a:schemeClr val="tx1"/>
          </a:solidFill>
          <a:ln>
            <a:noFill/>
            <a:prstDash val="solid"/>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Proximus ExtraBold"/>
              <a:ea typeface="+mn-ea"/>
              <a:cs typeface="Proximus Bold"/>
            </a:endParaRPr>
          </a:p>
        </p:txBody>
      </p:sp>
      <p:sp>
        <p:nvSpPr>
          <p:cNvPr id="14" name="Oval 13">
            <a:extLst>
              <a:ext uri="{FF2B5EF4-FFF2-40B4-BE49-F238E27FC236}">
                <a16:creationId xmlns:a16="http://schemas.microsoft.com/office/drawing/2014/main" id="{E0DCB24C-1BB6-E9B2-3112-57E1EECEAC04}"/>
              </a:ext>
            </a:extLst>
          </p:cNvPr>
          <p:cNvSpPr/>
          <p:nvPr/>
        </p:nvSpPr>
        <p:spPr>
          <a:xfrm>
            <a:off x="1681623" y="2980031"/>
            <a:ext cx="447472" cy="43038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Proximus ExtraBold"/>
                <a:ea typeface="+mn-ea"/>
                <a:cs typeface="Proximus Bold"/>
              </a:rPr>
              <a:t>3</a:t>
            </a:r>
          </a:p>
        </p:txBody>
      </p:sp>
      <p:sp>
        <p:nvSpPr>
          <p:cNvPr id="15" name="Rectangle 14">
            <a:extLst>
              <a:ext uri="{FF2B5EF4-FFF2-40B4-BE49-F238E27FC236}">
                <a16:creationId xmlns:a16="http://schemas.microsoft.com/office/drawing/2014/main" id="{E9634F68-7ABF-BC58-5D46-8DA017089D08}"/>
              </a:ext>
            </a:extLst>
          </p:cNvPr>
          <p:cNvSpPr/>
          <p:nvPr/>
        </p:nvSpPr>
        <p:spPr>
          <a:xfrm>
            <a:off x="2394687" y="3001205"/>
            <a:ext cx="7188928" cy="388033"/>
          </a:xfrm>
          <a:prstGeom prst="rect">
            <a:avLst/>
          </a:prstGeom>
          <a:noFill/>
          <a:ln w="9525" cap="flat" cmpd="sng" algn="ctr">
            <a:noFill/>
            <a:prstDash val="solid"/>
          </a:ln>
          <a:effectLst/>
        </p:spPr>
        <p:txBody>
          <a:bodyPr vert="horz" lIns="144000" tIns="144000" rIns="144000" bIns="144000" rtlCol="0" anchor="ctr" anchorCtr="0"/>
          <a:lstStyle/>
          <a:p>
            <a:pPr marL="0" marR="0" lvl="0" indent="0" algn="l" defTabSz="121841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82233"/>
                </a:solidFill>
                <a:effectLst/>
                <a:uLnTx/>
                <a:uFillTx/>
                <a:latin typeface="Proximus ExtraBold"/>
                <a:ea typeface="+mn-ea"/>
                <a:cs typeface="Proximus Bold"/>
              </a:rPr>
              <a:t>Learn fast by applying it on ‘repetitive development’ processes</a:t>
            </a:r>
            <a:endParaRPr kumimoji="0" lang="en-US" sz="1400" b="0" i="0" u="none" strike="noStrike" kern="1200" cap="none" spc="0" normalizeH="0" baseline="0" noProof="0">
              <a:ln>
                <a:noFill/>
              </a:ln>
              <a:solidFill>
                <a:srgbClr val="282233"/>
              </a:solidFill>
              <a:effectLst/>
              <a:uLnTx/>
              <a:uFillTx/>
              <a:latin typeface="Proximus Bold" panose="00000500000000000000" pitchFamily="2" charset="0"/>
              <a:ea typeface="+mn-ea"/>
              <a:cs typeface="Proximus Bold"/>
            </a:endParaRPr>
          </a:p>
        </p:txBody>
      </p:sp>
      <p:sp>
        <p:nvSpPr>
          <p:cNvPr id="16" name="Rectangle: Rounded Corners 15">
            <a:extLst>
              <a:ext uri="{FF2B5EF4-FFF2-40B4-BE49-F238E27FC236}">
                <a16:creationId xmlns:a16="http://schemas.microsoft.com/office/drawing/2014/main" id="{D2767EF0-55FC-00CC-2C28-6801CB959B94}"/>
              </a:ext>
            </a:extLst>
          </p:cNvPr>
          <p:cNvSpPr/>
          <p:nvPr/>
        </p:nvSpPr>
        <p:spPr>
          <a:xfrm>
            <a:off x="1863501" y="3674730"/>
            <a:ext cx="8740021" cy="443331"/>
          </a:xfrm>
          <a:prstGeom prst="roundRect">
            <a:avLst/>
          </a:prstGeom>
          <a:solidFill>
            <a:schemeClr val="tx1"/>
          </a:solidFill>
          <a:ln>
            <a:noFill/>
            <a:prstDash val="solid"/>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Proximus ExtraBold"/>
              <a:ea typeface="+mn-ea"/>
              <a:cs typeface="Proximus Bold"/>
            </a:endParaRPr>
          </a:p>
        </p:txBody>
      </p:sp>
      <p:sp>
        <p:nvSpPr>
          <p:cNvPr id="17" name="Oval 16">
            <a:extLst>
              <a:ext uri="{FF2B5EF4-FFF2-40B4-BE49-F238E27FC236}">
                <a16:creationId xmlns:a16="http://schemas.microsoft.com/office/drawing/2014/main" id="{1CD67F95-D2EE-02C3-F6BE-E87B3A34F275}"/>
              </a:ext>
            </a:extLst>
          </p:cNvPr>
          <p:cNvSpPr/>
          <p:nvPr/>
        </p:nvSpPr>
        <p:spPr>
          <a:xfrm>
            <a:off x="1681623" y="3678333"/>
            <a:ext cx="447472" cy="43038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Proximus ExtraBold"/>
                <a:ea typeface="+mn-ea"/>
                <a:cs typeface="Proximus Bold"/>
              </a:rPr>
              <a:t>4</a:t>
            </a:r>
          </a:p>
        </p:txBody>
      </p:sp>
      <p:sp>
        <p:nvSpPr>
          <p:cNvPr id="18" name="Rectangle 17">
            <a:extLst>
              <a:ext uri="{FF2B5EF4-FFF2-40B4-BE49-F238E27FC236}">
                <a16:creationId xmlns:a16="http://schemas.microsoft.com/office/drawing/2014/main" id="{AF7142AB-1FD8-1B62-B0C9-33058FBD258E}"/>
              </a:ext>
            </a:extLst>
          </p:cNvPr>
          <p:cNvSpPr/>
          <p:nvPr/>
        </p:nvSpPr>
        <p:spPr>
          <a:xfrm>
            <a:off x="2394687" y="3699507"/>
            <a:ext cx="7188928" cy="388033"/>
          </a:xfrm>
          <a:prstGeom prst="rect">
            <a:avLst/>
          </a:prstGeom>
          <a:noFill/>
          <a:ln w="9525" cap="flat" cmpd="sng" algn="ctr">
            <a:noFill/>
            <a:prstDash val="solid"/>
          </a:ln>
          <a:effectLst/>
        </p:spPr>
        <p:txBody>
          <a:bodyPr vert="horz" lIns="144000" tIns="144000" rIns="144000" bIns="144000" rtlCol="0" anchor="ctr" anchorCtr="0"/>
          <a:lstStyle/>
          <a:p>
            <a:pPr marL="0" marR="0" lvl="0" indent="0" algn="l" defTabSz="121841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82233"/>
                </a:solidFill>
                <a:effectLst/>
                <a:uLnTx/>
                <a:uFillTx/>
                <a:latin typeface="Proximus ExtraBold"/>
                <a:ea typeface="+mn-ea"/>
                <a:cs typeface="Proximus Bold"/>
              </a:rPr>
              <a:t>Apply AI in e2e software development lifecycle</a:t>
            </a:r>
            <a:endParaRPr kumimoji="0" lang="en-US" sz="1400" b="0" i="0" u="none" strike="noStrike" kern="1200" cap="none" spc="0" normalizeH="0" baseline="0" noProof="0">
              <a:ln>
                <a:noFill/>
              </a:ln>
              <a:solidFill>
                <a:srgbClr val="282233"/>
              </a:solidFill>
              <a:effectLst/>
              <a:uLnTx/>
              <a:uFillTx/>
              <a:latin typeface="Proximus Bold" panose="00000500000000000000" pitchFamily="2" charset="0"/>
              <a:ea typeface="+mn-ea"/>
              <a:cs typeface="Proximus Bold"/>
            </a:endParaRPr>
          </a:p>
        </p:txBody>
      </p:sp>
      <p:sp>
        <p:nvSpPr>
          <p:cNvPr id="19" name="Rectangle: Rounded Corners 18">
            <a:extLst>
              <a:ext uri="{FF2B5EF4-FFF2-40B4-BE49-F238E27FC236}">
                <a16:creationId xmlns:a16="http://schemas.microsoft.com/office/drawing/2014/main" id="{DC0FF9A9-6922-51F5-0C84-5307C74A0FF0}"/>
              </a:ext>
            </a:extLst>
          </p:cNvPr>
          <p:cNvSpPr/>
          <p:nvPr/>
        </p:nvSpPr>
        <p:spPr>
          <a:xfrm>
            <a:off x="1863501" y="4385983"/>
            <a:ext cx="8740021" cy="443331"/>
          </a:xfrm>
          <a:prstGeom prst="roundRect">
            <a:avLst/>
          </a:prstGeom>
          <a:solidFill>
            <a:schemeClr val="tx1"/>
          </a:solidFill>
          <a:ln>
            <a:noFill/>
            <a:prstDash val="solid"/>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Proximus ExtraBold"/>
              <a:ea typeface="+mn-ea"/>
              <a:cs typeface="Proximus Bold"/>
            </a:endParaRPr>
          </a:p>
        </p:txBody>
      </p:sp>
      <p:sp>
        <p:nvSpPr>
          <p:cNvPr id="20" name="Oval 19">
            <a:extLst>
              <a:ext uri="{FF2B5EF4-FFF2-40B4-BE49-F238E27FC236}">
                <a16:creationId xmlns:a16="http://schemas.microsoft.com/office/drawing/2014/main" id="{5F0E4617-B4B6-F332-B0FD-34D39B811202}"/>
              </a:ext>
            </a:extLst>
          </p:cNvPr>
          <p:cNvSpPr/>
          <p:nvPr/>
        </p:nvSpPr>
        <p:spPr>
          <a:xfrm>
            <a:off x="1681623" y="4389586"/>
            <a:ext cx="447472" cy="43038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Proximus ExtraBold"/>
                <a:ea typeface="+mn-ea"/>
                <a:cs typeface="Proximus Bold"/>
              </a:rPr>
              <a:t>5</a:t>
            </a:r>
          </a:p>
        </p:txBody>
      </p:sp>
      <p:sp>
        <p:nvSpPr>
          <p:cNvPr id="21" name="Rectangle 20">
            <a:extLst>
              <a:ext uri="{FF2B5EF4-FFF2-40B4-BE49-F238E27FC236}">
                <a16:creationId xmlns:a16="http://schemas.microsoft.com/office/drawing/2014/main" id="{5A32A704-7B7D-929F-CA91-7C9F1E946251}"/>
              </a:ext>
            </a:extLst>
          </p:cNvPr>
          <p:cNvSpPr/>
          <p:nvPr/>
        </p:nvSpPr>
        <p:spPr>
          <a:xfrm>
            <a:off x="2394687" y="4410760"/>
            <a:ext cx="7188928" cy="388033"/>
          </a:xfrm>
          <a:prstGeom prst="rect">
            <a:avLst/>
          </a:prstGeom>
          <a:noFill/>
          <a:ln w="9525" cap="flat" cmpd="sng" algn="ctr">
            <a:noFill/>
            <a:prstDash val="solid"/>
          </a:ln>
          <a:effectLst/>
        </p:spPr>
        <p:txBody>
          <a:bodyPr vert="horz" lIns="144000" tIns="144000" rIns="144000" bIns="144000" rtlCol="0" anchor="ctr" anchorCtr="0"/>
          <a:lstStyle/>
          <a:p>
            <a:pPr marL="0" marR="0" lvl="0" indent="0" algn="l" defTabSz="121841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82233"/>
                </a:solidFill>
                <a:effectLst/>
                <a:uLnTx/>
                <a:uFillTx/>
                <a:latin typeface="Proximus ExtraBold"/>
                <a:ea typeface="+mn-ea"/>
                <a:cs typeface="Proximus Bold"/>
              </a:rPr>
              <a:t>Adopt team set-ups ahead of the change</a:t>
            </a:r>
            <a:endParaRPr kumimoji="0" lang="en-US" sz="1400" b="0" i="0" u="none" strike="noStrike" kern="1200" cap="none" spc="0" normalizeH="0" baseline="0" noProof="0">
              <a:ln>
                <a:noFill/>
              </a:ln>
              <a:solidFill>
                <a:srgbClr val="282233"/>
              </a:solidFill>
              <a:effectLst/>
              <a:uLnTx/>
              <a:uFillTx/>
              <a:latin typeface="Proximus Bold" panose="00000500000000000000" pitchFamily="2" charset="0"/>
              <a:ea typeface="+mn-ea"/>
              <a:cs typeface="Proximus Bold"/>
            </a:endParaRPr>
          </a:p>
        </p:txBody>
      </p:sp>
      <p:sp>
        <p:nvSpPr>
          <p:cNvPr id="22" name="Rectangle: Rounded Corners 21">
            <a:extLst>
              <a:ext uri="{FF2B5EF4-FFF2-40B4-BE49-F238E27FC236}">
                <a16:creationId xmlns:a16="http://schemas.microsoft.com/office/drawing/2014/main" id="{29800E32-DAA6-BBCF-795D-983667B30261}"/>
              </a:ext>
            </a:extLst>
          </p:cNvPr>
          <p:cNvSpPr/>
          <p:nvPr/>
        </p:nvSpPr>
        <p:spPr>
          <a:xfrm>
            <a:off x="1863501" y="5110187"/>
            <a:ext cx="8740021" cy="443331"/>
          </a:xfrm>
          <a:prstGeom prst="roundRect">
            <a:avLst/>
          </a:prstGeom>
          <a:solidFill>
            <a:schemeClr val="tx1"/>
          </a:solidFill>
          <a:ln>
            <a:noFill/>
            <a:prstDash val="solid"/>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Proximus ExtraBold"/>
              <a:ea typeface="+mn-ea"/>
              <a:cs typeface="Proximus Bold"/>
            </a:endParaRPr>
          </a:p>
        </p:txBody>
      </p:sp>
      <p:sp>
        <p:nvSpPr>
          <p:cNvPr id="23" name="Oval 22">
            <a:extLst>
              <a:ext uri="{FF2B5EF4-FFF2-40B4-BE49-F238E27FC236}">
                <a16:creationId xmlns:a16="http://schemas.microsoft.com/office/drawing/2014/main" id="{1DE50217-6C45-333E-29C8-35E22C91E3BD}"/>
              </a:ext>
            </a:extLst>
          </p:cNvPr>
          <p:cNvSpPr/>
          <p:nvPr/>
        </p:nvSpPr>
        <p:spPr>
          <a:xfrm>
            <a:off x="1681623" y="5113790"/>
            <a:ext cx="447472" cy="43038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Proximus ExtraBold"/>
                <a:ea typeface="+mn-ea"/>
                <a:cs typeface="Proximus Bold"/>
              </a:rPr>
              <a:t>6</a:t>
            </a:r>
          </a:p>
        </p:txBody>
      </p:sp>
      <p:sp>
        <p:nvSpPr>
          <p:cNvPr id="41" name="Rectangle 40">
            <a:extLst>
              <a:ext uri="{FF2B5EF4-FFF2-40B4-BE49-F238E27FC236}">
                <a16:creationId xmlns:a16="http://schemas.microsoft.com/office/drawing/2014/main" id="{B43DC30B-82C9-8025-B7FB-9F6ECF12AC3C}"/>
              </a:ext>
            </a:extLst>
          </p:cNvPr>
          <p:cNvSpPr/>
          <p:nvPr/>
        </p:nvSpPr>
        <p:spPr>
          <a:xfrm>
            <a:off x="2394687" y="5134964"/>
            <a:ext cx="7188928" cy="388033"/>
          </a:xfrm>
          <a:prstGeom prst="rect">
            <a:avLst/>
          </a:prstGeom>
          <a:noFill/>
          <a:ln w="9525" cap="flat" cmpd="sng" algn="ctr">
            <a:noFill/>
            <a:prstDash val="solid"/>
          </a:ln>
          <a:effectLst/>
        </p:spPr>
        <p:txBody>
          <a:bodyPr vert="horz" lIns="144000" tIns="144000" rIns="144000" bIns="144000" rtlCol="0" anchor="ctr" anchorCtr="0"/>
          <a:lstStyle/>
          <a:p>
            <a:pPr marL="0" marR="0" lvl="0" indent="0" algn="l" defTabSz="121841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82233"/>
                </a:solidFill>
                <a:effectLst/>
                <a:uLnTx/>
                <a:uFillTx/>
                <a:latin typeface="Proximus ExtraBold"/>
                <a:ea typeface="+mn-ea"/>
                <a:cs typeface="Proximus Bold"/>
              </a:rPr>
              <a:t>Focus on few but disruptive use-cases </a:t>
            </a:r>
            <a:endParaRPr kumimoji="0" lang="en-US" sz="1400" b="0" i="0" u="none" strike="noStrike" kern="1200" cap="none" spc="0" normalizeH="0" baseline="0" noProof="0">
              <a:ln>
                <a:noFill/>
              </a:ln>
              <a:solidFill>
                <a:srgbClr val="282233"/>
              </a:solidFill>
              <a:effectLst/>
              <a:uLnTx/>
              <a:uFillTx/>
              <a:latin typeface="Proximus Bold" panose="00000500000000000000" pitchFamily="2" charset="0"/>
              <a:ea typeface="+mn-ea"/>
              <a:cs typeface="Proximus Bold"/>
            </a:endParaRPr>
          </a:p>
        </p:txBody>
      </p:sp>
    </p:spTree>
    <p:extLst>
      <p:ext uri="{BB962C8B-B14F-4D97-AF65-F5344CB8AC3E}">
        <p14:creationId xmlns:p14="http://schemas.microsoft.com/office/powerpoint/2010/main" val="27285536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2BF56F1-1847-CC78-489F-A6D1BBBE5460}"/>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5" name="think-cell data - do not delete" hidden="1">
                        <a:extLst>
                          <a:ext uri="{FF2B5EF4-FFF2-40B4-BE49-F238E27FC236}">
                            <a16:creationId xmlns:a16="http://schemas.microsoft.com/office/drawing/2014/main" id="{E2BF56F1-1847-CC78-489F-A6D1BBBE54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9B8D6FBD-3B7A-B0F5-67B1-4F01DCE56BE8}"/>
              </a:ext>
            </a:extLst>
          </p:cNvPr>
          <p:cNvSpPr>
            <a:spLocks noGrp="1"/>
          </p:cNvSpPr>
          <p:nvPr>
            <p:ph type="body" sz="quarter" idx="11"/>
          </p:nvPr>
        </p:nvSpPr>
        <p:spPr/>
        <p:txBody>
          <a:bodyPr/>
          <a:lstStyle/>
          <a:p>
            <a:r>
              <a:rPr lang="en-US" noProof="0"/>
              <a:t>Notes: GCC : Global Competence Centers</a:t>
            </a:r>
          </a:p>
        </p:txBody>
      </p:sp>
      <p:sp>
        <p:nvSpPr>
          <p:cNvPr id="3" name="Title 2">
            <a:extLst>
              <a:ext uri="{FF2B5EF4-FFF2-40B4-BE49-F238E27FC236}">
                <a16:creationId xmlns:a16="http://schemas.microsoft.com/office/drawing/2014/main" id="{BBF7A78E-9AAB-404F-F47A-890462E6C2AA}"/>
              </a:ext>
            </a:extLst>
          </p:cNvPr>
          <p:cNvSpPr>
            <a:spLocks noGrp="1"/>
          </p:cNvSpPr>
          <p:nvPr>
            <p:ph type="title"/>
          </p:nvPr>
        </p:nvSpPr>
        <p:spPr>
          <a:xfrm>
            <a:off x="656982" y="503119"/>
            <a:ext cx="10869999" cy="882650"/>
          </a:xfrm>
        </p:spPr>
        <p:txBody>
          <a:bodyPr vert="horz"/>
          <a:lstStyle/>
          <a:p>
            <a:pPr lvl="0" defTabSz="1218418">
              <a:spcBef>
                <a:spcPts val="0"/>
              </a:spcBef>
              <a:spcAft>
                <a:spcPts val="0"/>
              </a:spcAft>
              <a:defRPr/>
            </a:pPr>
            <a:r>
              <a:rPr lang="en-US"/>
              <a:t>Focus on a few high</a:t>
            </a:r>
            <a:r>
              <a:rPr lang="en-BE"/>
              <a:t>‑</a:t>
            </a:r>
            <a:r>
              <a:rPr lang="en-US"/>
              <a:t>impact use cases where AI can amplify your team</a:t>
            </a:r>
            <a:r>
              <a:rPr lang="en-BE"/>
              <a:t>’</a:t>
            </a:r>
            <a:r>
              <a:rPr lang="en-US"/>
              <a:t>s capacity</a:t>
            </a:r>
            <a:endParaRPr lang="en-US">
              <a:solidFill>
                <a:srgbClr val="282233"/>
              </a:solidFill>
              <a:latin typeface="Proximus Bold" panose="00000500000000000000" pitchFamily="2" charset="0"/>
              <a:cs typeface="Proximus Bold"/>
            </a:endParaRPr>
          </a:p>
        </p:txBody>
      </p:sp>
      <p:sp>
        <p:nvSpPr>
          <p:cNvPr id="106" name="Rectangle: Rounded Corners 105">
            <a:extLst>
              <a:ext uri="{FF2B5EF4-FFF2-40B4-BE49-F238E27FC236}">
                <a16:creationId xmlns:a16="http://schemas.microsoft.com/office/drawing/2014/main" id="{DA24DBA1-AFE2-CE04-2B6D-0B313FCB82D9}"/>
              </a:ext>
            </a:extLst>
          </p:cNvPr>
          <p:cNvSpPr/>
          <p:nvPr/>
        </p:nvSpPr>
        <p:spPr>
          <a:xfrm>
            <a:off x="1431845" y="3055672"/>
            <a:ext cx="4555724" cy="1511662"/>
          </a:xfrm>
          <a:prstGeom prst="roundRect">
            <a:avLst/>
          </a:prstGeom>
          <a:solidFill>
            <a:schemeClr val="tx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48000" tIns="48000" rIns="48000" bIns="96000" rtlCol="0" anchor="ctr" anchorCtr="0"/>
          <a:lstStyle/>
          <a:p>
            <a:pPr marL="0" marR="0" lvl="0" indent="0" algn="ctr" defTabSz="1624517"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Proximus" panose="00000500000000000000" pitchFamily="2" charset="0"/>
              <a:ea typeface="+mn-ea"/>
              <a:cs typeface="Proximus"/>
            </a:endParaRPr>
          </a:p>
        </p:txBody>
      </p:sp>
      <p:sp>
        <p:nvSpPr>
          <p:cNvPr id="110" name="TextBox 109">
            <a:extLst>
              <a:ext uri="{FF2B5EF4-FFF2-40B4-BE49-F238E27FC236}">
                <a16:creationId xmlns:a16="http://schemas.microsoft.com/office/drawing/2014/main" id="{7192084C-94D1-C997-0B71-12B978CDF8F5}"/>
              </a:ext>
            </a:extLst>
          </p:cNvPr>
          <p:cNvSpPr txBox="1"/>
          <p:nvPr/>
        </p:nvSpPr>
        <p:spPr>
          <a:xfrm>
            <a:off x="1839311" y="2628333"/>
            <a:ext cx="3631693" cy="369332"/>
          </a:xfrm>
          <a:prstGeom prst="rect">
            <a:avLst/>
          </a:prstGeom>
        </p:spPr>
        <p:txBody>
          <a:bodyPr vert="horz" wrap="square" lIns="0" tIns="0" rIns="0" bIns="0" numCol="1" spcCol="0" rtlCol="0" anchor="t" anchorCtr="0">
            <a:spAutoFit/>
          </a:bodyPr>
          <a:lstStyle/>
          <a:p>
            <a:pPr marL="0" marR="0" lvl="0" indent="0" algn="ctr" defTabSz="5441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82233"/>
                </a:solidFill>
                <a:effectLst/>
                <a:uLnTx/>
                <a:uFillTx/>
                <a:latin typeface="Proximus Bold"/>
                <a:ea typeface="+mn-ea"/>
                <a:cs typeface="+mn-cs"/>
              </a:rPr>
              <a:t>Traditional Automation</a:t>
            </a:r>
          </a:p>
        </p:txBody>
      </p:sp>
      <p:sp>
        <p:nvSpPr>
          <p:cNvPr id="20" name="Rectangle: Rounded Corners 19">
            <a:extLst>
              <a:ext uri="{FF2B5EF4-FFF2-40B4-BE49-F238E27FC236}">
                <a16:creationId xmlns:a16="http://schemas.microsoft.com/office/drawing/2014/main" id="{62E07D38-DE4E-4829-EB86-0ED54071910A}"/>
              </a:ext>
            </a:extLst>
          </p:cNvPr>
          <p:cNvSpPr/>
          <p:nvPr/>
        </p:nvSpPr>
        <p:spPr>
          <a:xfrm>
            <a:off x="6204433" y="3055672"/>
            <a:ext cx="4555722" cy="1511662"/>
          </a:xfrm>
          <a:prstGeom prst="round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vert="horz" lIns="48000" tIns="48000" rIns="48000" bIns="96000" rtlCol="0" anchor="ctr" anchorCtr="0"/>
          <a:lstStyle/>
          <a:p>
            <a:pPr marL="0" marR="0" lvl="0" indent="0" algn="ctr" defTabSz="1624517"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Proximus" panose="00000500000000000000" pitchFamily="2" charset="0"/>
              <a:ea typeface="+mn-ea"/>
              <a:cs typeface="Proximus"/>
            </a:endParaRPr>
          </a:p>
        </p:txBody>
      </p:sp>
      <p:sp>
        <p:nvSpPr>
          <p:cNvPr id="21" name="TextBox 20">
            <a:extLst>
              <a:ext uri="{FF2B5EF4-FFF2-40B4-BE49-F238E27FC236}">
                <a16:creationId xmlns:a16="http://schemas.microsoft.com/office/drawing/2014/main" id="{E53AED59-2820-0E09-CDF6-C046B7C89F13}"/>
              </a:ext>
            </a:extLst>
          </p:cNvPr>
          <p:cNvSpPr txBox="1"/>
          <p:nvPr/>
        </p:nvSpPr>
        <p:spPr>
          <a:xfrm>
            <a:off x="6666447" y="2623009"/>
            <a:ext cx="3631693" cy="369332"/>
          </a:xfrm>
          <a:prstGeom prst="rect">
            <a:avLst/>
          </a:prstGeom>
        </p:spPr>
        <p:txBody>
          <a:bodyPr vert="horz" wrap="square" lIns="0" tIns="0" rIns="0" bIns="0" numCol="1" spcCol="0" rtlCol="0" anchor="t" anchorCtr="0">
            <a:spAutoFit/>
          </a:bodyPr>
          <a:lstStyle/>
          <a:p>
            <a:pPr marL="0" marR="0" lvl="0" indent="0" algn="ctr" defTabSz="5441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82233"/>
                </a:solidFill>
                <a:effectLst/>
                <a:uLnTx/>
                <a:uFillTx/>
                <a:latin typeface="Proximus Bold"/>
                <a:ea typeface="+mn-ea"/>
                <a:cs typeface="+mn-cs"/>
              </a:rPr>
              <a:t>Agentic AI</a:t>
            </a:r>
          </a:p>
        </p:txBody>
      </p:sp>
      <p:sp>
        <p:nvSpPr>
          <p:cNvPr id="25" name="Rectangle: Rounded Corners 24">
            <a:extLst>
              <a:ext uri="{FF2B5EF4-FFF2-40B4-BE49-F238E27FC236}">
                <a16:creationId xmlns:a16="http://schemas.microsoft.com/office/drawing/2014/main" id="{E275E07F-0B51-6332-F712-3A585B471F47}"/>
              </a:ext>
            </a:extLst>
          </p:cNvPr>
          <p:cNvSpPr/>
          <p:nvPr/>
        </p:nvSpPr>
        <p:spPr>
          <a:xfrm>
            <a:off x="2533060" y="3541018"/>
            <a:ext cx="2898719" cy="556533"/>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lvl="0" algn="ctr">
              <a:defRPr/>
            </a:pPr>
            <a:r>
              <a:rPr lang="en-US" sz="1600" b="1">
                <a:solidFill>
                  <a:srgbClr val="282233"/>
                </a:solidFill>
              </a:rPr>
              <a:t>Where can manual work</a:t>
            </a:r>
            <a:br>
              <a:rPr lang="en-US" sz="1600" b="1">
                <a:solidFill>
                  <a:srgbClr val="282233"/>
                </a:solidFill>
              </a:rPr>
            </a:br>
            <a:r>
              <a:rPr lang="en-US" sz="1600" b="1">
                <a:solidFill>
                  <a:srgbClr val="282233"/>
                </a:solidFill>
              </a:rPr>
              <a:t>be avoided /reduced?</a:t>
            </a:r>
            <a:endParaRPr lang="en-US" sz="1600">
              <a:solidFill>
                <a:srgbClr val="282233"/>
              </a:solidFill>
            </a:endParaRPr>
          </a:p>
        </p:txBody>
      </p:sp>
      <p:sp>
        <p:nvSpPr>
          <p:cNvPr id="27" name="Oval 26">
            <a:extLst>
              <a:ext uri="{FF2B5EF4-FFF2-40B4-BE49-F238E27FC236}">
                <a16:creationId xmlns:a16="http://schemas.microsoft.com/office/drawing/2014/main" id="{1464B5EB-0465-A7AA-236F-5B010C64CBFE}"/>
              </a:ext>
            </a:extLst>
          </p:cNvPr>
          <p:cNvSpPr/>
          <p:nvPr/>
        </p:nvSpPr>
        <p:spPr>
          <a:xfrm>
            <a:off x="1839312" y="3459794"/>
            <a:ext cx="720000" cy="720000"/>
          </a:xfrm>
          <a:prstGeom prst="ellipse">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200" b="1" noProof="0">
              <a:solidFill>
                <a:schemeClr val="tx1"/>
              </a:solidFill>
              <a:latin typeface="Proximus Bold" panose="00000500000000000000" pitchFamily="2" charset="0"/>
              <a:cs typeface="Proximus Bold"/>
            </a:endParaRPr>
          </a:p>
        </p:txBody>
      </p:sp>
      <p:sp>
        <p:nvSpPr>
          <p:cNvPr id="31" name="Rectangle: Rounded Corners 30">
            <a:extLst>
              <a:ext uri="{FF2B5EF4-FFF2-40B4-BE49-F238E27FC236}">
                <a16:creationId xmlns:a16="http://schemas.microsoft.com/office/drawing/2014/main" id="{DDA8BE82-4B81-DCCC-7F12-FD9A2CB09D9D}"/>
              </a:ext>
            </a:extLst>
          </p:cNvPr>
          <p:cNvSpPr/>
          <p:nvPr/>
        </p:nvSpPr>
        <p:spPr>
          <a:xfrm>
            <a:off x="7154261" y="3371171"/>
            <a:ext cx="3356900" cy="901942"/>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lvl="0" algn="ctr">
              <a:defRPr/>
            </a:pPr>
            <a:r>
              <a:rPr lang="en-US" sz="1600" b="1">
                <a:solidFill>
                  <a:schemeClr val="tx1"/>
                </a:solidFill>
              </a:rPr>
              <a:t>Where can I boost outcomes if I would have more people?</a:t>
            </a:r>
          </a:p>
        </p:txBody>
      </p:sp>
      <p:sp>
        <p:nvSpPr>
          <p:cNvPr id="32" name="Oval 31">
            <a:extLst>
              <a:ext uri="{FF2B5EF4-FFF2-40B4-BE49-F238E27FC236}">
                <a16:creationId xmlns:a16="http://schemas.microsoft.com/office/drawing/2014/main" id="{81774A8A-1945-3008-3365-56E18760A7CD}"/>
              </a:ext>
            </a:extLst>
          </p:cNvPr>
          <p:cNvSpPr/>
          <p:nvPr/>
        </p:nvSpPr>
        <p:spPr>
          <a:xfrm>
            <a:off x="6434261" y="3459794"/>
            <a:ext cx="720000" cy="720000"/>
          </a:xfrm>
          <a:prstGeom prst="ellipse">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200" b="1" noProof="0">
              <a:solidFill>
                <a:schemeClr val="tx1"/>
              </a:solidFill>
              <a:latin typeface="Proximus Bold" panose="00000500000000000000" pitchFamily="2" charset="0"/>
              <a:cs typeface="Proximus Bold"/>
            </a:endParaRPr>
          </a:p>
        </p:txBody>
      </p:sp>
      <p:pic>
        <p:nvPicPr>
          <p:cNvPr id="33" name="Picture 32">
            <a:extLst>
              <a:ext uri="{FF2B5EF4-FFF2-40B4-BE49-F238E27FC236}">
                <a16:creationId xmlns:a16="http://schemas.microsoft.com/office/drawing/2014/main" id="{76702182-96E0-FFB1-D63A-D28E33F0258E}"/>
              </a:ext>
            </a:extLst>
          </p:cNvPr>
          <p:cNvPicPr>
            <a:picLocks noChangeAspect="1"/>
          </p:cNvPicPr>
          <p:nvPr/>
        </p:nvPicPr>
        <p:blipFill>
          <a:blip r:embed="rId6"/>
          <a:stretch>
            <a:fillRect/>
          </a:stretch>
        </p:blipFill>
        <p:spPr>
          <a:xfrm>
            <a:off x="6521112" y="3529234"/>
            <a:ext cx="546298" cy="544290"/>
          </a:xfrm>
          <a:prstGeom prst="rect">
            <a:avLst/>
          </a:prstGeom>
        </p:spPr>
      </p:pic>
      <p:pic>
        <p:nvPicPr>
          <p:cNvPr id="34" name="Picture 33">
            <a:extLst>
              <a:ext uri="{FF2B5EF4-FFF2-40B4-BE49-F238E27FC236}">
                <a16:creationId xmlns:a16="http://schemas.microsoft.com/office/drawing/2014/main" id="{D3421F5B-2A79-1F13-2B94-1B5A6C3037F9}"/>
              </a:ext>
            </a:extLst>
          </p:cNvPr>
          <p:cNvPicPr>
            <a:picLocks noChangeAspect="1"/>
          </p:cNvPicPr>
          <p:nvPr/>
        </p:nvPicPr>
        <p:blipFill>
          <a:blip r:embed="rId7"/>
          <a:stretch>
            <a:fillRect/>
          </a:stretch>
        </p:blipFill>
        <p:spPr>
          <a:xfrm>
            <a:off x="1913037" y="3553261"/>
            <a:ext cx="546298" cy="544290"/>
          </a:xfrm>
          <a:prstGeom prst="rect">
            <a:avLst/>
          </a:prstGeom>
        </p:spPr>
      </p:pic>
      <p:sp>
        <p:nvSpPr>
          <p:cNvPr id="36" name="TextBox 35">
            <a:extLst>
              <a:ext uri="{FF2B5EF4-FFF2-40B4-BE49-F238E27FC236}">
                <a16:creationId xmlns:a16="http://schemas.microsoft.com/office/drawing/2014/main" id="{843F8E0D-8264-12D9-4E83-AD54B992B966}"/>
              </a:ext>
            </a:extLst>
          </p:cNvPr>
          <p:cNvSpPr txBox="1"/>
          <p:nvPr/>
        </p:nvSpPr>
        <p:spPr>
          <a:xfrm>
            <a:off x="6434261" y="4655957"/>
            <a:ext cx="4217640" cy="523220"/>
          </a:xfrm>
          <a:prstGeom prst="rect">
            <a:avLst/>
          </a:prstGeom>
          <a:noFill/>
        </p:spPr>
        <p:txBody>
          <a:bodyPr wrap="square" lIns="0" tIns="0" rIns="0" bIns="0" rtlCol="0">
            <a:spAutoFit/>
          </a:bodyPr>
          <a:lstStyle/>
          <a:p>
            <a:r>
              <a:rPr lang="en-US" sz="1400" b="1">
                <a:solidFill>
                  <a:schemeClr val="tx1">
                    <a:lumMod val="50000"/>
                  </a:schemeClr>
                </a:solidFill>
              </a:rPr>
              <a:t>And achieve it via humans with AI superpowers</a:t>
            </a:r>
          </a:p>
          <a:p>
            <a:endParaRPr lang="en-BE" sz="2000" err="1"/>
          </a:p>
        </p:txBody>
      </p:sp>
    </p:spTree>
    <p:extLst>
      <p:ext uri="{BB962C8B-B14F-4D97-AF65-F5344CB8AC3E}">
        <p14:creationId xmlns:p14="http://schemas.microsoft.com/office/powerpoint/2010/main" val="27944226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AEA1E8-E881-ED98-2483-DE882C3F33C6}"/>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A10B08B-A201-67F6-3B36-EF3C981E34CD}"/>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5" name="think-cell data - do not delete" hidden="1">
                        <a:extLst>
                          <a:ext uri="{FF2B5EF4-FFF2-40B4-BE49-F238E27FC236}">
                            <a16:creationId xmlns:a16="http://schemas.microsoft.com/office/drawing/2014/main" id="{6A10B08B-A201-67F6-3B36-EF3C981E34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BDA07976-46DC-3EDE-8927-CDE0A353C243}"/>
              </a:ext>
            </a:extLst>
          </p:cNvPr>
          <p:cNvSpPr>
            <a:spLocks noGrp="1"/>
          </p:cNvSpPr>
          <p:nvPr>
            <p:ph type="body" sz="quarter" idx="11"/>
          </p:nvPr>
        </p:nvSpPr>
        <p:spPr/>
        <p:txBody>
          <a:bodyPr/>
          <a:lstStyle/>
          <a:p>
            <a:r>
              <a:rPr lang="en-US" noProof="0"/>
              <a:t>Notes: GCC : Global Competence Centers</a:t>
            </a:r>
          </a:p>
        </p:txBody>
      </p:sp>
      <p:sp>
        <p:nvSpPr>
          <p:cNvPr id="3" name="Title 2">
            <a:extLst>
              <a:ext uri="{FF2B5EF4-FFF2-40B4-BE49-F238E27FC236}">
                <a16:creationId xmlns:a16="http://schemas.microsoft.com/office/drawing/2014/main" id="{26B54AAF-E63D-7393-B0C4-CEEB4D452598}"/>
              </a:ext>
            </a:extLst>
          </p:cNvPr>
          <p:cNvSpPr>
            <a:spLocks noGrp="1"/>
          </p:cNvSpPr>
          <p:nvPr>
            <p:ph type="title"/>
          </p:nvPr>
        </p:nvSpPr>
        <p:spPr>
          <a:xfrm>
            <a:off x="656983" y="503119"/>
            <a:ext cx="9994918" cy="882650"/>
          </a:xfrm>
        </p:spPr>
        <p:txBody>
          <a:bodyPr vert="horz"/>
          <a:lstStyle/>
          <a:p>
            <a:r>
              <a:rPr lang="en-US"/>
              <a:t>From today</a:t>
            </a:r>
            <a:r>
              <a:rPr lang="en-BE"/>
              <a:t>’</a:t>
            </a:r>
            <a:r>
              <a:rPr lang="en-US"/>
              <a:t>s constraints to simpler journeys and smarter operations</a:t>
            </a:r>
            <a:endParaRPr lang="en-US" noProof="0">
              <a:solidFill>
                <a:srgbClr val="282233"/>
              </a:solidFill>
            </a:endParaRPr>
          </a:p>
        </p:txBody>
      </p:sp>
      <p:sp>
        <p:nvSpPr>
          <p:cNvPr id="110" name="TextBox 109">
            <a:extLst>
              <a:ext uri="{FF2B5EF4-FFF2-40B4-BE49-F238E27FC236}">
                <a16:creationId xmlns:a16="http://schemas.microsoft.com/office/drawing/2014/main" id="{16C6FBE6-A2A4-7C03-6DBA-C1117C31EEB0}"/>
              </a:ext>
            </a:extLst>
          </p:cNvPr>
          <p:cNvSpPr txBox="1"/>
          <p:nvPr/>
        </p:nvSpPr>
        <p:spPr>
          <a:xfrm>
            <a:off x="2891762" y="1488896"/>
            <a:ext cx="1702852" cy="369332"/>
          </a:xfrm>
          <a:prstGeom prst="rect">
            <a:avLst/>
          </a:prstGeom>
        </p:spPr>
        <p:txBody>
          <a:bodyPr vert="horz" wrap="square" lIns="0" tIns="0" rIns="0" bIns="0" numCol="1" spcCol="0" rtlCol="0" anchor="t" anchorCtr="0">
            <a:spAutoFit/>
          </a:bodyPr>
          <a:lstStyle/>
          <a:p>
            <a:pPr marL="0" marR="0" lvl="0" indent="0" algn="ctr" defTabSz="5441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82233"/>
                </a:solidFill>
                <a:effectLst/>
                <a:uLnTx/>
                <a:uFillTx/>
                <a:latin typeface="Proximus Bold"/>
                <a:ea typeface="+mn-ea"/>
                <a:cs typeface="+mn-cs"/>
              </a:rPr>
              <a:t>From</a:t>
            </a:r>
          </a:p>
        </p:txBody>
      </p:sp>
      <p:sp>
        <p:nvSpPr>
          <p:cNvPr id="111" name="TextBox 110">
            <a:extLst>
              <a:ext uri="{FF2B5EF4-FFF2-40B4-BE49-F238E27FC236}">
                <a16:creationId xmlns:a16="http://schemas.microsoft.com/office/drawing/2014/main" id="{20A04B22-A97F-D343-E6E6-6E64447C4EC5}"/>
              </a:ext>
            </a:extLst>
          </p:cNvPr>
          <p:cNvSpPr txBox="1"/>
          <p:nvPr/>
        </p:nvSpPr>
        <p:spPr>
          <a:xfrm>
            <a:off x="7875026" y="1464693"/>
            <a:ext cx="1186139" cy="369332"/>
          </a:xfrm>
          <a:prstGeom prst="rect">
            <a:avLst/>
          </a:prstGeom>
        </p:spPr>
        <p:txBody>
          <a:bodyPr vert="horz" wrap="square" lIns="0" tIns="0" rIns="0" bIns="0" numCol="1" spcCol="0" rtlCol="0" anchor="t" anchorCtr="0">
            <a:spAutoFit/>
          </a:bodyPr>
          <a:lstStyle/>
          <a:p>
            <a:pPr marL="0" marR="0" lvl="0" indent="0" algn="ctr" defTabSz="544125" rtl="0" eaLnBrk="1" fontAlgn="auto" latinLnBrk="0" hangingPunct="1">
              <a:lnSpc>
                <a:spcPct val="100000"/>
              </a:lnSpc>
              <a:spcBef>
                <a:spcPts val="0"/>
              </a:spcBef>
              <a:spcAft>
                <a:spcPts val="0"/>
              </a:spcAft>
              <a:buClrTx/>
              <a:buSzTx/>
              <a:buFontTx/>
              <a:buNone/>
              <a:tabLst/>
              <a:defRPr/>
            </a:pPr>
            <a:r>
              <a:rPr lang="en-US" sz="2400" b="1">
                <a:solidFill>
                  <a:schemeClr val="bg1"/>
                </a:solidFill>
                <a:latin typeface="Proximus Bold"/>
              </a:rPr>
              <a:t>T</a:t>
            </a:r>
            <a:r>
              <a:rPr kumimoji="0" lang="en-US" sz="2400" b="1" i="0" u="none" strike="noStrike" kern="1200" cap="none" spc="0" normalizeH="0" baseline="0" noProof="0">
                <a:ln>
                  <a:noFill/>
                </a:ln>
                <a:solidFill>
                  <a:schemeClr val="bg1"/>
                </a:solidFill>
                <a:effectLst/>
                <a:uLnTx/>
                <a:uFillTx/>
                <a:latin typeface="Proximus Bold"/>
                <a:ea typeface="+mn-ea"/>
                <a:cs typeface="+mn-cs"/>
              </a:rPr>
              <a:t>o</a:t>
            </a:r>
            <a:endParaRPr kumimoji="0" lang="en-US" sz="1800" b="0" i="0" u="none" strike="noStrike" kern="1200" cap="none" spc="0" normalizeH="0" baseline="0" noProof="0">
              <a:ln>
                <a:noFill/>
              </a:ln>
              <a:solidFill>
                <a:schemeClr val="bg1"/>
              </a:solidFill>
              <a:effectLst/>
              <a:uLnTx/>
              <a:uFillTx/>
              <a:latin typeface="Proximus"/>
              <a:ea typeface="+mn-ea"/>
              <a:cs typeface="+mn-cs"/>
            </a:endParaRPr>
          </a:p>
        </p:txBody>
      </p:sp>
      <p:grpSp>
        <p:nvGrpSpPr>
          <p:cNvPr id="4" name="Group 3">
            <a:extLst>
              <a:ext uri="{FF2B5EF4-FFF2-40B4-BE49-F238E27FC236}">
                <a16:creationId xmlns:a16="http://schemas.microsoft.com/office/drawing/2014/main" id="{A4138F7D-E32F-881B-9ED8-D0B505369D30}"/>
              </a:ext>
            </a:extLst>
          </p:cNvPr>
          <p:cNvGrpSpPr/>
          <p:nvPr/>
        </p:nvGrpSpPr>
        <p:grpSpPr>
          <a:xfrm>
            <a:off x="1344420" y="2332653"/>
            <a:ext cx="9503159" cy="3615924"/>
            <a:chOff x="1344420" y="1966837"/>
            <a:chExt cx="9503159" cy="3008896"/>
          </a:xfrm>
        </p:grpSpPr>
        <p:sp>
          <p:nvSpPr>
            <p:cNvPr id="106" name="Rectangle: Rounded Corners 105">
              <a:extLst>
                <a:ext uri="{FF2B5EF4-FFF2-40B4-BE49-F238E27FC236}">
                  <a16:creationId xmlns:a16="http://schemas.microsoft.com/office/drawing/2014/main" id="{B3D8E1EE-CBB7-5A8A-B9A6-78B94525385C}"/>
                </a:ext>
              </a:extLst>
            </p:cNvPr>
            <p:cNvSpPr/>
            <p:nvPr/>
          </p:nvSpPr>
          <p:spPr>
            <a:xfrm>
              <a:off x="1353460" y="1979490"/>
              <a:ext cx="9470306" cy="588547"/>
            </a:xfrm>
            <a:prstGeom prst="roundRect">
              <a:avLst/>
            </a:prstGeom>
            <a:solidFill>
              <a:schemeClr val="tx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48000" tIns="48000" rIns="48000" bIns="96000" rtlCol="0" anchor="ctr" anchorCtr="0"/>
            <a:lstStyle/>
            <a:p>
              <a:pPr marL="0" marR="0" lvl="0" indent="0" algn="ctr" defTabSz="1624517"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Proximus" panose="00000500000000000000" pitchFamily="2" charset="0"/>
                <a:ea typeface="+mn-ea"/>
                <a:cs typeface="Proximus"/>
              </a:endParaRPr>
            </a:p>
          </p:txBody>
        </p:sp>
        <p:sp>
          <p:nvSpPr>
            <p:cNvPr id="103" name="Rectangle: Rounded Corners 102">
              <a:extLst>
                <a:ext uri="{FF2B5EF4-FFF2-40B4-BE49-F238E27FC236}">
                  <a16:creationId xmlns:a16="http://schemas.microsoft.com/office/drawing/2014/main" id="{6450E377-17CB-9C21-4995-C857F7B04C35}"/>
                </a:ext>
              </a:extLst>
            </p:cNvPr>
            <p:cNvSpPr/>
            <p:nvPr/>
          </p:nvSpPr>
          <p:spPr>
            <a:xfrm>
              <a:off x="1344421" y="2778540"/>
              <a:ext cx="9470306" cy="588547"/>
            </a:xfrm>
            <a:prstGeom prst="roundRect">
              <a:avLst/>
            </a:prstGeom>
            <a:solidFill>
              <a:schemeClr val="tx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48000" tIns="48000" rIns="48000" bIns="96000" rtlCol="0" anchor="ctr" anchorCtr="0"/>
            <a:lstStyle/>
            <a:p>
              <a:pPr marL="0" marR="0" lvl="0" indent="0" algn="ctr" defTabSz="1624517"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Proximus" panose="00000500000000000000" pitchFamily="2" charset="0"/>
                <a:ea typeface="+mn-ea"/>
                <a:cs typeface="Proximus"/>
              </a:endParaRPr>
            </a:p>
          </p:txBody>
        </p:sp>
        <p:sp>
          <p:nvSpPr>
            <p:cNvPr id="100" name="Rectangle: Rounded Corners 99">
              <a:extLst>
                <a:ext uri="{FF2B5EF4-FFF2-40B4-BE49-F238E27FC236}">
                  <a16:creationId xmlns:a16="http://schemas.microsoft.com/office/drawing/2014/main" id="{59093AB9-EECD-E4F2-9FC5-FE196B470B0B}"/>
                </a:ext>
              </a:extLst>
            </p:cNvPr>
            <p:cNvSpPr/>
            <p:nvPr/>
          </p:nvSpPr>
          <p:spPr>
            <a:xfrm>
              <a:off x="1344421" y="3564683"/>
              <a:ext cx="9470306" cy="588547"/>
            </a:xfrm>
            <a:prstGeom prst="roundRect">
              <a:avLst/>
            </a:prstGeom>
            <a:solidFill>
              <a:schemeClr val="tx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48000" tIns="48000" rIns="48000" bIns="96000" rtlCol="0" anchor="ctr" anchorCtr="0"/>
            <a:lstStyle/>
            <a:p>
              <a:pPr marL="0" marR="0" lvl="0" indent="0" algn="ctr" defTabSz="1624517"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Proximus" panose="00000500000000000000" pitchFamily="2" charset="0"/>
                <a:ea typeface="+mn-ea"/>
                <a:cs typeface="Proximus"/>
              </a:endParaRPr>
            </a:p>
          </p:txBody>
        </p:sp>
        <p:sp>
          <p:nvSpPr>
            <p:cNvPr id="65" name="TextBox 64">
              <a:extLst>
                <a:ext uri="{FF2B5EF4-FFF2-40B4-BE49-F238E27FC236}">
                  <a16:creationId xmlns:a16="http://schemas.microsoft.com/office/drawing/2014/main" id="{36885521-0D60-D45E-CB0B-C76BD7A8BD39}"/>
                </a:ext>
              </a:extLst>
            </p:cNvPr>
            <p:cNvSpPr txBox="1"/>
            <p:nvPr/>
          </p:nvSpPr>
          <p:spPr>
            <a:xfrm>
              <a:off x="1519271" y="2021468"/>
              <a:ext cx="4271777" cy="509130"/>
            </a:xfrm>
            <a:prstGeom prst="rect">
              <a:avLst/>
            </a:prstGeom>
          </p:spPr>
          <p:txBody>
            <a:bodyPr vert="horz" wrap="square" lIns="0" tIns="0" rIns="0" bIns="0" numCol="1" spcCol="0" rtlCol="0" anchor="ctr" anchorCtr="0">
              <a:noAutofit/>
            </a:bodyPr>
            <a:lstStyle/>
            <a:p>
              <a:pPr lvl="0">
                <a:defRPr/>
              </a:pPr>
              <a:r>
                <a:rPr lang="en-US" sz="1200" b="1">
                  <a:solidFill>
                    <a:srgbClr val="282233"/>
                  </a:solidFill>
                </a:rPr>
                <a:t>Complex bundled offers and promotions</a:t>
              </a:r>
            </a:p>
          </p:txBody>
        </p:sp>
        <p:sp>
          <p:nvSpPr>
            <p:cNvPr id="66" name="TextBox 65">
              <a:extLst>
                <a:ext uri="{FF2B5EF4-FFF2-40B4-BE49-F238E27FC236}">
                  <a16:creationId xmlns:a16="http://schemas.microsoft.com/office/drawing/2014/main" id="{92345545-345A-79EA-70BA-7B7DDF13EF6D}"/>
                </a:ext>
              </a:extLst>
            </p:cNvPr>
            <p:cNvSpPr txBox="1"/>
            <p:nvPr/>
          </p:nvSpPr>
          <p:spPr>
            <a:xfrm>
              <a:off x="1519271" y="2820842"/>
              <a:ext cx="4271776" cy="509130"/>
            </a:xfrm>
            <a:prstGeom prst="rect">
              <a:avLst/>
            </a:prstGeom>
          </p:spPr>
          <p:txBody>
            <a:bodyPr vert="horz" wrap="square" lIns="0" tIns="0" rIns="0" bIns="0" numCol="1" spcCol="0" rtlCol="0" anchor="ctr" anchorCtr="0">
              <a:noAutofit/>
            </a:bodyPr>
            <a:lstStyle/>
            <a:p>
              <a:r>
                <a:rPr lang="en-US" sz="1200" b="1">
                  <a:solidFill>
                    <a:schemeClr val="bg1"/>
                  </a:solidFill>
                </a:rPr>
                <a:t>Difficulty reaching customers at the right moment (impacting booking, rebooking, collections, etc</a:t>
              </a:r>
              <a:r>
                <a:rPr lang="en-US" sz="1200">
                  <a:solidFill>
                    <a:schemeClr val="bg1"/>
                  </a:solidFill>
                </a:rPr>
                <a:t>.</a:t>
              </a:r>
              <a:r>
                <a:rPr lang="en-US" sz="1200" b="1">
                  <a:solidFill>
                    <a:schemeClr val="bg1"/>
                  </a:solidFill>
                </a:rPr>
                <a:t>)</a:t>
              </a:r>
              <a:endParaRPr lang="en-US" b="1">
                <a:solidFill>
                  <a:schemeClr val="bg1"/>
                </a:solidFill>
              </a:endParaRPr>
            </a:p>
          </p:txBody>
        </p:sp>
        <p:sp>
          <p:nvSpPr>
            <p:cNvPr id="67" name="TextBox 66">
              <a:extLst>
                <a:ext uri="{FF2B5EF4-FFF2-40B4-BE49-F238E27FC236}">
                  <a16:creationId xmlns:a16="http://schemas.microsoft.com/office/drawing/2014/main" id="{45310256-E118-9041-C2CE-1F0B5095011C}"/>
                </a:ext>
              </a:extLst>
            </p:cNvPr>
            <p:cNvSpPr txBox="1"/>
            <p:nvPr/>
          </p:nvSpPr>
          <p:spPr>
            <a:xfrm>
              <a:off x="1519271" y="3604391"/>
              <a:ext cx="4271776" cy="509130"/>
            </a:xfrm>
            <a:prstGeom prst="rect">
              <a:avLst/>
            </a:prstGeom>
          </p:spPr>
          <p:txBody>
            <a:bodyPr vert="horz" wrap="square" lIns="0" tIns="0" rIns="0" bIns="0" numCol="1" spcCol="0" rtlCol="0" anchor="ctr" anchorCtr="0">
              <a:noAutofit/>
            </a:bodyPr>
            <a:lstStyle/>
            <a:p>
              <a:pPr lvl="0">
                <a:defRPr/>
              </a:pPr>
              <a:r>
                <a:rPr lang="en-US" sz="1200" b="1">
                  <a:solidFill>
                    <a:schemeClr val="bg1"/>
                  </a:solidFill>
                </a:rPr>
                <a:t>Personalized marketing limited by human capacity</a:t>
              </a:r>
              <a:endParaRPr lang="en-US" sz="1000" b="1">
                <a:solidFill>
                  <a:schemeClr val="bg1"/>
                </a:solidFill>
              </a:endParaRPr>
            </a:p>
          </p:txBody>
        </p:sp>
        <p:sp>
          <p:nvSpPr>
            <p:cNvPr id="71" name="Arrow: Pentagon 42">
              <a:extLst>
                <a:ext uri="{FF2B5EF4-FFF2-40B4-BE49-F238E27FC236}">
                  <a16:creationId xmlns:a16="http://schemas.microsoft.com/office/drawing/2014/main" id="{04C4FF15-3062-43C5-0C5F-E084DE2FD4BF}"/>
                </a:ext>
              </a:extLst>
            </p:cNvPr>
            <p:cNvSpPr/>
            <p:nvPr/>
          </p:nvSpPr>
          <p:spPr>
            <a:xfrm>
              <a:off x="5970724" y="1981632"/>
              <a:ext cx="4876855" cy="590400"/>
            </a:xfrm>
            <a:prstGeom prst="round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480000" tIns="144000" rIns="144000" bIns="144000" anchor="ctr"/>
            <a:lstStyle/>
            <a:p>
              <a:pPr marL="0" marR="0" lvl="0" indent="0" algn="l" defTabSz="1624477"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30000" noProof="0">
                <a:ln>
                  <a:noFill/>
                </a:ln>
                <a:solidFill>
                  <a:srgbClr val="FFFFFF"/>
                </a:solidFill>
                <a:effectLst/>
                <a:uLnTx/>
                <a:uFillTx/>
                <a:latin typeface="Proximus ExtraBold" pitchFamily="2" charset="77"/>
                <a:ea typeface="+mn-ea"/>
                <a:cs typeface="+mn-cs"/>
              </a:endParaRPr>
            </a:p>
          </p:txBody>
        </p:sp>
        <p:sp>
          <p:nvSpPr>
            <p:cNvPr id="72" name="Arrow: Pentagon 42">
              <a:extLst>
                <a:ext uri="{FF2B5EF4-FFF2-40B4-BE49-F238E27FC236}">
                  <a16:creationId xmlns:a16="http://schemas.microsoft.com/office/drawing/2014/main" id="{531DCB47-508F-2C00-B58A-BD9E5B8475E0}"/>
                </a:ext>
              </a:extLst>
            </p:cNvPr>
            <p:cNvSpPr/>
            <p:nvPr/>
          </p:nvSpPr>
          <p:spPr>
            <a:xfrm>
              <a:off x="6116885" y="2774089"/>
              <a:ext cx="4730694" cy="590400"/>
            </a:xfrm>
            <a:prstGeom prst="round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480000" tIns="144000" rIns="144000" bIns="144000" anchor="ctr"/>
            <a:lstStyle/>
            <a:p>
              <a:pPr marL="0" marR="0" lvl="0" indent="0" algn="l" defTabSz="1624477"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30000" noProof="0">
                <a:ln>
                  <a:noFill/>
                </a:ln>
                <a:solidFill>
                  <a:srgbClr val="FFFFFF"/>
                </a:solidFill>
                <a:effectLst/>
                <a:uLnTx/>
                <a:uFillTx/>
                <a:latin typeface="Proximus ExtraBold" pitchFamily="2" charset="77"/>
                <a:ea typeface="+mn-ea"/>
                <a:cs typeface="+mn-cs"/>
              </a:endParaRPr>
            </a:p>
          </p:txBody>
        </p:sp>
        <p:sp>
          <p:nvSpPr>
            <p:cNvPr id="73" name="Arrow: Pentagon 42">
              <a:extLst>
                <a:ext uri="{FF2B5EF4-FFF2-40B4-BE49-F238E27FC236}">
                  <a16:creationId xmlns:a16="http://schemas.microsoft.com/office/drawing/2014/main" id="{1FBD599F-0512-C7C8-DACB-7926DD7200C3}"/>
                </a:ext>
              </a:extLst>
            </p:cNvPr>
            <p:cNvSpPr/>
            <p:nvPr/>
          </p:nvSpPr>
          <p:spPr>
            <a:xfrm>
              <a:off x="6088614" y="3573630"/>
              <a:ext cx="4758965" cy="590400"/>
            </a:xfrm>
            <a:prstGeom prst="round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480000" tIns="144000" rIns="144000" bIns="144000" anchor="ctr"/>
            <a:lstStyle/>
            <a:p>
              <a:pPr marL="0" marR="0" lvl="0" indent="0" algn="l" defTabSz="1624477"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30000" noProof="0">
                <a:ln>
                  <a:noFill/>
                </a:ln>
                <a:solidFill>
                  <a:srgbClr val="FFFFFF"/>
                </a:solidFill>
                <a:effectLst/>
                <a:uLnTx/>
                <a:uFillTx/>
                <a:latin typeface="Proximus ExtraBold" pitchFamily="2" charset="77"/>
                <a:ea typeface="+mn-ea"/>
                <a:cs typeface="+mn-cs"/>
              </a:endParaRPr>
            </a:p>
          </p:txBody>
        </p:sp>
        <p:sp>
          <p:nvSpPr>
            <p:cNvPr id="85" name="Flowchart: Connector 84">
              <a:extLst>
                <a:ext uri="{FF2B5EF4-FFF2-40B4-BE49-F238E27FC236}">
                  <a16:creationId xmlns:a16="http://schemas.microsoft.com/office/drawing/2014/main" id="{B0F6E1DC-EA43-25A0-607C-3F3BA090C3A6}"/>
                </a:ext>
              </a:extLst>
            </p:cNvPr>
            <p:cNvSpPr/>
            <p:nvPr/>
          </p:nvSpPr>
          <p:spPr>
            <a:xfrm>
              <a:off x="5791047" y="1966837"/>
              <a:ext cx="612000" cy="612000"/>
            </a:xfrm>
            <a:prstGeom prst="flowChartConnector">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36000" rtlCol="0" anchor="ctr" anchorCtr="0"/>
            <a:lstStyle/>
            <a:p>
              <a:pPr marL="0" marR="0" lvl="0" indent="0" algn="ctr" defTabSz="5441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2"/>
                  </a:solidFill>
                  <a:effectLst/>
                  <a:uLnTx/>
                  <a:uFillTx/>
                  <a:latin typeface="Proximus ExtraBold"/>
                  <a:ea typeface="+mn-ea"/>
                  <a:cs typeface="+mn-cs"/>
                </a:rPr>
                <a:t>1</a:t>
              </a:r>
            </a:p>
          </p:txBody>
        </p:sp>
        <p:sp>
          <p:nvSpPr>
            <p:cNvPr id="86" name="Flowchart: Connector 85">
              <a:extLst>
                <a:ext uri="{FF2B5EF4-FFF2-40B4-BE49-F238E27FC236}">
                  <a16:creationId xmlns:a16="http://schemas.microsoft.com/office/drawing/2014/main" id="{ED24A8C6-3409-D8BE-1853-29251E0F8047}"/>
                </a:ext>
              </a:extLst>
            </p:cNvPr>
            <p:cNvSpPr/>
            <p:nvPr/>
          </p:nvSpPr>
          <p:spPr>
            <a:xfrm>
              <a:off x="5791049" y="2757757"/>
              <a:ext cx="612000" cy="612000"/>
            </a:xfrm>
            <a:prstGeom prst="flowChartConnector">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36000" rtlCol="0" anchor="ctr" anchorCtr="0"/>
            <a:lstStyle/>
            <a:p>
              <a:pPr marL="0" marR="0" lvl="0" indent="0" algn="ctr" defTabSz="162451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2"/>
                  </a:solidFill>
                  <a:effectLst/>
                  <a:uLnTx/>
                  <a:uFillTx/>
                  <a:latin typeface="Proximus ExtraBold"/>
                  <a:ea typeface="+mn-ea"/>
                  <a:cs typeface="+mn-cs"/>
                </a:rPr>
                <a:t>2</a:t>
              </a:r>
            </a:p>
          </p:txBody>
        </p:sp>
        <p:sp>
          <p:nvSpPr>
            <p:cNvPr id="87" name="Flowchart: Connector 86">
              <a:extLst>
                <a:ext uri="{FF2B5EF4-FFF2-40B4-BE49-F238E27FC236}">
                  <a16:creationId xmlns:a16="http://schemas.microsoft.com/office/drawing/2014/main" id="{2E30A4B1-993E-F6CB-3832-8CF353069DC4}"/>
                </a:ext>
              </a:extLst>
            </p:cNvPr>
            <p:cNvSpPr/>
            <p:nvPr/>
          </p:nvSpPr>
          <p:spPr>
            <a:xfrm>
              <a:off x="5791049" y="3553902"/>
              <a:ext cx="612000" cy="612000"/>
            </a:xfrm>
            <a:prstGeom prst="flowChartConnector">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36000" rtlCol="0" anchor="ctr" anchorCtr="0"/>
            <a:lstStyle/>
            <a:p>
              <a:pPr marL="0" marR="0" lvl="0" indent="0" algn="ctr" defTabSz="162451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2"/>
                  </a:solidFill>
                  <a:effectLst/>
                  <a:uLnTx/>
                  <a:uFillTx/>
                  <a:latin typeface="Proximus ExtraBold"/>
                  <a:ea typeface="+mn-ea"/>
                  <a:cs typeface="+mn-cs"/>
                </a:rPr>
                <a:t>3</a:t>
              </a:r>
            </a:p>
          </p:txBody>
        </p:sp>
        <p:sp>
          <p:nvSpPr>
            <p:cNvPr id="53" name="TextBox 52">
              <a:extLst>
                <a:ext uri="{FF2B5EF4-FFF2-40B4-BE49-F238E27FC236}">
                  <a16:creationId xmlns:a16="http://schemas.microsoft.com/office/drawing/2014/main" id="{D915838E-1D58-C468-8D20-3D084ADF17D3}"/>
                </a:ext>
              </a:extLst>
            </p:cNvPr>
            <p:cNvSpPr txBox="1"/>
            <p:nvPr/>
          </p:nvSpPr>
          <p:spPr>
            <a:xfrm>
              <a:off x="6556305" y="2012331"/>
              <a:ext cx="4079172" cy="509130"/>
            </a:xfrm>
            <a:prstGeom prst="rect">
              <a:avLst/>
            </a:prstGeom>
          </p:spPr>
          <p:txBody>
            <a:bodyPr vert="horz" wrap="square" lIns="0" tIns="0" rIns="0" bIns="0" numCol="1" spcCol="0" rtlCol="0" anchor="ctr" anchorCtr="0">
              <a:noAutofit/>
            </a:bodyPr>
            <a:lstStyle/>
            <a:p>
              <a:pPr defTabSz="1216994">
                <a:spcBef>
                  <a:spcPts val="1600"/>
                </a:spcBef>
                <a:buClr>
                  <a:srgbClr val="5C2D91"/>
                </a:buClr>
                <a:defRPr/>
              </a:pPr>
              <a:r>
                <a:rPr lang="en-US" sz="1200" b="1"/>
                <a:t>Simple conversational commerce with a streamlined portfolio and pricing</a:t>
              </a:r>
              <a:endParaRPr lang="en-US" sz="1000" b="1"/>
            </a:p>
          </p:txBody>
        </p:sp>
        <p:sp>
          <p:nvSpPr>
            <p:cNvPr id="54" name="TextBox 53">
              <a:extLst>
                <a:ext uri="{FF2B5EF4-FFF2-40B4-BE49-F238E27FC236}">
                  <a16:creationId xmlns:a16="http://schemas.microsoft.com/office/drawing/2014/main" id="{52BC58A4-F754-BDC9-6007-03521DA5BACE}"/>
                </a:ext>
              </a:extLst>
            </p:cNvPr>
            <p:cNvSpPr txBox="1"/>
            <p:nvPr/>
          </p:nvSpPr>
          <p:spPr>
            <a:xfrm>
              <a:off x="6556305" y="2805017"/>
              <a:ext cx="4079172" cy="509130"/>
            </a:xfrm>
            <a:prstGeom prst="rect">
              <a:avLst/>
            </a:prstGeom>
          </p:spPr>
          <p:txBody>
            <a:bodyPr vert="horz" wrap="square" lIns="0" tIns="0" rIns="0" bIns="0" numCol="1" spcCol="0" rtlCol="0" anchor="ctr" anchorCtr="0">
              <a:noAutofit/>
            </a:bodyPr>
            <a:lstStyle/>
            <a:p>
              <a:pPr lvl="0">
                <a:defRPr/>
              </a:pPr>
              <a:r>
                <a:rPr lang="en-US" sz="1200" b="1"/>
                <a:t>Contact customers at the right moment, through the right channel</a:t>
              </a:r>
            </a:p>
          </p:txBody>
        </p:sp>
        <p:sp>
          <p:nvSpPr>
            <p:cNvPr id="55" name="TextBox 54">
              <a:extLst>
                <a:ext uri="{FF2B5EF4-FFF2-40B4-BE49-F238E27FC236}">
                  <a16:creationId xmlns:a16="http://schemas.microsoft.com/office/drawing/2014/main" id="{27B7C9C0-2D51-BD17-6CD3-FFDBC67256F9}"/>
                </a:ext>
              </a:extLst>
            </p:cNvPr>
            <p:cNvSpPr txBox="1"/>
            <p:nvPr/>
          </p:nvSpPr>
          <p:spPr>
            <a:xfrm>
              <a:off x="6556305" y="3604391"/>
              <a:ext cx="4079172" cy="509130"/>
            </a:xfrm>
            <a:prstGeom prst="rect">
              <a:avLst/>
            </a:prstGeom>
          </p:spPr>
          <p:txBody>
            <a:bodyPr vert="horz" wrap="square" lIns="0" tIns="0" rIns="0" bIns="0" numCol="1" spcCol="0" rtlCol="0" anchor="ctr" anchorCtr="0">
              <a:noAutofit/>
            </a:bodyPr>
            <a:lstStyle/>
            <a:p>
              <a:pPr lvl="0">
                <a:defRPr/>
              </a:pPr>
              <a:r>
                <a:rPr lang="en-US" sz="1200" b="1"/>
                <a:t>E2e agentic marketing from audience selection, A/B testing, content creation</a:t>
              </a:r>
              <a:endParaRPr lang="en-US" sz="1200"/>
            </a:p>
          </p:txBody>
        </p:sp>
        <p:sp>
          <p:nvSpPr>
            <p:cNvPr id="7" name="Rectangle: Rounded Corners 6">
              <a:extLst>
                <a:ext uri="{FF2B5EF4-FFF2-40B4-BE49-F238E27FC236}">
                  <a16:creationId xmlns:a16="http://schemas.microsoft.com/office/drawing/2014/main" id="{7952051B-4CF4-E85B-2CAA-9953E699E095}"/>
                </a:ext>
              </a:extLst>
            </p:cNvPr>
            <p:cNvSpPr/>
            <p:nvPr/>
          </p:nvSpPr>
          <p:spPr>
            <a:xfrm>
              <a:off x="1344420" y="4374514"/>
              <a:ext cx="9470306" cy="588547"/>
            </a:xfrm>
            <a:prstGeom prst="roundRect">
              <a:avLst/>
            </a:prstGeom>
            <a:solidFill>
              <a:schemeClr val="tx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48000" tIns="48000" rIns="48000" bIns="96000" rtlCol="0" anchor="ctr" anchorCtr="0"/>
            <a:lstStyle/>
            <a:p>
              <a:pPr marL="0" marR="0" lvl="0" indent="0" algn="ctr" defTabSz="1624517"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Proximus" panose="00000500000000000000" pitchFamily="2" charset="0"/>
                <a:ea typeface="+mn-ea"/>
                <a:cs typeface="Proximus"/>
              </a:endParaRPr>
            </a:p>
          </p:txBody>
        </p:sp>
        <p:sp>
          <p:nvSpPr>
            <p:cNvPr id="11" name="TextBox 10">
              <a:extLst>
                <a:ext uri="{FF2B5EF4-FFF2-40B4-BE49-F238E27FC236}">
                  <a16:creationId xmlns:a16="http://schemas.microsoft.com/office/drawing/2014/main" id="{36E0A637-36BE-561A-425E-64C2E6D9F0D8}"/>
                </a:ext>
              </a:extLst>
            </p:cNvPr>
            <p:cNvSpPr txBox="1"/>
            <p:nvPr/>
          </p:nvSpPr>
          <p:spPr>
            <a:xfrm>
              <a:off x="1519271" y="4424096"/>
              <a:ext cx="4271776" cy="509130"/>
            </a:xfrm>
            <a:prstGeom prst="rect">
              <a:avLst/>
            </a:prstGeom>
          </p:spPr>
          <p:txBody>
            <a:bodyPr vert="horz" wrap="square" lIns="0" tIns="0" rIns="0" bIns="0" numCol="1" spcCol="0" rtlCol="0" anchor="ctr" anchorCtr="0">
              <a:noAutofit/>
            </a:bodyPr>
            <a:lstStyle/>
            <a:p>
              <a:pPr lvl="0">
                <a:defRPr/>
              </a:pPr>
              <a:r>
                <a:rPr lang="en-US" sz="1200" b="1">
                  <a:solidFill>
                    <a:schemeClr val="bg1"/>
                  </a:solidFill>
                </a:rPr>
                <a:t>Predictive maintenance relying on complex log analysis</a:t>
              </a:r>
              <a:endParaRPr lang="en-US" sz="1000" b="1">
                <a:solidFill>
                  <a:schemeClr val="bg1"/>
                </a:solidFill>
              </a:endParaRPr>
            </a:p>
          </p:txBody>
        </p:sp>
        <p:sp>
          <p:nvSpPr>
            <p:cNvPr id="14" name="Arrow: Pentagon 42">
              <a:extLst>
                <a:ext uri="{FF2B5EF4-FFF2-40B4-BE49-F238E27FC236}">
                  <a16:creationId xmlns:a16="http://schemas.microsoft.com/office/drawing/2014/main" id="{74436AFC-565F-29E4-7656-521021770290}"/>
                </a:ext>
              </a:extLst>
            </p:cNvPr>
            <p:cNvSpPr/>
            <p:nvPr/>
          </p:nvSpPr>
          <p:spPr>
            <a:xfrm>
              <a:off x="6088613" y="4383461"/>
              <a:ext cx="4758965" cy="590400"/>
            </a:xfrm>
            <a:prstGeom prst="round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480000" tIns="144000" rIns="144000" bIns="144000" anchor="ctr"/>
            <a:lstStyle/>
            <a:p>
              <a:pPr marL="0" marR="0" lvl="0" indent="0" algn="l" defTabSz="1624477"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30000" noProof="0">
                <a:ln>
                  <a:noFill/>
                </a:ln>
                <a:solidFill>
                  <a:srgbClr val="FFFFFF"/>
                </a:solidFill>
                <a:effectLst/>
                <a:uLnTx/>
                <a:uFillTx/>
                <a:latin typeface="Proximus ExtraBold" pitchFamily="2" charset="77"/>
                <a:ea typeface="+mn-ea"/>
                <a:cs typeface="+mn-cs"/>
              </a:endParaRPr>
            </a:p>
          </p:txBody>
        </p:sp>
        <p:sp>
          <p:nvSpPr>
            <p:cNvPr id="15" name="Flowchart: Connector 14">
              <a:extLst>
                <a:ext uri="{FF2B5EF4-FFF2-40B4-BE49-F238E27FC236}">
                  <a16:creationId xmlns:a16="http://schemas.microsoft.com/office/drawing/2014/main" id="{6863F7E5-B63F-10C8-C20F-6902B9B681DF}"/>
                </a:ext>
              </a:extLst>
            </p:cNvPr>
            <p:cNvSpPr/>
            <p:nvPr/>
          </p:nvSpPr>
          <p:spPr>
            <a:xfrm>
              <a:off x="5791048" y="4363733"/>
              <a:ext cx="612000" cy="612000"/>
            </a:xfrm>
            <a:prstGeom prst="flowChartConnector">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36000" rtlCol="0" anchor="ctr" anchorCtr="0"/>
            <a:lstStyle/>
            <a:p>
              <a:pPr marL="0" marR="0" lvl="0" indent="0" algn="ctr" defTabSz="1624517" rtl="0" eaLnBrk="1" fontAlgn="auto" latinLnBrk="0" hangingPunct="1">
                <a:lnSpc>
                  <a:spcPct val="100000"/>
                </a:lnSpc>
                <a:spcBef>
                  <a:spcPts val="0"/>
                </a:spcBef>
                <a:spcAft>
                  <a:spcPts val="0"/>
                </a:spcAft>
                <a:buClrTx/>
                <a:buSzTx/>
                <a:buFontTx/>
                <a:buNone/>
                <a:tabLst/>
                <a:defRPr/>
              </a:pPr>
              <a:r>
                <a:rPr lang="en-US" sz="1600">
                  <a:solidFill>
                    <a:schemeClr val="bg2"/>
                  </a:solidFill>
                  <a:latin typeface="Proximus ExtraBold"/>
                </a:rPr>
                <a:t>4</a:t>
              </a:r>
              <a:endParaRPr kumimoji="0" lang="en-US" sz="1600" b="0" i="0" u="none" strike="noStrike" kern="1200" cap="none" spc="0" normalizeH="0" baseline="0" noProof="0">
                <a:ln>
                  <a:noFill/>
                </a:ln>
                <a:solidFill>
                  <a:schemeClr val="bg2"/>
                </a:solidFill>
                <a:effectLst/>
                <a:uLnTx/>
                <a:uFillTx/>
                <a:latin typeface="Proximus ExtraBold"/>
                <a:ea typeface="+mn-ea"/>
                <a:cs typeface="+mn-cs"/>
              </a:endParaRPr>
            </a:p>
          </p:txBody>
        </p:sp>
        <p:sp>
          <p:nvSpPr>
            <p:cNvPr id="16" name="TextBox 15">
              <a:extLst>
                <a:ext uri="{FF2B5EF4-FFF2-40B4-BE49-F238E27FC236}">
                  <a16:creationId xmlns:a16="http://schemas.microsoft.com/office/drawing/2014/main" id="{CD856250-62FE-E821-26CC-E9214F6C13DF}"/>
                </a:ext>
              </a:extLst>
            </p:cNvPr>
            <p:cNvSpPr txBox="1"/>
            <p:nvPr/>
          </p:nvSpPr>
          <p:spPr>
            <a:xfrm>
              <a:off x="6556304" y="4414222"/>
              <a:ext cx="4079172" cy="509130"/>
            </a:xfrm>
            <a:prstGeom prst="rect">
              <a:avLst/>
            </a:prstGeom>
          </p:spPr>
          <p:txBody>
            <a:bodyPr vert="horz" wrap="square" lIns="0" tIns="0" rIns="0" bIns="0" numCol="1" spcCol="0" rtlCol="0" anchor="ctr" anchorCtr="0">
              <a:noAutofit/>
            </a:bodyPr>
            <a:lstStyle/>
            <a:p>
              <a:pPr lvl="0">
                <a:defRPr/>
              </a:pPr>
              <a:r>
                <a:rPr lang="en-US" sz="1200" b="1"/>
                <a:t>Scalable </a:t>
              </a:r>
              <a:r>
                <a:rPr lang="en-BE" sz="1200" b="1"/>
                <a:t>“</a:t>
              </a:r>
              <a:r>
                <a:rPr lang="en-US" sz="1200" b="1"/>
                <a:t>agents</a:t>
              </a:r>
              <a:r>
                <a:rPr lang="en-BE" sz="1200" b="1"/>
                <a:t>”</a:t>
              </a:r>
              <a:r>
                <a:rPr lang="en-US" sz="1200" b="1"/>
                <a:t> monitoring components and acting on anomalies</a:t>
              </a:r>
              <a:endParaRPr lang="en-US" sz="1000" b="1"/>
            </a:p>
          </p:txBody>
        </p:sp>
      </p:grpSp>
    </p:spTree>
    <p:extLst>
      <p:ext uri="{BB962C8B-B14F-4D97-AF65-F5344CB8AC3E}">
        <p14:creationId xmlns:p14="http://schemas.microsoft.com/office/powerpoint/2010/main" val="37194797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lumMod val="95000"/>
          </a:schemeClr>
        </a:solidFill>
        <a:effectLst/>
      </p:bgPr>
    </p:bg>
    <p:spTree>
      <p:nvGrpSpPr>
        <p:cNvPr id="1" name="">
          <a:extLst>
            <a:ext uri="{FF2B5EF4-FFF2-40B4-BE49-F238E27FC236}">
              <a16:creationId xmlns:a16="http://schemas.microsoft.com/office/drawing/2014/main" id="{FAC665E7-E1C7-0E67-61DB-6DE0F9D355F1}"/>
            </a:ext>
          </a:extLst>
        </p:cNvPr>
        <p:cNvGrpSpPr/>
        <p:nvPr/>
      </p:nvGrpSpPr>
      <p:grpSpPr>
        <a:xfrm>
          <a:off x="0" y="0"/>
          <a:ext cx="0" cy="0"/>
          <a:chOff x="0" y="0"/>
          <a:chExt cx="0" cy="0"/>
        </a:xfrm>
      </p:grpSpPr>
      <p:sp>
        <p:nvSpPr>
          <p:cNvPr id="46" name="Content Placeholder 2">
            <a:extLst>
              <a:ext uri="{FF2B5EF4-FFF2-40B4-BE49-F238E27FC236}">
                <a16:creationId xmlns:a16="http://schemas.microsoft.com/office/drawing/2014/main" id="{D5BE5085-A665-84CC-2231-1DEF40806E74}"/>
              </a:ext>
            </a:extLst>
          </p:cNvPr>
          <p:cNvSpPr txBox="1">
            <a:spLocks/>
          </p:cNvSpPr>
          <p:nvPr/>
        </p:nvSpPr>
        <p:spPr>
          <a:xfrm>
            <a:off x="3567958" y="1173461"/>
            <a:ext cx="2528937" cy="1806653"/>
          </a:xfrm>
          <a:prstGeom prst="roundRect">
            <a:avLst>
              <a:gd name="adj" fmla="val 5943"/>
            </a:avLst>
          </a:prstGeom>
          <a:solidFill>
            <a:srgbClr val="FFFFFF"/>
          </a:solidFill>
          <a:ln w="19050">
            <a:noFill/>
          </a:ln>
          <a:effectLst>
            <a:outerShdw blurRad="279400" algn="ctr" rotWithShape="0">
              <a:prstClr val="black">
                <a:alpha val="21239"/>
              </a:prstClr>
            </a:outerShdw>
          </a:effectLst>
        </p:spPr>
        <p:txBody>
          <a:bodyPr lIns="48000" tIns="144000" rIns="48000" bIns="144000"/>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725177">
              <a:spcAft>
                <a:spcPts val="400"/>
              </a:spcAft>
              <a:defRPr/>
            </a:pPr>
            <a:r>
              <a:rPr lang="en-GB" sz="1200">
                <a:solidFill>
                  <a:srgbClr val="000000"/>
                </a:solidFill>
                <a:latin typeface="Proximus Bold"/>
              </a:rPr>
              <a:t>Writing assistant</a:t>
            </a:r>
            <a:endParaRPr lang="en-GB" sz="1100">
              <a:solidFill>
                <a:srgbClr val="000000"/>
              </a:solidFill>
              <a:latin typeface="Proximus"/>
            </a:endParaRPr>
          </a:p>
          <a:p>
            <a:pPr algn="ctr" defTabSz="725177">
              <a:defRPr/>
            </a:pPr>
            <a:r>
              <a:rPr lang="en-US" sz="1051">
                <a:solidFill>
                  <a:srgbClr val="000000"/>
                </a:solidFill>
                <a:latin typeface="Proximus"/>
              </a:rPr>
              <a:t>GenAI-powered correction &amp; translation</a:t>
            </a:r>
            <a:br>
              <a:rPr lang="en-US" sz="1051">
                <a:solidFill>
                  <a:srgbClr val="000000"/>
                </a:solidFill>
                <a:latin typeface="Proximus"/>
              </a:rPr>
            </a:br>
            <a:r>
              <a:rPr lang="en-US" sz="1051">
                <a:solidFill>
                  <a:srgbClr val="000000"/>
                </a:solidFill>
                <a:latin typeface="Proximus"/>
              </a:rPr>
              <a:t>for helpdesk operators</a:t>
            </a:r>
            <a:endParaRPr lang="en-GB" sz="1051">
              <a:solidFill>
                <a:srgbClr val="000000"/>
              </a:solidFill>
              <a:latin typeface="Proximus"/>
            </a:endParaRPr>
          </a:p>
        </p:txBody>
      </p:sp>
      <p:sp>
        <p:nvSpPr>
          <p:cNvPr id="47" name="Content Placeholder 2">
            <a:extLst>
              <a:ext uri="{FF2B5EF4-FFF2-40B4-BE49-F238E27FC236}">
                <a16:creationId xmlns:a16="http://schemas.microsoft.com/office/drawing/2014/main" id="{92DFAAC0-3771-750A-E29C-7BD079AFAB4C}"/>
              </a:ext>
            </a:extLst>
          </p:cNvPr>
          <p:cNvSpPr txBox="1">
            <a:spLocks/>
          </p:cNvSpPr>
          <p:nvPr/>
        </p:nvSpPr>
        <p:spPr>
          <a:xfrm>
            <a:off x="6192689" y="1174376"/>
            <a:ext cx="2329731" cy="1804824"/>
          </a:xfrm>
          <a:prstGeom prst="roundRect">
            <a:avLst>
              <a:gd name="adj" fmla="val 5943"/>
            </a:avLst>
          </a:prstGeom>
          <a:solidFill>
            <a:srgbClr val="FFFFFF"/>
          </a:solidFill>
          <a:effectLst>
            <a:outerShdw blurRad="279400" algn="ctr" rotWithShape="0">
              <a:prstClr val="black">
                <a:alpha val="21239"/>
              </a:prstClr>
            </a:outerShdw>
          </a:effectLst>
        </p:spPr>
        <p:txBody>
          <a:bodyPr lIns="48000" tIns="144000" rIns="48000" bIns="144000"/>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725177">
              <a:spcAft>
                <a:spcPts val="400"/>
              </a:spcAft>
              <a:defRPr/>
            </a:pPr>
            <a:r>
              <a:rPr lang="en-GB" sz="1200">
                <a:solidFill>
                  <a:srgbClr val="000000"/>
                </a:solidFill>
                <a:latin typeface="Proximus Bold"/>
              </a:rPr>
              <a:t>YODA HR</a:t>
            </a:r>
            <a:endParaRPr lang="en-GB" sz="1100">
              <a:solidFill>
                <a:srgbClr val="000000"/>
              </a:solidFill>
              <a:latin typeface="Proximus"/>
            </a:endParaRPr>
          </a:p>
          <a:p>
            <a:pPr algn="ctr" defTabSz="725177">
              <a:defRPr/>
            </a:pPr>
            <a:r>
              <a:rPr lang="en-US" sz="1051">
                <a:solidFill>
                  <a:srgbClr val="000000"/>
                </a:solidFill>
                <a:latin typeface="Proximus"/>
              </a:rPr>
              <a:t>AI-based chatbot solution connected to Proximus official HR documentation. </a:t>
            </a:r>
          </a:p>
          <a:p>
            <a:pPr algn="ctr" defTabSz="725177">
              <a:defRPr/>
            </a:pPr>
            <a:endParaRPr lang="en-GB" sz="1200">
              <a:solidFill>
                <a:srgbClr val="000000"/>
              </a:solidFill>
              <a:latin typeface="Proximus"/>
            </a:endParaRPr>
          </a:p>
        </p:txBody>
      </p:sp>
      <p:sp>
        <p:nvSpPr>
          <p:cNvPr id="49" name="Content Placeholder 2">
            <a:extLst>
              <a:ext uri="{FF2B5EF4-FFF2-40B4-BE49-F238E27FC236}">
                <a16:creationId xmlns:a16="http://schemas.microsoft.com/office/drawing/2014/main" id="{BCFBEB39-8B1C-EBA1-6A4D-E9612AAB6840}"/>
              </a:ext>
            </a:extLst>
          </p:cNvPr>
          <p:cNvSpPr txBox="1">
            <a:spLocks/>
          </p:cNvSpPr>
          <p:nvPr/>
        </p:nvSpPr>
        <p:spPr>
          <a:xfrm>
            <a:off x="8610548" y="3011382"/>
            <a:ext cx="2535295" cy="1813735"/>
          </a:xfrm>
          <a:prstGeom prst="roundRect">
            <a:avLst>
              <a:gd name="adj" fmla="val 5943"/>
            </a:avLst>
          </a:prstGeom>
          <a:solidFill>
            <a:srgbClr val="FFFFFF"/>
          </a:solidFill>
          <a:effectLst>
            <a:outerShdw blurRad="279400" algn="ctr" rotWithShape="0">
              <a:prstClr val="black">
                <a:alpha val="21239"/>
              </a:prstClr>
            </a:outerShdw>
          </a:effectLst>
        </p:spPr>
        <p:txBody>
          <a:bodyPr lIns="48000" tIns="144000" rIns="48000" bIns="144000"/>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725177">
              <a:spcAft>
                <a:spcPts val="400"/>
              </a:spcAft>
              <a:defRPr/>
            </a:pPr>
            <a:r>
              <a:rPr lang="en-GB" sz="1100">
                <a:solidFill>
                  <a:srgbClr val="000000"/>
                </a:solidFill>
                <a:latin typeface="Proximus Bold"/>
              </a:rPr>
              <a:t>ACDC Fiber</a:t>
            </a:r>
            <a:endParaRPr lang="en-GB" sz="1100">
              <a:solidFill>
                <a:srgbClr val="000000"/>
              </a:solidFill>
              <a:latin typeface="Proximus"/>
            </a:endParaRPr>
          </a:p>
          <a:p>
            <a:pPr algn="ctr" defTabSz="725177">
              <a:defRPr/>
            </a:pPr>
            <a:r>
              <a:rPr lang="en-US" sz="1051">
                <a:solidFill>
                  <a:srgbClr val="000000"/>
                </a:solidFill>
                <a:latin typeface="Proximus"/>
              </a:rPr>
              <a:t>Real-time avoidance of collateral damages during interventions on the fiber network</a:t>
            </a:r>
          </a:p>
        </p:txBody>
      </p:sp>
      <p:pic>
        <p:nvPicPr>
          <p:cNvPr id="54" name="Picture 53" descr="A screenshot of a chat&#10;&#10;Description automatically generated">
            <a:extLst>
              <a:ext uri="{FF2B5EF4-FFF2-40B4-BE49-F238E27FC236}">
                <a16:creationId xmlns:a16="http://schemas.microsoft.com/office/drawing/2014/main" id="{58761B40-AB75-3CC7-95E6-2C85E3DDFE93}"/>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l="32372" t="5224" r="32082" b="44161"/>
          <a:stretch/>
        </p:blipFill>
        <p:spPr>
          <a:xfrm>
            <a:off x="4178099" y="2062396"/>
            <a:ext cx="1308655" cy="873099"/>
          </a:xfrm>
          <a:prstGeom prst="rect">
            <a:avLst/>
          </a:prstGeom>
        </p:spPr>
      </p:pic>
      <p:sp>
        <p:nvSpPr>
          <p:cNvPr id="45" name="Content Placeholder 2">
            <a:extLst>
              <a:ext uri="{FF2B5EF4-FFF2-40B4-BE49-F238E27FC236}">
                <a16:creationId xmlns:a16="http://schemas.microsoft.com/office/drawing/2014/main" id="{E935D9D5-A84A-14B6-F3A9-B867A9EBF3FC}"/>
              </a:ext>
            </a:extLst>
          </p:cNvPr>
          <p:cNvSpPr txBox="1">
            <a:spLocks/>
          </p:cNvSpPr>
          <p:nvPr/>
        </p:nvSpPr>
        <p:spPr>
          <a:xfrm>
            <a:off x="961002" y="1173461"/>
            <a:ext cx="2528937" cy="1806653"/>
          </a:xfrm>
          <a:prstGeom prst="roundRect">
            <a:avLst>
              <a:gd name="adj" fmla="val 5943"/>
            </a:avLst>
          </a:prstGeom>
          <a:solidFill>
            <a:srgbClr val="FFFFFF"/>
          </a:solidFill>
          <a:ln w="19050">
            <a:noFill/>
          </a:ln>
          <a:effectLst>
            <a:outerShdw blurRad="279400" algn="ctr" rotWithShape="0">
              <a:prstClr val="black">
                <a:alpha val="21239"/>
              </a:prstClr>
            </a:outerShdw>
          </a:effectLst>
        </p:spPr>
        <p:txBody>
          <a:bodyPr lIns="48000" tIns="144000" rIns="48000" bIns="144000"/>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725177">
              <a:spcAft>
                <a:spcPts val="400"/>
              </a:spcAft>
              <a:defRPr/>
            </a:pPr>
            <a:r>
              <a:rPr lang="en-GB" sz="1100">
                <a:solidFill>
                  <a:srgbClr val="000000"/>
                </a:solidFill>
                <a:latin typeface="Proximus Bold"/>
              </a:rPr>
              <a:t>MAIA</a:t>
            </a:r>
            <a:endParaRPr lang="en-GB" sz="1100">
              <a:solidFill>
                <a:srgbClr val="000000"/>
              </a:solidFill>
              <a:latin typeface="Proximus"/>
            </a:endParaRPr>
          </a:p>
          <a:p>
            <a:pPr algn="ctr" defTabSz="725177">
              <a:defRPr/>
            </a:pPr>
            <a:r>
              <a:rPr lang="en-US" sz="1051">
                <a:solidFill>
                  <a:srgbClr val="000000"/>
                </a:solidFill>
                <a:latin typeface="Proximus"/>
              </a:rPr>
              <a:t>GenAI assistant for sales agents</a:t>
            </a:r>
            <a:endParaRPr lang="en-GB" sz="1051">
              <a:solidFill>
                <a:srgbClr val="000000"/>
              </a:solidFill>
              <a:latin typeface="Proximus"/>
            </a:endParaRPr>
          </a:p>
        </p:txBody>
      </p:sp>
      <p:pic>
        <p:nvPicPr>
          <p:cNvPr id="55" name="Afbeelding 4" descr="Afbeelding met tekst, elektronica, computer, schermopname&#10;&#10;Automatisch gegenereerde beschrijving">
            <a:extLst>
              <a:ext uri="{FF2B5EF4-FFF2-40B4-BE49-F238E27FC236}">
                <a16:creationId xmlns:a16="http://schemas.microsoft.com/office/drawing/2014/main" id="{47297E3C-7DFA-EF56-C561-02511C35BE3C}"/>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1209750" y="1819325"/>
            <a:ext cx="1939783" cy="1034640"/>
          </a:xfrm>
          <a:prstGeom prst="rect">
            <a:avLst/>
          </a:prstGeom>
        </p:spPr>
      </p:pic>
      <p:sp>
        <p:nvSpPr>
          <p:cNvPr id="59" name="Content Placeholder 2">
            <a:extLst>
              <a:ext uri="{FF2B5EF4-FFF2-40B4-BE49-F238E27FC236}">
                <a16:creationId xmlns:a16="http://schemas.microsoft.com/office/drawing/2014/main" id="{6B2F9B96-AB92-0A35-6BB4-DA97660F6E39}"/>
              </a:ext>
            </a:extLst>
          </p:cNvPr>
          <p:cNvSpPr txBox="1">
            <a:spLocks/>
          </p:cNvSpPr>
          <p:nvPr/>
        </p:nvSpPr>
        <p:spPr>
          <a:xfrm>
            <a:off x="959527" y="3014910"/>
            <a:ext cx="2531887" cy="1806675"/>
          </a:xfrm>
          <a:prstGeom prst="roundRect">
            <a:avLst>
              <a:gd name="adj" fmla="val 5943"/>
            </a:avLst>
          </a:prstGeom>
          <a:solidFill>
            <a:srgbClr val="FFFFFF"/>
          </a:solidFill>
          <a:effectLst>
            <a:outerShdw blurRad="279400" algn="ctr" rotWithShape="0">
              <a:prstClr val="black">
                <a:alpha val="21239"/>
              </a:prstClr>
            </a:outerShdw>
          </a:effectLst>
        </p:spPr>
        <p:txBody>
          <a:bodyPr lIns="48000" tIns="144000" rIns="48000" bIns="144000"/>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725159">
              <a:spcAft>
                <a:spcPts val="400"/>
              </a:spcAft>
              <a:defRPr/>
            </a:pPr>
            <a:r>
              <a:rPr lang="en-GB" sz="1100">
                <a:solidFill>
                  <a:srgbClr val="000000"/>
                </a:solidFill>
                <a:latin typeface="Proximus Bold"/>
              </a:rPr>
              <a:t>Contact Reason Detection</a:t>
            </a:r>
            <a:endParaRPr lang="en-GB" sz="1100">
              <a:solidFill>
                <a:srgbClr val="000000"/>
              </a:solidFill>
              <a:latin typeface="Proximus"/>
            </a:endParaRPr>
          </a:p>
          <a:p>
            <a:pPr algn="ctr" defTabSz="725159">
              <a:defRPr/>
            </a:pPr>
            <a:r>
              <a:rPr lang="en-US" sz="1051">
                <a:solidFill>
                  <a:srgbClr val="000000"/>
                </a:solidFill>
                <a:latin typeface="Proximus"/>
              </a:rPr>
              <a:t>AI-based topic classification on all </a:t>
            </a:r>
            <a:br>
              <a:rPr lang="en-US" sz="1051">
                <a:solidFill>
                  <a:srgbClr val="000000"/>
                </a:solidFill>
                <a:latin typeface="Proximus"/>
              </a:rPr>
            </a:br>
            <a:r>
              <a:rPr lang="en-US" sz="1051">
                <a:solidFill>
                  <a:srgbClr val="000000"/>
                </a:solidFill>
                <a:latin typeface="Proximus"/>
              </a:rPr>
              <a:t>voice and chat interactions</a:t>
            </a:r>
          </a:p>
        </p:txBody>
      </p:sp>
      <p:pic>
        <p:nvPicPr>
          <p:cNvPr id="16392" name="Picture 2">
            <a:extLst>
              <a:ext uri="{FF2B5EF4-FFF2-40B4-BE49-F238E27FC236}">
                <a16:creationId xmlns:a16="http://schemas.microsoft.com/office/drawing/2014/main" id="{36415A08-AFFA-7FF6-B45A-8CB7E008839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635033" y="2062396"/>
            <a:ext cx="1445043" cy="910376"/>
          </a:xfrm>
          <a:prstGeom prst="rect">
            <a:avLst/>
          </a:prstGeom>
          <a:noFill/>
          <a:extLst>
            <a:ext uri="{909E8E84-426E-40DD-AFC4-6F175D3DCCD1}">
              <a14:hiddenFill xmlns:a14="http://schemas.microsoft.com/office/drawing/2010/main">
                <a:solidFill>
                  <a:srgbClr val="FFFFFF"/>
                </a:solidFill>
              </a14:hiddenFill>
            </a:ext>
          </a:extLst>
        </p:spPr>
      </p:pic>
      <p:pic>
        <p:nvPicPr>
          <p:cNvPr id="16394" name="Picture 16393">
            <a:extLst>
              <a:ext uri="{FF2B5EF4-FFF2-40B4-BE49-F238E27FC236}">
                <a16:creationId xmlns:a16="http://schemas.microsoft.com/office/drawing/2014/main" id="{5845ED4C-456E-9D1F-103D-13C6E33BF9E9}"/>
              </a:ext>
            </a:extLst>
          </p:cNvPr>
          <p:cNvPicPr>
            <a:picLocks noChangeAspect="1"/>
          </p:cNvPicPr>
          <p:nvPr/>
        </p:nvPicPr>
        <p:blipFill>
          <a:blip r:embed="rId6"/>
          <a:stretch>
            <a:fillRect/>
          </a:stretch>
        </p:blipFill>
        <p:spPr>
          <a:xfrm>
            <a:off x="9246396" y="3914717"/>
            <a:ext cx="1263599" cy="814237"/>
          </a:xfrm>
          <a:prstGeom prst="rect">
            <a:avLst/>
          </a:prstGeom>
        </p:spPr>
      </p:pic>
      <p:pic>
        <p:nvPicPr>
          <p:cNvPr id="1026" name="Picture 2" descr="An abstract digital artwork representing an AI model classifying incoming messages. The composition features streams of glowing data packets flowing into a central neural network-like structure, which branches out into distinct dark-toned channels labeled with symbolic icons representing contact reasons such as support, sales, feedback, and inquiries. The background is composed of deep blues, purples, and blacks, with subtle circuitry patterns and a futuristic, high-tech ambiance.">
            <a:extLst>
              <a:ext uri="{FF2B5EF4-FFF2-40B4-BE49-F238E27FC236}">
                <a16:creationId xmlns:a16="http://schemas.microsoft.com/office/drawing/2014/main" id="{B584695E-DD7B-DBAA-6B0C-C61D302072A6}"/>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8076" b="4074"/>
          <a:stretch>
            <a:fillRect/>
          </a:stretch>
        </p:blipFill>
        <p:spPr bwMode="auto">
          <a:xfrm>
            <a:off x="1593652" y="3814188"/>
            <a:ext cx="1339767" cy="784659"/>
          </a:xfrm>
          <a:prstGeom prst="rect">
            <a:avLst/>
          </a:prstGeom>
          <a:noFill/>
          <a:extLst>
            <a:ext uri="{909E8E84-426E-40DD-AFC4-6F175D3DCCD1}">
              <a14:hiddenFill xmlns:a14="http://schemas.microsoft.com/office/drawing/2010/main">
                <a:solidFill>
                  <a:srgbClr val="FFFFFF"/>
                </a:solidFill>
              </a14:hiddenFill>
            </a:ext>
          </a:extLst>
        </p:spPr>
      </p:pic>
      <p:sp>
        <p:nvSpPr>
          <p:cNvPr id="2" name="Content Placeholder 2">
            <a:extLst>
              <a:ext uri="{FF2B5EF4-FFF2-40B4-BE49-F238E27FC236}">
                <a16:creationId xmlns:a16="http://schemas.microsoft.com/office/drawing/2014/main" id="{8BAF4A7F-E134-FA49-383F-AA466D1D0AE0}"/>
              </a:ext>
            </a:extLst>
          </p:cNvPr>
          <p:cNvSpPr txBox="1">
            <a:spLocks/>
          </p:cNvSpPr>
          <p:nvPr/>
        </p:nvSpPr>
        <p:spPr>
          <a:xfrm>
            <a:off x="6169111" y="3015838"/>
            <a:ext cx="2376887" cy="1804823"/>
          </a:xfrm>
          <a:prstGeom prst="roundRect">
            <a:avLst>
              <a:gd name="adj" fmla="val 5943"/>
            </a:avLst>
          </a:prstGeom>
          <a:solidFill>
            <a:srgbClr val="FFFFFF"/>
          </a:solidFill>
          <a:ln w="19050">
            <a:noFill/>
          </a:ln>
          <a:effectLst>
            <a:outerShdw blurRad="279400" algn="ctr" rotWithShape="0">
              <a:prstClr val="black">
                <a:alpha val="21239"/>
              </a:prstClr>
            </a:outerShdw>
          </a:effectLst>
        </p:spPr>
        <p:txBody>
          <a:bodyPr lIns="48000" tIns="144000" rIns="48000" bIns="144000"/>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725177">
              <a:spcAft>
                <a:spcPts val="400"/>
              </a:spcAft>
              <a:defRPr/>
            </a:pPr>
            <a:r>
              <a:rPr lang="en-GB" sz="1100">
                <a:solidFill>
                  <a:srgbClr val="000000"/>
                </a:solidFill>
                <a:latin typeface="Proximus Bold"/>
              </a:rPr>
              <a:t>Data Engineering MAS</a:t>
            </a:r>
            <a:endParaRPr lang="en-GB" sz="1100">
              <a:solidFill>
                <a:srgbClr val="000000"/>
              </a:solidFill>
              <a:latin typeface="Proximus"/>
            </a:endParaRPr>
          </a:p>
          <a:p>
            <a:pPr algn="ctr" defTabSz="725177">
              <a:defRPr/>
            </a:pPr>
            <a:r>
              <a:rPr lang="en-US" sz="1051">
                <a:solidFill>
                  <a:srgbClr val="000000"/>
                </a:solidFill>
                <a:latin typeface="Proximus"/>
              </a:rPr>
              <a:t> Automate the creation and maintenance of data pipelines using AI Agents</a:t>
            </a:r>
          </a:p>
        </p:txBody>
      </p:sp>
      <p:pic>
        <p:nvPicPr>
          <p:cNvPr id="3" name="Picture 2">
            <a:extLst>
              <a:ext uri="{FF2B5EF4-FFF2-40B4-BE49-F238E27FC236}">
                <a16:creationId xmlns:a16="http://schemas.microsoft.com/office/drawing/2014/main" id="{B29484E6-7808-D154-A534-5C19BD01A758}"/>
              </a:ext>
            </a:extLst>
          </p:cNvPr>
          <p:cNvPicPr>
            <a:picLocks noChangeAspect="1"/>
          </p:cNvPicPr>
          <p:nvPr/>
        </p:nvPicPr>
        <p:blipFill>
          <a:blip r:embed="rId8"/>
          <a:srcRect/>
          <a:stretch/>
        </p:blipFill>
        <p:spPr>
          <a:xfrm>
            <a:off x="6643003" y="3959914"/>
            <a:ext cx="1523647" cy="723843"/>
          </a:xfrm>
          <a:prstGeom prst="rect">
            <a:avLst/>
          </a:prstGeom>
        </p:spPr>
      </p:pic>
      <p:sp>
        <p:nvSpPr>
          <p:cNvPr id="15" name="Title 1">
            <a:extLst>
              <a:ext uri="{FF2B5EF4-FFF2-40B4-BE49-F238E27FC236}">
                <a16:creationId xmlns:a16="http://schemas.microsoft.com/office/drawing/2014/main" id="{DA2687CD-5268-4F4F-97BD-5EF75E2B89E2}"/>
              </a:ext>
            </a:extLst>
          </p:cNvPr>
          <p:cNvSpPr txBox="1">
            <a:spLocks/>
          </p:cNvSpPr>
          <p:nvPr/>
        </p:nvSpPr>
        <p:spPr>
          <a:xfrm>
            <a:off x="616804" y="226363"/>
            <a:ext cx="10962217" cy="880123"/>
          </a:xfrm>
          <a:prstGeom prst="rect">
            <a:avLst/>
          </a:prstGeom>
        </p:spPr>
        <p:txBody>
          <a:bodyPr vert="horz" lIns="0" tIns="0" rIns="0" bIns="0" rtlCol="0" anchor="t" anchorCtr="0">
            <a:noAutofit/>
          </a:bodyPr>
          <a:lstStyle>
            <a:defPPr>
              <a:defRPr lang="en-US"/>
            </a:defPPr>
            <a:lvl1pPr marL="0" algn="l" defTabSz="685800" rtl="0" eaLnBrk="1" latinLnBrk="0" hangingPunct="1">
              <a:spcBef>
                <a:spcPct val="0"/>
              </a:spcBef>
              <a:buNone/>
              <a:defRPr sz="1350" b="1" i="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54">
              <a:defRPr/>
            </a:pPr>
            <a:r>
              <a:rPr lang="en-US" sz="2400" b="0">
                <a:solidFill>
                  <a:schemeClr val="accent6"/>
                </a:solidFill>
                <a:latin typeface="Proximus ExtraBold" panose="00000900000000000000" pitchFamily="2" charset="0"/>
              </a:rPr>
              <a:t>AI has become embedded in most of our business processes – delivering &gt;20M€ of value per year</a:t>
            </a:r>
            <a:endParaRPr lang="en-US" sz="2400">
              <a:solidFill>
                <a:schemeClr val="accent6"/>
              </a:solidFill>
              <a:latin typeface="Proximus ExtraBold" panose="00000900000000000000" pitchFamily="2" charset="0"/>
            </a:endParaRPr>
          </a:p>
          <a:p>
            <a:pPr defTabSz="914354">
              <a:defRPr/>
            </a:pPr>
            <a:endParaRPr lang="en-US" sz="2400" b="0">
              <a:solidFill>
                <a:srgbClr val="00BCEE"/>
              </a:solidFill>
              <a:latin typeface="Proximus ExtraBold" panose="00000900000000000000" pitchFamily="2" charset="0"/>
            </a:endParaRPr>
          </a:p>
        </p:txBody>
      </p:sp>
      <p:sp>
        <p:nvSpPr>
          <p:cNvPr id="5" name="Content Placeholder 2">
            <a:extLst>
              <a:ext uri="{FF2B5EF4-FFF2-40B4-BE49-F238E27FC236}">
                <a16:creationId xmlns:a16="http://schemas.microsoft.com/office/drawing/2014/main" id="{670E12BD-3D8E-306B-E99E-1CF90DD01AD2}"/>
              </a:ext>
            </a:extLst>
          </p:cNvPr>
          <p:cNvSpPr txBox="1">
            <a:spLocks/>
          </p:cNvSpPr>
          <p:nvPr/>
        </p:nvSpPr>
        <p:spPr>
          <a:xfrm>
            <a:off x="8619527" y="1169922"/>
            <a:ext cx="2528937" cy="1813735"/>
          </a:xfrm>
          <a:prstGeom prst="roundRect">
            <a:avLst>
              <a:gd name="adj" fmla="val 5943"/>
            </a:avLst>
          </a:prstGeom>
          <a:solidFill>
            <a:srgbClr val="FFFFFF"/>
          </a:solidFill>
          <a:ln w="19050">
            <a:noFill/>
          </a:ln>
          <a:effectLst>
            <a:outerShdw blurRad="279400" algn="ctr" rotWithShape="0">
              <a:prstClr val="black">
                <a:alpha val="21239"/>
              </a:prstClr>
            </a:outerShdw>
          </a:effectLst>
        </p:spPr>
        <p:txBody>
          <a:bodyPr lIns="48000" tIns="144000" rIns="48000" bIns="144000"/>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725177">
              <a:spcAft>
                <a:spcPts val="400"/>
              </a:spcAft>
              <a:defRPr/>
            </a:pPr>
            <a:r>
              <a:rPr lang="en-GB" sz="1100">
                <a:solidFill>
                  <a:srgbClr val="000000"/>
                </a:solidFill>
                <a:latin typeface="Proximus Bold"/>
              </a:rPr>
              <a:t>Transcription/Translation</a:t>
            </a:r>
            <a:endParaRPr lang="en-GB" sz="1100">
              <a:solidFill>
                <a:srgbClr val="000000"/>
              </a:solidFill>
              <a:latin typeface="Proximus"/>
            </a:endParaRPr>
          </a:p>
          <a:p>
            <a:pPr algn="ctr" defTabSz="914377"/>
            <a:r>
              <a:rPr lang="en-US" sz="1051">
                <a:solidFill>
                  <a:srgbClr val="000000"/>
                </a:solidFill>
                <a:latin typeface="Proximus"/>
              </a:rPr>
              <a:t>AI-powered tool for automated video transcription and translation to boost team productivity</a:t>
            </a:r>
          </a:p>
        </p:txBody>
      </p:sp>
      <p:pic>
        <p:nvPicPr>
          <p:cNvPr id="6" name="Picture 5">
            <a:extLst>
              <a:ext uri="{FF2B5EF4-FFF2-40B4-BE49-F238E27FC236}">
                <a16:creationId xmlns:a16="http://schemas.microsoft.com/office/drawing/2014/main" id="{44637710-2B9E-D06C-DEFC-5B0A5D39608E}"/>
              </a:ext>
            </a:extLst>
          </p:cNvPr>
          <p:cNvPicPr>
            <a:picLocks noChangeAspect="1"/>
          </p:cNvPicPr>
          <p:nvPr/>
        </p:nvPicPr>
        <p:blipFill>
          <a:blip r:embed="rId9"/>
          <a:stretch>
            <a:fillRect/>
          </a:stretch>
        </p:blipFill>
        <p:spPr>
          <a:xfrm>
            <a:off x="9290047" y="2107386"/>
            <a:ext cx="1334228" cy="746579"/>
          </a:xfrm>
          <a:prstGeom prst="rect">
            <a:avLst/>
          </a:prstGeom>
        </p:spPr>
      </p:pic>
      <p:sp>
        <p:nvSpPr>
          <p:cNvPr id="7" name="Content Placeholder 2">
            <a:extLst>
              <a:ext uri="{FF2B5EF4-FFF2-40B4-BE49-F238E27FC236}">
                <a16:creationId xmlns:a16="http://schemas.microsoft.com/office/drawing/2014/main" id="{9C437910-EE35-9E01-9056-B2E47E8AC255}"/>
              </a:ext>
            </a:extLst>
          </p:cNvPr>
          <p:cNvSpPr txBox="1">
            <a:spLocks/>
          </p:cNvSpPr>
          <p:nvPr/>
        </p:nvSpPr>
        <p:spPr>
          <a:xfrm>
            <a:off x="3564778" y="3014910"/>
            <a:ext cx="2535295" cy="1806675"/>
          </a:xfrm>
          <a:prstGeom prst="roundRect">
            <a:avLst>
              <a:gd name="adj" fmla="val 5943"/>
            </a:avLst>
          </a:prstGeom>
          <a:solidFill>
            <a:srgbClr val="FFFFFF"/>
          </a:solidFill>
          <a:ln w="19050">
            <a:noFill/>
          </a:ln>
          <a:effectLst>
            <a:outerShdw blurRad="279400" algn="ctr" rotWithShape="0">
              <a:prstClr val="black">
                <a:alpha val="21239"/>
              </a:prstClr>
            </a:outerShdw>
          </a:effectLst>
        </p:spPr>
        <p:txBody>
          <a:bodyPr lIns="48000" tIns="144000" rIns="48000" bIns="144000"/>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725177">
              <a:spcAft>
                <a:spcPts val="400"/>
              </a:spcAft>
              <a:defRPr/>
            </a:pPr>
            <a:r>
              <a:rPr lang="en-GB" sz="1100">
                <a:solidFill>
                  <a:srgbClr val="000000"/>
                </a:solidFill>
                <a:latin typeface="Proximus Bold"/>
              </a:rPr>
              <a:t>Data consistency</a:t>
            </a:r>
            <a:endParaRPr lang="en-GB" sz="1100">
              <a:solidFill>
                <a:srgbClr val="000000"/>
              </a:solidFill>
              <a:latin typeface="Proximus"/>
            </a:endParaRPr>
          </a:p>
          <a:p>
            <a:pPr algn="ctr" defTabSz="914377"/>
            <a:r>
              <a:rPr lang="en-US" sz="1051">
                <a:solidFill>
                  <a:srgbClr val="000000"/>
                </a:solidFill>
                <a:latin typeface="Proximus"/>
              </a:rPr>
              <a:t>AI agent that automates data updates and ensures consistency/compliance across sources</a:t>
            </a:r>
          </a:p>
        </p:txBody>
      </p:sp>
      <p:pic>
        <p:nvPicPr>
          <p:cNvPr id="8" name="Picture 7">
            <a:extLst>
              <a:ext uri="{FF2B5EF4-FFF2-40B4-BE49-F238E27FC236}">
                <a16:creationId xmlns:a16="http://schemas.microsoft.com/office/drawing/2014/main" id="{725B6150-9226-B02C-0F0A-0CA9DBE201E0}"/>
              </a:ext>
            </a:extLst>
          </p:cNvPr>
          <p:cNvPicPr>
            <a:picLocks noChangeAspect="1"/>
          </p:cNvPicPr>
          <p:nvPr/>
        </p:nvPicPr>
        <p:blipFill>
          <a:blip r:embed="rId10"/>
          <a:stretch>
            <a:fillRect/>
          </a:stretch>
        </p:blipFill>
        <p:spPr>
          <a:xfrm>
            <a:off x="4310726" y="4118623"/>
            <a:ext cx="1043401" cy="588645"/>
          </a:xfrm>
          <a:prstGeom prst="rect">
            <a:avLst/>
          </a:prstGeom>
        </p:spPr>
      </p:pic>
      <p:sp>
        <p:nvSpPr>
          <p:cNvPr id="9" name="Content Placeholder 2">
            <a:extLst>
              <a:ext uri="{FF2B5EF4-FFF2-40B4-BE49-F238E27FC236}">
                <a16:creationId xmlns:a16="http://schemas.microsoft.com/office/drawing/2014/main" id="{FAC2FC4F-6795-4D23-164C-D1088550E3E0}"/>
              </a:ext>
            </a:extLst>
          </p:cNvPr>
          <p:cNvSpPr txBox="1">
            <a:spLocks/>
          </p:cNvSpPr>
          <p:nvPr/>
        </p:nvSpPr>
        <p:spPr>
          <a:xfrm>
            <a:off x="957823" y="4844866"/>
            <a:ext cx="2535295" cy="1723249"/>
          </a:xfrm>
          <a:prstGeom prst="roundRect">
            <a:avLst>
              <a:gd name="adj" fmla="val 5943"/>
            </a:avLst>
          </a:prstGeom>
          <a:solidFill>
            <a:srgbClr val="FFFFFF"/>
          </a:solidFill>
          <a:effectLst>
            <a:outerShdw blurRad="279400" algn="ctr" rotWithShape="0">
              <a:prstClr val="black">
                <a:alpha val="21239"/>
              </a:prstClr>
            </a:outerShdw>
          </a:effectLst>
        </p:spPr>
        <p:txBody>
          <a:bodyPr lIns="48000" tIns="144000" rIns="48000" bIns="144000"/>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725159">
              <a:spcAft>
                <a:spcPts val="400"/>
              </a:spcAft>
              <a:defRPr/>
            </a:pPr>
            <a:r>
              <a:rPr lang="en-GB" sz="1200">
                <a:solidFill>
                  <a:srgbClr val="000000"/>
                </a:solidFill>
                <a:latin typeface="Proximus Bold"/>
              </a:rPr>
              <a:t>SAFE</a:t>
            </a:r>
            <a:endParaRPr lang="en-GB" sz="1100">
              <a:solidFill>
                <a:srgbClr val="000000"/>
              </a:solidFill>
              <a:latin typeface="Proximus"/>
            </a:endParaRPr>
          </a:p>
          <a:p>
            <a:pPr algn="ctr" defTabSz="914377"/>
            <a:r>
              <a:rPr lang="en-US" sz="1051">
                <a:solidFill>
                  <a:srgbClr val="000000"/>
                </a:solidFill>
                <a:latin typeface="Proximus"/>
              </a:rPr>
              <a:t>GenAI-powered smart assistant for secure digital services that strengthens protection</a:t>
            </a:r>
          </a:p>
        </p:txBody>
      </p:sp>
      <p:pic>
        <p:nvPicPr>
          <p:cNvPr id="10" name="Picture 9">
            <a:extLst>
              <a:ext uri="{FF2B5EF4-FFF2-40B4-BE49-F238E27FC236}">
                <a16:creationId xmlns:a16="http://schemas.microsoft.com/office/drawing/2014/main" id="{52FEC60C-896A-CBC3-9E21-B80D44A5BEB0}"/>
              </a:ext>
            </a:extLst>
          </p:cNvPr>
          <p:cNvPicPr>
            <a:picLocks noChangeAspect="1"/>
          </p:cNvPicPr>
          <p:nvPr/>
        </p:nvPicPr>
        <p:blipFill>
          <a:blip r:embed="rId11"/>
          <a:stretch>
            <a:fillRect/>
          </a:stretch>
        </p:blipFill>
        <p:spPr>
          <a:xfrm>
            <a:off x="1633373" y="5805088"/>
            <a:ext cx="1114941" cy="624736"/>
          </a:xfrm>
          <a:prstGeom prst="rect">
            <a:avLst/>
          </a:prstGeom>
        </p:spPr>
      </p:pic>
      <p:sp>
        <p:nvSpPr>
          <p:cNvPr id="11" name="Content Placeholder 2">
            <a:extLst>
              <a:ext uri="{FF2B5EF4-FFF2-40B4-BE49-F238E27FC236}">
                <a16:creationId xmlns:a16="http://schemas.microsoft.com/office/drawing/2014/main" id="{9C449DAF-CB07-5A79-FFB7-4C20D21EE88C}"/>
              </a:ext>
            </a:extLst>
          </p:cNvPr>
          <p:cNvSpPr txBox="1">
            <a:spLocks/>
          </p:cNvSpPr>
          <p:nvPr/>
        </p:nvSpPr>
        <p:spPr>
          <a:xfrm>
            <a:off x="3566367" y="4844866"/>
            <a:ext cx="2532116" cy="1723249"/>
          </a:xfrm>
          <a:prstGeom prst="roundRect">
            <a:avLst>
              <a:gd name="adj" fmla="val 5943"/>
            </a:avLst>
          </a:prstGeom>
          <a:solidFill>
            <a:srgbClr val="FFFFFF"/>
          </a:solidFill>
          <a:ln w="19050">
            <a:noFill/>
          </a:ln>
          <a:effectLst>
            <a:outerShdw blurRad="279400" algn="ctr" rotWithShape="0">
              <a:prstClr val="black">
                <a:alpha val="21239"/>
              </a:prstClr>
            </a:outerShdw>
          </a:effectLst>
        </p:spPr>
        <p:txBody>
          <a:bodyPr lIns="48000" tIns="144000" rIns="48000" bIns="144000"/>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725177">
              <a:spcAft>
                <a:spcPts val="400"/>
              </a:spcAft>
              <a:defRPr/>
            </a:pPr>
            <a:r>
              <a:rPr lang="en-GB" sz="1200">
                <a:solidFill>
                  <a:srgbClr val="000000"/>
                </a:solidFill>
                <a:latin typeface="Proximus Bold"/>
              </a:rPr>
              <a:t>Phishing test</a:t>
            </a:r>
            <a:endParaRPr lang="en-GB" sz="1100">
              <a:solidFill>
                <a:srgbClr val="000000"/>
              </a:solidFill>
              <a:latin typeface="Proximus"/>
            </a:endParaRPr>
          </a:p>
          <a:p>
            <a:pPr algn="ctr" defTabSz="914377"/>
            <a:r>
              <a:rPr lang="en-US" sz="1051">
                <a:solidFill>
                  <a:srgbClr val="000000"/>
                </a:solidFill>
                <a:latin typeface="Proximus"/>
              </a:rPr>
              <a:t>AI-generated phishing simulation and tailored feedback to measure resilience and train teams</a:t>
            </a:r>
          </a:p>
        </p:txBody>
      </p:sp>
      <p:pic>
        <p:nvPicPr>
          <p:cNvPr id="12" name="Picture 11">
            <a:extLst>
              <a:ext uri="{FF2B5EF4-FFF2-40B4-BE49-F238E27FC236}">
                <a16:creationId xmlns:a16="http://schemas.microsoft.com/office/drawing/2014/main" id="{DE4C5DC0-87A2-EB8A-EE17-D3B9AA1D3F71}"/>
              </a:ext>
            </a:extLst>
          </p:cNvPr>
          <p:cNvPicPr>
            <a:picLocks noChangeAspect="1"/>
          </p:cNvPicPr>
          <p:nvPr/>
        </p:nvPicPr>
        <p:blipFill>
          <a:blip r:embed="rId12"/>
          <a:stretch>
            <a:fillRect/>
          </a:stretch>
        </p:blipFill>
        <p:spPr>
          <a:xfrm>
            <a:off x="4175248" y="5805089"/>
            <a:ext cx="1314352" cy="733441"/>
          </a:xfrm>
          <a:prstGeom prst="rect">
            <a:avLst/>
          </a:prstGeom>
        </p:spPr>
      </p:pic>
      <p:sp>
        <p:nvSpPr>
          <p:cNvPr id="13" name="Content Placeholder 2">
            <a:extLst>
              <a:ext uri="{FF2B5EF4-FFF2-40B4-BE49-F238E27FC236}">
                <a16:creationId xmlns:a16="http://schemas.microsoft.com/office/drawing/2014/main" id="{2C79AF47-6315-3C3D-8CB8-BCF1BD1755A4}"/>
              </a:ext>
            </a:extLst>
          </p:cNvPr>
          <p:cNvSpPr txBox="1">
            <a:spLocks/>
          </p:cNvSpPr>
          <p:nvPr/>
        </p:nvSpPr>
        <p:spPr>
          <a:xfrm>
            <a:off x="6169111" y="4865034"/>
            <a:ext cx="2376887" cy="1703081"/>
          </a:xfrm>
          <a:prstGeom prst="roundRect">
            <a:avLst>
              <a:gd name="adj" fmla="val 5943"/>
            </a:avLst>
          </a:prstGeom>
          <a:solidFill>
            <a:srgbClr val="FFFFFF"/>
          </a:solidFill>
          <a:ln w="19050">
            <a:noFill/>
          </a:ln>
          <a:effectLst>
            <a:outerShdw blurRad="279400" algn="ctr" rotWithShape="0">
              <a:prstClr val="black">
                <a:alpha val="21239"/>
              </a:prstClr>
            </a:outerShdw>
          </a:effectLst>
        </p:spPr>
        <p:txBody>
          <a:bodyPr lIns="48000" tIns="144000" rIns="48000" bIns="144000"/>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725177">
              <a:spcAft>
                <a:spcPts val="400"/>
              </a:spcAft>
              <a:defRPr/>
            </a:pPr>
            <a:r>
              <a:rPr lang="en-GB" sz="1100">
                <a:solidFill>
                  <a:srgbClr val="000000"/>
                </a:solidFill>
                <a:latin typeface="Proximus Bold"/>
              </a:rPr>
              <a:t>Sales catalogue agent</a:t>
            </a:r>
            <a:endParaRPr lang="en-GB" sz="1100">
              <a:solidFill>
                <a:srgbClr val="000000"/>
              </a:solidFill>
              <a:latin typeface="Proximus"/>
            </a:endParaRPr>
          </a:p>
          <a:p>
            <a:pPr algn="ctr" defTabSz="725177">
              <a:defRPr/>
            </a:pPr>
            <a:r>
              <a:rPr lang="en-US" sz="1051">
                <a:solidFill>
                  <a:srgbClr val="000000"/>
                </a:solidFill>
                <a:latin typeface="Proximus"/>
              </a:rPr>
              <a:t>creation and maintenance of data pipelines</a:t>
            </a:r>
            <a:endParaRPr lang="en-US" sz="1600">
              <a:solidFill>
                <a:srgbClr val="000000"/>
              </a:solidFill>
              <a:latin typeface="Proximus"/>
            </a:endParaRPr>
          </a:p>
        </p:txBody>
      </p:sp>
      <p:pic>
        <p:nvPicPr>
          <p:cNvPr id="14" name="Picture 13">
            <a:extLst>
              <a:ext uri="{FF2B5EF4-FFF2-40B4-BE49-F238E27FC236}">
                <a16:creationId xmlns:a16="http://schemas.microsoft.com/office/drawing/2014/main" id="{944F48D2-92AB-47B7-C6FF-52873180EE7C}"/>
              </a:ext>
            </a:extLst>
          </p:cNvPr>
          <p:cNvPicPr>
            <a:picLocks noChangeAspect="1"/>
          </p:cNvPicPr>
          <p:nvPr/>
        </p:nvPicPr>
        <p:blipFill>
          <a:blip r:embed="rId13"/>
          <a:stretch>
            <a:fillRect/>
          </a:stretch>
        </p:blipFill>
        <p:spPr>
          <a:xfrm>
            <a:off x="6707364" y="5706489"/>
            <a:ext cx="1171060" cy="671469"/>
          </a:xfrm>
          <a:prstGeom prst="rect">
            <a:avLst/>
          </a:prstGeom>
        </p:spPr>
      </p:pic>
      <p:sp>
        <p:nvSpPr>
          <p:cNvPr id="21" name="Content Placeholder 2">
            <a:extLst>
              <a:ext uri="{FF2B5EF4-FFF2-40B4-BE49-F238E27FC236}">
                <a16:creationId xmlns:a16="http://schemas.microsoft.com/office/drawing/2014/main" id="{F587F36C-FE01-4060-E798-DB52465FD5AF}"/>
              </a:ext>
            </a:extLst>
          </p:cNvPr>
          <p:cNvSpPr txBox="1">
            <a:spLocks/>
          </p:cNvSpPr>
          <p:nvPr/>
        </p:nvSpPr>
        <p:spPr>
          <a:xfrm>
            <a:off x="8619527" y="4874417"/>
            <a:ext cx="2526316" cy="1693696"/>
          </a:xfrm>
          <a:prstGeom prst="roundRect">
            <a:avLst>
              <a:gd name="adj" fmla="val 5943"/>
            </a:avLst>
          </a:prstGeom>
          <a:solidFill>
            <a:srgbClr val="FFFFFF"/>
          </a:solidFill>
          <a:effectLst>
            <a:outerShdw blurRad="279400" algn="ctr" rotWithShape="0">
              <a:prstClr val="black">
                <a:alpha val="21239"/>
              </a:prstClr>
            </a:outerShdw>
          </a:effectLst>
        </p:spPr>
        <p:txBody>
          <a:bodyPr lIns="48000" tIns="144000" rIns="48000" bIns="144000"/>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725195">
              <a:defRPr/>
            </a:pPr>
            <a:r>
              <a:rPr lang="en-GB" sz="1100">
                <a:solidFill>
                  <a:srgbClr val="000000"/>
                </a:solidFill>
                <a:latin typeface="Proximus Bold"/>
              </a:rPr>
              <a:t>Insights</a:t>
            </a:r>
          </a:p>
          <a:p>
            <a:pPr algn="ctr" defTabSz="725195">
              <a:defRPr/>
            </a:pPr>
            <a:endParaRPr lang="en-GB" sz="133">
              <a:solidFill>
                <a:srgbClr val="000000"/>
              </a:solidFill>
              <a:latin typeface="Proximus"/>
            </a:endParaRPr>
          </a:p>
          <a:p>
            <a:pPr algn="ctr" defTabSz="725195">
              <a:defRPr/>
            </a:pPr>
            <a:r>
              <a:rPr lang="en-US" sz="1051">
                <a:solidFill>
                  <a:prstClr val="black"/>
                </a:solidFill>
                <a:latin typeface="Proximus" panose="00000500000000000000" pitchFamily="2" charset="0"/>
              </a:rPr>
              <a:t>Interactive Gen AI agent to extract insights from customer interactions</a:t>
            </a:r>
            <a:endParaRPr lang="en-GB" sz="900">
              <a:solidFill>
                <a:srgbClr val="000000"/>
              </a:solidFill>
              <a:latin typeface="Proximus" panose="00000500000000000000" pitchFamily="2" charset="0"/>
            </a:endParaRPr>
          </a:p>
        </p:txBody>
      </p:sp>
      <p:pic>
        <p:nvPicPr>
          <p:cNvPr id="22" name="Picture 21">
            <a:extLst>
              <a:ext uri="{FF2B5EF4-FFF2-40B4-BE49-F238E27FC236}">
                <a16:creationId xmlns:a16="http://schemas.microsoft.com/office/drawing/2014/main" id="{3DFD3882-2BBA-EA2D-7140-0D561F9D52F1}"/>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789330" y="5630279"/>
            <a:ext cx="2207247" cy="8581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50424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lumMod val="95000"/>
          </a:schemeClr>
        </a:solidFill>
        <a:effectLst/>
      </p:bgPr>
    </p:bg>
    <p:spTree>
      <p:nvGrpSpPr>
        <p:cNvPr id="1" name="">
          <a:extLst>
            <a:ext uri="{FF2B5EF4-FFF2-40B4-BE49-F238E27FC236}">
              <a16:creationId xmlns:a16="http://schemas.microsoft.com/office/drawing/2014/main" id="{3DFD6591-F315-7ABD-CE6C-49F76657C208}"/>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E0BCCF11-3055-F058-3093-08C474F0C301}"/>
              </a:ext>
            </a:extLst>
          </p:cNvPr>
          <p:cNvSpPr/>
          <p:nvPr/>
        </p:nvSpPr>
        <p:spPr>
          <a:xfrm>
            <a:off x="6106278" y="-2"/>
            <a:ext cx="6096000" cy="6858000"/>
          </a:xfrm>
          <a:prstGeom prst="rect">
            <a:avLst/>
          </a:prstGeom>
          <a:solidFill>
            <a:schemeClr val="bg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tx1"/>
              </a:solidFill>
              <a:latin typeface="Proximus" panose="00000500000000000000" pitchFamily="2" charset="0"/>
              <a:cs typeface="Proximus"/>
            </a:endParaRPr>
          </a:p>
        </p:txBody>
      </p:sp>
      <p:sp>
        <p:nvSpPr>
          <p:cNvPr id="8" name="TextBox 7">
            <a:extLst>
              <a:ext uri="{FF2B5EF4-FFF2-40B4-BE49-F238E27FC236}">
                <a16:creationId xmlns:a16="http://schemas.microsoft.com/office/drawing/2014/main" id="{3A2FCBB9-F9C1-0CF6-041A-ABADA11BDB31}"/>
              </a:ext>
            </a:extLst>
          </p:cNvPr>
          <p:cNvSpPr txBox="1"/>
          <p:nvPr/>
        </p:nvSpPr>
        <p:spPr>
          <a:xfrm>
            <a:off x="2206168" y="1407929"/>
            <a:ext cx="1186139" cy="369332"/>
          </a:xfrm>
          <a:prstGeom prst="rect">
            <a:avLst/>
          </a:prstGeom>
        </p:spPr>
        <p:txBody>
          <a:bodyPr vert="horz" wrap="square" lIns="0" tIns="0" rIns="0" bIns="0" numCol="1" spcCol="0" rtlCol="0" anchor="t" anchorCtr="0">
            <a:spAutoFit/>
          </a:bodyPr>
          <a:lstStyle/>
          <a:p>
            <a:pPr algn="ctr" defTabSz="544125"/>
            <a:r>
              <a:rPr lang="en-US" sz="2400" b="1">
                <a:solidFill>
                  <a:srgbClr val="000000"/>
                </a:solidFill>
                <a:latin typeface="Proximus Bold"/>
              </a:rPr>
              <a:t>FROM</a:t>
            </a:r>
            <a:endParaRPr lang="en-GB" sz="2400" b="1">
              <a:solidFill>
                <a:srgbClr val="000000"/>
              </a:solidFill>
              <a:latin typeface="Proximus Bold"/>
            </a:endParaRPr>
          </a:p>
        </p:txBody>
      </p:sp>
      <p:sp>
        <p:nvSpPr>
          <p:cNvPr id="9" name="TextBox 8">
            <a:extLst>
              <a:ext uri="{FF2B5EF4-FFF2-40B4-BE49-F238E27FC236}">
                <a16:creationId xmlns:a16="http://schemas.microsoft.com/office/drawing/2014/main" id="{442EBF9F-D935-2DF1-8883-1A4FDAECD97F}"/>
              </a:ext>
            </a:extLst>
          </p:cNvPr>
          <p:cNvSpPr txBox="1"/>
          <p:nvPr/>
        </p:nvSpPr>
        <p:spPr>
          <a:xfrm>
            <a:off x="8550930" y="1407929"/>
            <a:ext cx="1186139" cy="369332"/>
          </a:xfrm>
          <a:prstGeom prst="rect">
            <a:avLst/>
          </a:prstGeom>
        </p:spPr>
        <p:txBody>
          <a:bodyPr vert="horz" wrap="square" lIns="0" tIns="0" rIns="0" bIns="0" numCol="1" spcCol="0" rtlCol="0" anchor="t" anchorCtr="0">
            <a:spAutoFit/>
          </a:bodyPr>
          <a:lstStyle/>
          <a:p>
            <a:pPr algn="ctr" defTabSz="544125"/>
            <a:r>
              <a:rPr lang="en-US" sz="2400" b="1">
                <a:solidFill>
                  <a:srgbClr val="000000"/>
                </a:solidFill>
                <a:latin typeface="Proximus Bold"/>
              </a:rPr>
              <a:t>TO</a:t>
            </a:r>
            <a:endParaRPr lang="en-GB" sz="2400" b="1">
              <a:solidFill>
                <a:srgbClr val="000000"/>
              </a:solidFill>
              <a:latin typeface="Proximus Bold"/>
            </a:endParaRPr>
          </a:p>
        </p:txBody>
      </p:sp>
      <p:sp>
        <p:nvSpPr>
          <p:cNvPr id="30" name="TextBox 29">
            <a:extLst>
              <a:ext uri="{FF2B5EF4-FFF2-40B4-BE49-F238E27FC236}">
                <a16:creationId xmlns:a16="http://schemas.microsoft.com/office/drawing/2014/main" id="{5616894B-E7E5-E87F-070F-0CE72419E919}"/>
              </a:ext>
            </a:extLst>
          </p:cNvPr>
          <p:cNvSpPr txBox="1"/>
          <p:nvPr/>
        </p:nvSpPr>
        <p:spPr>
          <a:xfrm>
            <a:off x="6932695" y="1736050"/>
            <a:ext cx="4588719" cy="584775"/>
          </a:xfrm>
          <a:prstGeom prst="rect">
            <a:avLst/>
          </a:prstGeom>
          <a:noFill/>
        </p:spPr>
        <p:txBody>
          <a:bodyPr wrap="square">
            <a:spAutoFit/>
          </a:bodyPr>
          <a:lstStyle/>
          <a:p>
            <a:pPr algn="ctr"/>
            <a:r>
              <a:rPr lang="en-US" sz="1600" b="1" noProof="0">
                <a:solidFill>
                  <a:srgbClr val="282233"/>
                </a:solidFill>
              </a:rPr>
              <a:t>Agentic AI, LLMs that can execute and orchestrate complex tasks</a:t>
            </a:r>
            <a:endParaRPr lang="en-US" sz="1600" noProof="0">
              <a:solidFill>
                <a:srgbClr val="282233"/>
              </a:solidFill>
            </a:endParaRPr>
          </a:p>
        </p:txBody>
      </p:sp>
      <p:sp>
        <p:nvSpPr>
          <p:cNvPr id="1095" name="TextBox 1094">
            <a:extLst>
              <a:ext uri="{FF2B5EF4-FFF2-40B4-BE49-F238E27FC236}">
                <a16:creationId xmlns:a16="http://schemas.microsoft.com/office/drawing/2014/main" id="{40430C8F-B3F1-0DBD-EB0F-BF724EAB36B9}"/>
              </a:ext>
            </a:extLst>
          </p:cNvPr>
          <p:cNvSpPr txBox="1"/>
          <p:nvPr/>
        </p:nvSpPr>
        <p:spPr>
          <a:xfrm>
            <a:off x="504877" y="1736050"/>
            <a:ext cx="4588719" cy="584775"/>
          </a:xfrm>
          <a:prstGeom prst="rect">
            <a:avLst/>
          </a:prstGeom>
          <a:noFill/>
        </p:spPr>
        <p:txBody>
          <a:bodyPr wrap="square">
            <a:spAutoFit/>
          </a:bodyPr>
          <a:lstStyle/>
          <a:p>
            <a:pPr algn="ctr"/>
            <a:r>
              <a:rPr lang="en-US" sz="1600" b="1" noProof="0">
                <a:solidFill>
                  <a:srgbClr val="282233"/>
                </a:solidFill>
              </a:rPr>
              <a:t>Siloed AI with low reusability and incremental value capture</a:t>
            </a:r>
            <a:endParaRPr lang="en-US" sz="1600" noProof="0">
              <a:solidFill>
                <a:srgbClr val="282233"/>
              </a:solidFill>
            </a:endParaRPr>
          </a:p>
        </p:txBody>
      </p:sp>
      <p:sp>
        <p:nvSpPr>
          <p:cNvPr id="31" name="Rectangle: Rounded Corners 30">
            <a:extLst>
              <a:ext uri="{FF2B5EF4-FFF2-40B4-BE49-F238E27FC236}">
                <a16:creationId xmlns:a16="http://schemas.microsoft.com/office/drawing/2014/main" id="{975F42DB-F3F8-9695-CE37-AD27689479BD}"/>
              </a:ext>
            </a:extLst>
          </p:cNvPr>
          <p:cNvSpPr/>
          <p:nvPr/>
        </p:nvSpPr>
        <p:spPr>
          <a:xfrm>
            <a:off x="1549818" y="2703056"/>
            <a:ext cx="1130300" cy="513779"/>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r>
              <a:rPr lang="en-US" sz="1100" noProof="0">
                <a:solidFill>
                  <a:srgbClr val="282233"/>
                </a:solidFill>
                <a:latin typeface="Proximus" panose="00000500000000000000" pitchFamily="2" charset="0"/>
                <a:cs typeface="Proximus"/>
              </a:rPr>
              <a:t>Predictive models</a:t>
            </a:r>
          </a:p>
        </p:txBody>
      </p:sp>
      <p:sp>
        <p:nvSpPr>
          <p:cNvPr id="32" name="Rectangle: Rounded Corners 31">
            <a:extLst>
              <a:ext uri="{FF2B5EF4-FFF2-40B4-BE49-F238E27FC236}">
                <a16:creationId xmlns:a16="http://schemas.microsoft.com/office/drawing/2014/main" id="{83E641C2-BFFA-B726-2616-182FA052D54F}"/>
              </a:ext>
            </a:extLst>
          </p:cNvPr>
          <p:cNvSpPr/>
          <p:nvPr/>
        </p:nvSpPr>
        <p:spPr>
          <a:xfrm>
            <a:off x="2916509" y="2696135"/>
            <a:ext cx="1130300" cy="520700"/>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r>
              <a:rPr lang="en-US" sz="1100" noProof="0">
                <a:solidFill>
                  <a:srgbClr val="282233"/>
                </a:solidFill>
                <a:latin typeface="Proximus" panose="00000500000000000000" pitchFamily="2" charset="0"/>
                <a:cs typeface="Proximus"/>
              </a:rPr>
              <a:t>Classification models</a:t>
            </a:r>
          </a:p>
        </p:txBody>
      </p:sp>
      <p:sp>
        <p:nvSpPr>
          <p:cNvPr id="33" name="Rectangle: Rounded Corners 32">
            <a:extLst>
              <a:ext uri="{FF2B5EF4-FFF2-40B4-BE49-F238E27FC236}">
                <a16:creationId xmlns:a16="http://schemas.microsoft.com/office/drawing/2014/main" id="{B200A577-11D0-D5CB-CABE-9AAA759D51DB}"/>
              </a:ext>
            </a:extLst>
          </p:cNvPr>
          <p:cNvSpPr/>
          <p:nvPr/>
        </p:nvSpPr>
        <p:spPr>
          <a:xfrm>
            <a:off x="1523441" y="3791806"/>
            <a:ext cx="1130300" cy="520700"/>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r>
              <a:rPr lang="en-US" sz="1100" noProof="0">
                <a:solidFill>
                  <a:srgbClr val="282233"/>
                </a:solidFill>
                <a:latin typeface="Proximus" panose="00000500000000000000" pitchFamily="2" charset="0"/>
                <a:cs typeface="Proximus"/>
              </a:rPr>
              <a:t>Computer vision</a:t>
            </a:r>
          </a:p>
        </p:txBody>
      </p:sp>
      <p:sp>
        <p:nvSpPr>
          <p:cNvPr id="34" name="Rectangle: Rounded Corners 33">
            <a:extLst>
              <a:ext uri="{FF2B5EF4-FFF2-40B4-BE49-F238E27FC236}">
                <a16:creationId xmlns:a16="http://schemas.microsoft.com/office/drawing/2014/main" id="{98CA105A-38D3-603A-96A5-2D8A6AEAD8F4}"/>
              </a:ext>
            </a:extLst>
          </p:cNvPr>
          <p:cNvSpPr/>
          <p:nvPr/>
        </p:nvSpPr>
        <p:spPr>
          <a:xfrm>
            <a:off x="2907716" y="3766242"/>
            <a:ext cx="1130300" cy="520700"/>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r>
              <a:rPr lang="en-US" sz="1100">
                <a:solidFill>
                  <a:srgbClr val="282233"/>
                </a:solidFill>
                <a:latin typeface="Proximus" panose="00000500000000000000" pitchFamily="2" charset="0"/>
                <a:cs typeface="Proximus"/>
              </a:rPr>
              <a:t>Digital Assistants</a:t>
            </a:r>
            <a:r>
              <a:rPr lang="en-US" sz="1100" noProof="0">
                <a:solidFill>
                  <a:srgbClr val="282233"/>
                </a:solidFill>
                <a:latin typeface="Proximus" panose="00000500000000000000" pitchFamily="2" charset="0"/>
                <a:cs typeface="Proximus"/>
              </a:rPr>
              <a:t> </a:t>
            </a:r>
          </a:p>
        </p:txBody>
      </p:sp>
      <p:sp>
        <p:nvSpPr>
          <p:cNvPr id="35" name="Oval 34">
            <a:extLst>
              <a:ext uri="{FF2B5EF4-FFF2-40B4-BE49-F238E27FC236}">
                <a16:creationId xmlns:a16="http://schemas.microsoft.com/office/drawing/2014/main" id="{75E69869-77B0-056C-4ACA-E95893D52808}"/>
              </a:ext>
            </a:extLst>
          </p:cNvPr>
          <p:cNvSpPr/>
          <p:nvPr/>
        </p:nvSpPr>
        <p:spPr>
          <a:xfrm>
            <a:off x="1526242" y="2690804"/>
            <a:ext cx="144000" cy="144000"/>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200" b="1" noProof="0">
              <a:solidFill>
                <a:schemeClr val="tx1"/>
              </a:solidFill>
              <a:latin typeface="Proximus Bold" panose="00000500000000000000" pitchFamily="2" charset="0"/>
              <a:cs typeface="Proximus Bold"/>
            </a:endParaRPr>
          </a:p>
        </p:txBody>
      </p:sp>
      <p:sp>
        <p:nvSpPr>
          <p:cNvPr id="36" name="Oval 35">
            <a:extLst>
              <a:ext uri="{FF2B5EF4-FFF2-40B4-BE49-F238E27FC236}">
                <a16:creationId xmlns:a16="http://schemas.microsoft.com/office/drawing/2014/main" id="{93A5CC6F-82B9-342E-BE5B-D3EE30B1B319}"/>
              </a:ext>
            </a:extLst>
          </p:cNvPr>
          <p:cNvSpPr/>
          <p:nvPr/>
        </p:nvSpPr>
        <p:spPr>
          <a:xfrm>
            <a:off x="2904781" y="2708735"/>
            <a:ext cx="144000" cy="144000"/>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200" b="1" noProof="0">
              <a:solidFill>
                <a:schemeClr val="tx1"/>
              </a:solidFill>
              <a:latin typeface="Proximus Bold" panose="00000500000000000000" pitchFamily="2" charset="0"/>
              <a:cs typeface="Proximus Bold"/>
            </a:endParaRPr>
          </a:p>
        </p:txBody>
      </p:sp>
      <p:sp>
        <p:nvSpPr>
          <p:cNvPr id="37" name="Oval 36">
            <a:extLst>
              <a:ext uri="{FF2B5EF4-FFF2-40B4-BE49-F238E27FC236}">
                <a16:creationId xmlns:a16="http://schemas.microsoft.com/office/drawing/2014/main" id="{141A647C-0C15-B308-86B6-B5A754CFEE60}"/>
              </a:ext>
            </a:extLst>
          </p:cNvPr>
          <p:cNvSpPr/>
          <p:nvPr/>
        </p:nvSpPr>
        <p:spPr>
          <a:xfrm>
            <a:off x="1513622" y="3766242"/>
            <a:ext cx="144000" cy="14400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200" b="1" noProof="0">
              <a:solidFill>
                <a:schemeClr val="tx1"/>
              </a:solidFill>
              <a:latin typeface="Proximus Bold" panose="00000500000000000000" pitchFamily="2" charset="0"/>
              <a:cs typeface="Proximus Bold"/>
            </a:endParaRPr>
          </a:p>
        </p:txBody>
      </p:sp>
      <p:sp>
        <p:nvSpPr>
          <p:cNvPr id="38" name="Oval 37">
            <a:extLst>
              <a:ext uri="{FF2B5EF4-FFF2-40B4-BE49-F238E27FC236}">
                <a16:creationId xmlns:a16="http://schemas.microsoft.com/office/drawing/2014/main" id="{AE25AE71-B7DD-7362-28BB-C650D5039B9C}"/>
              </a:ext>
            </a:extLst>
          </p:cNvPr>
          <p:cNvSpPr/>
          <p:nvPr/>
        </p:nvSpPr>
        <p:spPr>
          <a:xfrm>
            <a:off x="2921696" y="3766242"/>
            <a:ext cx="144000" cy="144000"/>
          </a:xfrm>
          <a:prstGeom prst="ellipse">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200" b="1" noProof="0">
              <a:solidFill>
                <a:schemeClr val="tx1"/>
              </a:solidFill>
              <a:latin typeface="Proximus Bold" panose="00000500000000000000" pitchFamily="2" charset="0"/>
              <a:cs typeface="Proximus Bold"/>
            </a:endParaRPr>
          </a:p>
        </p:txBody>
      </p:sp>
      <p:sp>
        <p:nvSpPr>
          <p:cNvPr id="39" name="Rectangle: Rounded Corners 38">
            <a:extLst>
              <a:ext uri="{FF2B5EF4-FFF2-40B4-BE49-F238E27FC236}">
                <a16:creationId xmlns:a16="http://schemas.microsoft.com/office/drawing/2014/main" id="{AFDEBFFF-6A41-735A-6173-826A2038567B}"/>
              </a:ext>
            </a:extLst>
          </p:cNvPr>
          <p:cNvSpPr/>
          <p:nvPr/>
        </p:nvSpPr>
        <p:spPr>
          <a:xfrm>
            <a:off x="1467162" y="2634023"/>
            <a:ext cx="1242859" cy="704421"/>
          </a:xfrm>
          <a:prstGeom prst="roundRect">
            <a:avLst/>
          </a:prstGeom>
          <a:noFill/>
          <a:ln>
            <a:solidFill>
              <a:schemeClr val="bg1"/>
            </a:solidFill>
            <a:prstDash val="dash"/>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100" noProof="0">
              <a:solidFill>
                <a:schemeClr val="tx1"/>
              </a:solidFill>
              <a:latin typeface="Proximus" panose="00000500000000000000" pitchFamily="2" charset="0"/>
              <a:cs typeface="Proximus"/>
            </a:endParaRPr>
          </a:p>
        </p:txBody>
      </p:sp>
      <p:sp>
        <p:nvSpPr>
          <p:cNvPr id="40" name="Rectangle: Rounded Corners 39">
            <a:extLst>
              <a:ext uri="{FF2B5EF4-FFF2-40B4-BE49-F238E27FC236}">
                <a16:creationId xmlns:a16="http://schemas.microsoft.com/office/drawing/2014/main" id="{6A75E33E-7E2A-0720-2D76-0B973D0F6003}"/>
              </a:ext>
            </a:extLst>
          </p:cNvPr>
          <p:cNvSpPr/>
          <p:nvPr/>
        </p:nvSpPr>
        <p:spPr>
          <a:xfrm>
            <a:off x="2851437" y="2634023"/>
            <a:ext cx="1242859" cy="704421"/>
          </a:xfrm>
          <a:prstGeom prst="roundRect">
            <a:avLst/>
          </a:prstGeom>
          <a:noFill/>
          <a:ln>
            <a:solidFill>
              <a:schemeClr val="bg1"/>
            </a:solidFill>
            <a:prstDash val="dash"/>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100" noProof="0">
              <a:solidFill>
                <a:schemeClr val="tx1"/>
              </a:solidFill>
              <a:latin typeface="Proximus" panose="00000500000000000000" pitchFamily="2" charset="0"/>
              <a:cs typeface="Proximus"/>
            </a:endParaRPr>
          </a:p>
        </p:txBody>
      </p:sp>
      <p:sp>
        <p:nvSpPr>
          <p:cNvPr id="41" name="Rectangle: Rounded Corners 40">
            <a:extLst>
              <a:ext uri="{FF2B5EF4-FFF2-40B4-BE49-F238E27FC236}">
                <a16:creationId xmlns:a16="http://schemas.microsoft.com/office/drawing/2014/main" id="{BC3E8F9E-7662-556F-8300-B8681033B535}"/>
              </a:ext>
            </a:extLst>
          </p:cNvPr>
          <p:cNvSpPr/>
          <p:nvPr/>
        </p:nvSpPr>
        <p:spPr>
          <a:xfrm>
            <a:off x="1467162" y="3688620"/>
            <a:ext cx="1242859" cy="704421"/>
          </a:xfrm>
          <a:prstGeom prst="roundRect">
            <a:avLst/>
          </a:prstGeom>
          <a:noFill/>
          <a:ln>
            <a:solidFill>
              <a:schemeClr val="bg1"/>
            </a:solidFill>
            <a:prstDash val="dash"/>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100" noProof="0">
              <a:solidFill>
                <a:schemeClr val="tx1"/>
              </a:solidFill>
              <a:latin typeface="Proximus" panose="00000500000000000000" pitchFamily="2" charset="0"/>
              <a:cs typeface="Proximus"/>
            </a:endParaRPr>
          </a:p>
        </p:txBody>
      </p:sp>
      <p:sp>
        <p:nvSpPr>
          <p:cNvPr id="42" name="Rectangle: Rounded Corners 41">
            <a:extLst>
              <a:ext uri="{FF2B5EF4-FFF2-40B4-BE49-F238E27FC236}">
                <a16:creationId xmlns:a16="http://schemas.microsoft.com/office/drawing/2014/main" id="{A0A1144A-0299-9131-BC59-3CDEF99C29AD}"/>
              </a:ext>
            </a:extLst>
          </p:cNvPr>
          <p:cNvSpPr/>
          <p:nvPr/>
        </p:nvSpPr>
        <p:spPr>
          <a:xfrm>
            <a:off x="2851437" y="3688620"/>
            <a:ext cx="1242859" cy="704421"/>
          </a:xfrm>
          <a:prstGeom prst="roundRect">
            <a:avLst/>
          </a:prstGeom>
          <a:noFill/>
          <a:ln>
            <a:solidFill>
              <a:schemeClr val="bg1"/>
            </a:solidFill>
            <a:prstDash val="dash"/>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100" noProof="0">
              <a:solidFill>
                <a:schemeClr val="tx1"/>
              </a:solidFill>
              <a:latin typeface="Proximus" panose="00000500000000000000" pitchFamily="2" charset="0"/>
              <a:cs typeface="Proximus"/>
            </a:endParaRPr>
          </a:p>
        </p:txBody>
      </p:sp>
      <p:sp>
        <p:nvSpPr>
          <p:cNvPr id="43" name="Rectangle: Rounded Corners 42">
            <a:extLst>
              <a:ext uri="{FF2B5EF4-FFF2-40B4-BE49-F238E27FC236}">
                <a16:creationId xmlns:a16="http://schemas.microsoft.com/office/drawing/2014/main" id="{F02726EC-CEA9-DB47-A6CE-8C5031A4975E}"/>
              </a:ext>
            </a:extLst>
          </p:cNvPr>
          <p:cNvSpPr/>
          <p:nvPr/>
        </p:nvSpPr>
        <p:spPr>
          <a:xfrm>
            <a:off x="1523441" y="4882350"/>
            <a:ext cx="1130300" cy="520700"/>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r>
              <a:rPr lang="en-US" sz="1100">
                <a:solidFill>
                  <a:srgbClr val="282233"/>
                </a:solidFill>
                <a:latin typeface="Proximus" panose="00000500000000000000" pitchFamily="2" charset="0"/>
                <a:cs typeface="Proximus"/>
              </a:rPr>
              <a:t>Coding  copilot</a:t>
            </a:r>
          </a:p>
        </p:txBody>
      </p:sp>
      <p:sp>
        <p:nvSpPr>
          <p:cNvPr id="44" name="Oval 43">
            <a:extLst>
              <a:ext uri="{FF2B5EF4-FFF2-40B4-BE49-F238E27FC236}">
                <a16:creationId xmlns:a16="http://schemas.microsoft.com/office/drawing/2014/main" id="{F00B72A0-F29F-824A-C973-1A63A013CA5E}"/>
              </a:ext>
            </a:extLst>
          </p:cNvPr>
          <p:cNvSpPr/>
          <p:nvPr/>
        </p:nvSpPr>
        <p:spPr>
          <a:xfrm>
            <a:off x="1553389" y="4849103"/>
            <a:ext cx="144000" cy="144000"/>
          </a:xfrm>
          <a:prstGeom prst="ellipse">
            <a:avLst/>
          </a:prstGeom>
          <a:solidFill>
            <a:srgbClr val="49E8F9"/>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200" b="1" noProof="0">
              <a:solidFill>
                <a:schemeClr val="tx1"/>
              </a:solidFill>
              <a:latin typeface="Proximus Bold" panose="00000500000000000000" pitchFamily="2" charset="0"/>
              <a:cs typeface="Proximus Bold"/>
            </a:endParaRPr>
          </a:p>
        </p:txBody>
      </p:sp>
      <p:sp>
        <p:nvSpPr>
          <p:cNvPr id="45" name="Rectangle: Rounded Corners 44">
            <a:extLst>
              <a:ext uri="{FF2B5EF4-FFF2-40B4-BE49-F238E27FC236}">
                <a16:creationId xmlns:a16="http://schemas.microsoft.com/office/drawing/2014/main" id="{BC0A3EFB-DA72-DD86-9786-3821E2F5DD1D}"/>
              </a:ext>
            </a:extLst>
          </p:cNvPr>
          <p:cNvSpPr/>
          <p:nvPr/>
        </p:nvSpPr>
        <p:spPr>
          <a:xfrm>
            <a:off x="1467162" y="4795305"/>
            <a:ext cx="1242859" cy="704421"/>
          </a:xfrm>
          <a:prstGeom prst="roundRect">
            <a:avLst/>
          </a:prstGeom>
          <a:noFill/>
          <a:ln>
            <a:solidFill>
              <a:schemeClr val="bg1"/>
            </a:solidFill>
            <a:prstDash val="dash"/>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100" noProof="0">
              <a:solidFill>
                <a:schemeClr val="tx1"/>
              </a:solidFill>
              <a:latin typeface="Proximus" panose="00000500000000000000" pitchFamily="2" charset="0"/>
              <a:cs typeface="Proximus"/>
            </a:endParaRPr>
          </a:p>
        </p:txBody>
      </p:sp>
      <p:sp>
        <p:nvSpPr>
          <p:cNvPr id="46" name="Rectangle: Rounded Corners 45">
            <a:extLst>
              <a:ext uri="{FF2B5EF4-FFF2-40B4-BE49-F238E27FC236}">
                <a16:creationId xmlns:a16="http://schemas.microsoft.com/office/drawing/2014/main" id="{A44BFFE3-DFBB-256B-695C-63825D67D175}"/>
              </a:ext>
            </a:extLst>
          </p:cNvPr>
          <p:cNvSpPr/>
          <p:nvPr/>
        </p:nvSpPr>
        <p:spPr>
          <a:xfrm>
            <a:off x="2907716" y="4929371"/>
            <a:ext cx="1130300" cy="520700"/>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a:r>
              <a:rPr lang="en-US" sz="1050">
                <a:solidFill>
                  <a:schemeClr val="accent6"/>
                </a:solidFill>
              </a:rPr>
              <a:t>Employee copilot</a:t>
            </a:r>
            <a:endParaRPr lang="en-BE" sz="700">
              <a:solidFill>
                <a:schemeClr val="accent6"/>
              </a:solidFill>
              <a:effectLst/>
            </a:endParaRPr>
          </a:p>
        </p:txBody>
      </p:sp>
      <p:sp>
        <p:nvSpPr>
          <p:cNvPr id="47" name="Oval 46">
            <a:extLst>
              <a:ext uri="{FF2B5EF4-FFF2-40B4-BE49-F238E27FC236}">
                <a16:creationId xmlns:a16="http://schemas.microsoft.com/office/drawing/2014/main" id="{CEDCF851-B9C2-F56B-38BF-D8F33BF53A16}"/>
              </a:ext>
            </a:extLst>
          </p:cNvPr>
          <p:cNvSpPr/>
          <p:nvPr/>
        </p:nvSpPr>
        <p:spPr>
          <a:xfrm>
            <a:off x="2936991" y="4849103"/>
            <a:ext cx="144000" cy="144000"/>
          </a:xfrm>
          <a:prstGeom prst="ellipse">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200" b="1" noProof="0">
              <a:solidFill>
                <a:schemeClr val="tx1"/>
              </a:solidFill>
              <a:latin typeface="Proximus Bold" panose="00000500000000000000" pitchFamily="2" charset="0"/>
              <a:cs typeface="Proximus Bold"/>
            </a:endParaRPr>
          </a:p>
        </p:txBody>
      </p:sp>
      <p:sp>
        <p:nvSpPr>
          <p:cNvPr id="48" name="Rectangle: Rounded Corners 47">
            <a:extLst>
              <a:ext uri="{FF2B5EF4-FFF2-40B4-BE49-F238E27FC236}">
                <a16:creationId xmlns:a16="http://schemas.microsoft.com/office/drawing/2014/main" id="{2C8C6896-2169-15B9-3C51-62B286EC1086}"/>
              </a:ext>
            </a:extLst>
          </p:cNvPr>
          <p:cNvSpPr/>
          <p:nvPr/>
        </p:nvSpPr>
        <p:spPr>
          <a:xfrm>
            <a:off x="2851437" y="4795305"/>
            <a:ext cx="1242859" cy="704421"/>
          </a:xfrm>
          <a:prstGeom prst="roundRect">
            <a:avLst/>
          </a:prstGeom>
          <a:noFill/>
          <a:ln>
            <a:solidFill>
              <a:schemeClr val="bg1"/>
            </a:solidFill>
            <a:prstDash val="dash"/>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100" noProof="0">
              <a:solidFill>
                <a:schemeClr val="tx1"/>
              </a:solidFill>
              <a:latin typeface="Proximus" panose="00000500000000000000" pitchFamily="2" charset="0"/>
              <a:cs typeface="Proximus"/>
            </a:endParaRPr>
          </a:p>
        </p:txBody>
      </p:sp>
      <p:sp>
        <p:nvSpPr>
          <p:cNvPr id="49" name="Rectangle: Rounded Corners 48">
            <a:extLst>
              <a:ext uri="{FF2B5EF4-FFF2-40B4-BE49-F238E27FC236}">
                <a16:creationId xmlns:a16="http://schemas.microsoft.com/office/drawing/2014/main" id="{9D965517-9AF7-4F27-BA11-2F27E6512137}"/>
              </a:ext>
            </a:extLst>
          </p:cNvPr>
          <p:cNvSpPr/>
          <p:nvPr/>
        </p:nvSpPr>
        <p:spPr>
          <a:xfrm>
            <a:off x="6351749" y="2634023"/>
            <a:ext cx="1242859" cy="704421"/>
          </a:xfrm>
          <a:prstGeom prst="roundRect">
            <a:avLst/>
          </a:prstGeom>
          <a:solidFill>
            <a:schemeClr val="tx1"/>
          </a:solidFill>
          <a:ln>
            <a:solidFill>
              <a:schemeClr val="bg1"/>
            </a:solidFill>
            <a:prstDash val="dash"/>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100" noProof="0">
              <a:solidFill>
                <a:schemeClr val="tx1"/>
              </a:solidFill>
              <a:latin typeface="Proximus" panose="00000500000000000000" pitchFamily="2" charset="0"/>
              <a:cs typeface="Proximus"/>
            </a:endParaRPr>
          </a:p>
        </p:txBody>
      </p:sp>
      <p:sp>
        <p:nvSpPr>
          <p:cNvPr id="50" name="Rectangle: Rounded Corners 49">
            <a:extLst>
              <a:ext uri="{FF2B5EF4-FFF2-40B4-BE49-F238E27FC236}">
                <a16:creationId xmlns:a16="http://schemas.microsoft.com/office/drawing/2014/main" id="{6EF75BF6-B971-7425-C395-688EA3A7AB73}"/>
              </a:ext>
            </a:extLst>
          </p:cNvPr>
          <p:cNvSpPr/>
          <p:nvPr/>
        </p:nvSpPr>
        <p:spPr>
          <a:xfrm>
            <a:off x="7811538" y="2634023"/>
            <a:ext cx="1242859" cy="704421"/>
          </a:xfrm>
          <a:prstGeom prst="roundRect">
            <a:avLst/>
          </a:prstGeom>
          <a:solidFill>
            <a:schemeClr val="tx1"/>
          </a:solidFill>
          <a:ln>
            <a:solidFill>
              <a:schemeClr val="bg1"/>
            </a:solidFill>
            <a:prstDash val="dash"/>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100" noProof="0">
              <a:solidFill>
                <a:schemeClr val="tx1"/>
              </a:solidFill>
              <a:latin typeface="Proximus" panose="00000500000000000000" pitchFamily="2" charset="0"/>
              <a:cs typeface="Proximus"/>
            </a:endParaRPr>
          </a:p>
        </p:txBody>
      </p:sp>
      <p:sp>
        <p:nvSpPr>
          <p:cNvPr id="51" name="Rectangle: Rounded Corners 50">
            <a:extLst>
              <a:ext uri="{FF2B5EF4-FFF2-40B4-BE49-F238E27FC236}">
                <a16:creationId xmlns:a16="http://schemas.microsoft.com/office/drawing/2014/main" id="{52D70DDE-867A-37DE-6D22-8A73436D122D}"/>
              </a:ext>
            </a:extLst>
          </p:cNvPr>
          <p:cNvSpPr/>
          <p:nvPr/>
        </p:nvSpPr>
        <p:spPr>
          <a:xfrm>
            <a:off x="9271327" y="2634023"/>
            <a:ext cx="1242859" cy="704421"/>
          </a:xfrm>
          <a:prstGeom prst="roundRect">
            <a:avLst/>
          </a:prstGeom>
          <a:solidFill>
            <a:schemeClr val="tx1"/>
          </a:solidFill>
          <a:ln>
            <a:solidFill>
              <a:schemeClr val="bg1"/>
            </a:solidFill>
            <a:prstDash val="dash"/>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100" noProof="0">
              <a:solidFill>
                <a:schemeClr val="tx1"/>
              </a:solidFill>
              <a:latin typeface="Proximus" panose="00000500000000000000" pitchFamily="2" charset="0"/>
              <a:cs typeface="Proximus"/>
            </a:endParaRPr>
          </a:p>
        </p:txBody>
      </p:sp>
      <p:sp>
        <p:nvSpPr>
          <p:cNvPr id="52" name="Rectangle: Rounded Corners 51">
            <a:extLst>
              <a:ext uri="{FF2B5EF4-FFF2-40B4-BE49-F238E27FC236}">
                <a16:creationId xmlns:a16="http://schemas.microsoft.com/office/drawing/2014/main" id="{40AFC91F-F417-CD25-3DD4-C2157F37DEAF}"/>
              </a:ext>
            </a:extLst>
          </p:cNvPr>
          <p:cNvSpPr/>
          <p:nvPr/>
        </p:nvSpPr>
        <p:spPr>
          <a:xfrm>
            <a:off x="10731115" y="2634023"/>
            <a:ext cx="1242859" cy="704421"/>
          </a:xfrm>
          <a:prstGeom prst="roundRect">
            <a:avLst/>
          </a:prstGeom>
          <a:solidFill>
            <a:schemeClr val="tx1"/>
          </a:solidFill>
          <a:ln>
            <a:solidFill>
              <a:schemeClr val="bg1"/>
            </a:solidFill>
            <a:prstDash val="dash"/>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100" noProof="0">
              <a:solidFill>
                <a:schemeClr val="tx1"/>
              </a:solidFill>
              <a:latin typeface="Proximus" panose="00000500000000000000" pitchFamily="2" charset="0"/>
              <a:cs typeface="Proximus"/>
            </a:endParaRPr>
          </a:p>
        </p:txBody>
      </p:sp>
      <p:sp>
        <p:nvSpPr>
          <p:cNvPr id="53" name="Oval 52">
            <a:extLst>
              <a:ext uri="{FF2B5EF4-FFF2-40B4-BE49-F238E27FC236}">
                <a16:creationId xmlns:a16="http://schemas.microsoft.com/office/drawing/2014/main" id="{E3C837C7-F1CF-642E-F088-EFE35E13C311}"/>
              </a:ext>
            </a:extLst>
          </p:cNvPr>
          <p:cNvSpPr/>
          <p:nvPr/>
        </p:nvSpPr>
        <p:spPr>
          <a:xfrm>
            <a:off x="6202203" y="2493217"/>
            <a:ext cx="447472" cy="43038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r>
              <a:rPr lang="en-US" sz="1400" b="1">
                <a:solidFill>
                  <a:schemeClr val="tx1"/>
                </a:solidFill>
                <a:latin typeface="Proximus Bold" panose="00000500000000000000" pitchFamily="2" charset="0"/>
                <a:cs typeface="Proximus Bold"/>
              </a:rPr>
              <a:t>1</a:t>
            </a:r>
            <a:endParaRPr lang="en-US" sz="1400" b="1" noProof="0">
              <a:solidFill>
                <a:schemeClr val="tx1"/>
              </a:solidFill>
              <a:latin typeface="Proximus Bold" panose="00000500000000000000" pitchFamily="2" charset="0"/>
              <a:cs typeface="Proximus Bold"/>
            </a:endParaRPr>
          </a:p>
        </p:txBody>
      </p:sp>
      <p:sp>
        <p:nvSpPr>
          <p:cNvPr id="54" name="Oval 53">
            <a:extLst>
              <a:ext uri="{FF2B5EF4-FFF2-40B4-BE49-F238E27FC236}">
                <a16:creationId xmlns:a16="http://schemas.microsoft.com/office/drawing/2014/main" id="{180865FC-5AB2-B1EF-AD33-D69BB1BE6AED}"/>
              </a:ext>
            </a:extLst>
          </p:cNvPr>
          <p:cNvSpPr/>
          <p:nvPr/>
        </p:nvSpPr>
        <p:spPr>
          <a:xfrm>
            <a:off x="7671984" y="2493217"/>
            <a:ext cx="447472" cy="43038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r>
              <a:rPr lang="en-US" sz="1400" b="1" noProof="0">
                <a:solidFill>
                  <a:schemeClr val="tx1"/>
                </a:solidFill>
                <a:latin typeface="Proximus Bold" panose="00000500000000000000" pitchFamily="2" charset="0"/>
                <a:cs typeface="Proximus Bold"/>
              </a:rPr>
              <a:t>2</a:t>
            </a:r>
          </a:p>
        </p:txBody>
      </p:sp>
      <p:sp>
        <p:nvSpPr>
          <p:cNvPr id="55" name="Oval 54">
            <a:extLst>
              <a:ext uri="{FF2B5EF4-FFF2-40B4-BE49-F238E27FC236}">
                <a16:creationId xmlns:a16="http://schemas.microsoft.com/office/drawing/2014/main" id="{16780F24-93C7-EB2F-8A22-BEFB64D91F94}"/>
              </a:ext>
            </a:extLst>
          </p:cNvPr>
          <p:cNvSpPr/>
          <p:nvPr/>
        </p:nvSpPr>
        <p:spPr>
          <a:xfrm>
            <a:off x="9043023" y="2422027"/>
            <a:ext cx="447472" cy="43038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r>
              <a:rPr lang="en-US" sz="1400" b="1">
                <a:solidFill>
                  <a:schemeClr val="tx1"/>
                </a:solidFill>
                <a:latin typeface="Proximus Bold" panose="00000500000000000000" pitchFamily="2" charset="0"/>
                <a:cs typeface="Proximus Bold"/>
              </a:rPr>
              <a:t>3</a:t>
            </a:r>
            <a:endParaRPr lang="en-US" sz="1400" b="1" noProof="0">
              <a:solidFill>
                <a:schemeClr val="tx1"/>
              </a:solidFill>
              <a:latin typeface="Proximus Bold" panose="00000500000000000000" pitchFamily="2" charset="0"/>
              <a:cs typeface="Proximus Bold"/>
            </a:endParaRPr>
          </a:p>
        </p:txBody>
      </p:sp>
      <p:sp>
        <p:nvSpPr>
          <p:cNvPr id="56" name="Oval 55">
            <a:extLst>
              <a:ext uri="{FF2B5EF4-FFF2-40B4-BE49-F238E27FC236}">
                <a16:creationId xmlns:a16="http://schemas.microsoft.com/office/drawing/2014/main" id="{F89401BA-713E-43A8-E714-596A223AEB6D}"/>
              </a:ext>
            </a:extLst>
          </p:cNvPr>
          <p:cNvSpPr/>
          <p:nvPr/>
        </p:nvSpPr>
        <p:spPr>
          <a:xfrm>
            <a:off x="10595447" y="2422027"/>
            <a:ext cx="447472" cy="43038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r>
              <a:rPr lang="en-US" sz="1400" b="1" noProof="0">
                <a:solidFill>
                  <a:schemeClr val="tx1"/>
                </a:solidFill>
                <a:latin typeface="Proximus Bold" panose="00000500000000000000" pitchFamily="2" charset="0"/>
                <a:cs typeface="Proximus Bold"/>
              </a:rPr>
              <a:t>4</a:t>
            </a:r>
          </a:p>
        </p:txBody>
      </p:sp>
      <p:sp>
        <p:nvSpPr>
          <p:cNvPr id="57" name="Rectangle: Rounded Corners 56">
            <a:extLst>
              <a:ext uri="{FF2B5EF4-FFF2-40B4-BE49-F238E27FC236}">
                <a16:creationId xmlns:a16="http://schemas.microsoft.com/office/drawing/2014/main" id="{B8B47113-D9B1-377D-B373-42A920B2AB78}"/>
              </a:ext>
            </a:extLst>
          </p:cNvPr>
          <p:cNvSpPr/>
          <p:nvPr/>
        </p:nvSpPr>
        <p:spPr>
          <a:xfrm>
            <a:off x="6343976" y="2780407"/>
            <a:ext cx="1287377" cy="513779"/>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r>
              <a:rPr lang="en-US" sz="1100" b="1" noProof="0">
                <a:solidFill>
                  <a:srgbClr val="282233"/>
                </a:solidFill>
                <a:latin typeface="Proximus" panose="00000500000000000000" pitchFamily="2" charset="0"/>
                <a:cs typeface="Proximus"/>
              </a:rPr>
              <a:t>Plan</a:t>
            </a:r>
          </a:p>
          <a:p>
            <a:pPr algn="ctr" defTabSz="1218418"/>
            <a:r>
              <a:rPr lang="en-US" sz="900">
                <a:solidFill>
                  <a:srgbClr val="282233"/>
                </a:solidFill>
              </a:rPr>
              <a:t>Understand goal and split tasks</a:t>
            </a:r>
            <a:endParaRPr lang="en-US" sz="900" b="1">
              <a:solidFill>
                <a:srgbClr val="282233"/>
              </a:solidFill>
              <a:latin typeface="Proximus Bold" panose="00000500000000000000" pitchFamily="2" charset="0"/>
              <a:cs typeface="Proximus Bold"/>
            </a:endParaRPr>
          </a:p>
          <a:p>
            <a:pPr algn="ctr" defTabSz="1218418"/>
            <a:endParaRPr lang="en-US" sz="1100" noProof="0">
              <a:solidFill>
                <a:srgbClr val="282233"/>
              </a:solidFill>
              <a:latin typeface="Proximus" panose="00000500000000000000" pitchFamily="2" charset="0"/>
              <a:cs typeface="Proximus"/>
            </a:endParaRPr>
          </a:p>
        </p:txBody>
      </p:sp>
      <p:sp>
        <p:nvSpPr>
          <p:cNvPr id="58" name="Rectangle: Rounded Corners 57">
            <a:extLst>
              <a:ext uri="{FF2B5EF4-FFF2-40B4-BE49-F238E27FC236}">
                <a16:creationId xmlns:a16="http://schemas.microsoft.com/office/drawing/2014/main" id="{72B63A1B-C3BD-04C0-44C5-601C578AB938}"/>
              </a:ext>
            </a:extLst>
          </p:cNvPr>
          <p:cNvSpPr/>
          <p:nvPr/>
        </p:nvSpPr>
        <p:spPr>
          <a:xfrm>
            <a:off x="7794965" y="2810826"/>
            <a:ext cx="1287377" cy="513779"/>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r>
              <a:rPr lang="en-US" sz="1100" b="1" noProof="0">
                <a:solidFill>
                  <a:srgbClr val="282233"/>
                </a:solidFill>
                <a:latin typeface="Proximus" panose="00000500000000000000" pitchFamily="2" charset="0"/>
                <a:cs typeface="Proximus"/>
              </a:rPr>
              <a:t>Act</a:t>
            </a:r>
          </a:p>
          <a:p>
            <a:pPr algn="ctr" defTabSz="1218418"/>
            <a:r>
              <a:rPr lang="en-US" sz="900">
                <a:solidFill>
                  <a:srgbClr val="282233"/>
                </a:solidFill>
              </a:rPr>
              <a:t>Connect to tools to execute tasks</a:t>
            </a:r>
            <a:endParaRPr lang="en-US" sz="900" b="1">
              <a:solidFill>
                <a:srgbClr val="282233"/>
              </a:solidFill>
              <a:latin typeface="Proximus Bold" panose="00000500000000000000" pitchFamily="2" charset="0"/>
              <a:cs typeface="Proximus Bold"/>
            </a:endParaRPr>
          </a:p>
          <a:p>
            <a:pPr algn="ctr" defTabSz="1218418"/>
            <a:endParaRPr lang="en-US" sz="1100" noProof="0">
              <a:solidFill>
                <a:srgbClr val="282233"/>
              </a:solidFill>
              <a:latin typeface="Proximus" panose="00000500000000000000" pitchFamily="2" charset="0"/>
              <a:cs typeface="Proximus"/>
            </a:endParaRPr>
          </a:p>
        </p:txBody>
      </p:sp>
      <p:sp>
        <p:nvSpPr>
          <p:cNvPr id="59" name="Rectangle: Rounded Corners 58">
            <a:extLst>
              <a:ext uri="{FF2B5EF4-FFF2-40B4-BE49-F238E27FC236}">
                <a16:creationId xmlns:a16="http://schemas.microsoft.com/office/drawing/2014/main" id="{D2A69291-EF64-55A5-031E-7D7E51D09AF6}"/>
              </a:ext>
            </a:extLst>
          </p:cNvPr>
          <p:cNvSpPr/>
          <p:nvPr/>
        </p:nvSpPr>
        <p:spPr>
          <a:xfrm>
            <a:off x="9225427" y="2840435"/>
            <a:ext cx="1287377" cy="513779"/>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r>
              <a:rPr lang="en-US" sz="1100" b="1" noProof="0">
                <a:solidFill>
                  <a:srgbClr val="282233"/>
                </a:solidFill>
                <a:latin typeface="Proximus" panose="00000500000000000000" pitchFamily="2" charset="0"/>
                <a:cs typeface="Proximus"/>
              </a:rPr>
              <a:t>Learn</a:t>
            </a:r>
          </a:p>
          <a:p>
            <a:pPr algn="ctr" defTabSz="1218418"/>
            <a:r>
              <a:rPr lang="en-US" sz="900">
                <a:solidFill>
                  <a:srgbClr val="282233"/>
                </a:solidFill>
              </a:rPr>
              <a:t>Evaluate in real time the result of action</a:t>
            </a:r>
            <a:endParaRPr lang="en-US" sz="900" b="1">
              <a:solidFill>
                <a:srgbClr val="282233"/>
              </a:solidFill>
              <a:latin typeface="Proximus Bold" panose="00000500000000000000" pitchFamily="2" charset="0"/>
              <a:cs typeface="Proximus Bold"/>
            </a:endParaRPr>
          </a:p>
          <a:p>
            <a:pPr algn="ctr" defTabSz="1218418"/>
            <a:endParaRPr lang="en-US" sz="1100" noProof="0">
              <a:solidFill>
                <a:srgbClr val="282233"/>
              </a:solidFill>
              <a:latin typeface="Proximus" panose="00000500000000000000" pitchFamily="2" charset="0"/>
              <a:cs typeface="Proximus"/>
            </a:endParaRPr>
          </a:p>
        </p:txBody>
      </p:sp>
      <p:sp>
        <p:nvSpPr>
          <p:cNvPr id="60" name="Rectangle: Rounded Corners 59">
            <a:extLst>
              <a:ext uri="{FF2B5EF4-FFF2-40B4-BE49-F238E27FC236}">
                <a16:creationId xmlns:a16="http://schemas.microsoft.com/office/drawing/2014/main" id="{FCA082DE-35E2-653C-7290-05D975EFBDFB}"/>
              </a:ext>
            </a:extLst>
          </p:cNvPr>
          <p:cNvSpPr/>
          <p:nvPr/>
        </p:nvSpPr>
        <p:spPr>
          <a:xfrm>
            <a:off x="10759657" y="2828938"/>
            <a:ext cx="1287377" cy="513779"/>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r>
              <a:rPr lang="en-US" sz="1100" b="1" noProof="0">
                <a:solidFill>
                  <a:srgbClr val="282233"/>
                </a:solidFill>
                <a:latin typeface="Proximus" panose="00000500000000000000" pitchFamily="2" charset="0"/>
                <a:cs typeface="Proximus"/>
              </a:rPr>
              <a:t>Replan</a:t>
            </a:r>
          </a:p>
          <a:p>
            <a:pPr algn="ctr" defTabSz="1218418"/>
            <a:r>
              <a:rPr lang="en-US" sz="900">
                <a:solidFill>
                  <a:srgbClr val="282233"/>
                </a:solidFill>
              </a:rPr>
              <a:t>Optimize the execution of tasks</a:t>
            </a:r>
            <a:endParaRPr lang="en-US" sz="900" b="1">
              <a:solidFill>
                <a:srgbClr val="282233"/>
              </a:solidFill>
              <a:latin typeface="Proximus Bold" panose="00000500000000000000" pitchFamily="2" charset="0"/>
              <a:cs typeface="Proximus Bold"/>
            </a:endParaRPr>
          </a:p>
          <a:p>
            <a:pPr algn="ctr" defTabSz="1218418"/>
            <a:endParaRPr lang="en-US" sz="1100" noProof="0">
              <a:solidFill>
                <a:srgbClr val="282233"/>
              </a:solidFill>
              <a:latin typeface="Proximus" panose="00000500000000000000" pitchFamily="2" charset="0"/>
              <a:cs typeface="Proximus"/>
            </a:endParaRPr>
          </a:p>
        </p:txBody>
      </p:sp>
      <p:sp>
        <p:nvSpPr>
          <p:cNvPr id="1103" name="Rectangle: Rounded Corners 1102">
            <a:extLst>
              <a:ext uri="{FF2B5EF4-FFF2-40B4-BE49-F238E27FC236}">
                <a16:creationId xmlns:a16="http://schemas.microsoft.com/office/drawing/2014/main" id="{504046E8-4A77-F4DF-F1AD-7D3C8B36915E}"/>
              </a:ext>
            </a:extLst>
          </p:cNvPr>
          <p:cNvSpPr/>
          <p:nvPr/>
        </p:nvSpPr>
        <p:spPr>
          <a:xfrm>
            <a:off x="6701301" y="3620362"/>
            <a:ext cx="4864481" cy="840937"/>
          </a:xfrm>
          <a:prstGeom prst="roundRect">
            <a:avLst/>
          </a:prstGeom>
          <a:solidFill>
            <a:schemeClr val="bg1">
              <a:lumMod val="10000"/>
              <a:lumOff val="90000"/>
            </a:schemeClr>
          </a:solidFill>
          <a:ln>
            <a:solidFill>
              <a:schemeClr val="bg1"/>
            </a:solidFill>
            <a:prstDash val="dash"/>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100" noProof="0">
              <a:solidFill>
                <a:schemeClr val="tx1"/>
              </a:solidFill>
              <a:latin typeface="Proximus" panose="00000500000000000000" pitchFamily="2" charset="0"/>
              <a:cs typeface="Proximus"/>
            </a:endParaRPr>
          </a:p>
        </p:txBody>
      </p:sp>
      <p:sp>
        <p:nvSpPr>
          <p:cNvPr id="1104" name="Oval 1103">
            <a:extLst>
              <a:ext uri="{FF2B5EF4-FFF2-40B4-BE49-F238E27FC236}">
                <a16:creationId xmlns:a16="http://schemas.microsoft.com/office/drawing/2014/main" id="{563D580C-DD78-7E2C-E808-5AA191AEA9F3}"/>
              </a:ext>
            </a:extLst>
          </p:cNvPr>
          <p:cNvSpPr/>
          <p:nvPr/>
        </p:nvSpPr>
        <p:spPr>
          <a:xfrm>
            <a:off x="7033294" y="3874435"/>
            <a:ext cx="144000" cy="144000"/>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200" b="1" noProof="0">
              <a:solidFill>
                <a:schemeClr val="tx1"/>
              </a:solidFill>
              <a:latin typeface="Proximus Bold" panose="00000500000000000000" pitchFamily="2" charset="0"/>
              <a:cs typeface="Proximus Bold"/>
            </a:endParaRPr>
          </a:p>
        </p:txBody>
      </p:sp>
      <p:sp>
        <p:nvSpPr>
          <p:cNvPr id="1105" name="Oval 1104">
            <a:extLst>
              <a:ext uri="{FF2B5EF4-FFF2-40B4-BE49-F238E27FC236}">
                <a16:creationId xmlns:a16="http://schemas.microsoft.com/office/drawing/2014/main" id="{46EDD248-41E0-802A-C274-0FD535BBEAD4}"/>
              </a:ext>
            </a:extLst>
          </p:cNvPr>
          <p:cNvSpPr/>
          <p:nvPr/>
        </p:nvSpPr>
        <p:spPr>
          <a:xfrm>
            <a:off x="7796976" y="3874435"/>
            <a:ext cx="144000" cy="14400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200" b="1" noProof="0">
              <a:solidFill>
                <a:schemeClr val="tx1"/>
              </a:solidFill>
              <a:latin typeface="Proximus Bold" panose="00000500000000000000" pitchFamily="2" charset="0"/>
              <a:cs typeface="Proximus Bold"/>
            </a:endParaRPr>
          </a:p>
        </p:txBody>
      </p:sp>
      <p:sp>
        <p:nvSpPr>
          <p:cNvPr id="1106" name="Oval 1105">
            <a:extLst>
              <a:ext uri="{FF2B5EF4-FFF2-40B4-BE49-F238E27FC236}">
                <a16:creationId xmlns:a16="http://schemas.microsoft.com/office/drawing/2014/main" id="{E8954765-95B1-875C-144A-6CE1D573133D}"/>
              </a:ext>
            </a:extLst>
          </p:cNvPr>
          <p:cNvSpPr/>
          <p:nvPr/>
        </p:nvSpPr>
        <p:spPr>
          <a:xfrm>
            <a:off x="8560658" y="3874435"/>
            <a:ext cx="144000" cy="144000"/>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200" b="1" noProof="0">
              <a:solidFill>
                <a:schemeClr val="tx1"/>
              </a:solidFill>
              <a:latin typeface="Proximus Bold" panose="00000500000000000000" pitchFamily="2" charset="0"/>
              <a:cs typeface="Proximus Bold"/>
            </a:endParaRPr>
          </a:p>
        </p:txBody>
      </p:sp>
      <p:sp>
        <p:nvSpPr>
          <p:cNvPr id="1107" name="Oval 1106">
            <a:extLst>
              <a:ext uri="{FF2B5EF4-FFF2-40B4-BE49-F238E27FC236}">
                <a16:creationId xmlns:a16="http://schemas.microsoft.com/office/drawing/2014/main" id="{42C5B524-6245-441C-041D-E2144ACE7027}"/>
              </a:ext>
            </a:extLst>
          </p:cNvPr>
          <p:cNvSpPr/>
          <p:nvPr/>
        </p:nvSpPr>
        <p:spPr>
          <a:xfrm>
            <a:off x="7414610" y="4065300"/>
            <a:ext cx="144000" cy="144000"/>
          </a:xfrm>
          <a:prstGeom prst="ellipse">
            <a:avLst/>
          </a:prstGeom>
          <a:solidFill>
            <a:schemeClr val="bg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200" b="1" noProof="0">
              <a:solidFill>
                <a:schemeClr val="tx1"/>
              </a:solidFill>
              <a:latin typeface="Proximus Bold" panose="00000500000000000000" pitchFamily="2" charset="0"/>
              <a:cs typeface="Proximus Bold"/>
            </a:endParaRPr>
          </a:p>
        </p:txBody>
      </p:sp>
      <p:sp>
        <p:nvSpPr>
          <p:cNvPr id="1108" name="Oval 1107">
            <a:extLst>
              <a:ext uri="{FF2B5EF4-FFF2-40B4-BE49-F238E27FC236}">
                <a16:creationId xmlns:a16="http://schemas.microsoft.com/office/drawing/2014/main" id="{25D021B2-EBAF-F988-EB0F-57702B9EB9A5}"/>
              </a:ext>
            </a:extLst>
          </p:cNvPr>
          <p:cNvSpPr/>
          <p:nvPr/>
        </p:nvSpPr>
        <p:spPr>
          <a:xfrm>
            <a:off x="8178292" y="4065300"/>
            <a:ext cx="144000" cy="144000"/>
          </a:xfrm>
          <a:prstGeom prst="ellipse">
            <a:avLst/>
          </a:prstGeom>
          <a:solidFill>
            <a:schemeClr val="accent3">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200" b="1" noProof="0">
              <a:solidFill>
                <a:schemeClr val="tx1"/>
              </a:solidFill>
              <a:latin typeface="Proximus Bold" panose="00000500000000000000" pitchFamily="2" charset="0"/>
              <a:cs typeface="Proximus Bold"/>
            </a:endParaRPr>
          </a:p>
        </p:txBody>
      </p:sp>
      <p:sp>
        <p:nvSpPr>
          <p:cNvPr id="1109" name="Oval 1108">
            <a:extLst>
              <a:ext uri="{FF2B5EF4-FFF2-40B4-BE49-F238E27FC236}">
                <a16:creationId xmlns:a16="http://schemas.microsoft.com/office/drawing/2014/main" id="{AA0C6DDB-6F18-ABEA-BF8B-D886150C8B09}"/>
              </a:ext>
            </a:extLst>
          </p:cNvPr>
          <p:cNvSpPr/>
          <p:nvPr/>
        </p:nvSpPr>
        <p:spPr>
          <a:xfrm>
            <a:off x="7033294" y="4256694"/>
            <a:ext cx="144000" cy="144000"/>
          </a:xfrm>
          <a:prstGeom prst="ellipse">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200" b="1" noProof="0">
              <a:solidFill>
                <a:schemeClr val="tx1"/>
              </a:solidFill>
              <a:latin typeface="Proximus Bold" panose="00000500000000000000" pitchFamily="2" charset="0"/>
              <a:cs typeface="Proximus Bold"/>
            </a:endParaRPr>
          </a:p>
        </p:txBody>
      </p:sp>
      <p:sp>
        <p:nvSpPr>
          <p:cNvPr id="1110" name="Oval 1109">
            <a:extLst>
              <a:ext uri="{FF2B5EF4-FFF2-40B4-BE49-F238E27FC236}">
                <a16:creationId xmlns:a16="http://schemas.microsoft.com/office/drawing/2014/main" id="{5B9665A8-C891-499C-ADCF-E9BA4534814A}"/>
              </a:ext>
            </a:extLst>
          </p:cNvPr>
          <p:cNvSpPr/>
          <p:nvPr/>
        </p:nvSpPr>
        <p:spPr>
          <a:xfrm>
            <a:off x="7796976" y="4256694"/>
            <a:ext cx="144000" cy="144000"/>
          </a:xfrm>
          <a:prstGeom prst="ellipse">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200" b="1" noProof="0">
              <a:solidFill>
                <a:schemeClr val="tx1"/>
              </a:solidFill>
              <a:latin typeface="Proximus Bold" panose="00000500000000000000" pitchFamily="2" charset="0"/>
              <a:cs typeface="Proximus Bold"/>
            </a:endParaRPr>
          </a:p>
        </p:txBody>
      </p:sp>
      <p:sp>
        <p:nvSpPr>
          <p:cNvPr id="1111" name="Oval 1110">
            <a:extLst>
              <a:ext uri="{FF2B5EF4-FFF2-40B4-BE49-F238E27FC236}">
                <a16:creationId xmlns:a16="http://schemas.microsoft.com/office/drawing/2014/main" id="{A990CDFE-26FC-AB83-DD23-2D2E9CEE7D97}"/>
              </a:ext>
            </a:extLst>
          </p:cNvPr>
          <p:cNvSpPr/>
          <p:nvPr/>
        </p:nvSpPr>
        <p:spPr>
          <a:xfrm>
            <a:off x="8560658" y="4256694"/>
            <a:ext cx="144000" cy="144000"/>
          </a:xfrm>
          <a:prstGeom prst="ellipse">
            <a:avLst/>
          </a:prstGeom>
          <a:solidFill>
            <a:schemeClr val="bg1">
              <a:lumMod val="25000"/>
              <a:lumOff val="75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200" b="1" noProof="0">
              <a:solidFill>
                <a:schemeClr val="tx1"/>
              </a:solidFill>
              <a:latin typeface="Proximus Bold" panose="00000500000000000000" pitchFamily="2" charset="0"/>
              <a:cs typeface="Proximus Bold"/>
            </a:endParaRPr>
          </a:p>
        </p:txBody>
      </p:sp>
      <p:cxnSp>
        <p:nvCxnSpPr>
          <p:cNvPr id="1112" name="Straight Connector 1111">
            <a:extLst>
              <a:ext uri="{FF2B5EF4-FFF2-40B4-BE49-F238E27FC236}">
                <a16:creationId xmlns:a16="http://schemas.microsoft.com/office/drawing/2014/main" id="{F4537B4A-E998-A93E-B5C4-BB74E89B7CFF}"/>
              </a:ext>
            </a:extLst>
          </p:cNvPr>
          <p:cNvCxnSpPr>
            <a:stCxn id="1104" idx="5"/>
            <a:endCxn id="1107" idx="2"/>
          </p:cNvCxnSpPr>
          <p:nvPr/>
        </p:nvCxnSpPr>
        <p:spPr>
          <a:xfrm>
            <a:off x="7156206" y="3997347"/>
            <a:ext cx="258404" cy="139953"/>
          </a:xfrm>
          <a:prstGeom prst="line">
            <a:avLst/>
          </a:prstGeom>
          <a:ln w="9525">
            <a:solidFill>
              <a:schemeClr val="bg1">
                <a:lumMod val="40000"/>
                <a:lumOff val="60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113" name="Straight Connector 1112">
            <a:extLst>
              <a:ext uri="{FF2B5EF4-FFF2-40B4-BE49-F238E27FC236}">
                <a16:creationId xmlns:a16="http://schemas.microsoft.com/office/drawing/2014/main" id="{4217E76B-0A83-4084-2610-97D631679ABB}"/>
              </a:ext>
            </a:extLst>
          </p:cNvPr>
          <p:cNvCxnSpPr>
            <a:cxnSpLocks/>
            <a:stCxn id="1104" idx="4"/>
            <a:endCxn id="1109" idx="0"/>
          </p:cNvCxnSpPr>
          <p:nvPr/>
        </p:nvCxnSpPr>
        <p:spPr>
          <a:xfrm>
            <a:off x="7105294" y="4018435"/>
            <a:ext cx="0" cy="238259"/>
          </a:xfrm>
          <a:prstGeom prst="line">
            <a:avLst/>
          </a:prstGeom>
          <a:ln w="9525">
            <a:solidFill>
              <a:schemeClr val="bg1">
                <a:lumMod val="40000"/>
                <a:lumOff val="60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114" name="Straight Connector 1113">
            <a:extLst>
              <a:ext uri="{FF2B5EF4-FFF2-40B4-BE49-F238E27FC236}">
                <a16:creationId xmlns:a16="http://schemas.microsoft.com/office/drawing/2014/main" id="{B0D506C7-321B-E710-E970-AEB8007F4E82}"/>
              </a:ext>
            </a:extLst>
          </p:cNvPr>
          <p:cNvCxnSpPr>
            <a:cxnSpLocks/>
            <a:stCxn id="1104" idx="6"/>
            <a:endCxn id="1105" idx="2"/>
          </p:cNvCxnSpPr>
          <p:nvPr/>
        </p:nvCxnSpPr>
        <p:spPr>
          <a:xfrm>
            <a:off x="7177294" y="3946435"/>
            <a:ext cx="619682" cy="0"/>
          </a:xfrm>
          <a:prstGeom prst="line">
            <a:avLst/>
          </a:prstGeom>
          <a:ln w="9525">
            <a:solidFill>
              <a:schemeClr val="bg1">
                <a:lumMod val="40000"/>
                <a:lumOff val="60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115" name="Straight Connector 1114">
            <a:extLst>
              <a:ext uri="{FF2B5EF4-FFF2-40B4-BE49-F238E27FC236}">
                <a16:creationId xmlns:a16="http://schemas.microsoft.com/office/drawing/2014/main" id="{DA77E9D0-9BAE-8145-B96B-6FE1692A83CB}"/>
              </a:ext>
            </a:extLst>
          </p:cNvPr>
          <p:cNvCxnSpPr>
            <a:cxnSpLocks/>
            <a:stCxn id="1107" idx="6"/>
            <a:endCxn id="1105" idx="3"/>
          </p:cNvCxnSpPr>
          <p:nvPr/>
        </p:nvCxnSpPr>
        <p:spPr>
          <a:xfrm flipV="1">
            <a:off x="7558610" y="3997347"/>
            <a:ext cx="259454" cy="139953"/>
          </a:xfrm>
          <a:prstGeom prst="line">
            <a:avLst/>
          </a:prstGeom>
          <a:ln w="9525">
            <a:solidFill>
              <a:schemeClr val="bg1">
                <a:lumMod val="40000"/>
                <a:lumOff val="60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116" name="Straight Connector 1115">
            <a:extLst>
              <a:ext uri="{FF2B5EF4-FFF2-40B4-BE49-F238E27FC236}">
                <a16:creationId xmlns:a16="http://schemas.microsoft.com/office/drawing/2014/main" id="{56CD330D-EE9C-3A17-269B-59ED02EDCEDC}"/>
              </a:ext>
            </a:extLst>
          </p:cNvPr>
          <p:cNvCxnSpPr>
            <a:cxnSpLocks/>
            <a:stCxn id="1107" idx="5"/>
            <a:endCxn id="1110" idx="2"/>
          </p:cNvCxnSpPr>
          <p:nvPr/>
        </p:nvCxnSpPr>
        <p:spPr>
          <a:xfrm>
            <a:off x="7537522" y="4188212"/>
            <a:ext cx="259454" cy="140482"/>
          </a:xfrm>
          <a:prstGeom prst="line">
            <a:avLst/>
          </a:prstGeom>
          <a:ln w="9525">
            <a:solidFill>
              <a:schemeClr val="bg1">
                <a:lumMod val="40000"/>
                <a:lumOff val="60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117" name="Straight Connector 1116">
            <a:extLst>
              <a:ext uri="{FF2B5EF4-FFF2-40B4-BE49-F238E27FC236}">
                <a16:creationId xmlns:a16="http://schemas.microsoft.com/office/drawing/2014/main" id="{5101D36B-CA26-DBDA-8E0D-EE311AFCFBB4}"/>
              </a:ext>
            </a:extLst>
          </p:cNvPr>
          <p:cNvCxnSpPr>
            <a:cxnSpLocks/>
            <a:stCxn id="1109" idx="6"/>
            <a:endCxn id="1107" idx="3"/>
          </p:cNvCxnSpPr>
          <p:nvPr/>
        </p:nvCxnSpPr>
        <p:spPr>
          <a:xfrm flipV="1">
            <a:off x="7177294" y="4188212"/>
            <a:ext cx="258404" cy="140482"/>
          </a:xfrm>
          <a:prstGeom prst="line">
            <a:avLst/>
          </a:prstGeom>
          <a:ln w="9525">
            <a:solidFill>
              <a:schemeClr val="bg1">
                <a:lumMod val="40000"/>
                <a:lumOff val="60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118" name="Straight Connector 1117">
            <a:extLst>
              <a:ext uri="{FF2B5EF4-FFF2-40B4-BE49-F238E27FC236}">
                <a16:creationId xmlns:a16="http://schemas.microsoft.com/office/drawing/2014/main" id="{48A56CD9-757C-86D0-CFFD-F200C6535CFC}"/>
              </a:ext>
            </a:extLst>
          </p:cNvPr>
          <p:cNvCxnSpPr>
            <a:cxnSpLocks/>
            <a:stCxn id="1105" idx="6"/>
            <a:endCxn id="1106" idx="2"/>
          </p:cNvCxnSpPr>
          <p:nvPr/>
        </p:nvCxnSpPr>
        <p:spPr>
          <a:xfrm>
            <a:off x="7940976" y="3946435"/>
            <a:ext cx="619682" cy="0"/>
          </a:xfrm>
          <a:prstGeom prst="line">
            <a:avLst/>
          </a:prstGeom>
          <a:ln w="9525">
            <a:solidFill>
              <a:schemeClr val="bg1">
                <a:lumMod val="40000"/>
                <a:lumOff val="60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119" name="Straight Connector 1118">
            <a:extLst>
              <a:ext uri="{FF2B5EF4-FFF2-40B4-BE49-F238E27FC236}">
                <a16:creationId xmlns:a16="http://schemas.microsoft.com/office/drawing/2014/main" id="{078DF7E9-D133-8CE2-6CB4-6586E06CFC4C}"/>
              </a:ext>
            </a:extLst>
          </p:cNvPr>
          <p:cNvCxnSpPr>
            <a:cxnSpLocks/>
            <a:stCxn id="1107" idx="6"/>
            <a:endCxn id="1108" idx="2"/>
          </p:cNvCxnSpPr>
          <p:nvPr/>
        </p:nvCxnSpPr>
        <p:spPr>
          <a:xfrm>
            <a:off x="7558610" y="4137300"/>
            <a:ext cx="619682" cy="0"/>
          </a:xfrm>
          <a:prstGeom prst="line">
            <a:avLst/>
          </a:prstGeom>
          <a:ln w="9525">
            <a:solidFill>
              <a:schemeClr val="bg1">
                <a:lumMod val="40000"/>
                <a:lumOff val="60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120" name="Straight Connector 1119">
            <a:extLst>
              <a:ext uri="{FF2B5EF4-FFF2-40B4-BE49-F238E27FC236}">
                <a16:creationId xmlns:a16="http://schemas.microsoft.com/office/drawing/2014/main" id="{8CAEA2FC-6C5B-BB52-4EC9-C484788B1284}"/>
              </a:ext>
            </a:extLst>
          </p:cNvPr>
          <p:cNvCxnSpPr>
            <a:cxnSpLocks/>
            <a:stCxn id="1111" idx="1"/>
            <a:endCxn id="1108" idx="5"/>
          </p:cNvCxnSpPr>
          <p:nvPr/>
        </p:nvCxnSpPr>
        <p:spPr>
          <a:xfrm flipH="1" flipV="1">
            <a:off x="8301204" y="4188212"/>
            <a:ext cx="280542" cy="89570"/>
          </a:xfrm>
          <a:prstGeom prst="line">
            <a:avLst/>
          </a:prstGeom>
          <a:ln w="9525">
            <a:solidFill>
              <a:schemeClr val="bg1">
                <a:lumMod val="40000"/>
                <a:lumOff val="60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121" name="Straight Connector 1120">
            <a:extLst>
              <a:ext uri="{FF2B5EF4-FFF2-40B4-BE49-F238E27FC236}">
                <a16:creationId xmlns:a16="http://schemas.microsoft.com/office/drawing/2014/main" id="{0A300AC7-4A40-03AE-E17D-2F8E9471F1F9}"/>
              </a:ext>
            </a:extLst>
          </p:cNvPr>
          <p:cNvCxnSpPr>
            <a:cxnSpLocks/>
            <a:stCxn id="1108" idx="6"/>
          </p:cNvCxnSpPr>
          <p:nvPr/>
        </p:nvCxnSpPr>
        <p:spPr>
          <a:xfrm flipV="1">
            <a:off x="8322292" y="3969892"/>
            <a:ext cx="284910" cy="167408"/>
          </a:xfrm>
          <a:prstGeom prst="line">
            <a:avLst/>
          </a:prstGeom>
          <a:ln w="9525">
            <a:solidFill>
              <a:schemeClr val="bg1">
                <a:lumMod val="40000"/>
                <a:lumOff val="60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122" name="Straight Connector 1121">
            <a:extLst>
              <a:ext uri="{FF2B5EF4-FFF2-40B4-BE49-F238E27FC236}">
                <a16:creationId xmlns:a16="http://schemas.microsoft.com/office/drawing/2014/main" id="{2B360AE3-D946-39A3-DC5D-02A60EC3ABAE}"/>
              </a:ext>
            </a:extLst>
          </p:cNvPr>
          <p:cNvCxnSpPr>
            <a:cxnSpLocks/>
            <a:stCxn id="1111" idx="0"/>
            <a:endCxn id="1106" idx="4"/>
          </p:cNvCxnSpPr>
          <p:nvPr/>
        </p:nvCxnSpPr>
        <p:spPr>
          <a:xfrm flipV="1">
            <a:off x="8632658" y="4018435"/>
            <a:ext cx="0" cy="238259"/>
          </a:xfrm>
          <a:prstGeom prst="line">
            <a:avLst/>
          </a:prstGeom>
          <a:ln w="9525">
            <a:solidFill>
              <a:schemeClr val="bg1">
                <a:lumMod val="40000"/>
                <a:lumOff val="60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123" name="Straight Connector 1122">
            <a:extLst>
              <a:ext uri="{FF2B5EF4-FFF2-40B4-BE49-F238E27FC236}">
                <a16:creationId xmlns:a16="http://schemas.microsoft.com/office/drawing/2014/main" id="{9F400A7C-09C3-E95B-9A50-AD09824A205F}"/>
              </a:ext>
            </a:extLst>
          </p:cNvPr>
          <p:cNvCxnSpPr>
            <a:cxnSpLocks/>
            <a:stCxn id="1110" idx="6"/>
            <a:endCxn id="1108" idx="3"/>
          </p:cNvCxnSpPr>
          <p:nvPr/>
        </p:nvCxnSpPr>
        <p:spPr>
          <a:xfrm flipV="1">
            <a:off x="7940976" y="4188212"/>
            <a:ext cx="258404" cy="140482"/>
          </a:xfrm>
          <a:prstGeom prst="line">
            <a:avLst/>
          </a:prstGeom>
          <a:ln w="9525">
            <a:solidFill>
              <a:schemeClr val="bg1">
                <a:lumMod val="40000"/>
                <a:lumOff val="60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124" name="Straight Connector 1123">
            <a:extLst>
              <a:ext uri="{FF2B5EF4-FFF2-40B4-BE49-F238E27FC236}">
                <a16:creationId xmlns:a16="http://schemas.microsoft.com/office/drawing/2014/main" id="{86D775DC-F5EE-3BB0-1251-6A1323DD70E8}"/>
              </a:ext>
            </a:extLst>
          </p:cNvPr>
          <p:cNvCxnSpPr>
            <a:cxnSpLocks/>
            <a:stCxn id="1109" idx="6"/>
            <a:endCxn id="1110" idx="2"/>
          </p:cNvCxnSpPr>
          <p:nvPr/>
        </p:nvCxnSpPr>
        <p:spPr>
          <a:xfrm>
            <a:off x="7177294" y="4328694"/>
            <a:ext cx="619682" cy="0"/>
          </a:xfrm>
          <a:prstGeom prst="line">
            <a:avLst/>
          </a:prstGeom>
          <a:ln w="9525">
            <a:solidFill>
              <a:schemeClr val="bg1">
                <a:lumMod val="40000"/>
                <a:lumOff val="60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125" name="Straight Connector 1124">
            <a:extLst>
              <a:ext uri="{FF2B5EF4-FFF2-40B4-BE49-F238E27FC236}">
                <a16:creationId xmlns:a16="http://schemas.microsoft.com/office/drawing/2014/main" id="{67A6EEAC-EED3-4707-A9D9-960AABD1015C}"/>
              </a:ext>
            </a:extLst>
          </p:cNvPr>
          <p:cNvCxnSpPr>
            <a:cxnSpLocks/>
            <a:stCxn id="1105" idx="4"/>
            <a:endCxn id="1110" idx="0"/>
          </p:cNvCxnSpPr>
          <p:nvPr/>
        </p:nvCxnSpPr>
        <p:spPr>
          <a:xfrm>
            <a:off x="7868976" y="4018435"/>
            <a:ext cx="0" cy="238259"/>
          </a:xfrm>
          <a:prstGeom prst="line">
            <a:avLst/>
          </a:prstGeom>
          <a:ln w="9525">
            <a:solidFill>
              <a:schemeClr val="bg1">
                <a:lumMod val="40000"/>
                <a:lumOff val="60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126" name="Straight Connector 1125">
            <a:extLst>
              <a:ext uri="{FF2B5EF4-FFF2-40B4-BE49-F238E27FC236}">
                <a16:creationId xmlns:a16="http://schemas.microsoft.com/office/drawing/2014/main" id="{7F2EB809-EB00-B236-2380-4F67158740A0}"/>
              </a:ext>
            </a:extLst>
          </p:cNvPr>
          <p:cNvCxnSpPr>
            <a:cxnSpLocks/>
            <a:stCxn id="1110" idx="6"/>
            <a:endCxn id="1111" idx="2"/>
          </p:cNvCxnSpPr>
          <p:nvPr/>
        </p:nvCxnSpPr>
        <p:spPr>
          <a:xfrm>
            <a:off x="7940976" y="4328694"/>
            <a:ext cx="619682" cy="0"/>
          </a:xfrm>
          <a:prstGeom prst="line">
            <a:avLst/>
          </a:prstGeom>
          <a:ln w="9525">
            <a:solidFill>
              <a:schemeClr val="bg1">
                <a:lumMod val="40000"/>
                <a:lumOff val="60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sp>
        <p:nvSpPr>
          <p:cNvPr id="1127" name="Oval 1126">
            <a:extLst>
              <a:ext uri="{FF2B5EF4-FFF2-40B4-BE49-F238E27FC236}">
                <a16:creationId xmlns:a16="http://schemas.microsoft.com/office/drawing/2014/main" id="{2BEB180A-683E-3628-59DC-13374B23E08C}"/>
              </a:ext>
            </a:extLst>
          </p:cNvPr>
          <p:cNvSpPr/>
          <p:nvPr/>
        </p:nvSpPr>
        <p:spPr>
          <a:xfrm>
            <a:off x="9277786" y="3874435"/>
            <a:ext cx="144000" cy="144000"/>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200" b="1" noProof="0">
              <a:solidFill>
                <a:schemeClr val="tx1"/>
              </a:solidFill>
              <a:latin typeface="Proximus Bold" panose="00000500000000000000" pitchFamily="2" charset="0"/>
              <a:cs typeface="Proximus Bold"/>
            </a:endParaRPr>
          </a:p>
        </p:txBody>
      </p:sp>
      <p:sp>
        <p:nvSpPr>
          <p:cNvPr id="1128" name="Oval 1127">
            <a:extLst>
              <a:ext uri="{FF2B5EF4-FFF2-40B4-BE49-F238E27FC236}">
                <a16:creationId xmlns:a16="http://schemas.microsoft.com/office/drawing/2014/main" id="{648E6897-1C3F-AE0E-6327-1C73A4687859}"/>
              </a:ext>
            </a:extLst>
          </p:cNvPr>
          <p:cNvSpPr/>
          <p:nvPr/>
        </p:nvSpPr>
        <p:spPr>
          <a:xfrm>
            <a:off x="10041468" y="3874435"/>
            <a:ext cx="144000" cy="14400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200" b="1" noProof="0">
              <a:solidFill>
                <a:schemeClr val="tx1"/>
              </a:solidFill>
              <a:latin typeface="Proximus Bold" panose="00000500000000000000" pitchFamily="2" charset="0"/>
              <a:cs typeface="Proximus Bold"/>
            </a:endParaRPr>
          </a:p>
        </p:txBody>
      </p:sp>
      <p:sp>
        <p:nvSpPr>
          <p:cNvPr id="1129" name="Oval 1128">
            <a:extLst>
              <a:ext uri="{FF2B5EF4-FFF2-40B4-BE49-F238E27FC236}">
                <a16:creationId xmlns:a16="http://schemas.microsoft.com/office/drawing/2014/main" id="{1F632F47-3964-CBB8-13F1-7BF8C7CC2C11}"/>
              </a:ext>
            </a:extLst>
          </p:cNvPr>
          <p:cNvSpPr/>
          <p:nvPr/>
        </p:nvSpPr>
        <p:spPr>
          <a:xfrm>
            <a:off x="10805150" y="3874435"/>
            <a:ext cx="144000" cy="144000"/>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200" b="1" noProof="0">
              <a:solidFill>
                <a:schemeClr val="tx1"/>
              </a:solidFill>
              <a:latin typeface="Proximus Bold" panose="00000500000000000000" pitchFamily="2" charset="0"/>
              <a:cs typeface="Proximus Bold"/>
            </a:endParaRPr>
          </a:p>
        </p:txBody>
      </p:sp>
      <p:sp>
        <p:nvSpPr>
          <p:cNvPr id="1130" name="Oval 1129">
            <a:extLst>
              <a:ext uri="{FF2B5EF4-FFF2-40B4-BE49-F238E27FC236}">
                <a16:creationId xmlns:a16="http://schemas.microsoft.com/office/drawing/2014/main" id="{67400BC8-64CB-9603-D8B9-F32C007E3C36}"/>
              </a:ext>
            </a:extLst>
          </p:cNvPr>
          <p:cNvSpPr/>
          <p:nvPr/>
        </p:nvSpPr>
        <p:spPr>
          <a:xfrm>
            <a:off x="9659102" y="4065300"/>
            <a:ext cx="144000" cy="144000"/>
          </a:xfrm>
          <a:prstGeom prst="ellipse">
            <a:avLst/>
          </a:prstGeom>
          <a:solidFill>
            <a:schemeClr val="bg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200" b="1" noProof="0">
              <a:solidFill>
                <a:schemeClr val="tx1"/>
              </a:solidFill>
              <a:latin typeface="Proximus Bold" panose="00000500000000000000" pitchFamily="2" charset="0"/>
              <a:cs typeface="Proximus Bold"/>
            </a:endParaRPr>
          </a:p>
        </p:txBody>
      </p:sp>
      <p:sp>
        <p:nvSpPr>
          <p:cNvPr id="1131" name="Oval 1130">
            <a:extLst>
              <a:ext uri="{FF2B5EF4-FFF2-40B4-BE49-F238E27FC236}">
                <a16:creationId xmlns:a16="http://schemas.microsoft.com/office/drawing/2014/main" id="{CD751B34-441B-4782-7627-F49DF76F8DD2}"/>
              </a:ext>
            </a:extLst>
          </p:cNvPr>
          <p:cNvSpPr/>
          <p:nvPr/>
        </p:nvSpPr>
        <p:spPr>
          <a:xfrm>
            <a:off x="10422784" y="4065300"/>
            <a:ext cx="144000" cy="144000"/>
          </a:xfrm>
          <a:prstGeom prst="ellipse">
            <a:avLst/>
          </a:prstGeom>
          <a:solidFill>
            <a:schemeClr val="accent3">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200" b="1" noProof="0">
              <a:solidFill>
                <a:schemeClr val="tx1"/>
              </a:solidFill>
              <a:latin typeface="Proximus Bold" panose="00000500000000000000" pitchFamily="2" charset="0"/>
              <a:cs typeface="Proximus Bold"/>
            </a:endParaRPr>
          </a:p>
        </p:txBody>
      </p:sp>
      <p:sp>
        <p:nvSpPr>
          <p:cNvPr id="1132" name="Oval 1131">
            <a:extLst>
              <a:ext uri="{FF2B5EF4-FFF2-40B4-BE49-F238E27FC236}">
                <a16:creationId xmlns:a16="http://schemas.microsoft.com/office/drawing/2014/main" id="{40D0A1C3-4341-8789-907F-FF1D41679644}"/>
              </a:ext>
            </a:extLst>
          </p:cNvPr>
          <p:cNvSpPr/>
          <p:nvPr/>
        </p:nvSpPr>
        <p:spPr>
          <a:xfrm>
            <a:off x="9277786" y="4256694"/>
            <a:ext cx="144000" cy="144000"/>
          </a:xfrm>
          <a:prstGeom prst="ellipse">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200" b="1" noProof="0">
              <a:solidFill>
                <a:schemeClr val="tx1"/>
              </a:solidFill>
              <a:latin typeface="Proximus Bold" panose="00000500000000000000" pitchFamily="2" charset="0"/>
              <a:cs typeface="Proximus Bold"/>
            </a:endParaRPr>
          </a:p>
        </p:txBody>
      </p:sp>
      <p:sp>
        <p:nvSpPr>
          <p:cNvPr id="1133" name="Oval 1132">
            <a:extLst>
              <a:ext uri="{FF2B5EF4-FFF2-40B4-BE49-F238E27FC236}">
                <a16:creationId xmlns:a16="http://schemas.microsoft.com/office/drawing/2014/main" id="{1B2206F1-2F02-BEB4-8DA9-70E139811204}"/>
              </a:ext>
            </a:extLst>
          </p:cNvPr>
          <p:cNvSpPr/>
          <p:nvPr/>
        </p:nvSpPr>
        <p:spPr>
          <a:xfrm>
            <a:off x="10041468" y="4256694"/>
            <a:ext cx="144000" cy="144000"/>
          </a:xfrm>
          <a:prstGeom prst="ellipse">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200" b="1" noProof="0">
              <a:solidFill>
                <a:schemeClr val="tx1"/>
              </a:solidFill>
              <a:latin typeface="Proximus Bold" panose="00000500000000000000" pitchFamily="2" charset="0"/>
              <a:cs typeface="Proximus Bold"/>
            </a:endParaRPr>
          </a:p>
        </p:txBody>
      </p:sp>
      <p:sp>
        <p:nvSpPr>
          <p:cNvPr id="1134" name="Oval 1133">
            <a:extLst>
              <a:ext uri="{FF2B5EF4-FFF2-40B4-BE49-F238E27FC236}">
                <a16:creationId xmlns:a16="http://schemas.microsoft.com/office/drawing/2014/main" id="{96281874-B4DE-61E1-A037-BCFC4D5C4A37}"/>
              </a:ext>
            </a:extLst>
          </p:cNvPr>
          <p:cNvSpPr/>
          <p:nvPr/>
        </p:nvSpPr>
        <p:spPr>
          <a:xfrm>
            <a:off x="10805150" y="4256694"/>
            <a:ext cx="144000" cy="1440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200" b="1" noProof="0">
              <a:solidFill>
                <a:schemeClr val="tx1"/>
              </a:solidFill>
              <a:latin typeface="Proximus Bold" panose="00000500000000000000" pitchFamily="2" charset="0"/>
              <a:cs typeface="Proximus Bold"/>
            </a:endParaRPr>
          </a:p>
        </p:txBody>
      </p:sp>
      <p:cxnSp>
        <p:nvCxnSpPr>
          <p:cNvPr id="1135" name="Straight Connector 1134">
            <a:extLst>
              <a:ext uri="{FF2B5EF4-FFF2-40B4-BE49-F238E27FC236}">
                <a16:creationId xmlns:a16="http://schemas.microsoft.com/office/drawing/2014/main" id="{B92C9507-6F3E-74B6-FD08-02F5602C9B34}"/>
              </a:ext>
            </a:extLst>
          </p:cNvPr>
          <p:cNvCxnSpPr>
            <a:stCxn id="1127" idx="5"/>
            <a:endCxn id="1130" idx="2"/>
          </p:cNvCxnSpPr>
          <p:nvPr/>
        </p:nvCxnSpPr>
        <p:spPr>
          <a:xfrm>
            <a:off x="9400698" y="3997347"/>
            <a:ext cx="258404" cy="139953"/>
          </a:xfrm>
          <a:prstGeom prst="line">
            <a:avLst/>
          </a:prstGeom>
          <a:ln w="9525">
            <a:solidFill>
              <a:schemeClr val="bg1">
                <a:lumMod val="40000"/>
                <a:lumOff val="60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136" name="Straight Connector 1135">
            <a:extLst>
              <a:ext uri="{FF2B5EF4-FFF2-40B4-BE49-F238E27FC236}">
                <a16:creationId xmlns:a16="http://schemas.microsoft.com/office/drawing/2014/main" id="{EF26156C-5DD7-A259-A071-322A4A974ACD}"/>
              </a:ext>
            </a:extLst>
          </p:cNvPr>
          <p:cNvCxnSpPr>
            <a:cxnSpLocks/>
            <a:stCxn id="1127" idx="4"/>
            <a:endCxn id="1132" idx="0"/>
          </p:cNvCxnSpPr>
          <p:nvPr/>
        </p:nvCxnSpPr>
        <p:spPr>
          <a:xfrm>
            <a:off x="9349786" y="4018435"/>
            <a:ext cx="0" cy="238259"/>
          </a:xfrm>
          <a:prstGeom prst="line">
            <a:avLst/>
          </a:prstGeom>
          <a:ln w="9525">
            <a:solidFill>
              <a:schemeClr val="bg1">
                <a:lumMod val="40000"/>
                <a:lumOff val="60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137" name="Straight Connector 1136">
            <a:extLst>
              <a:ext uri="{FF2B5EF4-FFF2-40B4-BE49-F238E27FC236}">
                <a16:creationId xmlns:a16="http://schemas.microsoft.com/office/drawing/2014/main" id="{FDA92BEA-ED09-6364-D3A5-2D64F09D1D0F}"/>
              </a:ext>
            </a:extLst>
          </p:cNvPr>
          <p:cNvCxnSpPr>
            <a:cxnSpLocks/>
            <a:stCxn id="1127" idx="6"/>
            <a:endCxn id="1128" idx="2"/>
          </p:cNvCxnSpPr>
          <p:nvPr/>
        </p:nvCxnSpPr>
        <p:spPr>
          <a:xfrm>
            <a:off x="9421786" y="3946435"/>
            <a:ext cx="619682" cy="0"/>
          </a:xfrm>
          <a:prstGeom prst="line">
            <a:avLst/>
          </a:prstGeom>
          <a:ln w="9525">
            <a:solidFill>
              <a:schemeClr val="bg1">
                <a:lumMod val="40000"/>
                <a:lumOff val="60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138" name="Straight Connector 1137">
            <a:extLst>
              <a:ext uri="{FF2B5EF4-FFF2-40B4-BE49-F238E27FC236}">
                <a16:creationId xmlns:a16="http://schemas.microsoft.com/office/drawing/2014/main" id="{79676C6F-046E-3555-D28F-EB7203911DDB}"/>
              </a:ext>
            </a:extLst>
          </p:cNvPr>
          <p:cNvCxnSpPr>
            <a:cxnSpLocks/>
            <a:stCxn id="1130" idx="6"/>
            <a:endCxn id="1128" idx="3"/>
          </p:cNvCxnSpPr>
          <p:nvPr/>
        </p:nvCxnSpPr>
        <p:spPr>
          <a:xfrm flipV="1">
            <a:off x="9803102" y="3997347"/>
            <a:ext cx="259454" cy="139953"/>
          </a:xfrm>
          <a:prstGeom prst="line">
            <a:avLst/>
          </a:prstGeom>
          <a:ln w="9525">
            <a:solidFill>
              <a:schemeClr val="bg1">
                <a:lumMod val="40000"/>
                <a:lumOff val="60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139" name="Straight Connector 1138">
            <a:extLst>
              <a:ext uri="{FF2B5EF4-FFF2-40B4-BE49-F238E27FC236}">
                <a16:creationId xmlns:a16="http://schemas.microsoft.com/office/drawing/2014/main" id="{0EF4FBFE-A520-D918-E529-6C4B9B282D6E}"/>
              </a:ext>
            </a:extLst>
          </p:cNvPr>
          <p:cNvCxnSpPr>
            <a:cxnSpLocks/>
            <a:stCxn id="1130" idx="5"/>
            <a:endCxn id="1133" idx="2"/>
          </p:cNvCxnSpPr>
          <p:nvPr/>
        </p:nvCxnSpPr>
        <p:spPr>
          <a:xfrm>
            <a:off x="9782014" y="4188212"/>
            <a:ext cx="259454" cy="140482"/>
          </a:xfrm>
          <a:prstGeom prst="line">
            <a:avLst/>
          </a:prstGeom>
          <a:ln w="9525">
            <a:solidFill>
              <a:schemeClr val="bg1">
                <a:lumMod val="40000"/>
                <a:lumOff val="60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140" name="Straight Connector 1139">
            <a:extLst>
              <a:ext uri="{FF2B5EF4-FFF2-40B4-BE49-F238E27FC236}">
                <a16:creationId xmlns:a16="http://schemas.microsoft.com/office/drawing/2014/main" id="{08BE931F-7F12-E941-0478-3DC95BB71128}"/>
              </a:ext>
            </a:extLst>
          </p:cNvPr>
          <p:cNvCxnSpPr>
            <a:cxnSpLocks/>
            <a:stCxn id="1132" idx="6"/>
            <a:endCxn id="1130" idx="3"/>
          </p:cNvCxnSpPr>
          <p:nvPr/>
        </p:nvCxnSpPr>
        <p:spPr>
          <a:xfrm flipV="1">
            <a:off x="9421786" y="4188212"/>
            <a:ext cx="258404" cy="140482"/>
          </a:xfrm>
          <a:prstGeom prst="line">
            <a:avLst/>
          </a:prstGeom>
          <a:ln w="9525">
            <a:solidFill>
              <a:schemeClr val="bg1">
                <a:lumMod val="40000"/>
                <a:lumOff val="60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141" name="Straight Connector 1140">
            <a:extLst>
              <a:ext uri="{FF2B5EF4-FFF2-40B4-BE49-F238E27FC236}">
                <a16:creationId xmlns:a16="http://schemas.microsoft.com/office/drawing/2014/main" id="{586C8643-FEF3-7FA5-9CB5-EB91355AB0B9}"/>
              </a:ext>
            </a:extLst>
          </p:cNvPr>
          <p:cNvCxnSpPr>
            <a:cxnSpLocks/>
            <a:stCxn id="1128" idx="6"/>
            <a:endCxn id="1129" idx="2"/>
          </p:cNvCxnSpPr>
          <p:nvPr/>
        </p:nvCxnSpPr>
        <p:spPr>
          <a:xfrm>
            <a:off x="10185468" y="3946435"/>
            <a:ext cx="619682" cy="0"/>
          </a:xfrm>
          <a:prstGeom prst="line">
            <a:avLst/>
          </a:prstGeom>
          <a:ln w="9525">
            <a:solidFill>
              <a:schemeClr val="bg1">
                <a:lumMod val="40000"/>
                <a:lumOff val="60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142" name="Straight Connector 1141">
            <a:extLst>
              <a:ext uri="{FF2B5EF4-FFF2-40B4-BE49-F238E27FC236}">
                <a16:creationId xmlns:a16="http://schemas.microsoft.com/office/drawing/2014/main" id="{DEFE2062-2DFE-0559-52CB-9C555FBEFE0A}"/>
              </a:ext>
            </a:extLst>
          </p:cNvPr>
          <p:cNvCxnSpPr>
            <a:cxnSpLocks/>
            <a:stCxn id="1130" idx="6"/>
            <a:endCxn id="1131" idx="2"/>
          </p:cNvCxnSpPr>
          <p:nvPr/>
        </p:nvCxnSpPr>
        <p:spPr>
          <a:xfrm>
            <a:off x="9803102" y="4137300"/>
            <a:ext cx="619682" cy="0"/>
          </a:xfrm>
          <a:prstGeom prst="line">
            <a:avLst/>
          </a:prstGeom>
          <a:ln w="9525">
            <a:solidFill>
              <a:schemeClr val="bg1">
                <a:lumMod val="40000"/>
                <a:lumOff val="60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143" name="Straight Connector 1142">
            <a:extLst>
              <a:ext uri="{FF2B5EF4-FFF2-40B4-BE49-F238E27FC236}">
                <a16:creationId xmlns:a16="http://schemas.microsoft.com/office/drawing/2014/main" id="{31EEE05F-9FC6-D0D6-BA5D-8737261EA80E}"/>
              </a:ext>
            </a:extLst>
          </p:cNvPr>
          <p:cNvCxnSpPr>
            <a:cxnSpLocks/>
            <a:stCxn id="1134" idx="1"/>
            <a:endCxn id="1131" idx="5"/>
          </p:cNvCxnSpPr>
          <p:nvPr/>
        </p:nvCxnSpPr>
        <p:spPr>
          <a:xfrm flipH="1" flipV="1">
            <a:off x="10545696" y="4188212"/>
            <a:ext cx="280542" cy="89570"/>
          </a:xfrm>
          <a:prstGeom prst="line">
            <a:avLst/>
          </a:prstGeom>
          <a:ln w="9525">
            <a:solidFill>
              <a:schemeClr val="bg1">
                <a:lumMod val="40000"/>
                <a:lumOff val="60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144" name="Straight Connector 1143">
            <a:extLst>
              <a:ext uri="{FF2B5EF4-FFF2-40B4-BE49-F238E27FC236}">
                <a16:creationId xmlns:a16="http://schemas.microsoft.com/office/drawing/2014/main" id="{78A96D26-748F-5AC3-2C75-3BB4CA48DF1A}"/>
              </a:ext>
            </a:extLst>
          </p:cNvPr>
          <p:cNvCxnSpPr>
            <a:cxnSpLocks/>
            <a:stCxn id="1131" idx="7"/>
            <a:endCxn id="1129" idx="3"/>
          </p:cNvCxnSpPr>
          <p:nvPr/>
        </p:nvCxnSpPr>
        <p:spPr>
          <a:xfrm flipV="1">
            <a:off x="10545696" y="3997347"/>
            <a:ext cx="280542" cy="89041"/>
          </a:xfrm>
          <a:prstGeom prst="line">
            <a:avLst/>
          </a:prstGeom>
          <a:ln w="9525">
            <a:solidFill>
              <a:schemeClr val="bg1">
                <a:lumMod val="40000"/>
                <a:lumOff val="60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145" name="Straight Connector 1144">
            <a:extLst>
              <a:ext uri="{FF2B5EF4-FFF2-40B4-BE49-F238E27FC236}">
                <a16:creationId xmlns:a16="http://schemas.microsoft.com/office/drawing/2014/main" id="{02497924-FF2C-B943-61B7-1378A75A33FF}"/>
              </a:ext>
            </a:extLst>
          </p:cNvPr>
          <p:cNvCxnSpPr>
            <a:cxnSpLocks/>
            <a:stCxn id="1134" idx="0"/>
            <a:endCxn id="1129" idx="4"/>
          </p:cNvCxnSpPr>
          <p:nvPr/>
        </p:nvCxnSpPr>
        <p:spPr>
          <a:xfrm flipV="1">
            <a:off x="10877150" y="4018435"/>
            <a:ext cx="0" cy="238259"/>
          </a:xfrm>
          <a:prstGeom prst="line">
            <a:avLst/>
          </a:prstGeom>
          <a:ln w="9525">
            <a:solidFill>
              <a:schemeClr val="bg1">
                <a:lumMod val="40000"/>
                <a:lumOff val="60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146" name="Straight Connector 1145">
            <a:extLst>
              <a:ext uri="{FF2B5EF4-FFF2-40B4-BE49-F238E27FC236}">
                <a16:creationId xmlns:a16="http://schemas.microsoft.com/office/drawing/2014/main" id="{8DB27927-CD92-A548-75D9-D164F4FDADB2}"/>
              </a:ext>
            </a:extLst>
          </p:cNvPr>
          <p:cNvCxnSpPr>
            <a:cxnSpLocks/>
            <a:stCxn id="1133" idx="6"/>
            <a:endCxn id="1131" idx="3"/>
          </p:cNvCxnSpPr>
          <p:nvPr/>
        </p:nvCxnSpPr>
        <p:spPr>
          <a:xfrm flipV="1">
            <a:off x="10185468" y="4188212"/>
            <a:ext cx="258404" cy="140482"/>
          </a:xfrm>
          <a:prstGeom prst="line">
            <a:avLst/>
          </a:prstGeom>
          <a:ln w="9525">
            <a:solidFill>
              <a:schemeClr val="bg1">
                <a:lumMod val="40000"/>
                <a:lumOff val="60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147" name="Straight Connector 1146">
            <a:extLst>
              <a:ext uri="{FF2B5EF4-FFF2-40B4-BE49-F238E27FC236}">
                <a16:creationId xmlns:a16="http://schemas.microsoft.com/office/drawing/2014/main" id="{BB2C444D-5932-9E8C-41A6-788162ACAC76}"/>
              </a:ext>
            </a:extLst>
          </p:cNvPr>
          <p:cNvCxnSpPr>
            <a:cxnSpLocks/>
            <a:stCxn id="1132" idx="6"/>
            <a:endCxn id="1133" idx="2"/>
          </p:cNvCxnSpPr>
          <p:nvPr/>
        </p:nvCxnSpPr>
        <p:spPr>
          <a:xfrm>
            <a:off x="9421786" y="4328694"/>
            <a:ext cx="619682" cy="0"/>
          </a:xfrm>
          <a:prstGeom prst="line">
            <a:avLst/>
          </a:prstGeom>
          <a:ln w="9525">
            <a:solidFill>
              <a:schemeClr val="bg1">
                <a:lumMod val="40000"/>
                <a:lumOff val="60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148" name="Straight Connector 1147">
            <a:extLst>
              <a:ext uri="{FF2B5EF4-FFF2-40B4-BE49-F238E27FC236}">
                <a16:creationId xmlns:a16="http://schemas.microsoft.com/office/drawing/2014/main" id="{C29CBC6D-F369-D506-E589-8E819E3CBD67}"/>
              </a:ext>
            </a:extLst>
          </p:cNvPr>
          <p:cNvCxnSpPr>
            <a:cxnSpLocks/>
            <a:stCxn id="1128" idx="4"/>
            <a:endCxn id="1133" idx="0"/>
          </p:cNvCxnSpPr>
          <p:nvPr/>
        </p:nvCxnSpPr>
        <p:spPr>
          <a:xfrm>
            <a:off x="10113468" y="4018435"/>
            <a:ext cx="0" cy="238259"/>
          </a:xfrm>
          <a:prstGeom prst="line">
            <a:avLst/>
          </a:prstGeom>
          <a:ln w="9525">
            <a:solidFill>
              <a:schemeClr val="bg1">
                <a:lumMod val="40000"/>
                <a:lumOff val="60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149" name="Straight Connector 1148">
            <a:extLst>
              <a:ext uri="{FF2B5EF4-FFF2-40B4-BE49-F238E27FC236}">
                <a16:creationId xmlns:a16="http://schemas.microsoft.com/office/drawing/2014/main" id="{F6A6F171-A87A-FC93-7372-EA3FD1A7B8C7}"/>
              </a:ext>
            </a:extLst>
          </p:cNvPr>
          <p:cNvCxnSpPr>
            <a:cxnSpLocks/>
            <a:stCxn id="1133" idx="6"/>
            <a:endCxn id="1134" idx="2"/>
          </p:cNvCxnSpPr>
          <p:nvPr/>
        </p:nvCxnSpPr>
        <p:spPr>
          <a:xfrm>
            <a:off x="10185468" y="4328694"/>
            <a:ext cx="619682" cy="0"/>
          </a:xfrm>
          <a:prstGeom prst="line">
            <a:avLst/>
          </a:prstGeom>
          <a:ln w="9525">
            <a:solidFill>
              <a:schemeClr val="bg1">
                <a:lumMod val="40000"/>
                <a:lumOff val="60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150" name="Straight Connector 1149">
            <a:extLst>
              <a:ext uri="{FF2B5EF4-FFF2-40B4-BE49-F238E27FC236}">
                <a16:creationId xmlns:a16="http://schemas.microsoft.com/office/drawing/2014/main" id="{F50A1ADC-9F61-EFAE-BD56-0703DB8D628C}"/>
              </a:ext>
            </a:extLst>
          </p:cNvPr>
          <p:cNvCxnSpPr>
            <a:cxnSpLocks/>
            <a:stCxn id="1108" idx="2"/>
            <a:endCxn id="1105" idx="5"/>
          </p:cNvCxnSpPr>
          <p:nvPr/>
        </p:nvCxnSpPr>
        <p:spPr>
          <a:xfrm flipH="1" flipV="1">
            <a:off x="7919888" y="3997347"/>
            <a:ext cx="258404" cy="139953"/>
          </a:xfrm>
          <a:prstGeom prst="line">
            <a:avLst/>
          </a:prstGeom>
          <a:ln w="9525">
            <a:solidFill>
              <a:schemeClr val="bg1">
                <a:lumMod val="40000"/>
                <a:lumOff val="60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151" name="Straight Connector 1150">
            <a:extLst>
              <a:ext uri="{FF2B5EF4-FFF2-40B4-BE49-F238E27FC236}">
                <a16:creationId xmlns:a16="http://schemas.microsoft.com/office/drawing/2014/main" id="{56F57E44-DA50-61F4-C515-9E0CC14BBF99}"/>
              </a:ext>
            </a:extLst>
          </p:cNvPr>
          <p:cNvCxnSpPr>
            <a:cxnSpLocks/>
            <a:stCxn id="1132" idx="2"/>
            <a:endCxn id="1106" idx="6"/>
          </p:cNvCxnSpPr>
          <p:nvPr/>
        </p:nvCxnSpPr>
        <p:spPr>
          <a:xfrm flipH="1" flipV="1">
            <a:off x="8704658" y="3946435"/>
            <a:ext cx="573128" cy="382259"/>
          </a:xfrm>
          <a:prstGeom prst="line">
            <a:avLst/>
          </a:prstGeom>
          <a:ln w="9525">
            <a:solidFill>
              <a:schemeClr val="bg1">
                <a:lumMod val="40000"/>
                <a:lumOff val="60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152" name="Straight Connector 1151">
            <a:extLst>
              <a:ext uri="{FF2B5EF4-FFF2-40B4-BE49-F238E27FC236}">
                <a16:creationId xmlns:a16="http://schemas.microsoft.com/office/drawing/2014/main" id="{2F484B31-CFC0-5D41-E4CB-C753816B0660}"/>
              </a:ext>
            </a:extLst>
          </p:cNvPr>
          <p:cNvCxnSpPr>
            <a:cxnSpLocks/>
            <a:stCxn id="1127" idx="2"/>
            <a:endCxn id="1111" idx="6"/>
          </p:cNvCxnSpPr>
          <p:nvPr/>
        </p:nvCxnSpPr>
        <p:spPr>
          <a:xfrm flipH="1">
            <a:off x="8704658" y="3946435"/>
            <a:ext cx="573128" cy="382259"/>
          </a:xfrm>
          <a:prstGeom prst="line">
            <a:avLst/>
          </a:prstGeom>
          <a:ln w="9525">
            <a:solidFill>
              <a:schemeClr val="bg1">
                <a:lumMod val="40000"/>
                <a:lumOff val="60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153" name="Straight Connector 1152">
            <a:extLst>
              <a:ext uri="{FF2B5EF4-FFF2-40B4-BE49-F238E27FC236}">
                <a16:creationId xmlns:a16="http://schemas.microsoft.com/office/drawing/2014/main" id="{5A0FC4D9-5A6A-1E88-AB1C-E9982048B931}"/>
              </a:ext>
            </a:extLst>
          </p:cNvPr>
          <p:cNvCxnSpPr>
            <a:cxnSpLocks/>
            <a:stCxn id="1130" idx="2"/>
            <a:endCxn id="1108" idx="6"/>
          </p:cNvCxnSpPr>
          <p:nvPr/>
        </p:nvCxnSpPr>
        <p:spPr>
          <a:xfrm flipH="1">
            <a:off x="8322292" y="4137300"/>
            <a:ext cx="1336810" cy="0"/>
          </a:xfrm>
          <a:prstGeom prst="line">
            <a:avLst/>
          </a:prstGeom>
          <a:ln w="9525">
            <a:solidFill>
              <a:schemeClr val="bg1">
                <a:lumMod val="40000"/>
                <a:lumOff val="60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154" name="Straight Connector 1153">
            <a:extLst>
              <a:ext uri="{FF2B5EF4-FFF2-40B4-BE49-F238E27FC236}">
                <a16:creationId xmlns:a16="http://schemas.microsoft.com/office/drawing/2014/main" id="{4DB87B3F-75A7-4C64-BC69-AA1661A45156}"/>
              </a:ext>
            </a:extLst>
          </p:cNvPr>
          <p:cNvCxnSpPr>
            <a:cxnSpLocks/>
            <a:stCxn id="1106" idx="6"/>
            <a:endCxn id="1127" idx="2"/>
          </p:cNvCxnSpPr>
          <p:nvPr/>
        </p:nvCxnSpPr>
        <p:spPr>
          <a:xfrm>
            <a:off x="8704658" y="3946435"/>
            <a:ext cx="573128" cy="0"/>
          </a:xfrm>
          <a:prstGeom prst="line">
            <a:avLst/>
          </a:prstGeom>
          <a:ln w="9525">
            <a:solidFill>
              <a:schemeClr val="bg1">
                <a:lumMod val="40000"/>
                <a:lumOff val="60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155" name="Straight Connector 1154">
            <a:extLst>
              <a:ext uri="{FF2B5EF4-FFF2-40B4-BE49-F238E27FC236}">
                <a16:creationId xmlns:a16="http://schemas.microsoft.com/office/drawing/2014/main" id="{AA6D5C49-36FE-9576-51E5-A32FD809ED48}"/>
              </a:ext>
            </a:extLst>
          </p:cNvPr>
          <p:cNvCxnSpPr>
            <a:cxnSpLocks/>
            <a:stCxn id="1111" idx="6"/>
            <a:endCxn id="1132" idx="2"/>
          </p:cNvCxnSpPr>
          <p:nvPr/>
        </p:nvCxnSpPr>
        <p:spPr>
          <a:xfrm>
            <a:off x="8704658" y="4328694"/>
            <a:ext cx="573128" cy="0"/>
          </a:xfrm>
          <a:prstGeom prst="line">
            <a:avLst/>
          </a:prstGeom>
          <a:ln w="9525">
            <a:solidFill>
              <a:schemeClr val="bg1">
                <a:lumMod val="40000"/>
                <a:lumOff val="60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156" name="Straight Connector 1155">
            <a:extLst>
              <a:ext uri="{FF2B5EF4-FFF2-40B4-BE49-F238E27FC236}">
                <a16:creationId xmlns:a16="http://schemas.microsoft.com/office/drawing/2014/main" id="{6E22BC29-222F-84DF-EA19-C5606E6ECE92}"/>
              </a:ext>
            </a:extLst>
          </p:cNvPr>
          <p:cNvCxnSpPr>
            <a:cxnSpLocks/>
            <a:stCxn id="1128" idx="5"/>
          </p:cNvCxnSpPr>
          <p:nvPr/>
        </p:nvCxnSpPr>
        <p:spPr>
          <a:xfrm>
            <a:off x="10164380" y="3997347"/>
            <a:ext cx="233116" cy="122425"/>
          </a:xfrm>
          <a:prstGeom prst="line">
            <a:avLst/>
          </a:prstGeom>
          <a:ln w="9525">
            <a:solidFill>
              <a:schemeClr val="bg1">
                <a:lumMod val="40000"/>
                <a:lumOff val="60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sp>
        <p:nvSpPr>
          <p:cNvPr id="1157" name="Oval 1156">
            <a:extLst>
              <a:ext uri="{FF2B5EF4-FFF2-40B4-BE49-F238E27FC236}">
                <a16:creationId xmlns:a16="http://schemas.microsoft.com/office/drawing/2014/main" id="{BAB9892A-8E97-9827-2235-BD15CC3CA682}"/>
              </a:ext>
            </a:extLst>
          </p:cNvPr>
          <p:cNvSpPr/>
          <p:nvPr/>
        </p:nvSpPr>
        <p:spPr>
          <a:xfrm>
            <a:off x="11232066" y="4059981"/>
            <a:ext cx="144000" cy="144000"/>
          </a:xfrm>
          <a:prstGeom prst="ellipse">
            <a:avLst/>
          </a:prstGeom>
          <a:solidFill>
            <a:schemeClr val="bg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200" b="1" noProof="0">
              <a:solidFill>
                <a:schemeClr val="tx1"/>
              </a:solidFill>
              <a:latin typeface="Proximus Bold" panose="00000500000000000000" pitchFamily="2" charset="0"/>
              <a:cs typeface="Proximus Bold"/>
            </a:endParaRPr>
          </a:p>
        </p:txBody>
      </p:sp>
      <p:cxnSp>
        <p:nvCxnSpPr>
          <p:cNvPr id="1158" name="Straight Connector 1157">
            <a:extLst>
              <a:ext uri="{FF2B5EF4-FFF2-40B4-BE49-F238E27FC236}">
                <a16:creationId xmlns:a16="http://schemas.microsoft.com/office/drawing/2014/main" id="{8FEC8EF6-7FBD-39F8-DE5C-E41A7B7C3372}"/>
              </a:ext>
            </a:extLst>
          </p:cNvPr>
          <p:cNvCxnSpPr>
            <a:cxnSpLocks/>
            <a:stCxn id="1157" idx="2"/>
            <a:endCxn id="1129" idx="5"/>
          </p:cNvCxnSpPr>
          <p:nvPr/>
        </p:nvCxnSpPr>
        <p:spPr>
          <a:xfrm flipH="1" flipV="1">
            <a:off x="10928062" y="3997347"/>
            <a:ext cx="304004" cy="134634"/>
          </a:xfrm>
          <a:prstGeom prst="line">
            <a:avLst/>
          </a:prstGeom>
          <a:ln w="9525">
            <a:solidFill>
              <a:schemeClr val="bg1">
                <a:lumMod val="40000"/>
                <a:lumOff val="60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159" name="Straight Connector 1158">
            <a:extLst>
              <a:ext uri="{FF2B5EF4-FFF2-40B4-BE49-F238E27FC236}">
                <a16:creationId xmlns:a16="http://schemas.microsoft.com/office/drawing/2014/main" id="{7F561832-9481-1380-8EE8-2A7E1F1354C1}"/>
              </a:ext>
            </a:extLst>
          </p:cNvPr>
          <p:cNvCxnSpPr>
            <a:cxnSpLocks/>
            <a:stCxn id="1131" idx="6"/>
            <a:endCxn id="1157" idx="2"/>
          </p:cNvCxnSpPr>
          <p:nvPr/>
        </p:nvCxnSpPr>
        <p:spPr>
          <a:xfrm flipV="1">
            <a:off x="10566784" y="4131981"/>
            <a:ext cx="665282" cy="5319"/>
          </a:xfrm>
          <a:prstGeom prst="line">
            <a:avLst/>
          </a:prstGeom>
          <a:ln w="9525">
            <a:solidFill>
              <a:schemeClr val="bg1">
                <a:lumMod val="40000"/>
                <a:lumOff val="60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160" name="Straight Connector 1159">
            <a:extLst>
              <a:ext uri="{FF2B5EF4-FFF2-40B4-BE49-F238E27FC236}">
                <a16:creationId xmlns:a16="http://schemas.microsoft.com/office/drawing/2014/main" id="{7A2E6174-D727-F04E-643D-38ECB7006C7B}"/>
              </a:ext>
            </a:extLst>
          </p:cNvPr>
          <p:cNvCxnSpPr>
            <a:cxnSpLocks/>
            <a:stCxn id="1157" idx="2"/>
            <a:endCxn id="1134" idx="6"/>
          </p:cNvCxnSpPr>
          <p:nvPr/>
        </p:nvCxnSpPr>
        <p:spPr>
          <a:xfrm flipH="1">
            <a:off x="10949150" y="4131981"/>
            <a:ext cx="282916" cy="196713"/>
          </a:xfrm>
          <a:prstGeom prst="line">
            <a:avLst/>
          </a:prstGeom>
          <a:ln w="9525">
            <a:solidFill>
              <a:schemeClr val="bg1">
                <a:lumMod val="40000"/>
                <a:lumOff val="60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sp>
        <p:nvSpPr>
          <p:cNvPr id="1161" name="Oval 1160">
            <a:extLst>
              <a:ext uri="{FF2B5EF4-FFF2-40B4-BE49-F238E27FC236}">
                <a16:creationId xmlns:a16="http://schemas.microsoft.com/office/drawing/2014/main" id="{085E2EE3-1868-9DA4-BFC3-149A1C3A99D8}"/>
              </a:ext>
            </a:extLst>
          </p:cNvPr>
          <p:cNvSpPr/>
          <p:nvPr/>
        </p:nvSpPr>
        <p:spPr>
          <a:xfrm>
            <a:off x="8925164" y="4065300"/>
            <a:ext cx="144000" cy="1440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200" b="1" noProof="0">
              <a:solidFill>
                <a:schemeClr val="tx1"/>
              </a:solidFill>
              <a:latin typeface="Proximus Bold" panose="00000500000000000000" pitchFamily="2" charset="0"/>
              <a:cs typeface="Proximus Bold"/>
            </a:endParaRPr>
          </a:p>
        </p:txBody>
      </p:sp>
      <p:sp>
        <p:nvSpPr>
          <p:cNvPr id="1162" name="TextBox 1161">
            <a:extLst>
              <a:ext uri="{FF2B5EF4-FFF2-40B4-BE49-F238E27FC236}">
                <a16:creationId xmlns:a16="http://schemas.microsoft.com/office/drawing/2014/main" id="{177E4737-4CA1-B2D3-023E-72E3184BD6D1}"/>
              </a:ext>
            </a:extLst>
          </p:cNvPr>
          <p:cNvSpPr txBox="1"/>
          <p:nvPr/>
        </p:nvSpPr>
        <p:spPr>
          <a:xfrm>
            <a:off x="8166815" y="3602260"/>
            <a:ext cx="1739238" cy="267723"/>
          </a:xfrm>
          <a:prstGeom prst="roundRect">
            <a:avLst/>
          </a:prstGeom>
          <a:noFill/>
          <a:ln>
            <a:noFill/>
          </a:ln>
        </p:spPr>
        <p:txBody>
          <a:bodyPr wrap="square" lIns="36000" tIns="36000" rIns="36000" bIns="36000">
            <a:spAutoFit/>
          </a:bodyPr>
          <a:lstStyle/>
          <a:p>
            <a:pPr algn="ctr"/>
            <a:r>
              <a:rPr lang="en-US" sz="1100" noProof="0">
                <a:solidFill>
                  <a:srgbClr val="282233"/>
                </a:solidFill>
              </a:rPr>
              <a:t>Agents' orchestration </a:t>
            </a:r>
          </a:p>
        </p:txBody>
      </p:sp>
      <p:sp>
        <p:nvSpPr>
          <p:cNvPr id="1165" name="Rectangle: Rounded Corners 1164">
            <a:extLst>
              <a:ext uri="{FF2B5EF4-FFF2-40B4-BE49-F238E27FC236}">
                <a16:creationId xmlns:a16="http://schemas.microsoft.com/office/drawing/2014/main" id="{54CF6AC4-E504-F027-82B5-62FCEB01F379}"/>
              </a:ext>
            </a:extLst>
          </p:cNvPr>
          <p:cNvSpPr/>
          <p:nvPr/>
        </p:nvSpPr>
        <p:spPr>
          <a:xfrm>
            <a:off x="6703746" y="4784892"/>
            <a:ext cx="1130300" cy="520700"/>
          </a:xfrm>
          <a:prstGeom prst="roundRect">
            <a:avLst/>
          </a:prstGeom>
          <a:solidFill>
            <a:schemeClr val="tx1"/>
          </a:solidFill>
          <a:ln>
            <a:noFill/>
            <a:prstDash val="sysDash"/>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r>
              <a:rPr lang="en-US" sz="1100" noProof="0">
                <a:solidFill>
                  <a:schemeClr val="accent6"/>
                </a:solidFill>
                <a:latin typeface="Proximus" panose="00000500000000000000" pitchFamily="2" charset="0"/>
                <a:cs typeface="Proximus"/>
              </a:rPr>
              <a:t>CRM</a:t>
            </a:r>
          </a:p>
        </p:txBody>
      </p:sp>
      <p:sp>
        <p:nvSpPr>
          <p:cNvPr id="1166" name="Rectangle: Rounded Corners 1165">
            <a:extLst>
              <a:ext uri="{FF2B5EF4-FFF2-40B4-BE49-F238E27FC236}">
                <a16:creationId xmlns:a16="http://schemas.microsoft.com/office/drawing/2014/main" id="{A4604899-8407-A547-DDB6-D8D66AA0B964}"/>
              </a:ext>
            </a:extLst>
          </p:cNvPr>
          <p:cNvSpPr/>
          <p:nvPr/>
        </p:nvSpPr>
        <p:spPr>
          <a:xfrm>
            <a:off x="10430090" y="4784892"/>
            <a:ext cx="1130300" cy="520700"/>
          </a:xfrm>
          <a:prstGeom prst="roundRect">
            <a:avLst/>
          </a:prstGeom>
          <a:solidFill>
            <a:schemeClr val="tx1"/>
          </a:solidFill>
          <a:ln>
            <a:noFill/>
            <a:prstDash val="sysDash"/>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r>
              <a:rPr lang="en-US" sz="1100" noProof="0">
                <a:solidFill>
                  <a:schemeClr val="accent6"/>
                </a:solidFill>
                <a:latin typeface="Proximus" panose="00000500000000000000" pitchFamily="2" charset="0"/>
                <a:cs typeface="Proximus"/>
              </a:rPr>
              <a:t>HR Systems </a:t>
            </a:r>
          </a:p>
        </p:txBody>
      </p:sp>
      <p:sp>
        <p:nvSpPr>
          <p:cNvPr id="1167" name="Rectangle: Rounded Corners 1166">
            <a:extLst>
              <a:ext uri="{FF2B5EF4-FFF2-40B4-BE49-F238E27FC236}">
                <a16:creationId xmlns:a16="http://schemas.microsoft.com/office/drawing/2014/main" id="{37740488-0D1B-8813-B9BB-6666E1636DF7}"/>
              </a:ext>
            </a:extLst>
          </p:cNvPr>
          <p:cNvSpPr/>
          <p:nvPr/>
        </p:nvSpPr>
        <p:spPr>
          <a:xfrm>
            <a:off x="7935935" y="4784892"/>
            <a:ext cx="1130300" cy="520700"/>
          </a:xfrm>
          <a:prstGeom prst="roundRect">
            <a:avLst/>
          </a:prstGeom>
          <a:solidFill>
            <a:schemeClr val="tx1"/>
          </a:solidFill>
          <a:ln>
            <a:noFill/>
            <a:prstDash val="sysDash"/>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r>
              <a:rPr lang="en-US" sz="1100" noProof="0">
                <a:solidFill>
                  <a:schemeClr val="accent6"/>
                </a:solidFill>
                <a:latin typeface="Proximus" panose="00000500000000000000" pitchFamily="2" charset="0"/>
                <a:cs typeface="Proximus"/>
              </a:rPr>
              <a:t>Source code mgmt. </a:t>
            </a:r>
          </a:p>
        </p:txBody>
      </p:sp>
      <p:sp>
        <p:nvSpPr>
          <p:cNvPr id="1168" name="Rectangle: Rounded Corners 1167">
            <a:extLst>
              <a:ext uri="{FF2B5EF4-FFF2-40B4-BE49-F238E27FC236}">
                <a16:creationId xmlns:a16="http://schemas.microsoft.com/office/drawing/2014/main" id="{8DB5F5DD-A7A4-901F-E407-2815ACDCBEF8}"/>
              </a:ext>
            </a:extLst>
          </p:cNvPr>
          <p:cNvSpPr/>
          <p:nvPr/>
        </p:nvSpPr>
        <p:spPr>
          <a:xfrm>
            <a:off x="9180500" y="4784892"/>
            <a:ext cx="1130300" cy="520700"/>
          </a:xfrm>
          <a:prstGeom prst="roundRect">
            <a:avLst/>
          </a:prstGeom>
          <a:solidFill>
            <a:schemeClr val="tx1"/>
          </a:solidFill>
          <a:ln>
            <a:noFill/>
            <a:prstDash val="sysDash"/>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r>
              <a:rPr lang="en-US" sz="1100" noProof="0">
                <a:solidFill>
                  <a:schemeClr val="accent6"/>
                </a:solidFill>
                <a:effectLst/>
                <a:latin typeface="Proximus" panose="00000500000000000000" pitchFamily="2" charset="0"/>
              </a:rPr>
              <a:t>Network</a:t>
            </a:r>
            <a:endParaRPr lang="en-US" sz="1100" noProof="0">
              <a:solidFill>
                <a:schemeClr val="accent6"/>
              </a:solidFill>
              <a:latin typeface="Proximus" panose="00000500000000000000" pitchFamily="2" charset="0"/>
              <a:cs typeface="Proximus"/>
            </a:endParaRPr>
          </a:p>
        </p:txBody>
      </p:sp>
      <p:sp>
        <p:nvSpPr>
          <p:cNvPr id="1169" name="TextBox 1168">
            <a:extLst>
              <a:ext uri="{FF2B5EF4-FFF2-40B4-BE49-F238E27FC236}">
                <a16:creationId xmlns:a16="http://schemas.microsoft.com/office/drawing/2014/main" id="{D57AD377-D8D2-2631-52CA-707B09D3D8B0}"/>
              </a:ext>
            </a:extLst>
          </p:cNvPr>
          <p:cNvSpPr txBox="1"/>
          <p:nvPr/>
        </p:nvSpPr>
        <p:spPr>
          <a:xfrm>
            <a:off x="8569302" y="4536051"/>
            <a:ext cx="1110888" cy="267723"/>
          </a:xfrm>
          <a:prstGeom prst="roundRect">
            <a:avLst/>
          </a:prstGeom>
          <a:noFill/>
          <a:ln>
            <a:noFill/>
          </a:ln>
        </p:spPr>
        <p:txBody>
          <a:bodyPr wrap="square" lIns="36000" tIns="36000" rIns="36000" bIns="36000">
            <a:spAutoFit/>
          </a:bodyPr>
          <a:lstStyle/>
          <a:p>
            <a:pPr algn="ctr"/>
            <a:r>
              <a:rPr lang="en-US" sz="1100" noProof="0">
                <a:solidFill>
                  <a:srgbClr val="282233"/>
                </a:solidFill>
              </a:rPr>
              <a:t>Systems</a:t>
            </a:r>
          </a:p>
        </p:txBody>
      </p:sp>
      <p:sp>
        <p:nvSpPr>
          <p:cNvPr id="1170" name="Arrow: Up-Down 1169">
            <a:extLst>
              <a:ext uri="{FF2B5EF4-FFF2-40B4-BE49-F238E27FC236}">
                <a16:creationId xmlns:a16="http://schemas.microsoft.com/office/drawing/2014/main" id="{9C209B7E-F0B4-5C0B-CA77-C2C1727B162E}"/>
              </a:ext>
            </a:extLst>
          </p:cNvPr>
          <p:cNvSpPr/>
          <p:nvPr/>
        </p:nvSpPr>
        <p:spPr>
          <a:xfrm>
            <a:off x="7207627" y="4524124"/>
            <a:ext cx="122538" cy="222673"/>
          </a:xfrm>
          <a:prstGeom prst="upDownArrow">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200" b="1" noProof="0">
              <a:solidFill>
                <a:schemeClr val="tx1"/>
              </a:solidFill>
              <a:latin typeface="Proximus Bold" panose="00000500000000000000" pitchFamily="2" charset="0"/>
              <a:cs typeface="Proximus Bold"/>
            </a:endParaRPr>
          </a:p>
        </p:txBody>
      </p:sp>
      <p:sp>
        <p:nvSpPr>
          <p:cNvPr id="1171" name="Arrow: Up-Down 1170">
            <a:extLst>
              <a:ext uri="{FF2B5EF4-FFF2-40B4-BE49-F238E27FC236}">
                <a16:creationId xmlns:a16="http://schemas.microsoft.com/office/drawing/2014/main" id="{D42EAF5E-4224-5098-0A9B-D8D17874AD04}"/>
              </a:ext>
            </a:extLst>
          </p:cNvPr>
          <p:cNvSpPr/>
          <p:nvPr/>
        </p:nvSpPr>
        <p:spPr>
          <a:xfrm>
            <a:off x="8439816" y="4524124"/>
            <a:ext cx="122538" cy="222673"/>
          </a:xfrm>
          <a:prstGeom prst="upDownArrow">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200" b="1" noProof="0">
              <a:solidFill>
                <a:schemeClr val="tx1"/>
              </a:solidFill>
              <a:latin typeface="Proximus Bold" panose="00000500000000000000" pitchFamily="2" charset="0"/>
              <a:cs typeface="Proximus Bold"/>
            </a:endParaRPr>
          </a:p>
        </p:txBody>
      </p:sp>
      <p:sp>
        <p:nvSpPr>
          <p:cNvPr id="1172" name="Arrow: Up-Down 1171">
            <a:extLst>
              <a:ext uri="{FF2B5EF4-FFF2-40B4-BE49-F238E27FC236}">
                <a16:creationId xmlns:a16="http://schemas.microsoft.com/office/drawing/2014/main" id="{BF16E2DA-C079-77A2-3995-1FDD44901FB0}"/>
              </a:ext>
            </a:extLst>
          </p:cNvPr>
          <p:cNvSpPr/>
          <p:nvPr/>
        </p:nvSpPr>
        <p:spPr>
          <a:xfrm>
            <a:off x="9684381" y="4526644"/>
            <a:ext cx="122538" cy="222673"/>
          </a:xfrm>
          <a:prstGeom prst="upDownArrow">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200" b="1" noProof="0">
              <a:solidFill>
                <a:schemeClr val="tx1"/>
              </a:solidFill>
              <a:latin typeface="Proximus Bold" panose="00000500000000000000" pitchFamily="2" charset="0"/>
              <a:cs typeface="Proximus Bold"/>
            </a:endParaRPr>
          </a:p>
        </p:txBody>
      </p:sp>
      <p:sp>
        <p:nvSpPr>
          <p:cNvPr id="1173" name="Arrow: Up-Down 1172">
            <a:extLst>
              <a:ext uri="{FF2B5EF4-FFF2-40B4-BE49-F238E27FC236}">
                <a16:creationId xmlns:a16="http://schemas.microsoft.com/office/drawing/2014/main" id="{D75E4C8E-B2FD-1964-04E3-9873409185EB}"/>
              </a:ext>
            </a:extLst>
          </p:cNvPr>
          <p:cNvSpPr/>
          <p:nvPr/>
        </p:nvSpPr>
        <p:spPr>
          <a:xfrm>
            <a:off x="10933971" y="4526644"/>
            <a:ext cx="122538" cy="222673"/>
          </a:xfrm>
          <a:prstGeom prst="upDownArrow">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200" b="1" noProof="0">
              <a:solidFill>
                <a:schemeClr val="tx1"/>
              </a:solidFill>
              <a:latin typeface="Proximus Bold" panose="00000500000000000000" pitchFamily="2" charset="0"/>
              <a:cs typeface="Proximus Bold"/>
            </a:endParaRPr>
          </a:p>
        </p:txBody>
      </p:sp>
    </p:spTree>
    <p:extLst>
      <p:ext uri="{BB962C8B-B14F-4D97-AF65-F5344CB8AC3E}">
        <p14:creationId xmlns:p14="http://schemas.microsoft.com/office/powerpoint/2010/main" val="18258034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5B5711-15D3-1CE9-8D7E-F4777A1DE461}"/>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396A793-5657-FD55-0645-2D03BE21FF5E}"/>
              </a:ext>
            </a:extLst>
          </p:cNvPr>
          <p:cNvGraphicFramePr>
            <a:graphicFrameLocks/>
          </p:cNvGraphicFramePr>
          <p:nvPr>
            <p:custDataLst>
              <p:tags r:id="rId1"/>
            </p:custDataLst>
            <p:extLst>
              <p:ext uri="{D42A27DB-BD31-4B8C-83A1-F6EECF244321}">
                <p14:modId xmlns:p14="http://schemas.microsoft.com/office/powerpoint/2010/main" val="338321289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2" progId="TCLayout.ActiveDocument.1">
                  <p:embed/>
                </p:oleObj>
              </mc:Choice>
              <mc:Fallback>
                <p:oleObj name="think-cell Slide" r:id="rId4" imgW="532" imgH="532" progId="TCLayout.ActiveDocument.1">
                  <p:embed/>
                  <p:pic>
                    <p:nvPicPr>
                      <p:cNvPr id="5" name="think-cell data - do not delete" hidden="1">
                        <a:extLst>
                          <a:ext uri="{FF2B5EF4-FFF2-40B4-BE49-F238E27FC236}">
                            <a16:creationId xmlns:a16="http://schemas.microsoft.com/office/drawing/2014/main" id="{2396A793-5657-FD55-0645-2D03BE21FF5E}"/>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81EB35C-3DD8-483F-FACD-32F9AFAB5A10}"/>
              </a:ext>
            </a:extLst>
          </p:cNvPr>
          <p:cNvSpPr>
            <a:spLocks noGrp="1"/>
          </p:cNvSpPr>
          <p:nvPr>
            <p:ph type="title"/>
          </p:nvPr>
        </p:nvSpPr>
        <p:spPr>
          <a:xfrm>
            <a:off x="656984" y="503119"/>
            <a:ext cx="11335724" cy="369332"/>
          </a:xfrm>
        </p:spPr>
        <p:txBody>
          <a:bodyPr vert="horz" wrap="square" lIns="0" tIns="0" rIns="0" bIns="0" rtlCol="0" anchor="t" anchorCtr="0">
            <a:spAutoFit/>
          </a:bodyPr>
          <a:lstStyle/>
          <a:p>
            <a:r>
              <a:rPr lang="en-US" sz="2400">
                <a:solidFill>
                  <a:schemeClr val="accent6"/>
                </a:solidFill>
                <a:latin typeface="Proximus ExtraBold" panose="00000900000000000000" pitchFamily="2" charset="0"/>
              </a:rPr>
              <a:t>Key focus areas for Agentic AI in Proximus</a:t>
            </a:r>
          </a:p>
        </p:txBody>
      </p:sp>
      <p:grpSp>
        <p:nvGrpSpPr>
          <p:cNvPr id="36" name="Group 35">
            <a:extLst>
              <a:ext uri="{FF2B5EF4-FFF2-40B4-BE49-F238E27FC236}">
                <a16:creationId xmlns:a16="http://schemas.microsoft.com/office/drawing/2014/main" id="{F4C81486-89B2-306E-7C50-6876DFE96087}"/>
              </a:ext>
            </a:extLst>
          </p:cNvPr>
          <p:cNvGrpSpPr/>
          <p:nvPr/>
        </p:nvGrpSpPr>
        <p:grpSpPr>
          <a:xfrm>
            <a:off x="656984" y="1802190"/>
            <a:ext cx="3354865" cy="4058015"/>
            <a:chOff x="492737" y="1130662"/>
            <a:chExt cx="2516149" cy="3043511"/>
          </a:xfrm>
        </p:grpSpPr>
        <p:grpSp>
          <p:nvGrpSpPr>
            <p:cNvPr id="22" name="Group 21">
              <a:extLst>
                <a:ext uri="{FF2B5EF4-FFF2-40B4-BE49-F238E27FC236}">
                  <a16:creationId xmlns:a16="http://schemas.microsoft.com/office/drawing/2014/main" id="{22580FCC-71F3-499C-076E-77A150C8E2B8}"/>
                </a:ext>
              </a:extLst>
            </p:cNvPr>
            <p:cNvGrpSpPr/>
            <p:nvPr/>
          </p:nvGrpSpPr>
          <p:grpSpPr>
            <a:xfrm>
              <a:off x="492737" y="1130662"/>
              <a:ext cx="2516149" cy="3043511"/>
              <a:chOff x="492737" y="1130662"/>
              <a:chExt cx="2516149" cy="3043511"/>
            </a:xfrm>
          </p:grpSpPr>
          <p:sp>
            <p:nvSpPr>
              <p:cNvPr id="2" name="Rectangle: Rounded Corners 1">
                <a:extLst>
                  <a:ext uri="{FF2B5EF4-FFF2-40B4-BE49-F238E27FC236}">
                    <a16:creationId xmlns:a16="http://schemas.microsoft.com/office/drawing/2014/main" id="{E703FDA9-7BDC-6231-975F-E8FEF4C51405}"/>
                  </a:ext>
                </a:extLst>
              </p:cNvPr>
              <p:cNvSpPr/>
              <p:nvPr/>
            </p:nvSpPr>
            <p:spPr>
              <a:xfrm>
                <a:off x="492737" y="1130662"/>
                <a:ext cx="2516149" cy="3043511"/>
              </a:xfrm>
              <a:prstGeom prst="roundRect">
                <a:avLst>
                  <a:gd name="adj" fmla="val 3952"/>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vert="horz" lIns="816000" tIns="144000" rIns="144000" bIns="144000" rtlCol="0" anchor="t" anchorCtr="0"/>
              <a:lstStyle/>
              <a:p>
                <a:pPr defTabSz="1624517"/>
                <a:r>
                  <a:rPr lang="en-US" sz="1867" b="1">
                    <a:solidFill>
                      <a:srgbClr val="000000"/>
                    </a:solidFill>
                    <a:latin typeface="Proximus" panose="00000500000000000000" pitchFamily="2" charset="0"/>
                    <a:cs typeface="Proximus"/>
                  </a:rPr>
                  <a:t>Customer service</a:t>
                </a:r>
                <a:endParaRPr lang="en-US" sz="1867">
                  <a:solidFill>
                    <a:srgbClr val="000000"/>
                  </a:solidFill>
                  <a:latin typeface="Proximus" panose="00000500000000000000" pitchFamily="2" charset="0"/>
                  <a:cs typeface="Proximus"/>
                </a:endParaRPr>
              </a:p>
            </p:txBody>
          </p:sp>
          <p:sp>
            <p:nvSpPr>
              <p:cNvPr id="12" name="TextBox 11">
                <a:extLst>
                  <a:ext uri="{FF2B5EF4-FFF2-40B4-BE49-F238E27FC236}">
                    <a16:creationId xmlns:a16="http://schemas.microsoft.com/office/drawing/2014/main" id="{12FFA033-09B0-C044-363F-89FBEA112FB0}"/>
                  </a:ext>
                </a:extLst>
              </p:cNvPr>
              <p:cNvSpPr txBox="1"/>
              <p:nvPr/>
            </p:nvSpPr>
            <p:spPr>
              <a:xfrm>
                <a:off x="640016" y="1652999"/>
                <a:ext cx="2209863" cy="307681"/>
              </a:xfrm>
              <a:prstGeom prst="rect">
                <a:avLst/>
              </a:prstGeom>
            </p:spPr>
            <p:txBody>
              <a:bodyPr vert="horz" wrap="square" lIns="0" tIns="0" rIns="0" bIns="0" numCol="1" spcCol="0" rtlCol="0" anchor="t" anchorCtr="0">
                <a:spAutoFit/>
              </a:bodyPr>
              <a:lstStyle/>
              <a:p>
                <a:pPr defTabSz="544125"/>
                <a:r>
                  <a:rPr lang="en-US" sz="1333">
                    <a:solidFill>
                      <a:srgbClr val="5C2D91"/>
                    </a:solidFill>
                    <a:latin typeface="Proximus"/>
                  </a:rPr>
                  <a:t>Delivering superior experiences with high-value human interactions</a:t>
                </a:r>
              </a:p>
            </p:txBody>
          </p:sp>
          <p:sp>
            <p:nvSpPr>
              <p:cNvPr id="87" name="Oval 86">
                <a:extLst>
                  <a:ext uri="{FF2B5EF4-FFF2-40B4-BE49-F238E27FC236}">
                    <a16:creationId xmlns:a16="http://schemas.microsoft.com/office/drawing/2014/main" id="{63CED86E-CE96-F6B0-0448-C73BD1F20E8B}"/>
                  </a:ext>
                </a:extLst>
              </p:cNvPr>
              <p:cNvSpPr/>
              <p:nvPr/>
            </p:nvSpPr>
            <p:spPr>
              <a:xfrm>
                <a:off x="640016" y="1203487"/>
                <a:ext cx="358932" cy="358932"/>
              </a:xfrm>
              <a:prstGeom prst="ellipse">
                <a:avLst/>
              </a:prstGeom>
              <a:solidFill>
                <a:schemeClr val="bg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44000" tIns="144000" rIns="144000" bIns="144000" rtlCol="0" anchor="ctr" anchorCtr="0"/>
              <a:lstStyle/>
              <a:p>
                <a:pPr algn="ctr" defTabSz="1624517"/>
                <a:endParaRPr lang="en-US" sz="1600">
                  <a:solidFill>
                    <a:srgbClr val="FFFFFF"/>
                  </a:solidFill>
                  <a:latin typeface="Proximus" panose="00000500000000000000" pitchFamily="2" charset="0"/>
                  <a:cs typeface="Proximus"/>
                </a:endParaRPr>
              </a:p>
            </p:txBody>
          </p:sp>
          <p:pic>
            <p:nvPicPr>
              <p:cNvPr id="9" name="customer first">
                <a:extLst>
                  <a:ext uri="{FF2B5EF4-FFF2-40B4-BE49-F238E27FC236}">
                    <a16:creationId xmlns:a16="http://schemas.microsoft.com/office/drawing/2014/main" id="{33349232-DCF4-B076-9721-A0E41237959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2008" y="1249466"/>
                <a:ext cx="134948" cy="244190"/>
              </a:xfrm>
              <a:prstGeom prst="rect">
                <a:avLst/>
              </a:prstGeom>
            </p:spPr>
          </p:pic>
        </p:grpSp>
        <p:sp>
          <p:nvSpPr>
            <p:cNvPr id="19" name="TextBox 18">
              <a:extLst>
                <a:ext uri="{FF2B5EF4-FFF2-40B4-BE49-F238E27FC236}">
                  <a16:creationId xmlns:a16="http://schemas.microsoft.com/office/drawing/2014/main" id="{670A194F-167C-F049-DE3D-B473F0FF19B0}"/>
                </a:ext>
              </a:extLst>
            </p:cNvPr>
            <p:cNvSpPr txBox="1"/>
            <p:nvPr/>
          </p:nvSpPr>
          <p:spPr>
            <a:xfrm>
              <a:off x="640015" y="2143039"/>
              <a:ext cx="2209800" cy="307777"/>
            </a:xfrm>
            <a:prstGeom prst="rect">
              <a:avLst/>
            </a:prstGeom>
          </p:spPr>
          <p:txBody>
            <a:bodyPr vert="horz" wrap="square" lIns="0" tIns="0" rIns="0" bIns="0" numCol="1" spcCol="0" rtlCol="0" anchor="ctr" anchorCtr="0">
              <a:noAutofit/>
            </a:bodyPr>
            <a:lstStyle/>
            <a:p>
              <a:pPr defTabSz="544125"/>
              <a:r>
                <a:rPr lang="en-US" sz="1333">
                  <a:solidFill>
                    <a:srgbClr val="000000"/>
                  </a:solidFill>
                  <a:latin typeface="Proximus"/>
                </a:rPr>
                <a:t>Improve customer issue resolution speed with </a:t>
              </a:r>
              <a:r>
                <a:rPr lang="en-US" sz="1333" b="1">
                  <a:solidFill>
                    <a:srgbClr val="000000"/>
                  </a:solidFill>
                  <a:latin typeface="Proximus"/>
                </a:rPr>
                <a:t>chatbot &amp; </a:t>
              </a:r>
              <a:r>
                <a:rPr lang="en-US" sz="1333" b="1" err="1">
                  <a:solidFill>
                    <a:srgbClr val="000000"/>
                  </a:solidFill>
                  <a:latin typeface="Proximus"/>
                </a:rPr>
                <a:t>voicebot</a:t>
              </a:r>
              <a:endParaRPr lang="en-US" sz="1333" b="1">
                <a:solidFill>
                  <a:srgbClr val="000000"/>
                </a:solidFill>
                <a:latin typeface="Proximus"/>
              </a:endParaRPr>
            </a:p>
          </p:txBody>
        </p:sp>
      </p:grpSp>
      <p:grpSp>
        <p:nvGrpSpPr>
          <p:cNvPr id="11" name="Group 10">
            <a:extLst>
              <a:ext uri="{FF2B5EF4-FFF2-40B4-BE49-F238E27FC236}">
                <a16:creationId xmlns:a16="http://schemas.microsoft.com/office/drawing/2014/main" id="{CCC8E0D2-E4CD-A2DA-0C11-AF127A6A2872}"/>
              </a:ext>
            </a:extLst>
          </p:cNvPr>
          <p:cNvGrpSpPr/>
          <p:nvPr/>
        </p:nvGrpSpPr>
        <p:grpSpPr>
          <a:xfrm>
            <a:off x="8206270" y="1802190"/>
            <a:ext cx="3354865" cy="4058015"/>
            <a:chOff x="3323719" y="1130662"/>
            <a:chExt cx="2516149" cy="3043511"/>
          </a:xfrm>
        </p:grpSpPr>
        <p:sp>
          <p:nvSpPr>
            <p:cNvPr id="4" name="Rectangle: Rounded Corners 3">
              <a:extLst>
                <a:ext uri="{FF2B5EF4-FFF2-40B4-BE49-F238E27FC236}">
                  <a16:creationId xmlns:a16="http://schemas.microsoft.com/office/drawing/2014/main" id="{9AF4BFCB-4FF9-6EFD-B2FD-8634C0CFB55A}"/>
                </a:ext>
              </a:extLst>
            </p:cNvPr>
            <p:cNvSpPr/>
            <p:nvPr/>
          </p:nvSpPr>
          <p:spPr>
            <a:xfrm>
              <a:off x="3323719" y="1130662"/>
              <a:ext cx="2516149" cy="3043511"/>
            </a:xfrm>
            <a:prstGeom prst="roundRect">
              <a:avLst>
                <a:gd name="adj" fmla="val 3952"/>
              </a:avLst>
            </a:prstGeom>
            <a:ln/>
          </p:spPr>
          <p:style>
            <a:lnRef idx="2">
              <a:schemeClr val="accent1"/>
            </a:lnRef>
            <a:fillRef idx="1">
              <a:schemeClr val="lt1"/>
            </a:fillRef>
            <a:effectRef idx="0">
              <a:schemeClr val="accent1"/>
            </a:effectRef>
            <a:fontRef idx="minor">
              <a:schemeClr val="dk1"/>
            </a:fontRef>
          </p:style>
          <p:txBody>
            <a:bodyPr vert="horz" lIns="816000" tIns="144000" rIns="144000" bIns="144000" rtlCol="0" anchor="t" anchorCtr="0"/>
            <a:lstStyle/>
            <a:p>
              <a:pPr defTabSz="1624517"/>
              <a:r>
                <a:rPr lang="en-US" sz="1867" b="1">
                  <a:solidFill>
                    <a:srgbClr val="000000"/>
                  </a:solidFill>
                  <a:latin typeface="Proximus" panose="00000500000000000000" pitchFamily="2" charset="0"/>
                </a:rPr>
                <a:t>IT development</a:t>
              </a:r>
            </a:p>
          </p:txBody>
        </p:sp>
        <p:sp>
          <p:nvSpPr>
            <p:cNvPr id="14" name="TextBox 13">
              <a:extLst>
                <a:ext uri="{FF2B5EF4-FFF2-40B4-BE49-F238E27FC236}">
                  <a16:creationId xmlns:a16="http://schemas.microsoft.com/office/drawing/2014/main" id="{2B66234B-D1F1-6C1F-455C-5CA3BB73527D}"/>
                </a:ext>
              </a:extLst>
            </p:cNvPr>
            <p:cNvSpPr txBox="1"/>
            <p:nvPr/>
          </p:nvSpPr>
          <p:spPr>
            <a:xfrm>
              <a:off x="3476206" y="1652999"/>
              <a:ext cx="2209800" cy="307777"/>
            </a:xfrm>
            <a:prstGeom prst="rect">
              <a:avLst/>
            </a:prstGeom>
          </p:spPr>
          <p:txBody>
            <a:bodyPr vert="horz" wrap="square" lIns="0" tIns="0" rIns="0" bIns="0" numCol="1" spcCol="0" rtlCol="0" anchor="t" anchorCtr="0">
              <a:noAutofit/>
            </a:bodyPr>
            <a:lstStyle/>
            <a:p>
              <a:pPr defTabSz="544125"/>
              <a:r>
                <a:rPr lang="en-US" sz="1333">
                  <a:solidFill>
                    <a:srgbClr val="5C2D91"/>
                  </a:solidFill>
                  <a:latin typeface="Proximus"/>
                </a:rPr>
                <a:t>Combining human expertise with AI intelligence</a:t>
              </a:r>
            </a:p>
          </p:txBody>
        </p:sp>
        <p:sp>
          <p:nvSpPr>
            <p:cNvPr id="88" name="Oval 87">
              <a:extLst>
                <a:ext uri="{FF2B5EF4-FFF2-40B4-BE49-F238E27FC236}">
                  <a16:creationId xmlns:a16="http://schemas.microsoft.com/office/drawing/2014/main" id="{89FDAEC5-647C-7FDB-14CC-317D7A072F05}"/>
                </a:ext>
              </a:extLst>
            </p:cNvPr>
            <p:cNvSpPr/>
            <p:nvPr/>
          </p:nvSpPr>
          <p:spPr>
            <a:xfrm>
              <a:off x="3476206" y="1203487"/>
              <a:ext cx="358932" cy="358932"/>
            </a:xfrm>
            <a:prstGeom prst="ellipse">
              <a:avLst/>
            </a:prstGeom>
            <a:solidFill>
              <a:schemeClr val="bg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44000" tIns="144000" rIns="144000" bIns="144000" rtlCol="0" anchor="ctr" anchorCtr="0"/>
            <a:lstStyle/>
            <a:p>
              <a:pPr algn="ctr" defTabSz="1624517"/>
              <a:endParaRPr lang="en-US" sz="1600">
                <a:solidFill>
                  <a:srgbClr val="FFFFFF"/>
                </a:solidFill>
                <a:latin typeface="Proximus" panose="00000500000000000000" pitchFamily="2" charset="0"/>
                <a:cs typeface="Proximus"/>
              </a:endParaRPr>
            </a:p>
          </p:txBody>
        </p:sp>
        <p:pic>
          <p:nvPicPr>
            <p:cNvPr id="91" name="Picture 90">
              <a:extLst>
                <a:ext uri="{FF2B5EF4-FFF2-40B4-BE49-F238E27FC236}">
                  <a16:creationId xmlns:a16="http://schemas.microsoft.com/office/drawing/2014/main" id="{48731F79-6C47-68A1-FAAF-A8E64C9F9916}"/>
                </a:ext>
              </a:extLst>
            </p:cNvPr>
            <p:cNvPicPr>
              <a:picLocks noChangeAspect="1"/>
            </p:cNvPicPr>
            <p:nvPr/>
          </p:nvPicPr>
          <p:blipFill>
            <a:blip r:embed="rId8"/>
            <a:stretch>
              <a:fillRect/>
            </a:stretch>
          </p:blipFill>
          <p:spPr>
            <a:xfrm>
              <a:off x="3544317" y="1270687"/>
              <a:ext cx="222710" cy="224532"/>
            </a:xfrm>
            <a:prstGeom prst="rect">
              <a:avLst/>
            </a:prstGeom>
          </p:spPr>
        </p:pic>
      </p:grpSp>
      <p:sp>
        <p:nvSpPr>
          <p:cNvPr id="23" name="TextBox 22">
            <a:extLst>
              <a:ext uri="{FF2B5EF4-FFF2-40B4-BE49-F238E27FC236}">
                <a16:creationId xmlns:a16="http://schemas.microsoft.com/office/drawing/2014/main" id="{A1B2E348-D881-2FB3-1E9C-C133C45CBBC8}"/>
              </a:ext>
            </a:extLst>
          </p:cNvPr>
          <p:cNvSpPr txBox="1"/>
          <p:nvPr/>
        </p:nvSpPr>
        <p:spPr>
          <a:xfrm>
            <a:off x="8409586" y="3217775"/>
            <a:ext cx="3151549" cy="204671"/>
          </a:xfrm>
          <a:prstGeom prst="rect">
            <a:avLst/>
          </a:prstGeom>
        </p:spPr>
        <p:txBody>
          <a:bodyPr vert="horz" wrap="square" lIns="0" tIns="0" rIns="0" bIns="0" numCol="1" spcCol="0" rtlCol="0" anchor="ctr" anchorCtr="0">
            <a:spAutoFit/>
          </a:bodyPr>
          <a:lstStyle/>
          <a:p>
            <a:r>
              <a:rPr lang="en-US" sz="1330">
                <a:solidFill>
                  <a:schemeClr val="accent6"/>
                </a:solidFill>
              </a:rPr>
              <a:t>E2E AI-based </a:t>
            </a:r>
            <a:r>
              <a:rPr lang="en-US" sz="1330" b="1">
                <a:solidFill>
                  <a:schemeClr val="accent6"/>
                </a:solidFill>
              </a:rPr>
              <a:t>software development</a:t>
            </a:r>
            <a:endParaRPr lang="en-BE" sz="1330" b="1">
              <a:solidFill>
                <a:schemeClr val="accent6"/>
              </a:solidFill>
              <a:effectLst/>
            </a:endParaRPr>
          </a:p>
        </p:txBody>
      </p:sp>
      <p:sp>
        <p:nvSpPr>
          <p:cNvPr id="25" name="TextBox 24">
            <a:extLst>
              <a:ext uri="{FF2B5EF4-FFF2-40B4-BE49-F238E27FC236}">
                <a16:creationId xmlns:a16="http://schemas.microsoft.com/office/drawing/2014/main" id="{0BFCB148-5D58-1EEE-C67B-F4CBD7E90AFF}"/>
              </a:ext>
            </a:extLst>
          </p:cNvPr>
          <p:cNvSpPr txBox="1"/>
          <p:nvPr/>
        </p:nvSpPr>
        <p:spPr>
          <a:xfrm>
            <a:off x="8409586" y="4757026"/>
            <a:ext cx="2946400" cy="410369"/>
          </a:xfrm>
          <a:prstGeom prst="rect">
            <a:avLst/>
          </a:prstGeom>
        </p:spPr>
        <p:txBody>
          <a:bodyPr vert="horz" wrap="square" lIns="0" tIns="0" rIns="0" bIns="0" numCol="1" spcCol="0" rtlCol="0" anchor="ctr" anchorCtr="0">
            <a:noAutofit/>
          </a:bodyPr>
          <a:lstStyle/>
          <a:p>
            <a:pPr defTabSz="544125"/>
            <a:endParaRPr lang="en-US" sz="1333">
              <a:solidFill>
                <a:srgbClr val="000000"/>
              </a:solidFill>
              <a:latin typeface="Proximus"/>
            </a:endParaRPr>
          </a:p>
        </p:txBody>
      </p:sp>
      <p:grpSp>
        <p:nvGrpSpPr>
          <p:cNvPr id="37" name="Group 36">
            <a:extLst>
              <a:ext uri="{FF2B5EF4-FFF2-40B4-BE49-F238E27FC236}">
                <a16:creationId xmlns:a16="http://schemas.microsoft.com/office/drawing/2014/main" id="{A8481452-8872-AF77-A30C-DE754DDE691B}"/>
              </a:ext>
            </a:extLst>
          </p:cNvPr>
          <p:cNvGrpSpPr/>
          <p:nvPr/>
        </p:nvGrpSpPr>
        <p:grpSpPr>
          <a:xfrm>
            <a:off x="4431626" y="1802190"/>
            <a:ext cx="3354865" cy="4058014"/>
            <a:chOff x="6154702" y="1130662"/>
            <a:chExt cx="2516149" cy="3043511"/>
          </a:xfrm>
        </p:grpSpPr>
        <p:grpSp>
          <p:nvGrpSpPr>
            <p:cNvPr id="10" name="Group 9">
              <a:extLst>
                <a:ext uri="{FF2B5EF4-FFF2-40B4-BE49-F238E27FC236}">
                  <a16:creationId xmlns:a16="http://schemas.microsoft.com/office/drawing/2014/main" id="{8B1B96AC-D3E6-03AD-64B5-853B6AA05092}"/>
                </a:ext>
              </a:extLst>
            </p:cNvPr>
            <p:cNvGrpSpPr/>
            <p:nvPr/>
          </p:nvGrpSpPr>
          <p:grpSpPr>
            <a:xfrm>
              <a:off x="6154702" y="1130662"/>
              <a:ext cx="2516149" cy="3043511"/>
              <a:chOff x="6154702" y="1130662"/>
              <a:chExt cx="2516149" cy="3043511"/>
            </a:xfrm>
          </p:grpSpPr>
          <p:sp>
            <p:nvSpPr>
              <p:cNvPr id="6" name="Rectangle: Rounded Corners 5">
                <a:extLst>
                  <a:ext uri="{FF2B5EF4-FFF2-40B4-BE49-F238E27FC236}">
                    <a16:creationId xmlns:a16="http://schemas.microsoft.com/office/drawing/2014/main" id="{3B513553-003B-2646-D47F-A5177544AF80}"/>
                  </a:ext>
                </a:extLst>
              </p:cNvPr>
              <p:cNvSpPr/>
              <p:nvPr/>
            </p:nvSpPr>
            <p:spPr>
              <a:xfrm>
                <a:off x="6154702" y="1130662"/>
                <a:ext cx="2516149" cy="3043511"/>
              </a:xfrm>
              <a:prstGeom prst="roundRect">
                <a:avLst>
                  <a:gd name="adj" fmla="val 3952"/>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vert="horz" lIns="816000" tIns="144000" rIns="144000" bIns="144000" rtlCol="0" anchor="t" anchorCtr="0"/>
              <a:lstStyle/>
              <a:p>
                <a:pPr defTabSz="1624517"/>
                <a:r>
                  <a:rPr lang="en-US" sz="1867" b="1">
                    <a:solidFill>
                      <a:srgbClr val="000000"/>
                    </a:solidFill>
                    <a:latin typeface="Proximus" panose="00000500000000000000" pitchFamily="2" charset="0"/>
                  </a:rPr>
                  <a:t>Network</a:t>
                </a:r>
              </a:p>
            </p:txBody>
          </p:sp>
          <p:sp>
            <p:nvSpPr>
              <p:cNvPr id="15" name="TextBox 14">
                <a:extLst>
                  <a:ext uri="{FF2B5EF4-FFF2-40B4-BE49-F238E27FC236}">
                    <a16:creationId xmlns:a16="http://schemas.microsoft.com/office/drawing/2014/main" id="{31D44E7E-3B1B-BD57-D286-8CE95D9D3133}"/>
                  </a:ext>
                </a:extLst>
              </p:cNvPr>
              <p:cNvSpPr txBox="1"/>
              <p:nvPr/>
            </p:nvSpPr>
            <p:spPr>
              <a:xfrm>
                <a:off x="6312396" y="1652999"/>
                <a:ext cx="2209800" cy="307777"/>
              </a:xfrm>
              <a:prstGeom prst="rect">
                <a:avLst/>
              </a:prstGeom>
            </p:spPr>
            <p:txBody>
              <a:bodyPr vert="horz" wrap="square" lIns="0" tIns="0" rIns="0" bIns="0" numCol="1" spcCol="0" rtlCol="0" anchor="t" anchorCtr="0">
                <a:noAutofit/>
              </a:bodyPr>
              <a:lstStyle/>
              <a:p>
                <a:pPr defTabSz="544125"/>
                <a:r>
                  <a:rPr lang="en-US" sz="1333">
                    <a:solidFill>
                      <a:srgbClr val="5C2D91"/>
                    </a:solidFill>
                    <a:latin typeface="Proximus"/>
                  </a:rPr>
                  <a:t>Building smarter, predictive and self‑optimizing infrastructure</a:t>
                </a:r>
              </a:p>
            </p:txBody>
          </p:sp>
          <p:sp>
            <p:nvSpPr>
              <p:cNvPr id="89" name="Oval 88">
                <a:extLst>
                  <a:ext uri="{FF2B5EF4-FFF2-40B4-BE49-F238E27FC236}">
                    <a16:creationId xmlns:a16="http://schemas.microsoft.com/office/drawing/2014/main" id="{46C2B091-5A40-B9DE-2415-D2D80FB60F20}"/>
                  </a:ext>
                </a:extLst>
              </p:cNvPr>
              <p:cNvSpPr/>
              <p:nvPr/>
            </p:nvSpPr>
            <p:spPr>
              <a:xfrm>
                <a:off x="6312396" y="1203487"/>
                <a:ext cx="358932" cy="358932"/>
              </a:xfrm>
              <a:prstGeom prst="ellipse">
                <a:avLst/>
              </a:prstGeom>
              <a:solidFill>
                <a:schemeClr val="bg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44000" tIns="144000" rIns="144000" bIns="144000" rtlCol="0" anchor="ctr" anchorCtr="0"/>
              <a:lstStyle/>
              <a:p>
                <a:pPr algn="ctr" defTabSz="1624517"/>
                <a:endParaRPr lang="en-US" sz="1600">
                  <a:solidFill>
                    <a:srgbClr val="FFFFFF"/>
                  </a:solidFill>
                  <a:latin typeface="Proximus" panose="00000500000000000000" pitchFamily="2" charset="0"/>
                  <a:cs typeface="Proximus"/>
                </a:endParaRPr>
              </a:p>
            </p:txBody>
          </p:sp>
          <p:pic>
            <p:nvPicPr>
              <p:cNvPr id="7" name="Picture 6">
                <a:extLst>
                  <a:ext uri="{FF2B5EF4-FFF2-40B4-BE49-F238E27FC236}">
                    <a16:creationId xmlns:a16="http://schemas.microsoft.com/office/drawing/2014/main" id="{B87F951D-134B-742A-88E1-88D23512BD6D}"/>
                  </a:ext>
                </a:extLst>
              </p:cNvPr>
              <p:cNvPicPr>
                <a:picLocks noChangeAspect="1"/>
              </p:cNvPicPr>
              <p:nvPr/>
            </p:nvPicPr>
            <p:blipFill>
              <a:blip r:embed="rId9"/>
              <a:stretch>
                <a:fillRect/>
              </a:stretch>
            </p:blipFill>
            <p:spPr>
              <a:xfrm>
                <a:off x="6379724" y="1272250"/>
                <a:ext cx="224276" cy="221406"/>
              </a:xfrm>
              <a:prstGeom prst="rect">
                <a:avLst/>
              </a:prstGeom>
            </p:spPr>
          </p:pic>
        </p:grpSp>
        <p:sp>
          <p:nvSpPr>
            <p:cNvPr id="29" name="TextBox 28">
              <a:extLst>
                <a:ext uri="{FF2B5EF4-FFF2-40B4-BE49-F238E27FC236}">
                  <a16:creationId xmlns:a16="http://schemas.microsoft.com/office/drawing/2014/main" id="{8899B6E8-97FC-1F57-34B7-FF1FB6600E69}"/>
                </a:ext>
              </a:extLst>
            </p:cNvPr>
            <p:cNvSpPr txBox="1"/>
            <p:nvPr/>
          </p:nvSpPr>
          <p:spPr>
            <a:xfrm>
              <a:off x="6312396" y="2220006"/>
              <a:ext cx="2209800" cy="153841"/>
            </a:xfrm>
            <a:prstGeom prst="rect">
              <a:avLst/>
            </a:prstGeom>
          </p:spPr>
          <p:txBody>
            <a:bodyPr vert="horz" wrap="square" lIns="0" tIns="0" rIns="0" bIns="0" numCol="1" spcCol="0" rtlCol="0" anchor="ctr" anchorCtr="0">
              <a:spAutoFit/>
            </a:bodyPr>
            <a:lstStyle/>
            <a:p>
              <a:pPr defTabSz="544125"/>
              <a:endParaRPr lang="en-US" sz="1333" b="1">
                <a:solidFill>
                  <a:srgbClr val="000000"/>
                </a:solidFill>
                <a:highlight>
                  <a:srgbClr val="00FF00"/>
                </a:highlight>
                <a:latin typeface="Proximus"/>
              </a:endParaRPr>
            </a:p>
          </p:txBody>
        </p:sp>
      </p:grpSp>
      <p:sp>
        <p:nvSpPr>
          <p:cNvPr id="41" name="TextBox 40">
            <a:extLst>
              <a:ext uri="{FF2B5EF4-FFF2-40B4-BE49-F238E27FC236}">
                <a16:creationId xmlns:a16="http://schemas.microsoft.com/office/drawing/2014/main" id="{C98893B4-0EE5-468B-ECCA-9FA8A567FB07}"/>
              </a:ext>
            </a:extLst>
          </p:cNvPr>
          <p:cNvSpPr txBox="1"/>
          <p:nvPr/>
        </p:nvSpPr>
        <p:spPr>
          <a:xfrm>
            <a:off x="4649746" y="5629535"/>
            <a:ext cx="2938539" cy="1581241"/>
          </a:xfrm>
          <a:prstGeom prst="rect">
            <a:avLst/>
          </a:prstGeom>
        </p:spPr>
        <p:txBody>
          <a:bodyPr vert="horz" wrap="square" lIns="0" tIns="0" rIns="0" bIns="0" numCol="1" spcCol="0" rtlCol="0" anchor="ctr" anchorCtr="0">
            <a:noAutofit/>
          </a:bodyPr>
          <a:lstStyle/>
          <a:p>
            <a:endParaRPr lang="en-US" sz="1200" b="1">
              <a:solidFill>
                <a:schemeClr val="tx1">
                  <a:lumMod val="50000"/>
                </a:schemeClr>
              </a:solidFill>
            </a:endParaRPr>
          </a:p>
          <a:p>
            <a:endParaRPr lang="en-US" sz="1050">
              <a:solidFill>
                <a:schemeClr val="tx1">
                  <a:lumMod val="65000"/>
                </a:schemeClr>
              </a:solidFill>
              <a:effectLst/>
            </a:endParaRPr>
          </a:p>
        </p:txBody>
      </p:sp>
      <p:sp>
        <p:nvSpPr>
          <p:cNvPr id="42" name="TextBox 41">
            <a:extLst>
              <a:ext uri="{FF2B5EF4-FFF2-40B4-BE49-F238E27FC236}">
                <a16:creationId xmlns:a16="http://schemas.microsoft.com/office/drawing/2014/main" id="{F2BF55D3-2930-516A-9970-6D42D45B62FB}"/>
              </a:ext>
            </a:extLst>
          </p:cNvPr>
          <p:cNvSpPr txBox="1"/>
          <p:nvPr/>
        </p:nvSpPr>
        <p:spPr>
          <a:xfrm>
            <a:off x="426633" y="5276759"/>
            <a:ext cx="2938539" cy="1581241"/>
          </a:xfrm>
          <a:prstGeom prst="rect">
            <a:avLst/>
          </a:prstGeom>
        </p:spPr>
        <p:txBody>
          <a:bodyPr vert="horz" wrap="square" lIns="0" tIns="0" rIns="0" bIns="0" numCol="1" spcCol="0" rtlCol="0" anchor="ctr" anchorCtr="0">
            <a:noAutofit/>
          </a:bodyPr>
          <a:lstStyle/>
          <a:p>
            <a:pPr defTabSz="544125"/>
            <a:endParaRPr lang="en-US" sz="1200" b="1">
              <a:solidFill>
                <a:schemeClr val="tx1">
                  <a:lumMod val="50000"/>
                </a:schemeClr>
              </a:solidFill>
            </a:endParaRPr>
          </a:p>
          <a:p>
            <a:endParaRPr lang="en-US" sz="1050">
              <a:solidFill>
                <a:schemeClr val="tx1">
                  <a:lumMod val="65000"/>
                </a:schemeClr>
              </a:solidFill>
              <a:effectLst/>
            </a:endParaRPr>
          </a:p>
        </p:txBody>
      </p:sp>
      <p:sp>
        <p:nvSpPr>
          <p:cNvPr id="43" name="TextBox 42">
            <a:extLst>
              <a:ext uri="{FF2B5EF4-FFF2-40B4-BE49-F238E27FC236}">
                <a16:creationId xmlns:a16="http://schemas.microsoft.com/office/drawing/2014/main" id="{8EA8E8D5-0315-39CD-AD71-9196CEF030D5}"/>
              </a:ext>
            </a:extLst>
          </p:cNvPr>
          <p:cNvSpPr txBox="1"/>
          <p:nvPr/>
        </p:nvSpPr>
        <p:spPr>
          <a:xfrm>
            <a:off x="4634942" y="3152762"/>
            <a:ext cx="3151549" cy="614014"/>
          </a:xfrm>
          <a:prstGeom prst="rect">
            <a:avLst/>
          </a:prstGeom>
        </p:spPr>
        <p:txBody>
          <a:bodyPr vert="horz" wrap="square" lIns="0" tIns="0" rIns="0" bIns="0" numCol="1" spcCol="0" rtlCol="0" anchor="ctr" anchorCtr="0">
            <a:spAutoFit/>
          </a:bodyPr>
          <a:lstStyle/>
          <a:p>
            <a:r>
              <a:rPr lang="en-US" sz="1330" b="1">
                <a:solidFill>
                  <a:schemeClr val="accent6"/>
                </a:solidFill>
              </a:rPr>
              <a:t>Autonomous networks </a:t>
            </a:r>
            <a:r>
              <a:rPr lang="en-US" sz="1330">
                <a:solidFill>
                  <a:schemeClr val="accent6"/>
                </a:solidFill>
              </a:rPr>
              <a:t>replacing manual operations via zero-touch orchestration</a:t>
            </a:r>
            <a:endParaRPr lang="en-BE" sz="1330">
              <a:solidFill>
                <a:schemeClr val="accent6"/>
              </a:solidFill>
              <a:effectLst/>
            </a:endParaRPr>
          </a:p>
        </p:txBody>
      </p:sp>
      <p:sp>
        <p:nvSpPr>
          <p:cNvPr id="24" name="TextBox 23">
            <a:extLst>
              <a:ext uri="{FF2B5EF4-FFF2-40B4-BE49-F238E27FC236}">
                <a16:creationId xmlns:a16="http://schemas.microsoft.com/office/drawing/2014/main" id="{998F2521-5C49-F8EE-5390-4FA10E3A794C}"/>
              </a:ext>
            </a:extLst>
          </p:cNvPr>
          <p:cNvSpPr txBox="1"/>
          <p:nvPr/>
        </p:nvSpPr>
        <p:spPr>
          <a:xfrm>
            <a:off x="853355" y="3950523"/>
            <a:ext cx="2868900" cy="600363"/>
          </a:xfrm>
          <a:prstGeom prst="rect">
            <a:avLst/>
          </a:prstGeom>
        </p:spPr>
        <p:txBody>
          <a:bodyPr vert="horz" wrap="square" lIns="0" tIns="0" rIns="0" bIns="0" numCol="1" spcCol="0" rtlCol="0" anchor="t" anchorCtr="0">
            <a:noAutofit/>
          </a:bodyPr>
          <a:lstStyle/>
          <a:p>
            <a:r>
              <a:rPr lang="en-US" sz="1200">
                <a:solidFill>
                  <a:schemeClr val="tx1">
                    <a:lumMod val="50000"/>
                  </a:schemeClr>
                </a:solidFill>
              </a:rPr>
              <a:t>Elevate digital-human interactions </a:t>
            </a:r>
            <a:r>
              <a:rPr lang="en-US" sz="1200" b="1">
                <a:solidFill>
                  <a:schemeClr val="tx1">
                    <a:lumMod val="50000"/>
                  </a:schemeClr>
                </a:solidFill>
              </a:rPr>
              <a:t>with natural experiences</a:t>
            </a:r>
            <a:endParaRPr lang="en-BE" sz="1200">
              <a:solidFill>
                <a:schemeClr val="tx1">
                  <a:lumMod val="50000"/>
                </a:schemeClr>
              </a:solidFill>
            </a:endParaRPr>
          </a:p>
          <a:p>
            <a:pPr algn="l"/>
            <a:endParaRPr lang="en-BE" sz="1200">
              <a:solidFill>
                <a:schemeClr val="accent6"/>
              </a:solidFill>
            </a:endParaRPr>
          </a:p>
        </p:txBody>
      </p:sp>
      <p:sp>
        <p:nvSpPr>
          <p:cNvPr id="26" name="TextBox 25">
            <a:extLst>
              <a:ext uri="{FF2B5EF4-FFF2-40B4-BE49-F238E27FC236}">
                <a16:creationId xmlns:a16="http://schemas.microsoft.com/office/drawing/2014/main" id="{489B91E6-30FB-EC05-BCEB-83E93027CFA6}"/>
              </a:ext>
            </a:extLst>
          </p:cNvPr>
          <p:cNvSpPr txBox="1"/>
          <p:nvPr/>
        </p:nvSpPr>
        <p:spPr>
          <a:xfrm>
            <a:off x="853355" y="4605893"/>
            <a:ext cx="3035154" cy="634175"/>
          </a:xfrm>
          <a:prstGeom prst="rect">
            <a:avLst/>
          </a:prstGeom>
        </p:spPr>
        <p:txBody>
          <a:bodyPr vert="horz" wrap="square" lIns="0" tIns="0" rIns="0" bIns="0" numCol="1" spcCol="0" rtlCol="0" anchor="t" anchorCtr="0">
            <a:noAutofit/>
          </a:bodyPr>
          <a:lstStyle/>
          <a:p>
            <a:r>
              <a:rPr lang="en-US" sz="1200">
                <a:solidFill>
                  <a:schemeClr val="tx1">
                    <a:lumMod val="50000"/>
                  </a:schemeClr>
                </a:solidFill>
              </a:rPr>
              <a:t>Evolve to </a:t>
            </a:r>
            <a:r>
              <a:rPr lang="en-US" sz="1200" b="1">
                <a:solidFill>
                  <a:schemeClr val="tx1">
                    <a:lumMod val="50000"/>
                  </a:schemeClr>
                </a:solidFill>
              </a:rPr>
              <a:t>unscripted always up-to-date resolution flows driven by self-optimizing AI agents</a:t>
            </a:r>
            <a:r>
              <a:rPr lang="en-US" sz="1200">
                <a:solidFill>
                  <a:schemeClr val="tx1">
                    <a:lumMod val="50000"/>
                  </a:schemeClr>
                </a:solidFill>
              </a:rPr>
              <a:t> </a:t>
            </a:r>
            <a:endParaRPr lang="en-BE" sz="1200">
              <a:solidFill>
                <a:schemeClr val="tx1">
                  <a:lumMod val="50000"/>
                </a:schemeClr>
              </a:solidFill>
            </a:endParaRPr>
          </a:p>
          <a:p>
            <a:pPr algn="l"/>
            <a:endParaRPr lang="en-BE" sz="1200">
              <a:solidFill>
                <a:schemeClr val="accent6"/>
              </a:solidFill>
            </a:endParaRPr>
          </a:p>
        </p:txBody>
      </p:sp>
      <p:sp>
        <p:nvSpPr>
          <p:cNvPr id="27" name="TextBox 26">
            <a:extLst>
              <a:ext uri="{FF2B5EF4-FFF2-40B4-BE49-F238E27FC236}">
                <a16:creationId xmlns:a16="http://schemas.microsoft.com/office/drawing/2014/main" id="{70D0A23A-ABF6-12B2-35F6-A8D1666CEBFF}"/>
              </a:ext>
            </a:extLst>
          </p:cNvPr>
          <p:cNvSpPr txBox="1"/>
          <p:nvPr/>
        </p:nvSpPr>
        <p:spPr>
          <a:xfrm>
            <a:off x="4641885" y="3950523"/>
            <a:ext cx="2868900" cy="600363"/>
          </a:xfrm>
          <a:prstGeom prst="rect">
            <a:avLst/>
          </a:prstGeom>
        </p:spPr>
        <p:txBody>
          <a:bodyPr vert="horz" wrap="square" lIns="0" tIns="0" rIns="0" bIns="0" numCol="1" spcCol="0" rtlCol="0" anchor="t" anchorCtr="0">
            <a:noAutofit/>
          </a:bodyPr>
          <a:lstStyle/>
          <a:p>
            <a:pPr defTabSz="544125"/>
            <a:r>
              <a:rPr lang="en-US" sz="1200">
                <a:solidFill>
                  <a:schemeClr val="tx1">
                    <a:lumMod val="50000"/>
                  </a:schemeClr>
                </a:solidFill>
              </a:rPr>
              <a:t>AI assistant designed to streamline fiber repair operations by providing </a:t>
            </a:r>
            <a:r>
              <a:rPr lang="en-US" sz="1200" b="1">
                <a:solidFill>
                  <a:schemeClr val="tx1">
                    <a:lumMod val="50000"/>
                  </a:schemeClr>
                </a:solidFill>
              </a:rPr>
              <a:t>real-time guidance and automation</a:t>
            </a:r>
          </a:p>
        </p:txBody>
      </p:sp>
      <p:sp>
        <p:nvSpPr>
          <p:cNvPr id="28" name="TextBox 27">
            <a:extLst>
              <a:ext uri="{FF2B5EF4-FFF2-40B4-BE49-F238E27FC236}">
                <a16:creationId xmlns:a16="http://schemas.microsoft.com/office/drawing/2014/main" id="{0AFE6AE7-FBB3-4F64-5B84-471D1807705F}"/>
              </a:ext>
            </a:extLst>
          </p:cNvPr>
          <p:cNvSpPr txBox="1"/>
          <p:nvPr/>
        </p:nvSpPr>
        <p:spPr>
          <a:xfrm>
            <a:off x="4641885" y="4605893"/>
            <a:ext cx="3035154" cy="634175"/>
          </a:xfrm>
          <a:prstGeom prst="rect">
            <a:avLst/>
          </a:prstGeom>
        </p:spPr>
        <p:txBody>
          <a:bodyPr vert="horz" wrap="square" lIns="0" tIns="0" rIns="0" bIns="0" numCol="1" spcCol="0" rtlCol="0" anchor="t" anchorCtr="0">
            <a:noAutofit/>
          </a:bodyPr>
          <a:lstStyle/>
          <a:p>
            <a:pPr defTabSz="544125"/>
            <a:r>
              <a:rPr lang="en-US" sz="1200">
                <a:solidFill>
                  <a:schemeClr val="tx1">
                    <a:lumMod val="50000"/>
                  </a:schemeClr>
                </a:solidFill>
              </a:rPr>
              <a:t>Ensuring consistent fiber-work quality with </a:t>
            </a:r>
            <a:r>
              <a:rPr lang="en-US" sz="1200" b="1">
                <a:solidFill>
                  <a:schemeClr val="tx1">
                    <a:lumMod val="50000"/>
                  </a:schemeClr>
                </a:solidFill>
              </a:rPr>
              <a:t>image recognition</a:t>
            </a:r>
          </a:p>
        </p:txBody>
      </p:sp>
      <p:sp>
        <p:nvSpPr>
          <p:cNvPr id="30" name="TextBox 29">
            <a:extLst>
              <a:ext uri="{FF2B5EF4-FFF2-40B4-BE49-F238E27FC236}">
                <a16:creationId xmlns:a16="http://schemas.microsoft.com/office/drawing/2014/main" id="{FB0F8728-50F1-55FE-A9F1-976364A12258}"/>
              </a:ext>
            </a:extLst>
          </p:cNvPr>
          <p:cNvSpPr txBox="1"/>
          <p:nvPr/>
        </p:nvSpPr>
        <p:spPr>
          <a:xfrm>
            <a:off x="8404476" y="3950523"/>
            <a:ext cx="2868900" cy="600363"/>
          </a:xfrm>
          <a:prstGeom prst="rect">
            <a:avLst/>
          </a:prstGeom>
        </p:spPr>
        <p:txBody>
          <a:bodyPr vert="horz" wrap="square" lIns="0" tIns="0" rIns="0" bIns="0" numCol="1" spcCol="0" rtlCol="0" anchor="t" anchorCtr="0">
            <a:noAutofit/>
          </a:bodyPr>
          <a:lstStyle/>
          <a:p>
            <a:pPr fontAlgn="ctr"/>
            <a:r>
              <a:rPr lang="en-US" sz="1200">
                <a:solidFill>
                  <a:schemeClr val="tx1">
                    <a:lumMod val="50000"/>
                  </a:schemeClr>
                </a:solidFill>
              </a:rPr>
              <a:t>Implement AI agents to </a:t>
            </a:r>
            <a:r>
              <a:rPr lang="en-US" sz="1200" b="1">
                <a:solidFill>
                  <a:schemeClr val="tx1">
                    <a:lumMod val="50000"/>
                  </a:schemeClr>
                </a:solidFill>
              </a:rPr>
              <a:t>automate repetitive coding tasks</a:t>
            </a:r>
            <a:r>
              <a:rPr lang="en-US" sz="1200">
                <a:solidFill>
                  <a:schemeClr val="tx1">
                    <a:lumMod val="50000"/>
                  </a:schemeClr>
                </a:solidFill>
              </a:rPr>
              <a:t> end-to-end</a:t>
            </a:r>
            <a:endParaRPr lang="en-BE" sz="1200">
              <a:solidFill>
                <a:schemeClr val="tx1">
                  <a:lumMod val="50000"/>
                </a:schemeClr>
              </a:solidFill>
            </a:endParaRPr>
          </a:p>
        </p:txBody>
      </p:sp>
      <p:sp>
        <p:nvSpPr>
          <p:cNvPr id="31" name="TextBox 30">
            <a:extLst>
              <a:ext uri="{FF2B5EF4-FFF2-40B4-BE49-F238E27FC236}">
                <a16:creationId xmlns:a16="http://schemas.microsoft.com/office/drawing/2014/main" id="{66F7FE2E-7D4F-6A64-D1BA-02C0C3D3E893}"/>
              </a:ext>
            </a:extLst>
          </p:cNvPr>
          <p:cNvSpPr txBox="1"/>
          <p:nvPr/>
        </p:nvSpPr>
        <p:spPr>
          <a:xfrm>
            <a:off x="8404476" y="4605893"/>
            <a:ext cx="3035154" cy="634175"/>
          </a:xfrm>
          <a:prstGeom prst="rect">
            <a:avLst/>
          </a:prstGeom>
        </p:spPr>
        <p:txBody>
          <a:bodyPr vert="horz" wrap="square" lIns="0" tIns="0" rIns="0" bIns="0" numCol="1" spcCol="0" rtlCol="0" anchor="t" anchorCtr="0">
            <a:noAutofit/>
          </a:bodyPr>
          <a:lstStyle/>
          <a:p>
            <a:r>
              <a:rPr lang="en-US" sz="1200">
                <a:solidFill>
                  <a:schemeClr val="tx1">
                    <a:lumMod val="50000"/>
                  </a:schemeClr>
                </a:solidFill>
              </a:rPr>
              <a:t>Increase developer productivity by using GenAI tools (e.g., GitHub Copilot)</a:t>
            </a:r>
            <a:endParaRPr lang="en-US" sz="1200" b="1">
              <a:solidFill>
                <a:schemeClr val="tx1">
                  <a:lumMod val="50000"/>
                </a:schemeClr>
              </a:solidFill>
            </a:endParaRPr>
          </a:p>
        </p:txBody>
      </p:sp>
      <p:sp>
        <p:nvSpPr>
          <p:cNvPr id="32" name="TextBox 31">
            <a:extLst>
              <a:ext uri="{FF2B5EF4-FFF2-40B4-BE49-F238E27FC236}">
                <a16:creationId xmlns:a16="http://schemas.microsoft.com/office/drawing/2014/main" id="{1C08CF7D-18AC-9BE2-D6C8-FB5B53DD53F5}"/>
              </a:ext>
            </a:extLst>
          </p:cNvPr>
          <p:cNvSpPr txBox="1"/>
          <p:nvPr/>
        </p:nvSpPr>
        <p:spPr>
          <a:xfrm>
            <a:off x="8404476" y="5216627"/>
            <a:ext cx="3035154" cy="634175"/>
          </a:xfrm>
          <a:prstGeom prst="rect">
            <a:avLst/>
          </a:prstGeom>
        </p:spPr>
        <p:txBody>
          <a:bodyPr vert="horz" wrap="square" lIns="0" tIns="0" rIns="0" bIns="0" numCol="1" spcCol="0" rtlCol="0" anchor="t" anchorCtr="0">
            <a:noAutofit/>
          </a:bodyPr>
          <a:lstStyle/>
          <a:p>
            <a:r>
              <a:rPr lang="en-US" sz="1200">
                <a:solidFill>
                  <a:schemeClr val="tx1">
                    <a:lumMod val="50000"/>
                  </a:schemeClr>
                </a:solidFill>
              </a:rPr>
              <a:t>Use GenAI to </a:t>
            </a:r>
            <a:r>
              <a:rPr lang="en-US" sz="1200" b="1">
                <a:solidFill>
                  <a:schemeClr val="tx1">
                    <a:lumMod val="50000"/>
                  </a:schemeClr>
                </a:solidFill>
              </a:rPr>
              <a:t>convert legacy code </a:t>
            </a:r>
            <a:r>
              <a:rPr lang="en-US" sz="1200">
                <a:solidFill>
                  <a:schemeClr val="tx1">
                    <a:lumMod val="50000"/>
                  </a:schemeClr>
                </a:solidFill>
              </a:rPr>
              <a:t>during system outphasing</a:t>
            </a:r>
            <a:endParaRPr lang="en-BE" sz="1200">
              <a:solidFill>
                <a:schemeClr val="tx1">
                  <a:lumMod val="50000"/>
                </a:schemeClr>
              </a:solidFill>
            </a:endParaRPr>
          </a:p>
        </p:txBody>
      </p:sp>
    </p:spTree>
    <p:extLst>
      <p:ext uri="{BB962C8B-B14F-4D97-AF65-F5344CB8AC3E}">
        <p14:creationId xmlns:p14="http://schemas.microsoft.com/office/powerpoint/2010/main" val="21775525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lumMod val="95000"/>
          </a:schemeClr>
        </a:solidFill>
        <a:effectLst/>
      </p:bgPr>
    </p:bg>
    <p:spTree>
      <p:nvGrpSpPr>
        <p:cNvPr id="1" name="">
          <a:extLst>
            <a:ext uri="{FF2B5EF4-FFF2-40B4-BE49-F238E27FC236}">
              <a16:creationId xmlns:a16="http://schemas.microsoft.com/office/drawing/2014/main" id="{FFF49099-646C-B874-F3F9-2F1BDFC316F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C490405-018F-29B8-B5BB-0A3207221392}"/>
              </a:ext>
            </a:extLst>
          </p:cNvPr>
          <p:cNvGraphicFramePr>
            <a:graphicFrameLocks/>
          </p:cNvGraphicFramePr>
          <p:nvPr>
            <p:custDataLst>
              <p:tags r:id="rId1"/>
            </p:custDataLst>
            <p:extLst>
              <p:ext uri="{D42A27DB-BD31-4B8C-83A1-F6EECF244321}">
                <p14:modId xmlns:p14="http://schemas.microsoft.com/office/powerpoint/2010/main" val="658370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4" name="think-cell data - do not delete" hidden="1">
                        <a:extLst>
                          <a:ext uri="{FF2B5EF4-FFF2-40B4-BE49-F238E27FC236}">
                            <a16:creationId xmlns:a16="http://schemas.microsoft.com/office/drawing/2014/main" id="{4C490405-018F-29B8-B5BB-0A32072213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Rounded Corners 2">
            <a:extLst>
              <a:ext uri="{FF2B5EF4-FFF2-40B4-BE49-F238E27FC236}">
                <a16:creationId xmlns:a16="http://schemas.microsoft.com/office/drawing/2014/main" id="{9A1C4755-219D-0933-FB57-1624AFB9EDC4}"/>
              </a:ext>
            </a:extLst>
          </p:cNvPr>
          <p:cNvSpPr/>
          <p:nvPr/>
        </p:nvSpPr>
        <p:spPr>
          <a:xfrm>
            <a:off x="6559175" y="1459523"/>
            <a:ext cx="4722863" cy="4703884"/>
          </a:xfrm>
          <a:prstGeom prst="round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tx1"/>
              </a:solidFill>
              <a:latin typeface="Proximus" panose="00000500000000000000" pitchFamily="2" charset="0"/>
              <a:cs typeface="Proximus"/>
            </a:endParaRPr>
          </a:p>
        </p:txBody>
      </p:sp>
      <p:sp>
        <p:nvSpPr>
          <p:cNvPr id="2" name="Rectangle: Rounded Corners 1">
            <a:extLst>
              <a:ext uri="{FF2B5EF4-FFF2-40B4-BE49-F238E27FC236}">
                <a16:creationId xmlns:a16="http://schemas.microsoft.com/office/drawing/2014/main" id="{E5872D33-CE7C-1EDF-CE3A-AF8B9E252978}"/>
              </a:ext>
            </a:extLst>
          </p:cNvPr>
          <p:cNvSpPr/>
          <p:nvPr/>
        </p:nvSpPr>
        <p:spPr>
          <a:xfrm>
            <a:off x="904213" y="1459523"/>
            <a:ext cx="4722863" cy="4703884"/>
          </a:xfrm>
          <a:prstGeom prst="round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tx1"/>
              </a:solidFill>
              <a:latin typeface="Proximus" panose="00000500000000000000" pitchFamily="2" charset="0"/>
              <a:cs typeface="Proximus"/>
            </a:endParaRPr>
          </a:p>
        </p:txBody>
      </p:sp>
      <p:sp>
        <p:nvSpPr>
          <p:cNvPr id="6" name="Title 2">
            <a:extLst>
              <a:ext uri="{FF2B5EF4-FFF2-40B4-BE49-F238E27FC236}">
                <a16:creationId xmlns:a16="http://schemas.microsoft.com/office/drawing/2014/main" id="{B6240F2B-511F-A202-1BFE-4A64993806B4}"/>
              </a:ext>
            </a:extLst>
          </p:cNvPr>
          <p:cNvSpPr>
            <a:spLocks noGrp="1"/>
          </p:cNvSpPr>
          <p:nvPr>
            <p:ph type="title"/>
          </p:nvPr>
        </p:nvSpPr>
        <p:spPr>
          <a:xfrm>
            <a:off x="656984" y="503119"/>
            <a:ext cx="11335724" cy="738664"/>
          </a:xfrm>
        </p:spPr>
        <p:txBody>
          <a:bodyPr vert="horz" wrap="square" lIns="0" tIns="0" rIns="0" bIns="0" rtlCol="0" anchor="t" anchorCtr="0">
            <a:spAutoFit/>
          </a:bodyPr>
          <a:lstStyle/>
          <a:p>
            <a:r>
              <a:rPr lang="en-US" sz="2400">
                <a:solidFill>
                  <a:schemeClr val="accent6"/>
                </a:solidFill>
                <a:latin typeface="Proximus ExtraBold" panose="00000900000000000000" pitchFamily="2" charset="0"/>
              </a:rPr>
              <a:t>AI is already embedded in e2e software development cycle, but also creating new “productivity paradox”</a:t>
            </a:r>
          </a:p>
        </p:txBody>
      </p:sp>
      <p:sp>
        <p:nvSpPr>
          <p:cNvPr id="11" name="TextBox 10">
            <a:extLst>
              <a:ext uri="{FF2B5EF4-FFF2-40B4-BE49-F238E27FC236}">
                <a16:creationId xmlns:a16="http://schemas.microsoft.com/office/drawing/2014/main" id="{B7B0C4BC-0845-1D78-1DA9-6FC4F1DC085C}"/>
              </a:ext>
            </a:extLst>
          </p:cNvPr>
          <p:cNvSpPr txBox="1"/>
          <p:nvPr/>
        </p:nvSpPr>
        <p:spPr>
          <a:xfrm>
            <a:off x="904213" y="4990758"/>
            <a:ext cx="3028898" cy="584775"/>
          </a:xfrm>
          <a:prstGeom prst="rect">
            <a:avLst/>
          </a:prstGeom>
          <a:noFill/>
        </p:spPr>
        <p:txBody>
          <a:bodyPr wrap="square" lIns="91440" tIns="45720" rIns="91440" bIns="45720" anchor="t">
            <a:spAutoFit/>
          </a:bodyPr>
          <a:lstStyle>
            <a:defPPr>
              <a:defRPr lang="en-BE"/>
            </a:defPPr>
            <a:lvl1pPr defTabSz="1624517">
              <a:defRPr sz="1600" b="1">
                <a:solidFill>
                  <a:schemeClr val="bg1">
                    <a:lumMod val="50000"/>
                  </a:schemeClr>
                </a:solidFill>
                <a:latin typeface="Proximus Bold" panose="00000500000000000000" pitchFamily="2" charset="0"/>
              </a:defRPr>
            </a:lvl1pPr>
          </a:lstStyle>
          <a:p>
            <a:pPr algn="r"/>
            <a:r>
              <a:rPr lang="en-US" b="0">
                <a:solidFill>
                  <a:schemeClr val="accent6"/>
                </a:solidFill>
                <a:latin typeface="+mn-lt"/>
              </a:rPr>
              <a:t>Tangible </a:t>
            </a:r>
            <a:r>
              <a:rPr lang="en-BE">
                <a:solidFill>
                  <a:schemeClr val="accent6"/>
                </a:solidFill>
                <a:latin typeface="Proximus Bold" panose="00000800000000000000" pitchFamily="2" charset="0"/>
              </a:rPr>
              <a:t>€</a:t>
            </a:r>
            <a:r>
              <a:rPr lang="en-US">
                <a:solidFill>
                  <a:schemeClr val="accent6"/>
                </a:solidFill>
                <a:latin typeface="Proximus Bold" panose="00000800000000000000" pitchFamily="2" charset="0"/>
              </a:rPr>
              <a:t> savings </a:t>
            </a:r>
            <a:r>
              <a:rPr lang="en-US" b="0">
                <a:solidFill>
                  <a:schemeClr val="accent6"/>
                </a:solidFill>
                <a:latin typeface="+mn-lt"/>
              </a:rPr>
              <a:t>already visible</a:t>
            </a:r>
            <a:endParaRPr lang="en-US" b="0" noProof="0">
              <a:solidFill>
                <a:schemeClr val="accent6"/>
              </a:solidFill>
              <a:latin typeface="+mn-lt"/>
            </a:endParaRPr>
          </a:p>
        </p:txBody>
      </p:sp>
      <p:sp>
        <p:nvSpPr>
          <p:cNvPr id="21" name="TextBox 20">
            <a:extLst>
              <a:ext uri="{FF2B5EF4-FFF2-40B4-BE49-F238E27FC236}">
                <a16:creationId xmlns:a16="http://schemas.microsoft.com/office/drawing/2014/main" id="{6F5DBA04-7F93-6D9D-B749-94F9E328B7DB}"/>
              </a:ext>
            </a:extLst>
          </p:cNvPr>
          <p:cNvSpPr txBox="1"/>
          <p:nvPr/>
        </p:nvSpPr>
        <p:spPr>
          <a:xfrm>
            <a:off x="800030" y="4094726"/>
            <a:ext cx="3134108" cy="338554"/>
          </a:xfrm>
          <a:prstGeom prst="rect">
            <a:avLst/>
          </a:prstGeom>
          <a:noFill/>
        </p:spPr>
        <p:txBody>
          <a:bodyPr wrap="square" lIns="91440" tIns="45720" rIns="91440" bIns="45720" anchor="t">
            <a:spAutoFit/>
          </a:bodyPr>
          <a:lstStyle/>
          <a:p>
            <a:pPr algn="r" defTabSz="1624517">
              <a:defRPr/>
            </a:pPr>
            <a:r>
              <a:rPr lang="en-US" sz="1600" noProof="0">
                <a:solidFill>
                  <a:srgbClr val="282233"/>
                </a:solidFill>
                <a:latin typeface="Proximus"/>
              </a:rPr>
              <a:t>Strong </a:t>
            </a:r>
            <a:r>
              <a:rPr lang="en-US" sz="1600" b="1" noProof="0">
                <a:solidFill>
                  <a:srgbClr val="282233"/>
                </a:solidFill>
                <a:latin typeface="Proximus"/>
              </a:rPr>
              <a:t>Adoption</a:t>
            </a:r>
            <a:endParaRPr lang="en-US" sz="1600" b="1" noProof="0">
              <a:solidFill>
                <a:srgbClr val="282233"/>
              </a:solidFill>
              <a:latin typeface="Proximus Bold"/>
            </a:endParaRPr>
          </a:p>
        </p:txBody>
      </p:sp>
      <p:sp>
        <p:nvSpPr>
          <p:cNvPr id="13" name="Oval 12">
            <a:extLst>
              <a:ext uri="{FF2B5EF4-FFF2-40B4-BE49-F238E27FC236}">
                <a16:creationId xmlns:a16="http://schemas.microsoft.com/office/drawing/2014/main" id="{B7EFF185-C9BF-EEE8-26BF-BB2324157AC6}"/>
              </a:ext>
            </a:extLst>
          </p:cNvPr>
          <p:cNvSpPr/>
          <p:nvPr/>
        </p:nvSpPr>
        <p:spPr>
          <a:xfrm>
            <a:off x="4053136" y="4923145"/>
            <a:ext cx="720000" cy="720000"/>
          </a:xfrm>
          <a:prstGeom prst="ellipse">
            <a:avLst/>
          </a:prstGeom>
          <a:solidFill>
            <a:schemeClr val="bg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200" b="1" noProof="0">
              <a:solidFill>
                <a:srgbClr val="282233"/>
              </a:solidFill>
              <a:latin typeface="Proximus Bold" panose="00000500000000000000" pitchFamily="2" charset="0"/>
              <a:cs typeface="Proximus Bold"/>
            </a:endParaRPr>
          </a:p>
        </p:txBody>
      </p:sp>
      <p:pic>
        <p:nvPicPr>
          <p:cNvPr id="27" name="Graphic 26" descr="Coins outline">
            <a:extLst>
              <a:ext uri="{FF2B5EF4-FFF2-40B4-BE49-F238E27FC236}">
                <a16:creationId xmlns:a16="http://schemas.microsoft.com/office/drawing/2014/main" id="{0341DE85-B089-2625-A089-CCC4CD1B6DF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112420" y="4982430"/>
            <a:ext cx="601430" cy="601430"/>
          </a:xfrm>
          <a:prstGeom prst="rect">
            <a:avLst/>
          </a:prstGeom>
        </p:spPr>
      </p:pic>
      <p:sp>
        <p:nvSpPr>
          <p:cNvPr id="23" name="Oval 22">
            <a:extLst>
              <a:ext uri="{FF2B5EF4-FFF2-40B4-BE49-F238E27FC236}">
                <a16:creationId xmlns:a16="http://schemas.microsoft.com/office/drawing/2014/main" id="{B8660596-E3F2-FDAB-F30C-EDD342E4A571}"/>
              </a:ext>
            </a:extLst>
          </p:cNvPr>
          <p:cNvSpPr/>
          <p:nvPr/>
        </p:nvSpPr>
        <p:spPr>
          <a:xfrm>
            <a:off x="4042958" y="3904003"/>
            <a:ext cx="720000" cy="720000"/>
          </a:xfrm>
          <a:prstGeom prst="ellipse">
            <a:avLst/>
          </a:prstGeom>
          <a:solidFill>
            <a:schemeClr val="bg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200" b="1" noProof="0">
              <a:solidFill>
                <a:srgbClr val="282233"/>
              </a:solidFill>
              <a:latin typeface="Proximus Bold" panose="00000500000000000000" pitchFamily="2" charset="0"/>
              <a:cs typeface="Proximus Bold"/>
            </a:endParaRPr>
          </a:p>
        </p:txBody>
      </p:sp>
      <p:pic>
        <p:nvPicPr>
          <p:cNvPr id="29" name="Graphic 28" descr="Upward trend outline">
            <a:extLst>
              <a:ext uri="{FF2B5EF4-FFF2-40B4-BE49-F238E27FC236}">
                <a16:creationId xmlns:a16="http://schemas.microsoft.com/office/drawing/2014/main" id="{AECF35B7-5D3B-A755-7537-E8D31B03548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148479" y="3984371"/>
            <a:ext cx="529315" cy="529315"/>
          </a:xfrm>
          <a:prstGeom prst="rect">
            <a:avLst/>
          </a:prstGeom>
        </p:spPr>
      </p:pic>
      <p:sp>
        <p:nvSpPr>
          <p:cNvPr id="33" name="TextBox 32">
            <a:extLst>
              <a:ext uri="{FF2B5EF4-FFF2-40B4-BE49-F238E27FC236}">
                <a16:creationId xmlns:a16="http://schemas.microsoft.com/office/drawing/2014/main" id="{59068221-4953-6CDF-F66C-0AFBADC35493}"/>
              </a:ext>
            </a:extLst>
          </p:cNvPr>
          <p:cNvSpPr txBox="1"/>
          <p:nvPr/>
        </p:nvSpPr>
        <p:spPr>
          <a:xfrm>
            <a:off x="8280008" y="4990758"/>
            <a:ext cx="3028898" cy="584775"/>
          </a:xfrm>
          <a:prstGeom prst="rect">
            <a:avLst/>
          </a:prstGeom>
          <a:noFill/>
        </p:spPr>
        <p:txBody>
          <a:bodyPr wrap="square" lIns="91440" tIns="45720" rIns="91440" bIns="45720" anchor="t">
            <a:spAutoFit/>
          </a:bodyPr>
          <a:lstStyle>
            <a:defPPr>
              <a:defRPr lang="en-BE"/>
            </a:defPPr>
            <a:lvl1pPr defTabSz="1624517">
              <a:defRPr sz="1600" b="1">
                <a:solidFill>
                  <a:schemeClr val="bg1">
                    <a:lumMod val="50000"/>
                  </a:schemeClr>
                </a:solidFill>
                <a:latin typeface="Proximus Bold" panose="00000500000000000000" pitchFamily="2" charset="0"/>
              </a:defRPr>
            </a:lvl1pPr>
          </a:lstStyle>
          <a:p>
            <a:r>
              <a:rPr lang="en-US" b="0">
                <a:solidFill>
                  <a:schemeClr val="accent6"/>
                </a:solidFill>
                <a:latin typeface="Proximus Bold" panose="00000800000000000000" pitchFamily="2" charset="0"/>
              </a:rPr>
              <a:t>Output</a:t>
            </a:r>
            <a:r>
              <a:rPr lang="en-US" b="0">
                <a:solidFill>
                  <a:schemeClr val="accent6"/>
                </a:solidFill>
                <a:latin typeface="+mn-lt"/>
              </a:rPr>
              <a:t> feels similar, not transformed</a:t>
            </a:r>
            <a:endParaRPr lang="en-US" b="0" noProof="0">
              <a:solidFill>
                <a:schemeClr val="accent6"/>
              </a:solidFill>
              <a:latin typeface="+mn-lt"/>
            </a:endParaRPr>
          </a:p>
        </p:txBody>
      </p:sp>
      <p:sp>
        <p:nvSpPr>
          <p:cNvPr id="36" name="TextBox 35">
            <a:extLst>
              <a:ext uri="{FF2B5EF4-FFF2-40B4-BE49-F238E27FC236}">
                <a16:creationId xmlns:a16="http://schemas.microsoft.com/office/drawing/2014/main" id="{6DF3B17A-1C1A-92A9-17C7-5B053991BF4D}"/>
              </a:ext>
            </a:extLst>
          </p:cNvPr>
          <p:cNvSpPr txBox="1"/>
          <p:nvPr/>
        </p:nvSpPr>
        <p:spPr>
          <a:xfrm>
            <a:off x="8257861" y="3971616"/>
            <a:ext cx="2565469" cy="584775"/>
          </a:xfrm>
          <a:prstGeom prst="rect">
            <a:avLst/>
          </a:prstGeom>
          <a:noFill/>
        </p:spPr>
        <p:txBody>
          <a:bodyPr wrap="square" lIns="91440" tIns="45720" rIns="91440" bIns="45720" anchor="t">
            <a:spAutoFit/>
          </a:bodyPr>
          <a:lstStyle/>
          <a:p>
            <a:pPr defTabSz="1624517">
              <a:defRPr/>
            </a:pPr>
            <a:r>
              <a:rPr lang="en-US" sz="1600">
                <a:solidFill>
                  <a:schemeClr val="accent6"/>
                </a:solidFill>
              </a:rPr>
              <a:t>Efficiency gains </a:t>
            </a:r>
            <a:r>
              <a:rPr lang="en-BE" sz="1600">
                <a:solidFill>
                  <a:schemeClr val="accent6"/>
                </a:solidFill>
              </a:rPr>
              <a:t>≠</a:t>
            </a:r>
            <a:r>
              <a:rPr lang="en-US" sz="1600">
                <a:solidFill>
                  <a:schemeClr val="accent6"/>
                </a:solidFill>
              </a:rPr>
              <a:t> </a:t>
            </a:r>
            <a:r>
              <a:rPr lang="en-US" sz="1600">
                <a:solidFill>
                  <a:schemeClr val="accent6"/>
                </a:solidFill>
                <a:latin typeface="Proximus Bold" panose="00000800000000000000" pitchFamily="2" charset="0"/>
              </a:rPr>
              <a:t>step-change in speed</a:t>
            </a:r>
            <a:endParaRPr lang="en-US" sz="1400" b="1" noProof="0">
              <a:solidFill>
                <a:schemeClr val="accent6"/>
              </a:solidFill>
              <a:latin typeface="Proximus Bold" panose="00000800000000000000" pitchFamily="2" charset="0"/>
            </a:endParaRPr>
          </a:p>
        </p:txBody>
      </p:sp>
      <p:sp>
        <p:nvSpPr>
          <p:cNvPr id="37" name="Oval 36">
            <a:extLst>
              <a:ext uri="{FF2B5EF4-FFF2-40B4-BE49-F238E27FC236}">
                <a16:creationId xmlns:a16="http://schemas.microsoft.com/office/drawing/2014/main" id="{B7329004-8C07-E711-FF86-9349B4ACDB87}"/>
              </a:ext>
            </a:extLst>
          </p:cNvPr>
          <p:cNvSpPr/>
          <p:nvPr/>
        </p:nvSpPr>
        <p:spPr>
          <a:xfrm>
            <a:off x="7431813" y="3904003"/>
            <a:ext cx="720000" cy="720000"/>
          </a:xfrm>
          <a:prstGeom prst="ellipse">
            <a:avLst/>
          </a:prstGeom>
          <a:solidFill>
            <a:schemeClr val="bg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200" b="1" noProof="0">
              <a:solidFill>
                <a:srgbClr val="282233"/>
              </a:solidFill>
              <a:latin typeface="Proximus Bold" panose="00000500000000000000" pitchFamily="2" charset="0"/>
              <a:cs typeface="Proximus Bold"/>
            </a:endParaRPr>
          </a:p>
        </p:txBody>
      </p:sp>
      <p:pic>
        <p:nvPicPr>
          <p:cNvPr id="42" name="Graphic 41" descr="Speedometer Middle outline">
            <a:extLst>
              <a:ext uri="{FF2B5EF4-FFF2-40B4-BE49-F238E27FC236}">
                <a16:creationId xmlns:a16="http://schemas.microsoft.com/office/drawing/2014/main" id="{AE4027F7-6BB0-1278-F0B0-B894B97CDEE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534599" y="3918855"/>
            <a:ext cx="514425" cy="514425"/>
          </a:xfrm>
          <a:prstGeom prst="rect">
            <a:avLst/>
          </a:prstGeom>
        </p:spPr>
      </p:pic>
      <p:sp>
        <p:nvSpPr>
          <p:cNvPr id="34" name="Oval 33">
            <a:extLst>
              <a:ext uri="{FF2B5EF4-FFF2-40B4-BE49-F238E27FC236}">
                <a16:creationId xmlns:a16="http://schemas.microsoft.com/office/drawing/2014/main" id="{A1F1D958-1F0B-7D31-EE2F-7ED2C8548AF1}"/>
              </a:ext>
            </a:extLst>
          </p:cNvPr>
          <p:cNvSpPr/>
          <p:nvPr/>
        </p:nvSpPr>
        <p:spPr>
          <a:xfrm>
            <a:off x="7431812" y="4923145"/>
            <a:ext cx="720000" cy="720000"/>
          </a:xfrm>
          <a:prstGeom prst="ellipse">
            <a:avLst/>
          </a:prstGeom>
          <a:solidFill>
            <a:schemeClr val="bg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US" sz="1200" b="1" noProof="0">
              <a:solidFill>
                <a:srgbClr val="282233"/>
              </a:solidFill>
              <a:latin typeface="Proximus Bold" panose="00000500000000000000" pitchFamily="2" charset="0"/>
              <a:cs typeface="Proximus Bold"/>
            </a:endParaRPr>
          </a:p>
        </p:txBody>
      </p:sp>
      <p:sp>
        <p:nvSpPr>
          <p:cNvPr id="43" name="Equals 42">
            <a:extLst>
              <a:ext uri="{FF2B5EF4-FFF2-40B4-BE49-F238E27FC236}">
                <a16:creationId xmlns:a16="http://schemas.microsoft.com/office/drawing/2014/main" id="{2618722B-DE38-08BD-B2C1-7D20AEC8F9C0}"/>
              </a:ext>
            </a:extLst>
          </p:cNvPr>
          <p:cNvSpPr/>
          <p:nvPr/>
        </p:nvSpPr>
        <p:spPr>
          <a:xfrm>
            <a:off x="7612205" y="5141891"/>
            <a:ext cx="357879" cy="282507"/>
          </a:xfrm>
          <a:prstGeom prst="mathEqual">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tx1"/>
              </a:solidFill>
              <a:latin typeface="Proximus" panose="00000500000000000000" pitchFamily="2" charset="0"/>
              <a:cs typeface="Proximus"/>
            </a:endParaRPr>
          </a:p>
        </p:txBody>
      </p:sp>
      <p:cxnSp>
        <p:nvCxnSpPr>
          <p:cNvPr id="44" name="Straight Connector 43">
            <a:extLst>
              <a:ext uri="{FF2B5EF4-FFF2-40B4-BE49-F238E27FC236}">
                <a16:creationId xmlns:a16="http://schemas.microsoft.com/office/drawing/2014/main" id="{76C53002-2FEB-8BCA-C7B9-DBCDE7B1635C}"/>
              </a:ext>
            </a:extLst>
          </p:cNvPr>
          <p:cNvCxnSpPr>
            <a:cxnSpLocks/>
          </p:cNvCxnSpPr>
          <p:nvPr/>
        </p:nvCxnSpPr>
        <p:spPr>
          <a:xfrm>
            <a:off x="6093125" y="1745766"/>
            <a:ext cx="0" cy="4316227"/>
          </a:xfrm>
          <a:prstGeom prst="line">
            <a:avLst/>
          </a:prstGeom>
          <a:ln w="12700">
            <a:solidFill>
              <a:schemeClr val="accent5"/>
            </a:solidFill>
            <a:prstDash val="sysDot"/>
            <a:tailEnd type="none"/>
          </a:ln>
          <a:effectLst/>
        </p:spPr>
        <p:style>
          <a:lnRef idx="2">
            <a:schemeClr val="accent1"/>
          </a:lnRef>
          <a:fillRef idx="0">
            <a:schemeClr val="accent1"/>
          </a:fillRef>
          <a:effectRef idx="1">
            <a:schemeClr val="accent1"/>
          </a:effectRef>
          <a:fontRef idx="minor">
            <a:schemeClr val="tx1"/>
          </a:fontRef>
        </p:style>
      </p:cxnSp>
      <p:pic>
        <p:nvPicPr>
          <p:cNvPr id="1026" name="Picture 2" descr="Increase-Graph Icons - Free SVG &amp; PNG Increase-Graph Images - Noun Project">
            <a:extLst>
              <a:ext uri="{FF2B5EF4-FFF2-40B4-BE49-F238E27FC236}">
                <a16:creationId xmlns:a16="http://schemas.microsoft.com/office/drawing/2014/main" id="{FC2D638E-82A8-5D80-7E07-641808C2806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207420" y="1881544"/>
            <a:ext cx="1905000" cy="1905000"/>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Group 18">
            <a:extLst>
              <a:ext uri="{FF2B5EF4-FFF2-40B4-BE49-F238E27FC236}">
                <a16:creationId xmlns:a16="http://schemas.microsoft.com/office/drawing/2014/main" id="{BE06F8CE-4897-6161-6F16-1BF30DCD21DC}"/>
              </a:ext>
            </a:extLst>
          </p:cNvPr>
          <p:cNvGrpSpPr/>
          <p:nvPr/>
        </p:nvGrpSpPr>
        <p:grpSpPr>
          <a:xfrm>
            <a:off x="8299477" y="2063252"/>
            <a:ext cx="1241119" cy="1239716"/>
            <a:chOff x="8299477" y="1790691"/>
            <a:chExt cx="1241119" cy="1239716"/>
          </a:xfrm>
        </p:grpSpPr>
        <p:cxnSp>
          <p:nvCxnSpPr>
            <p:cNvPr id="5" name="Straight Arrow Connector 4">
              <a:extLst>
                <a:ext uri="{FF2B5EF4-FFF2-40B4-BE49-F238E27FC236}">
                  <a16:creationId xmlns:a16="http://schemas.microsoft.com/office/drawing/2014/main" id="{31294C46-65EA-F0F1-194F-2C886D8C02D8}"/>
                </a:ext>
              </a:extLst>
            </p:cNvPr>
            <p:cNvCxnSpPr>
              <a:cxnSpLocks/>
            </p:cNvCxnSpPr>
            <p:nvPr/>
          </p:nvCxnSpPr>
          <p:spPr>
            <a:xfrm flipV="1">
              <a:off x="8299477" y="1790691"/>
              <a:ext cx="0" cy="1239716"/>
            </a:xfrm>
            <a:prstGeom prst="straightConnector1">
              <a:avLst/>
            </a:prstGeom>
            <a:ln w="25400" cap="rnd">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23DC537E-23C0-1A7F-2518-2C3AEA5AA4B6}"/>
                </a:ext>
              </a:extLst>
            </p:cNvPr>
            <p:cNvCxnSpPr>
              <a:cxnSpLocks/>
            </p:cNvCxnSpPr>
            <p:nvPr/>
          </p:nvCxnSpPr>
          <p:spPr>
            <a:xfrm rot="5400000" flipV="1">
              <a:off x="8920738" y="2410549"/>
              <a:ext cx="0" cy="1239716"/>
            </a:xfrm>
            <a:prstGeom prst="straightConnector1">
              <a:avLst/>
            </a:prstGeom>
            <a:ln w="25400" cap="rnd">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AD11E146-665F-1F9B-AD15-F2A952542A68}"/>
                </a:ext>
              </a:extLst>
            </p:cNvPr>
            <p:cNvSpPr/>
            <p:nvPr/>
          </p:nvSpPr>
          <p:spPr>
            <a:xfrm>
              <a:off x="8431824" y="2628902"/>
              <a:ext cx="140671" cy="269639"/>
            </a:xfrm>
            <a:prstGeom prst="rect">
              <a:avLst/>
            </a:prstGeom>
            <a:solidFill>
              <a:schemeClr val="tx1"/>
            </a:solidFill>
            <a:ln w="19050">
              <a:solidFill>
                <a:schemeClr val="accent5"/>
              </a:solid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tx1"/>
                </a:solidFill>
                <a:latin typeface="Proximus" panose="00000500000000000000" pitchFamily="2" charset="0"/>
                <a:cs typeface="Proximus"/>
              </a:endParaRPr>
            </a:p>
          </p:txBody>
        </p:sp>
        <p:sp>
          <p:nvSpPr>
            <p:cNvPr id="14" name="Rectangle 13">
              <a:extLst>
                <a:ext uri="{FF2B5EF4-FFF2-40B4-BE49-F238E27FC236}">
                  <a16:creationId xmlns:a16="http://schemas.microsoft.com/office/drawing/2014/main" id="{CCD405D8-58A4-06F9-EC28-A5763D6CA69F}"/>
                </a:ext>
              </a:extLst>
            </p:cNvPr>
            <p:cNvSpPr/>
            <p:nvPr/>
          </p:nvSpPr>
          <p:spPr>
            <a:xfrm>
              <a:off x="8634505" y="2628902"/>
              <a:ext cx="140671" cy="269639"/>
            </a:xfrm>
            <a:prstGeom prst="rect">
              <a:avLst/>
            </a:prstGeom>
            <a:solidFill>
              <a:schemeClr val="tx1"/>
            </a:solidFill>
            <a:ln w="19050">
              <a:solidFill>
                <a:schemeClr val="accent5"/>
              </a:solid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tx1"/>
                </a:solidFill>
                <a:latin typeface="Proximus" panose="00000500000000000000" pitchFamily="2" charset="0"/>
                <a:cs typeface="Proximus"/>
              </a:endParaRPr>
            </a:p>
          </p:txBody>
        </p:sp>
        <p:sp>
          <p:nvSpPr>
            <p:cNvPr id="15" name="Rectangle 14">
              <a:extLst>
                <a:ext uri="{FF2B5EF4-FFF2-40B4-BE49-F238E27FC236}">
                  <a16:creationId xmlns:a16="http://schemas.microsoft.com/office/drawing/2014/main" id="{EA8A5200-3BEB-053E-BE3C-7319D5229739}"/>
                </a:ext>
              </a:extLst>
            </p:cNvPr>
            <p:cNvSpPr/>
            <p:nvPr/>
          </p:nvSpPr>
          <p:spPr>
            <a:xfrm>
              <a:off x="8837186" y="2625981"/>
              <a:ext cx="140671" cy="269639"/>
            </a:xfrm>
            <a:prstGeom prst="rect">
              <a:avLst/>
            </a:prstGeom>
            <a:solidFill>
              <a:schemeClr val="tx1"/>
            </a:solidFill>
            <a:ln w="19050">
              <a:solidFill>
                <a:schemeClr val="accent5"/>
              </a:solid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tx1"/>
                </a:solidFill>
                <a:latin typeface="Proximus" panose="00000500000000000000" pitchFamily="2" charset="0"/>
                <a:cs typeface="Proximus"/>
              </a:endParaRPr>
            </a:p>
          </p:txBody>
        </p:sp>
        <p:sp>
          <p:nvSpPr>
            <p:cNvPr id="16" name="Rectangle 15">
              <a:extLst>
                <a:ext uri="{FF2B5EF4-FFF2-40B4-BE49-F238E27FC236}">
                  <a16:creationId xmlns:a16="http://schemas.microsoft.com/office/drawing/2014/main" id="{EE5CF2BC-3E92-B433-EEDC-A76BC8F96903}"/>
                </a:ext>
              </a:extLst>
            </p:cNvPr>
            <p:cNvSpPr/>
            <p:nvPr/>
          </p:nvSpPr>
          <p:spPr>
            <a:xfrm>
              <a:off x="9039867" y="2635049"/>
              <a:ext cx="140671" cy="269639"/>
            </a:xfrm>
            <a:prstGeom prst="rect">
              <a:avLst/>
            </a:prstGeom>
            <a:solidFill>
              <a:schemeClr val="tx1"/>
            </a:solidFill>
            <a:ln w="19050">
              <a:solidFill>
                <a:schemeClr val="accent5"/>
              </a:solid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tx1"/>
                </a:solidFill>
                <a:latin typeface="Proximus" panose="00000500000000000000" pitchFamily="2" charset="0"/>
                <a:cs typeface="Proximus"/>
              </a:endParaRPr>
            </a:p>
          </p:txBody>
        </p:sp>
        <p:cxnSp>
          <p:nvCxnSpPr>
            <p:cNvPr id="18" name="Straight Arrow Connector 17">
              <a:extLst>
                <a:ext uri="{FF2B5EF4-FFF2-40B4-BE49-F238E27FC236}">
                  <a16:creationId xmlns:a16="http://schemas.microsoft.com/office/drawing/2014/main" id="{2609FE97-CC11-A801-71D0-E26AC701FA99}"/>
                </a:ext>
              </a:extLst>
            </p:cNvPr>
            <p:cNvCxnSpPr/>
            <p:nvPr/>
          </p:nvCxnSpPr>
          <p:spPr>
            <a:xfrm>
              <a:off x="8423945" y="2561483"/>
              <a:ext cx="748714" cy="0"/>
            </a:xfrm>
            <a:prstGeom prst="straightConnector1">
              <a:avLst/>
            </a:prstGeom>
            <a:ln w="25400" cap="rnd">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072451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lumMod val="95000"/>
          </a:schemeClr>
        </a:solidFill>
        <a:effectLst/>
      </p:bgPr>
    </p:bg>
    <p:spTree>
      <p:nvGrpSpPr>
        <p:cNvPr id="1" name="">
          <a:extLst>
            <a:ext uri="{FF2B5EF4-FFF2-40B4-BE49-F238E27FC236}">
              <a16:creationId xmlns:a16="http://schemas.microsoft.com/office/drawing/2014/main" id="{E8A90BF5-110C-9E7E-0F64-00F7C165C785}"/>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7C5D237-0B71-8110-4147-01AD17E9156A}"/>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4" name="think-cell data - do not delete" hidden="1">
                        <a:extLst>
                          <a:ext uri="{FF2B5EF4-FFF2-40B4-BE49-F238E27FC236}">
                            <a16:creationId xmlns:a16="http://schemas.microsoft.com/office/drawing/2014/main" id="{77C5D237-0B71-8110-4147-01AD17E915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Rounded Corners 7">
            <a:extLst>
              <a:ext uri="{FF2B5EF4-FFF2-40B4-BE49-F238E27FC236}">
                <a16:creationId xmlns:a16="http://schemas.microsoft.com/office/drawing/2014/main" id="{F8423979-3977-56C0-25F8-B3CF36D304EB}"/>
              </a:ext>
            </a:extLst>
          </p:cNvPr>
          <p:cNvSpPr/>
          <p:nvPr/>
        </p:nvSpPr>
        <p:spPr>
          <a:xfrm>
            <a:off x="1863501" y="1543282"/>
            <a:ext cx="8740021" cy="443331"/>
          </a:xfrm>
          <a:prstGeom prst="roundRect">
            <a:avLst/>
          </a:prstGeom>
          <a:solidFill>
            <a:schemeClr val="tx1"/>
          </a:solidFill>
          <a:ln>
            <a:noFill/>
            <a:prstDash val="solid"/>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Proximus ExtraBold"/>
              <a:ea typeface="+mn-ea"/>
              <a:cs typeface="Proximus Bold"/>
            </a:endParaRPr>
          </a:p>
        </p:txBody>
      </p:sp>
      <p:sp>
        <p:nvSpPr>
          <p:cNvPr id="10" name="Oval 9">
            <a:extLst>
              <a:ext uri="{FF2B5EF4-FFF2-40B4-BE49-F238E27FC236}">
                <a16:creationId xmlns:a16="http://schemas.microsoft.com/office/drawing/2014/main" id="{2DF98754-B041-3905-2132-77C53405CC5B}"/>
              </a:ext>
            </a:extLst>
          </p:cNvPr>
          <p:cNvSpPr/>
          <p:nvPr/>
        </p:nvSpPr>
        <p:spPr>
          <a:xfrm>
            <a:off x="1681623" y="1546885"/>
            <a:ext cx="447472" cy="43038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Proximus ExtraBold"/>
                <a:ea typeface="+mn-ea"/>
                <a:cs typeface="Proximus Bold"/>
              </a:rPr>
              <a:t>1</a:t>
            </a:r>
          </a:p>
        </p:txBody>
      </p:sp>
      <p:sp>
        <p:nvSpPr>
          <p:cNvPr id="11" name="Rectangle 10">
            <a:extLst>
              <a:ext uri="{FF2B5EF4-FFF2-40B4-BE49-F238E27FC236}">
                <a16:creationId xmlns:a16="http://schemas.microsoft.com/office/drawing/2014/main" id="{EDC7C6F3-6E5C-BE94-5FF1-ADDBD8DA9E6F}"/>
              </a:ext>
            </a:extLst>
          </p:cNvPr>
          <p:cNvSpPr/>
          <p:nvPr/>
        </p:nvSpPr>
        <p:spPr>
          <a:xfrm>
            <a:off x="2394687" y="1568059"/>
            <a:ext cx="7188928" cy="388033"/>
          </a:xfrm>
          <a:prstGeom prst="rect">
            <a:avLst/>
          </a:prstGeom>
          <a:noFill/>
          <a:ln w="9525" cap="flat" cmpd="sng" algn="ctr">
            <a:noFill/>
            <a:prstDash val="solid"/>
          </a:ln>
          <a:effectLst/>
        </p:spPr>
        <p:txBody>
          <a:bodyPr vert="horz" lIns="144000" tIns="144000" rIns="144000" bIns="144000" rtlCol="0" anchor="ctr" anchorCtr="0"/>
          <a:lstStyle/>
          <a:p>
            <a:pPr marL="0" marR="0" lvl="0" indent="0" algn="l" defTabSz="121841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82233"/>
                </a:solidFill>
                <a:effectLst/>
                <a:uLnTx/>
                <a:uFillTx/>
                <a:latin typeface="Proximus ExtraBold"/>
                <a:ea typeface="+mn-ea"/>
                <a:cs typeface="Proximus Bold"/>
              </a:rPr>
              <a:t>Shift focus from ‘adoption’ of AI tools to ‘meaningful use’ – and measure it</a:t>
            </a:r>
            <a:endParaRPr kumimoji="0" lang="en-US" sz="1400" b="0" i="0" u="none" strike="noStrike" kern="1200" cap="none" spc="0" normalizeH="0" baseline="0" noProof="0">
              <a:ln>
                <a:noFill/>
              </a:ln>
              <a:solidFill>
                <a:srgbClr val="282233"/>
              </a:solidFill>
              <a:effectLst/>
              <a:uLnTx/>
              <a:uFillTx/>
              <a:latin typeface="Proximus Bold" panose="00000500000000000000" pitchFamily="2" charset="0"/>
              <a:ea typeface="+mn-ea"/>
              <a:cs typeface="Proximus Bold"/>
            </a:endParaRPr>
          </a:p>
        </p:txBody>
      </p:sp>
    </p:spTree>
    <p:extLst>
      <p:ext uri="{BB962C8B-B14F-4D97-AF65-F5344CB8AC3E}">
        <p14:creationId xmlns:p14="http://schemas.microsoft.com/office/powerpoint/2010/main" val="16277104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A478AD-FDAB-223D-6F15-1DC1534F8377}"/>
            </a:ext>
          </a:extLst>
        </p:cNvPr>
        <p:cNvGrpSpPr/>
        <p:nvPr/>
      </p:nvGrpSpPr>
      <p:grpSpPr>
        <a:xfrm>
          <a:off x="0" y="0"/>
          <a:ext cx="0" cy="0"/>
          <a:chOff x="0" y="0"/>
          <a:chExt cx="0" cy="0"/>
        </a:xfrm>
      </p:grpSpPr>
      <p:graphicFrame>
        <p:nvGraphicFramePr>
          <p:cNvPr id="38" name="think-cell data - do not delete" hidden="1">
            <a:extLst>
              <a:ext uri="{FF2B5EF4-FFF2-40B4-BE49-F238E27FC236}">
                <a16:creationId xmlns:a16="http://schemas.microsoft.com/office/drawing/2014/main" id="{56323DA1-F2A9-5DAD-FD1D-063C65A46573}"/>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8" name="think-cell data - do not delete" hidden="1">
                        <a:extLst>
                          <a:ext uri="{FF2B5EF4-FFF2-40B4-BE49-F238E27FC236}">
                            <a16:creationId xmlns:a16="http://schemas.microsoft.com/office/drawing/2014/main" id="{56323DA1-F2A9-5DAD-FD1D-063C65A465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9E810FB0-A7AD-1F5E-2B92-B374DCAF7999}"/>
              </a:ext>
            </a:extLst>
          </p:cNvPr>
          <p:cNvSpPr>
            <a:spLocks noGrp="1"/>
          </p:cNvSpPr>
          <p:nvPr>
            <p:ph type="title"/>
          </p:nvPr>
        </p:nvSpPr>
        <p:spPr>
          <a:xfrm>
            <a:off x="550069" y="503238"/>
            <a:ext cx="11091863" cy="738664"/>
          </a:xfrm>
        </p:spPr>
        <p:txBody>
          <a:bodyPr vert="horz" wrap="square">
            <a:spAutoFit/>
          </a:bodyPr>
          <a:lstStyle/>
          <a:p>
            <a:pPr lvl="0" defTabSz="1218418">
              <a:spcBef>
                <a:spcPts val="0"/>
              </a:spcBef>
              <a:spcAft>
                <a:spcPts val="0"/>
              </a:spcAft>
              <a:defRPr/>
            </a:pPr>
            <a:r>
              <a:rPr lang="en-US">
                <a:solidFill>
                  <a:srgbClr val="282233"/>
                </a:solidFill>
                <a:cs typeface="Proximus Bold"/>
              </a:rPr>
              <a:t>Shift focus from ‘adoption’ of AI tools to ‘meaningful use’ – and measure it</a:t>
            </a:r>
            <a:endParaRPr lang="en-US">
              <a:solidFill>
                <a:srgbClr val="282233"/>
              </a:solidFill>
              <a:latin typeface="Proximus Bold" panose="00000500000000000000" pitchFamily="2" charset="0"/>
              <a:cs typeface="Proximus Bold"/>
            </a:endParaRPr>
          </a:p>
        </p:txBody>
      </p:sp>
      <p:sp>
        <p:nvSpPr>
          <p:cNvPr id="3" name="Rectangle: Rounded Corners 2">
            <a:extLst>
              <a:ext uri="{FF2B5EF4-FFF2-40B4-BE49-F238E27FC236}">
                <a16:creationId xmlns:a16="http://schemas.microsoft.com/office/drawing/2014/main" id="{C5C41599-7DE7-DBEA-61B6-BDE0590F6AB6}"/>
              </a:ext>
            </a:extLst>
          </p:cNvPr>
          <p:cNvSpPr/>
          <p:nvPr/>
        </p:nvSpPr>
        <p:spPr>
          <a:xfrm>
            <a:off x="6305721" y="1566135"/>
            <a:ext cx="5336211" cy="738664"/>
          </a:xfrm>
          <a:prstGeom prst="roundRect">
            <a:avLst>
              <a:gd name="adj" fmla="val 9887"/>
            </a:avLst>
          </a:prstGeom>
          <a:solidFill>
            <a:srgbClr val="282233"/>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Proximus Bold" panose="00000500000000000000" pitchFamily="2" charset="0"/>
                <a:ea typeface="+mn-ea"/>
                <a:cs typeface="+mn-cs"/>
              </a:rPr>
              <a:t>Meaningful usage?</a:t>
            </a:r>
          </a:p>
        </p:txBody>
      </p:sp>
      <p:sp>
        <p:nvSpPr>
          <p:cNvPr id="18" name="Rectangle: Rounded Corners 17">
            <a:extLst>
              <a:ext uri="{FF2B5EF4-FFF2-40B4-BE49-F238E27FC236}">
                <a16:creationId xmlns:a16="http://schemas.microsoft.com/office/drawing/2014/main" id="{0BBDF14B-A231-7FAC-CF81-59528DEB6BC1}"/>
              </a:ext>
            </a:extLst>
          </p:cNvPr>
          <p:cNvSpPr/>
          <p:nvPr/>
        </p:nvSpPr>
        <p:spPr>
          <a:xfrm>
            <a:off x="6305721" y="2556168"/>
            <a:ext cx="5336211" cy="4000490"/>
          </a:xfrm>
          <a:prstGeom prst="roundRect">
            <a:avLst>
              <a:gd name="adj" fmla="val 3111"/>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marL="0" marR="0" lvl="0" indent="0" algn="l" defTabSz="1218418"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FFFFFF"/>
              </a:solidFill>
              <a:effectLst/>
              <a:uLnTx/>
              <a:uFillTx/>
              <a:latin typeface="Proximus Bold" panose="00000500000000000000" pitchFamily="2" charset="0"/>
              <a:ea typeface="+mn-ea"/>
              <a:cs typeface="Proximus Bold"/>
            </a:endParaRPr>
          </a:p>
        </p:txBody>
      </p:sp>
      <p:sp>
        <p:nvSpPr>
          <p:cNvPr id="96" name="TextBox 95">
            <a:extLst>
              <a:ext uri="{FF2B5EF4-FFF2-40B4-BE49-F238E27FC236}">
                <a16:creationId xmlns:a16="http://schemas.microsoft.com/office/drawing/2014/main" id="{EAA3BEAA-ACFC-6651-9B4E-238164E7B1B1}"/>
              </a:ext>
            </a:extLst>
          </p:cNvPr>
          <p:cNvSpPr txBox="1"/>
          <p:nvPr/>
        </p:nvSpPr>
        <p:spPr>
          <a:xfrm>
            <a:off x="7446802" y="2792369"/>
            <a:ext cx="3916363" cy="430887"/>
          </a:xfrm>
          <a:prstGeom prst="rect">
            <a:avLst/>
          </a:prstGeom>
          <a:noFill/>
        </p:spPr>
        <p:txBody>
          <a:bodyPr wrap="square" lIns="0" tIns="0" rIns="0" bIns="0" rtlCol="0" anchor="ctr">
            <a:noAutofit/>
          </a:bodyPr>
          <a:lstStyle/>
          <a:p>
            <a:pPr lvl="0">
              <a:defRPr/>
            </a:pPr>
            <a:r>
              <a:rPr lang="en-US" sz="1400">
                <a:solidFill>
                  <a:srgbClr val="282233"/>
                </a:solidFill>
                <a:latin typeface="Proximus ExtraBold" panose="00000900000000000000" pitchFamily="2" charset="0"/>
              </a:rPr>
              <a:t>5-10% </a:t>
            </a:r>
            <a:r>
              <a:rPr lang="en-US" sz="1400">
                <a:solidFill>
                  <a:srgbClr val="282233"/>
                </a:solidFill>
              </a:rPr>
              <a:t>users write code almost fully with prompting (measured by token usage)</a:t>
            </a:r>
          </a:p>
        </p:txBody>
      </p:sp>
      <p:sp>
        <p:nvSpPr>
          <p:cNvPr id="97" name="TextBox 96">
            <a:extLst>
              <a:ext uri="{FF2B5EF4-FFF2-40B4-BE49-F238E27FC236}">
                <a16:creationId xmlns:a16="http://schemas.microsoft.com/office/drawing/2014/main" id="{8CACEB58-D7D1-863B-3E2A-AC19E1220161}"/>
              </a:ext>
            </a:extLst>
          </p:cNvPr>
          <p:cNvSpPr txBox="1"/>
          <p:nvPr/>
        </p:nvSpPr>
        <p:spPr>
          <a:xfrm>
            <a:off x="7446802" y="3825477"/>
            <a:ext cx="3916363" cy="430887"/>
          </a:xfrm>
          <a:prstGeom prst="rect">
            <a:avLst/>
          </a:prstGeom>
          <a:noFill/>
        </p:spPr>
        <p:txBody>
          <a:bodyPr wrap="square" lIns="0" tIns="0" rIns="0" bIns="0" rtlCol="0" anchor="ctr">
            <a:noAutofit/>
          </a:bodyPr>
          <a:lstStyle/>
          <a:p>
            <a:pPr lvl="0">
              <a:defRPr/>
            </a:pPr>
            <a:r>
              <a:rPr lang="en-US" sz="1400">
                <a:solidFill>
                  <a:srgbClr val="282233"/>
                </a:solidFill>
                <a:latin typeface="Proximus ExtraBold" panose="00000900000000000000" pitchFamily="2" charset="0"/>
              </a:rPr>
              <a:t>&gt;70% </a:t>
            </a:r>
            <a:r>
              <a:rPr lang="en-US" sz="1400">
                <a:solidFill>
                  <a:srgbClr val="282233"/>
                </a:solidFill>
              </a:rPr>
              <a:t>of code generated by</a:t>
            </a:r>
            <a:br>
              <a:rPr lang="en-US" sz="1400">
                <a:solidFill>
                  <a:srgbClr val="282233"/>
                </a:solidFill>
              </a:rPr>
            </a:br>
            <a:r>
              <a:rPr lang="en-US" sz="1400">
                <a:solidFill>
                  <a:srgbClr val="282233"/>
                </a:solidFill>
              </a:rPr>
              <a:t>AI is ‘not accepted’ by user</a:t>
            </a:r>
          </a:p>
        </p:txBody>
      </p:sp>
      <p:sp>
        <p:nvSpPr>
          <p:cNvPr id="99" name="TextBox 98">
            <a:extLst>
              <a:ext uri="{FF2B5EF4-FFF2-40B4-BE49-F238E27FC236}">
                <a16:creationId xmlns:a16="http://schemas.microsoft.com/office/drawing/2014/main" id="{E57641DE-8F85-344C-7C09-292961CA31D3}"/>
              </a:ext>
            </a:extLst>
          </p:cNvPr>
          <p:cNvSpPr txBox="1"/>
          <p:nvPr/>
        </p:nvSpPr>
        <p:spPr>
          <a:xfrm>
            <a:off x="7446802" y="4857317"/>
            <a:ext cx="3916363" cy="430887"/>
          </a:xfrm>
          <a:prstGeom prst="rect">
            <a:avLst/>
          </a:prstGeom>
          <a:noFill/>
        </p:spPr>
        <p:txBody>
          <a:bodyPr wrap="square" lIns="0" tIns="0" rIns="0" bIns="0" rtlCol="0" anchor="ctr">
            <a:noAutofit/>
          </a:bodyPr>
          <a:lstStyle/>
          <a:p>
            <a:pPr lvl="0">
              <a:defRPr/>
            </a:pPr>
            <a:r>
              <a:rPr lang="en-US" sz="1400">
                <a:solidFill>
                  <a:srgbClr val="282233"/>
                </a:solidFill>
              </a:rPr>
              <a:t>Coding time reduced with </a:t>
            </a:r>
            <a:r>
              <a:rPr lang="en-US" sz="1400" b="1">
                <a:solidFill>
                  <a:srgbClr val="282233"/>
                </a:solidFill>
              </a:rPr>
              <a:t>30 min / day</a:t>
            </a:r>
          </a:p>
          <a:p>
            <a:pPr lvl="0">
              <a:defRPr/>
            </a:pPr>
            <a:r>
              <a:rPr lang="en-US" sz="1400">
                <a:solidFill>
                  <a:srgbClr val="282233"/>
                </a:solidFill>
              </a:rPr>
              <a:t>(but meeting time didn’t)</a:t>
            </a:r>
          </a:p>
        </p:txBody>
      </p:sp>
      <p:sp>
        <p:nvSpPr>
          <p:cNvPr id="100" name="TextBox 99">
            <a:extLst>
              <a:ext uri="{FF2B5EF4-FFF2-40B4-BE49-F238E27FC236}">
                <a16:creationId xmlns:a16="http://schemas.microsoft.com/office/drawing/2014/main" id="{7B2B6D70-7714-D1EB-C04D-11707FC1FDC3}"/>
              </a:ext>
            </a:extLst>
          </p:cNvPr>
          <p:cNvSpPr txBox="1"/>
          <p:nvPr/>
        </p:nvSpPr>
        <p:spPr>
          <a:xfrm>
            <a:off x="7446802" y="5862783"/>
            <a:ext cx="4195129" cy="430887"/>
          </a:xfrm>
          <a:prstGeom prst="rect">
            <a:avLst/>
          </a:prstGeom>
          <a:noFill/>
        </p:spPr>
        <p:txBody>
          <a:bodyPr wrap="square" lIns="0" tIns="0" rIns="0" bIns="0" rtlCol="0" anchor="ctr">
            <a:noAutofit/>
          </a:bodyPr>
          <a:lstStyle/>
          <a:p>
            <a:pPr lvl="0">
              <a:defRPr/>
            </a:pPr>
            <a:r>
              <a:rPr lang="en-US" sz="1400">
                <a:solidFill>
                  <a:srgbClr val="282233"/>
                </a:solidFill>
              </a:rPr>
              <a:t>Correlation of </a:t>
            </a:r>
            <a:r>
              <a:rPr lang="en-US" sz="1400" b="1">
                <a:solidFill>
                  <a:srgbClr val="282233"/>
                </a:solidFill>
              </a:rPr>
              <a:t>usage</a:t>
            </a:r>
            <a:r>
              <a:rPr lang="en-US" sz="1400">
                <a:solidFill>
                  <a:srgbClr val="282233"/>
                </a:solidFill>
              </a:rPr>
              <a:t> with productivity unknown:</a:t>
            </a:r>
          </a:p>
          <a:p>
            <a:pPr marL="285750" lvl="0" indent="-285750">
              <a:buFont typeface="Arial" panose="020B0604020202020204" pitchFamily="34" charset="0"/>
              <a:buChar char="•"/>
              <a:defRPr/>
            </a:pPr>
            <a:r>
              <a:rPr lang="en-US" sz="1200">
                <a:solidFill>
                  <a:srgbClr val="282233"/>
                </a:solidFill>
              </a:rPr>
              <a:t>PR cycle time</a:t>
            </a:r>
          </a:p>
          <a:p>
            <a:pPr marL="285750" lvl="0" indent="-285750">
              <a:buFont typeface="Arial" panose="020B0604020202020204" pitchFamily="34" charset="0"/>
              <a:buChar char="•"/>
              <a:defRPr/>
            </a:pPr>
            <a:r>
              <a:rPr lang="en-US" sz="1200">
                <a:solidFill>
                  <a:srgbClr val="282233"/>
                </a:solidFill>
              </a:rPr>
              <a:t>Code churn</a:t>
            </a:r>
          </a:p>
          <a:p>
            <a:pPr marL="285750" lvl="0" indent="-285750">
              <a:buFont typeface="Arial" panose="020B0604020202020204" pitchFamily="34" charset="0"/>
              <a:buChar char="•"/>
              <a:defRPr/>
            </a:pPr>
            <a:r>
              <a:rPr lang="en-US" sz="1200">
                <a:solidFill>
                  <a:srgbClr val="282233"/>
                </a:solidFill>
              </a:rPr>
              <a:t>Mean time to repair</a:t>
            </a:r>
          </a:p>
        </p:txBody>
      </p:sp>
      <p:cxnSp>
        <p:nvCxnSpPr>
          <p:cNvPr id="102" name="Straight Connector 101">
            <a:extLst>
              <a:ext uri="{FF2B5EF4-FFF2-40B4-BE49-F238E27FC236}">
                <a16:creationId xmlns:a16="http://schemas.microsoft.com/office/drawing/2014/main" id="{38D70ED6-9538-EE82-157C-5F0AD5AD0E4C}"/>
              </a:ext>
            </a:extLst>
          </p:cNvPr>
          <p:cNvCxnSpPr>
            <a:cxnSpLocks/>
          </p:cNvCxnSpPr>
          <p:nvPr/>
        </p:nvCxnSpPr>
        <p:spPr>
          <a:xfrm>
            <a:off x="7446802" y="5607362"/>
            <a:ext cx="3916363" cy="1588"/>
          </a:xfrm>
          <a:prstGeom prst="line">
            <a:avLst/>
          </a:prstGeom>
          <a:ln w="12700">
            <a:solidFill>
              <a:schemeClr val="tx1">
                <a:lumMod val="50000"/>
              </a:schemeClr>
            </a:solidFill>
            <a:prstDash val="sysDot"/>
            <a:tailEnd type="none"/>
          </a:ln>
          <a:effectLst/>
        </p:spPr>
        <p:style>
          <a:lnRef idx="2">
            <a:schemeClr val="accent1"/>
          </a:lnRef>
          <a:fillRef idx="0">
            <a:schemeClr val="accent1"/>
          </a:fillRef>
          <a:effectRef idx="1">
            <a:schemeClr val="accent1"/>
          </a:effectRef>
          <a:fontRef idx="minor">
            <a:schemeClr val="tx1"/>
          </a:fontRef>
        </p:style>
      </p:cxnSp>
      <p:cxnSp>
        <p:nvCxnSpPr>
          <p:cNvPr id="103" name="Straight Connector 102">
            <a:extLst>
              <a:ext uri="{FF2B5EF4-FFF2-40B4-BE49-F238E27FC236}">
                <a16:creationId xmlns:a16="http://schemas.microsoft.com/office/drawing/2014/main" id="{D58F07B7-7439-BE80-9891-33EED7191A21}"/>
              </a:ext>
            </a:extLst>
          </p:cNvPr>
          <p:cNvCxnSpPr>
            <a:cxnSpLocks/>
          </p:cNvCxnSpPr>
          <p:nvPr/>
        </p:nvCxnSpPr>
        <p:spPr>
          <a:xfrm>
            <a:off x="7446802" y="4576353"/>
            <a:ext cx="3916363" cy="1588"/>
          </a:xfrm>
          <a:prstGeom prst="line">
            <a:avLst/>
          </a:prstGeom>
          <a:ln w="12700">
            <a:solidFill>
              <a:schemeClr val="tx1">
                <a:lumMod val="50000"/>
              </a:schemeClr>
            </a:solidFill>
            <a:prstDash val="sysDot"/>
            <a:tailEnd type="none"/>
          </a:ln>
          <a:effectLst/>
        </p:spPr>
        <p:style>
          <a:lnRef idx="2">
            <a:schemeClr val="accent1"/>
          </a:lnRef>
          <a:fillRef idx="0">
            <a:schemeClr val="accent1"/>
          </a:fillRef>
          <a:effectRef idx="1">
            <a:schemeClr val="accent1"/>
          </a:effectRef>
          <a:fontRef idx="minor">
            <a:schemeClr val="tx1"/>
          </a:fontRef>
        </p:style>
      </p:cxnSp>
      <p:cxnSp>
        <p:nvCxnSpPr>
          <p:cNvPr id="105" name="Straight Connector 104">
            <a:extLst>
              <a:ext uri="{FF2B5EF4-FFF2-40B4-BE49-F238E27FC236}">
                <a16:creationId xmlns:a16="http://schemas.microsoft.com/office/drawing/2014/main" id="{2A33F296-6780-6183-0F97-6279B6BB7072}"/>
              </a:ext>
            </a:extLst>
          </p:cNvPr>
          <p:cNvCxnSpPr>
            <a:cxnSpLocks/>
          </p:cNvCxnSpPr>
          <p:nvPr/>
        </p:nvCxnSpPr>
        <p:spPr>
          <a:xfrm>
            <a:off x="7446802" y="3545344"/>
            <a:ext cx="3916363" cy="1588"/>
          </a:xfrm>
          <a:prstGeom prst="line">
            <a:avLst/>
          </a:prstGeom>
          <a:ln w="12700">
            <a:solidFill>
              <a:schemeClr val="tx1">
                <a:lumMod val="50000"/>
              </a:schemeClr>
            </a:solidFill>
            <a:prstDash val="sysDot"/>
            <a:tailEnd type="none"/>
          </a:ln>
          <a:effectLst/>
        </p:spPr>
        <p:style>
          <a:lnRef idx="2">
            <a:schemeClr val="accent1"/>
          </a:lnRef>
          <a:fillRef idx="0">
            <a:schemeClr val="accent1"/>
          </a:fillRef>
          <a:effectRef idx="1">
            <a:schemeClr val="accent1"/>
          </a:effectRef>
          <a:fontRef idx="minor">
            <a:schemeClr val="tx1"/>
          </a:fontRef>
        </p:style>
      </p:cxnSp>
      <p:grpSp>
        <p:nvGrpSpPr>
          <p:cNvPr id="27" name="Group 26">
            <a:extLst>
              <a:ext uri="{FF2B5EF4-FFF2-40B4-BE49-F238E27FC236}">
                <a16:creationId xmlns:a16="http://schemas.microsoft.com/office/drawing/2014/main" id="{A491627F-28DC-8550-122C-557F00EBA7C9}"/>
              </a:ext>
            </a:extLst>
          </p:cNvPr>
          <p:cNvGrpSpPr/>
          <p:nvPr/>
        </p:nvGrpSpPr>
        <p:grpSpPr>
          <a:xfrm>
            <a:off x="6620347" y="2736047"/>
            <a:ext cx="547688" cy="3640733"/>
            <a:chOff x="6584487" y="2736047"/>
            <a:chExt cx="547688" cy="3640733"/>
          </a:xfrm>
        </p:grpSpPr>
        <p:sp>
          <p:nvSpPr>
            <p:cNvPr id="81" name="Oval 80">
              <a:extLst>
                <a:ext uri="{FF2B5EF4-FFF2-40B4-BE49-F238E27FC236}">
                  <a16:creationId xmlns:a16="http://schemas.microsoft.com/office/drawing/2014/main" id="{CA6C9327-B18E-301B-9FE1-5F6DC7041F21}"/>
                </a:ext>
              </a:extLst>
            </p:cNvPr>
            <p:cNvSpPr/>
            <p:nvPr/>
          </p:nvSpPr>
          <p:spPr>
            <a:xfrm>
              <a:off x="6584487" y="2736047"/>
              <a:ext cx="547688" cy="547688"/>
            </a:xfrm>
            <a:prstGeom prst="ellipse">
              <a:avLst/>
            </a:prstGeom>
            <a:solidFill>
              <a:schemeClr val="tx1">
                <a:lumMod val="95000"/>
              </a:schemeClr>
            </a:solidFill>
            <a:ln w="28575">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Proximus" panose="00000500000000000000" pitchFamily="2" charset="0"/>
                <a:ea typeface="+mn-ea"/>
                <a:cs typeface="Proximus"/>
              </a:endParaRPr>
            </a:p>
          </p:txBody>
        </p:sp>
        <p:sp>
          <p:nvSpPr>
            <p:cNvPr id="84" name="Oval 83">
              <a:extLst>
                <a:ext uri="{FF2B5EF4-FFF2-40B4-BE49-F238E27FC236}">
                  <a16:creationId xmlns:a16="http://schemas.microsoft.com/office/drawing/2014/main" id="{D61C9771-9727-32AF-F5F9-BAF462BFEFCB}"/>
                </a:ext>
              </a:extLst>
            </p:cNvPr>
            <p:cNvSpPr/>
            <p:nvPr/>
          </p:nvSpPr>
          <p:spPr>
            <a:xfrm>
              <a:off x="6584487" y="3767063"/>
              <a:ext cx="547688" cy="547688"/>
            </a:xfrm>
            <a:prstGeom prst="ellipse">
              <a:avLst/>
            </a:prstGeom>
            <a:solidFill>
              <a:schemeClr val="tx1">
                <a:lumMod val="95000"/>
              </a:schemeClr>
            </a:solidFill>
            <a:ln w="28575">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Proximus" panose="00000500000000000000" pitchFamily="2" charset="0"/>
                <a:ea typeface="+mn-ea"/>
                <a:cs typeface="+mn-cs"/>
              </a:endParaRPr>
            </a:p>
          </p:txBody>
        </p:sp>
        <p:sp>
          <p:nvSpPr>
            <p:cNvPr id="90" name="Oval 89">
              <a:extLst>
                <a:ext uri="{FF2B5EF4-FFF2-40B4-BE49-F238E27FC236}">
                  <a16:creationId xmlns:a16="http://schemas.microsoft.com/office/drawing/2014/main" id="{793C0AEA-26AA-78AE-EACD-2F361A22A306}"/>
                </a:ext>
              </a:extLst>
            </p:cNvPr>
            <p:cNvSpPr/>
            <p:nvPr/>
          </p:nvSpPr>
          <p:spPr>
            <a:xfrm>
              <a:off x="6584487" y="4798079"/>
              <a:ext cx="547688" cy="547688"/>
            </a:xfrm>
            <a:prstGeom prst="ellipse">
              <a:avLst/>
            </a:prstGeom>
            <a:solidFill>
              <a:schemeClr val="tx1">
                <a:lumMod val="95000"/>
              </a:schemeClr>
            </a:solidFill>
            <a:ln w="28575">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Proximus" panose="00000500000000000000" pitchFamily="2" charset="0"/>
                <a:ea typeface="+mn-ea"/>
                <a:cs typeface="+mn-cs"/>
              </a:endParaRPr>
            </a:p>
          </p:txBody>
        </p:sp>
        <p:sp>
          <p:nvSpPr>
            <p:cNvPr id="93" name="Oval 92">
              <a:extLst>
                <a:ext uri="{FF2B5EF4-FFF2-40B4-BE49-F238E27FC236}">
                  <a16:creationId xmlns:a16="http://schemas.microsoft.com/office/drawing/2014/main" id="{2CA4427C-A3EF-28B9-CCFA-CB51C721D8E9}"/>
                </a:ext>
              </a:extLst>
            </p:cNvPr>
            <p:cNvSpPr/>
            <p:nvPr/>
          </p:nvSpPr>
          <p:spPr>
            <a:xfrm>
              <a:off x="6584487" y="5829092"/>
              <a:ext cx="547688" cy="547688"/>
            </a:xfrm>
            <a:prstGeom prst="ellipse">
              <a:avLst/>
            </a:prstGeom>
            <a:solidFill>
              <a:schemeClr val="tx1">
                <a:lumMod val="95000"/>
              </a:schemeClr>
            </a:solidFill>
            <a:ln w="28575">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Proximus" panose="00000500000000000000" pitchFamily="2" charset="0"/>
                <a:ea typeface="+mn-ea"/>
                <a:cs typeface="+mn-cs"/>
              </a:endParaRPr>
            </a:p>
          </p:txBody>
        </p:sp>
      </p:grpSp>
      <p:sp>
        <p:nvSpPr>
          <p:cNvPr id="2" name="Rectangle: Rounded Corners 1">
            <a:extLst>
              <a:ext uri="{FF2B5EF4-FFF2-40B4-BE49-F238E27FC236}">
                <a16:creationId xmlns:a16="http://schemas.microsoft.com/office/drawing/2014/main" id="{7C5061A1-268F-5218-2807-52F3968150CE}"/>
              </a:ext>
            </a:extLst>
          </p:cNvPr>
          <p:cNvSpPr/>
          <p:nvPr/>
        </p:nvSpPr>
        <p:spPr>
          <a:xfrm>
            <a:off x="550069" y="1566135"/>
            <a:ext cx="5336211" cy="738664"/>
          </a:xfrm>
          <a:prstGeom prst="roundRect">
            <a:avLst>
              <a:gd name="adj" fmla="val 8192"/>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Proximus Bold" panose="00000500000000000000" pitchFamily="2" charset="0"/>
                <a:ea typeface="+mn-ea"/>
                <a:cs typeface="Proximus Bold"/>
              </a:rPr>
              <a:t>Adoption</a:t>
            </a:r>
          </a:p>
        </p:txBody>
      </p:sp>
      <p:sp>
        <p:nvSpPr>
          <p:cNvPr id="15" name="Rectangle: Rounded Corners 14">
            <a:extLst>
              <a:ext uri="{FF2B5EF4-FFF2-40B4-BE49-F238E27FC236}">
                <a16:creationId xmlns:a16="http://schemas.microsoft.com/office/drawing/2014/main" id="{3CD9DE28-436F-1251-E2D5-FC1948615DB4}"/>
              </a:ext>
            </a:extLst>
          </p:cNvPr>
          <p:cNvSpPr/>
          <p:nvPr/>
        </p:nvSpPr>
        <p:spPr>
          <a:xfrm>
            <a:off x="550069" y="2556168"/>
            <a:ext cx="5336211" cy="4000490"/>
          </a:xfrm>
          <a:prstGeom prst="roundRect">
            <a:avLst>
              <a:gd name="adj" fmla="val 3111"/>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marL="0" marR="0" lvl="0" indent="0" algn="l" defTabSz="1218418"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FFFFFF"/>
              </a:solidFill>
              <a:effectLst/>
              <a:uLnTx/>
              <a:uFillTx/>
              <a:latin typeface="Proximus Bold" panose="00000500000000000000" pitchFamily="2" charset="0"/>
              <a:ea typeface="+mn-ea"/>
              <a:cs typeface="Proximus Bold"/>
            </a:endParaRPr>
          </a:p>
        </p:txBody>
      </p:sp>
      <p:pic>
        <p:nvPicPr>
          <p:cNvPr id="23" name="Graphic 22" descr="User Crown Male outline">
            <a:extLst>
              <a:ext uri="{FF2B5EF4-FFF2-40B4-BE49-F238E27FC236}">
                <a16:creationId xmlns:a16="http://schemas.microsoft.com/office/drawing/2014/main" id="{DB7333AF-E3A5-BD0C-8EAA-8D4619D27E4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32741" y="2846362"/>
            <a:ext cx="322900" cy="322900"/>
          </a:xfrm>
          <a:prstGeom prst="rect">
            <a:avLst/>
          </a:prstGeom>
        </p:spPr>
      </p:pic>
      <p:pic>
        <p:nvPicPr>
          <p:cNvPr id="25" name="Graphic 24" descr="Badge Cross outline">
            <a:extLst>
              <a:ext uri="{FF2B5EF4-FFF2-40B4-BE49-F238E27FC236}">
                <a16:creationId xmlns:a16="http://schemas.microsoft.com/office/drawing/2014/main" id="{C2A1CAC7-2E01-5461-B483-F7D5F21E910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699167" y="3845896"/>
            <a:ext cx="390049" cy="390049"/>
          </a:xfrm>
          <a:prstGeom prst="rect">
            <a:avLst/>
          </a:prstGeom>
        </p:spPr>
      </p:pic>
      <p:pic>
        <p:nvPicPr>
          <p:cNvPr id="29" name="Graphic 28" descr="Meeting outline">
            <a:extLst>
              <a:ext uri="{FF2B5EF4-FFF2-40B4-BE49-F238E27FC236}">
                <a16:creationId xmlns:a16="http://schemas.microsoft.com/office/drawing/2014/main" id="{2D9F0C12-BB66-5E66-D4C4-FD713332592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707088" y="4885657"/>
            <a:ext cx="374207" cy="374207"/>
          </a:xfrm>
          <a:prstGeom prst="rect">
            <a:avLst/>
          </a:prstGeom>
        </p:spPr>
      </p:pic>
      <p:pic>
        <p:nvPicPr>
          <p:cNvPr id="31" name="Graphic 30" descr="Bar chart outline">
            <a:extLst>
              <a:ext uri="{FF2B5EF4-FFF2-40B4-BE49-F238E27FC236}">
                <a16:creationId xmlns:a16="http://schemas.microsoft.com/office/drawing/2014/main" id="{B08CADC0-09B0-1010-A9AC-E23F5662E9C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675156" y="5859191"/>
            <a:ext cx="438071" cy="438071"/>
          </a:xfrm>
          <a:prstGeom prst="rect">
            <a:avLst/>
          </a:prstGeom>
        </p:spPr>
      </p:pic>
      <p:sp>
        <p:nvSpPr>
          <p:cNvPr id="4" name="TextBox 3">
            <a:extLst>
              <a:ext uri="{FF2B5EF4-FFF2-40B4-BE49-F238E27FC236}">
                <a16:creationId xmlns:a16="http://schemas.microsoft.com/office/drawing/2014/main" id="{D79C8816-545F-C48F-8BC6-99558702DC0C}"/>
              </a:ext>
            </a:extLst>
          </p:cNvPr>
          <p:cNvSpPr txBox="1"/>
          <p:nvPr/>
        </p:nvSpPr>
        <p:spPr>
          <a:xfrm>
            <a:off x="1696073" y="2792369"/>
            <a:ext cx="3916363" cy="430887"/>
          </a:xfrm>
          <a:prstGeom prst="rect">
            <a:avLst/>
          </a:prstGeom>
          <a:noFill/>
        </p:spPr>
        <p:txBody>
          <a:bodyPr wrap="square" lIns="0" tIns="0" rIns="0" bIns="0" rtlCol="0" anchor="ctr">
            <a:noAutofit/>
          </a:bodyPr>
          <a:lstStyle/>
          <a:p>
            <a:pPr lvl="0">
              <a:defRPr/>
            </a:pPr>
            <a:r>
              <a:rPr lang="en-US" sz="1400">
                <a:solidFill>
                  <a:srgbClr val="282233"/>
                </a:solidFill>
                <a:latin typeface="Proximus ExtraBold" panose="00000900000000000000" pitchFamily="2" charset="0"/>
              </a:rPr>
              <a:t>5-10% </a:t>
            </a:r>
            <a:r>
              <a:rPr lang="en-US" sz="1400">
                <a:solidFill>
                  <a:srgbClr val="282233"/>
                </a:solidFill>
              </a:rPr>
              <a:t>users write code almost fully with prompting (measured by token usage)</a:t>
            </a:r>
          </a:p>
        </p:txBody>
      </p:sp>
      <p:sp>
        <p:nvSpPr>
          <p:cNvPr id="6" name="TextBox 5">
            <a:extLst>
              <a:ext uri="{FF2B5EF4-FFF2-40B4-BE49-F238E27FC236}">
                <a16:creationId xmlns:a16="http://schemas.microsoft.com/office/drawing/2014/main" id="{9429C934-5642-02B7-B5D1-DF4BA5C55DAB}"/>
              </a:ext>
            </a:extLst>
          </p:cNvPr>
          <p:cNvSpPr txBox="1"/>
          <p:nvPr/>
        </p:nvSpPr>
        <p:spPr>
          <a:xfrm>
            <a:off x="1696073" y="3825477"/>
            <a:ext cx="3916363" cy="430887"/>
          </a:xfrm>
          <a:prstGeom prst="rect">
            <a:avLst/>
          </a:prstGeom>
          <a:noFill/>
        </p:spPr>
        <p:txBody>
          <a:bodyPr wrap="square" lIns="0" tIns="0" rIns="0" bIns="0" rtlCol="0" anchor="ctr">
            <a:noAutofit/>
          </a:bodyPr>
          <a:lstStyle/>
          <a:p>
            <a:pPr lvl="0">
              <a:defRPr/>
            </a:pPr>
            <a:r>
              <a:rPr lang="en-US" sz="1400">
                <a:solidFill>
                  <a:srgbClr val="282233"/>
                </a:solidFill>
                <a:latin typeface="Proximus ExtraBold" panose="00000900000000000000" pitchFamily="2" charset="0"/>
              </a:rPr>
              <a:t>&gt;70% </a:t>
            </a:r>
            <a:r>
              <a:rPr lang="en-US" sz="1400">
                <a:solidFill>
                  <a:srgbClr val="282233"/>
                </a:solidFill>
              </a:rPr>
              <a:t>of code generated by</a:t>
            </a:r>
            <a:br>
              <a:rPr lang="en-US" sz="1400">
                <a:solidFill>
                  <a:srgbClr val="282233"/>
                </a:solidFill>
              </a:rPr>
            </a:br>
            <a:r>
              <a:rPr lang="en-US" sz="1400">
                <a:solidFill>
                  <a:srgbClr val="282233"/>
                </a:solidFill>
              </a:rPr>
              <a:t>AI is ‘not accepted’ by user</a:t>
            </a:r>
          </a:p>
        </p:txBody>
      </p:sp>
      <p:sp>
        <p:nvSpPr>
          <p:cNvPr id="8" name="TextBox 7">
            <a:extLst>
              <a:ext uri="{FF2B5EF4-FFF2-40B4-BE49-F238E27FC236}">
                <a16:creationId xmlns:a16="http://schemas.microsoft.com/office/drawing/2014/main" id="{EA8B3654-F114-8BF3-8DC7-A5BF71E02EE5}"/>
              </a:ext>
            </a:extLst>
          </p:cNvPr>
          <p:cNvSpPr txBox="1"/>
          <p:nvPr/>
        </p:nvSpPr>
        <p:spPr>
          <a:xfrm>
            <a:off x="1696073" y="4857317"/>
            <a:ext cx="3916363" cy="430887"/>
          </a:xfrm>
          <a:prstGeom prst="rect">
            <a:avLst/>
          </a:prstGeom>
          <a:noFill/>
        </p:spPr>
        <p:txBody>
          <a:bodyPr wrap="square" lIns="0" tIns="0" rIns="0" bIns="0" rtlCol="0" anchor="ctr">
            <a:noAutofit/>
          </a:bodyPr>
          <a:lstStyle/>
          <a:p>
            <a:pPr lvl="0">
              <a:defRPr/>
            </a:pPr>
            <a:r>
              <a:rPr lang="en-US" sz="1400">
                <a:solidFill>
                  <a:srgbClr val="282233"/>
                </a:solidFill>
              </a:rPr>
              <a:t>Saves  &gt;</a:t>
            </a:r>
            <a:r>
              <a:rPr lang="en-US" sz="1400" b="1">
                <a:solidFill>
                  <a:srgbClr val="282233"/>
                </a:solidFill>
              </a:rPr>
              <a:t>30 min / day</a:t>
            </a:r>
          </a:p>
        </p:txBody>
      </p:sp>
      <p:cxnSp>
        <p:nvCxnSpPr>
          <p:cNvPr id="11" name="Straight Connector 10">
            <a:extLst>
              <a:ext uri="{FF2B5EF4-FFF2-40B4-BE49-F238E27FC236}">
                <a16:creationId xmlns:a16="http://schemas.microsoft.com/office/drawing/2014/main" id="{06973C82-5962-0EC0-9930-54F9AE652E24}"/>
              </a:ext>
            </a:extLst>
          </p:cNvPr>
          <p:cNvCxnSpPr>
            <a:cxnSpLocks/>
          </p:cNvCxnSpPr>
          <p:nvPr/>
        </p:nvCxnSpPr>
        <p:spPr>
          <a:xfrm>
            <a:off x="1696073" y="4576353"/>
            <a:ext cx="3916363" cy="1588"/>
          </a:xfrm>
          <a:prstGeom prst="line">
            <a:avLst/>
          </a:prstGeom>
          <a:ln w="12700">
            <a:solidFill>
              <a:schemeClr val="tx1">
                <a:lumMod val="50000"/>
              </a:schemeClr>
            </a:solidFill>
            <a:prstDash val="sysDot"/>
            <a:tailEnd type="none"/>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89EE2B11-6147-337A-047E-C39FBB8F5DCC}"/>
              </a:ext>
            </a:extLst>
          </p:cNvPr>
          <p:cNvCxnSpPr>
            <a:cxnSpLocks/>
          </p:cNvCxnSpPr>
          <p:nvPr/>
        </p:nvCxnSpPr>
        <p:spPr>
          <a:xfrm>
            <a:off x="1696073" y="3545344"/>
            <a:ext cx="3916363" cy="1588"/>
          </a:xfrm>
          <a:prstGeom prst="line">
            <a:avLst/>
          </a:prstGeom>
          <a:ln w="12700">
            <a:solidFill>
              <a:schemeClr val="tx1">
                <a:lumMod val="50000"/>
              </a:schemeClr>
            </a:solidFill>
            <a:prstDash val="sysDot"/>
            <a:tailEnd type="none"/>
          </a:ln>
          <a:effectLst/>
        </p:spPr>
        <p:style>
          <a:lnRef idx="2">
            <a:schemeClr val="accent1"/>
          </a:lnRef>
          <a:fillRef idx="0">
            <a:schemeClr val="accent1"/>
          </a:fillRef>
          <a:effectRef idx="1">
            <a:schemeClr val="accent1"/>
          </a:effectRef>
          <a:fontRef idx="minor">
            <a:schemeClr val="tx1"/>
          </a:fontRef>
        </p:style>
      </p:cxnSp>
      <p:sp>
        <p:nvSpPr>
          <p:cNvPr id="39" name="Oval 38">
            <a:extLst>
              <a:ext uri="{FF2B5EF4-FFF2-40B4-BE49-F238E27FC236}">
                <a16:creationId xmlns:a16="http://schemas.microsoft.com/office/drawing/2014/main" id="{3386EBFB-89C4-41A0-B8BA-AC06D05BBE5A}"/>
              </a:ext>
            </a:extLst>
          </p:cNvPr>
          <p:cNvSpPr/>
          <p:nvPr/>
        </p:nvSpPr>
        <p:spPr>
          <a:xfrm>
            <a:off x="828630" y="2733981"/>
            <a:ext cx="547662" cy="547662"/>
          </a:xfrm>
          <a:prstGeom prst="ellipse">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FFFFFF"/>
              </a:solidFill>
              <a:effectLst/>
              <a:uLnTx/>
              <a:uFillTx/>
              <a:latin typeface="Proximus Bold" panose="00000500000000000000" pitchFamily="2" charset="0"/>
              <a:ea typeface="+mn-ea"/>
              <a:cs typeface="Proximus Bold"/>
            </a:endParaRPr>
          </a:p>
        </p:txBody>
      </p:sp>
      <p:sp>
        <p:nvSpPr>
          <p:cNvPr id="42" name="Oval 41">
            <a:extLst>
              <a:ext uri="{FF2B5EF4-FFF2-40B4-BE49-F238E27FC236}">
                <a16:creationId xmlns:a16="http://schemas.microsoft.com/office/drawing/2014/main" id="{2AFEA627-24A4-4120-3D64-AD8D2F22FD8A}"/>
              </a:ext>
            </a:extLst>
          </p:cNvPr>
          <p:cNvSpPr/>
          <p:nvPr/>
        </p:nvSpPr>
        <p:spPr>
          <a:xfrm>
            <a:off x="828630" y="3767089"/>
            <a:ext cx="547662" cy="547662"/>
          </a:xfrm>
          <a:prstGeom prst="ellipse">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FFFFFF"/>
              </a:solidFill>
              <a:effectLst/>
              <a:uLnTx/>
              <a:uFillTx/>
              <a:latin typeface="Proximus Bold" panose="00000500000000000000" pitchFamily="2" charset="0"/>
              <a:ea typeface="+mn-ea"/>
              <a:cs typeface="Proximus Bold"/>
            </a:endParaRPr>
          </a:p>
        </p:txBody>
      </p:sp>
      <p:sp>
        <p:nvSpPr>
          <p:cNvPr id="43" name="TextBox 42">
            <a:extLst>
              <a:ext uri="{FF2B5EF4-FFF2-40B4-BE49-F238E27FC236}">
                <a16:creationId xmlns:a16="http://schemas.microsoft.com/office/drawing/2014/main" id="{C502406D-7146-AD74-B9E6-3DD10B5A1EBC}"/>
              </a:ext>
            </a:extLst>
          </p:cNvPr>
          <p:cNvSpPr txBox="1"/>
          <p:nvPr/>
        </p:nvSpPr>
        <p:spPr>
          <a:xfrm>
            <a:off x="892935" y="3933198"/>
            <a:ext cx="419052" cy="215444"/>
          </a:xfrm>
          <a:prstGeom prst="rect">
            <a:avLst/>
          </a:prstGeom>
          <a:noFill/>
        </p:spPr>
        <p:txBody>
          <a:bodyPr wrap="square" lIns="0" tIns="0" rIns="0" bIns="0" rtlCol="0">
            <a:spAutoFit/>
          </a:bodyPr>
          <a:lstStyle/>
          <a:p>
            <a:pPr algn="l"/>
            <a:r>
              <a:rPr lang="en-US" sz="1400" b="1">
                <a:solidFill>
                  <a:schemeClr val="bg2"/>
                </a:solidFill>
                <a:latin typeface="+mj-lt"/>
              </a:rPr>
              <a:t>&lt;/&gt;</a:t>
            </a:r>
            <a:endParaRPr lang="en-BE" sz="1400" b="1">
              <a:solidFill>
                <a:schemeClr val="bg2"/>
              </a:solidFill>
              <a:latin typeface="+mj-lt"/>
            </a:endParaRPr>
          </a:p>
        </p:txBody>
      </p:sp>
      <p:sp>
        <p:nvSpPr>
          <p:cNvPr id="44" name="Oval 43">
            <a:extLst>
              <a:ext uri="{FF2B5EF4-FFF2-40B4-BE49-F238E27FC236}">
                <a16:creationId xmlns:a16="http://schemas.microsoft.com/office/drawing/2014/main" id="{66C74F93-ED5E-2974-0564-A2CBABCF4594}"/>
              </a:ext>
            </a:extLst>
          </p:cNvPr>
          <p:cNvSpPr/>
          <p:nvPr/>
        </p:nvSpPr>
        <p:spPr>
          <a:xfrm>
            <a:off x="828630" y="4798929"/>
            <a:ext cx="547662" cy="547662"/>
          </a:xfrm>
          <a:prstGeom prst="ellipse">
            <a:avLst/>
          </a:prstGeom>
          <a:solidFill>
            <a:schemeClr val="bg2">
              <a:lumMod val="20000"/>
              <a:lumOff val="80000"/>
            </a:schemeClr>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FFFFFF"/>
              </a:solidFill>
              <a:effectLst/>
              <a:uLnTx/>
              <a:uFillTx/>
              <a:latin typeface="Proximus Bold" panose="00000500000000000000" pitchFamily="2" charset="0"/>
              <a:ea typeface="+mn-ea"/>
              <a:cs typeface="Proximus Bold"/>
            </a:endParaRPr>
          </a:p>
        </p:txBody>
      </p:sp>
      <p:pic>
        <p:nvPicPr>
          <p:cNvPr id="45" name="Graphic 44" descr="Thumbs up sign outline">
            <a:extLst>
              <a:ext uri="{FF2B5EF4-FFF2-40B4-BE49-F238E27FC236}">
                <a16:creationId xmlns:a16="http://schemas.microsoft.com/office/drawing/2014/main" id="{4D92DB34-1B9A-090F-BE23-00A288B6D91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27098" y="4897397"/>
            <a:ext cx="350726" cy="350726"/>
          </a:xfrm>
          <a:prstGeom prst="rect">
            <a:avLst/>
          </a:prstGeom>
        </p:spPr>
      </p:pic>
      <p:pic>
        <p:nvPicPr>
          <p:cNvPr id="50" name="Picture 49">
            <a:extLst>
              <a:ext uri="{FF2B5EF4-FFF2-40B4-BE49-F238E27FC236}">
                <a16:creationId xmlns:a16="http://schemas.microsoft.com/office/drawing/2014/main" id="{0CEB3610-11C1-C857-912C-49E9C4B0C5A6}"/>
              </a:ext>
            </a:extLst>
          </p:cNvPr>
          <p:cNvPicPr>
            <a:picLocks noChangeAspect="1"/>
          </p:cNvPicPr>
          <p:nvPr/>
        </p:nvPicPr>
        <p:blipFill>
          <a:blip r:embed="rId16"/>
          <a:stretch>
            <a:fillRect/>
          </a:stretch>
        </p:blipFill>
        <p:spPr>
          <a:xfrm>
            <a:off x="922383" y="2826549"/>
            <a:ext cx="360157" cy="362527"/>
          </a:xfrm>
          <a:prstGeom prst="rect">
            <a:avLst/>
          </a:prstGeom>
        </p:spPr>
      </p:pic>
    </p:spTree>
    <p:extLst>
      <p:ext uri="{BB962C8B-B14F-4D97-AF65-F5344CB8AC3E}">
        <p14:creationId xmlns:p14="http://schemas.microsoft.com/office/powerpoint/2010/main" val="9511251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lumMod val="95000"/>
          </a:schemeClr>
        </a:solidFill>
        <a:effectLst/>
      </p:bgPr>
    </p:bg>
    <p:spTree>
      <p:nvGrpSpPr>
        <p:cNvPr id="1" name="">
          <a:extLst>
            <a:ext uri="{FF2B5EF4-FFF2-40B4-BE49-F238E27FC236}">
              <a16:creationId xmlns:a16="http://schemas.microsoft.com/office/drawing/2014/main" id="{CE92B968-1A68-5F18-6BD7-2F794C6D4310}"/>
            </a:ext>
          </a:extLst>
        </p:cNvPr>
        <p:cNvGrpSpPr/>
        <p:nvPr/>
      </p:nvGrpSpPr>
      <p:grpSpPr>
        <a:xfrm>
          <a:off x="0" y="0"/>
          <a:ext cx="0" cy="0"/>
          <a:chOff x="0" y="0"/>
          <a:chExt cx="0" cy="0"/>
        </a:xfrm>
      </p:grpSpPr>
      <p:cxnSp>
        <p:nvCxnSpPr>
          <p:cNvPr id="69" name="Straight Connector 68">
            <a:extLst>
              <a:ext uri="{FF2B5EF4-FFF2-40B4-BE49-F238E27FC236}">
                <a16:creationId xmlns:a16="http://schemas.microsoft.com/office/drawing/2014/main" id="{EACBED22-58A7-38A1-9FD1-C6776247D686}"/>
              </a:ext>
            </a:extLst>
          </p:cNvPr>
          <p:cNvCxnSpPr>
            <a:cxnSpLocks/>
            <a:stCxn id="66" idx="0"/>
          </p:cNvCxnSpPr>
          <p:nvPr/>
        </p:nvCxnSpPr>
        <p:spPr>
          <a:xfrm>
            <a:off x="10110415" y="2439999"/>
            <a:ext cx="0" cy="1682221"/>
          </a:xfrm>
          <a:prstGeom prst="line">
            <a:avLst/>
          </a:prstGeom>
          <a:ln w="19050" cap="rnd">
            <a:solidFill>
              <a:srgbClr val="7030A0"/>
            </a:solidFill>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134F109-7493-6B61-354F-4E8AB86B2853}"/>
              </a:ext>
            </a:extLst>
          </p:cNvPr>
          <p:cNvCxnSpPr>
            <a:cxnSpLocks/>
          </p:cNvCxnSpPr>
          <p:nvPr/>
        </p:nvCxnSpPr>
        <p:spPr>
          <a:xfrm>
            <a:off x="7362071" y="2439724"/>
            <a:ext cx="0" cy="1682496"/>
          </a:xfrm>
          <a:prstGeom prst="line">
            <a:avLst/>
          </a:prstGeom>
          <a:ln w="19050" cap="rnd">
            <a:solidFill>
              <a:srgbClr val="92D050"/>
            </a:solidFill>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C569C3AB-1EEE-C6F1-E1E4-D5BF49B18BE7}"/>
              </a:ext>
            </a:extLst>
          </p:cNvPr>
          <p:cNvCxnSpPr>
            <a:cxnSpLocks/>
          </p:cNvCxnSpPr>
          <p:nvPr/>
        </p:nvCxnSpPr>
        <p:spPr>
          <a:xfrm>
            <a:off x="4613728" y="2439724"/>
            <a:ext cx="0" cy="3790986"/>
          </a:xfrm>
          <a:prstGeom prst="line">
            <a:avLst/>
          </a:prstGeom>
          <a:ln w="19050" cap="rnd">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E547394-B198-E940-A4F7-20DF949FD4E5}"/>
              </a:ext>
            </a:extLst>
          </p:cNvPr>
          <p:cNvCxnSpPr>
            <a:cxnSpLocks/>
            <a:endCxn id="14" idx="2"/>
          </p:cNvCxnSpPr>
          <p:nvPr/>
        </p:nvCxnSpPr>
        <p:spPr>
          <a:xfrm>
            <a:off x="1865384" y="2439724"/>
            <a:ext cx="0" cy="3278060"/>
          </a:xfrm>
          <a:prstGeom prst="line">
            <a:avLst/>
          </a:prstGeom>
          <a:ln w="19050" cap="rnd">
            <a:solidFill>
              <a:schemeClr val="tx2"/>
            </a:solidFill>
            <a:tailEnd type="none"/>
          </a:ln>
        </p:spPr>
        <p:style>
          <a:lnRef idx="1">
            <a:schemeClr val="accent1"/>
          </a:lnRef>
          <a:fillRef idx="0">
            <a:schemeClr val="accent1"/>
          </a:fillRef>
          <a:effectRef idx="0">
            <a:schemeClr val="accent1"/>
          </a:effectRef>
          <a:fontRef idx="minor">
            <a:schemeClr val="tx1"/>
          </a:fontRef>
        </p:style>
      </p:cxnSp>
      <p:graphicFrame>
        <p:nvGraphicFramePr>
          <p:cNvPr id="4" name="think-cell data - do not delete" hidden="1">
            <a:extLst>
              <a:ext uri="{FF2B5EF4-FFF2-40B4-BE49-F238E27FC236}">
                <a16:creationId xmlns:a16="http://schemas.microsoft.com/office/drawing/2014/main" id="{26381B47-0872-5CF7-75E6-4CAC81C6020E}"/>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4" name="think-cell data - do not delete" hidden="1">
                        <a:extLst>
                          <a:ext uri="{FF2B5EF4-FFF2-40B4-BE49-F238E27FC236}">
                            <a16:creationId xmlns:a16="http://schemas.microsoft.com/office/drawing/2014/main" id="{26381B47-0872-5CF7-75E6-4CAC81C6020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75B6B34-D533-4C4C-D75E-9C10E3A70564}"/>
              </a:ext>
            </a:extLst>
          </p:cNvPr>
          <p:cNvSpPr>
            <a:spLocks noGrp="1"/>
          </p:cNvSpPr>
          <p:nvPr>
            <p:ph type="title"/>
          </p:nvPr>
        </p:nvSpPr>
        <p:spPr/>
        <p:txBody>
          <a:bodyPr vert="horz" rIns="0"/>
          <a:lstStyle/>
          <a:p>
            <a:r>
              <a:rPr lang="en-US" sz="2400">
                <a:solidFill>
                  <a:schemeClr val="accent6"/>
                </a:solidFill>
                <a:latin typeface="Proximus ExtraBold" panose="00000900000000000000" pitchFamily="2" charset="0"/>
              </a:rPr>
              <a:t>Cluster users by level of meaningful usage, can help to tailor training and identify ambassadors</a:t>
            </a:r>
          </a:p>
        </p:txBody>
      </p:sp>
      <p:sp>
        <p:nvSpPr>
          <p:cNvPr id="3" name="Arrow: Right 2">
            <a:extLst>
              <a:ext uri="{FF2B5EF4-FFF2-40B4-BE49-F238E27FC236}">
                <a16:creationId xmlns:a16="http://schemas.microsoft.com/office/drawing/2014/main" id="{509EE3D9-DD4B-A19C-6EEF-7C16C947943E}"/>
              </a:ext>
            </a:extLst>
          </p:cNvPr>
          <p:cNvSpPr/>
          <p:nvPr/>
        </p:nvSpPr>
        <p:spPr>
          <a:xfrm>
            <a:off x="613837" y="1877870"/>
            <a:ext cx="10810578" cy="202863"/>
          </a:xfrm>
          <a:prstGeom prst="rightArrow">
            <a:avLst/>
          </a:prstGeom>
          <a:solidFill>
            <a:schemeClr val="tx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ctr" anchorCtr="0"/>
          <a:lstStyle/>
          <a:p>
            <a:pPr algn="ctr" defTabSz="1218418"/>
            <a:endParaRPr lang="en-GB">
              <a:solidFill>
                <a:srgbClr val="201B27"/>
              </a:solidFill>
              <a:latin typeface="Proximus Bold"/>
            </a:endParaRPr>
          </a:p>
          <a:p>
            <a:pPr lvl="0" algn="ctr" defTabSz="1218418"/>
            <a:r>
              <a:rPr lang="en-US"/>
              <a:t>.</a:t>
            </a:r>
            <a:endParaRPr kumimoji="0" lang="en-GB" sz="1800" b="1" i="0" u="none" strike="noStrike" kern="1200" cap="none" spc="0" normalizeH="0" baseline="0" noProof="0">
              <a:ln>
                <a:noFill/>
              </a:ln>
              <a:solidFill>
                <a:srgbClr val="FFFFFF"/>
              </a:solidFill>
              <a:effectLst/>
              <a:uLnTx/>
              <a:uFillTx/>
              <a:latin typeface="Proximus Bold" panose="00000500000000000000" pitchFamily="2" charset="0"/>
              <a:ea typeface="+mn-ea"/>
              <a:cs typeface="Proximus Bold"/>
            </a:endParaRPr>
          </a:p>
        </p:txBody>
      </p:sp>
      <p:sp>
        <p:nvSpPr>
          <p:cNvPr id="5" name="Rectangle 4">
            <a:extLst>
              <a:ext uri="{FF2B5EF4-FFF2-40B4-BE49-F238E27FC236}">
                <a16:creationId xmlns:a16="http://schemas.microsoft.com/office/drawing/2014/main" id="{BBE544EC-1ADB-D012-BBB9-66E93F0D950B}"/>
              </a:ext>
            </a:extLst>
          </p:cNvPr>
          <p:cNvSpPr/>
          <p:nvPr/>
        </p:nvSpPr>
        <p:spPr>
          <a:xfrm>
            <a:off x="551384" y="1719802"/>
            <a:ext cx="2628000" cy="5008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tx1"/>
              </a:solidFill>
              <a:latin typeface="Proximus" panose="00000500000000000000" pitchFamily="2" charset="0"/>
              <a:cs typeface="Proximus"/>
            </a:endParaRPr>
          </a:p>
        </p:txBody>
      </p:sp>
      <p:sp>
        <p:nvSpPr>
          <p:cNvPr id="7" name="Rectangle 6">
            <a:extLst>
              <a:ext uri="{FF2B5EF4-FFF2-40B4-BE49-F238E27FC236}">
                <a16:creationId xmlns:a16="http://schemas.microsoft.com/office/drawing/2014/main" id="{16C36599-EAE1-D851-2A83-8F6F5B2857F8}"/>
              </a:ext>
            </a:extLst>
          </p:cNvPr>
          <p:cNvSpPr/>
          <p:nvPr/>
        </p:nvSpPr>
        <p:spPr>
          <a:xfrm>
            <a:off x="3299728" y="1719801"/>
            <a:ext cx="2628000" cy="50089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tx1"/>
              </a:solidFill>
              <a:latin typeface="Proximus" panose="00000500000000000000" pitchFamily="2" charset="0"/>
              <a:cs typeface="Proximus"/>
            </a:endParaRPr>
          </a:p>
        </p:txBody>
      </p:sp>
      <p:sp>
        <p:nvSpPr>
          <p:cNvPr id="8" name="Rectangle 7">
            <a:extLst>
              <a:ext uri="{FF2B5EF4-FFF2-40B4-BE49-F238E27FC236}">
                <a16:creationId xmlns:a16="http://schemas.microsoft.com/office/drawing/2014/main" id="{4CC5E2E8-F726-4AEF-2450-28A668F4B21A}"/>
              </a:ext>
            </a:extLst>
          </p:cNvPr>
          <p:cNvSpPr/>
          <p:nvPr/>
        </p:nvSpPr>
        <p:spPr>
          <a:xfrm>
            <a:off x="8796415" y="1719801"/>
            <a:ext cx="2628000" cy="500893"/>
          </a:xfrm>
          <a:prstGeom prst="rect">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tx1"/>
              </a:solidFill>
              <a:latin typeface="Proximus" panose="00000500000000000000" pitchFamily="2" charset="0"/>
              <a:cs typeface="Proximus"/>
            </a:endParaRPr>
          </a:p>
        </p:txBody>
      </p:sp>
      <p:sp>
        <p:nvSpPr>
          <p:cNvPr id="9" name="Rectangle 8">
            <a:extLst>
              <a:ext uri="{FF2B5EF4-FFF2-40B4-BE49-F238E27FC236}">
                <a16:creationId xmlns:a16="http://schemas.microsoft.com/office/drawing/2014/main" id="{B4FB1892-2E49-9F45-9A3E-82CAC0048A4B}"/>
              </a:ext>
            </a:extLst>
          </p:cNvPr>
          <p:cNvSpPr/>
          <p:nvPr/>
        </p:nvSpPr>
        <p:spPr>
          <a:xfrm>
            <a:off x="6048072" y="1719801"/>
            <a:ext cx="2628000" cy="500893"/>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tx1"/>
              </a:solidFill>
              <a:latin typeface="Proximus" panose="00000500000000000000" pitchFamily="2" charset="0"/>
              <a:cs typeface="Proximus"/>
            </a:endParaRPr>
          </a:p>
        </p:txBody>
      </p:sp>
      <p:sp>
        <p:nvSpPr>
          <p:cNvPr id="11" name="Rectangle 10">
            <a:extLst>
              <a:ext uri="{FF2B5EF4-FFF2-40B4-BE49-F238E27FC236}">
                <a16:creationId xmlns:a16="http://schemas.microsoft.com/office/drawing/2014/main" id="{D25C76AD-DA19-D170-BFDC-FC40DDF35C63}"/>
              </a:ext>
            </a:extLst>
          </p:cNvPr>
          <p:cNvSpPr/>
          <p:nvPr/>
        </p:nvSpPr>
        <p:spPr>
          <a:xfrm>
            <a:off x="551384" y="3018985"/>
            <a:ext cx="2628000" cy="597159"/>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tx1"/>
              </a:solidFill>
              <a:latin typeface="Proximus" panose="00000500000000000000" pitchFamily="2" charset="0"/>
              <a:cs typeface="Proximus"/>
            </a:endParaRPr>
          </a:p>
        </p:txBody>
      </p:sp>
      <p:sp>
        <p:nvSpPr>
          <p:cNvPr id="10" name="Rectangle 9">
            <a:extLst>
              <a:ext uri="{FF2B5EF4-FFF2-40B4-BE49-F238E27FC236}">
                <a16:creationId xmlns:a16="http://schemas.microsoft.com/office/drawing/2014/main" id="{CA8AA501-5862-FCF3-E291-C6BB8B583FB6}"/>
              </a:ext>
            </a:extLst>
          </p:cNvPr>
          <p:cNvSpPr/>
          <p:nvPr/>
        </p:nvSpPr>
        <p:spPr>
          <a:xfrm>
            <a:off x="551384" y="2313976"/>
            <a:ext cx="2628000" cy="597159"/>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tx1"/>
              </a:solidFill>
              <a:latin typeface="Proximus" panose="00000500000000000000" pitchFamily="2" charset="0"/>
              <a:cs typeface="Proximus"/>
            </a:endParaRPr>
          </a:p>
        </p:txBody>
      </p:sp>
      <p:sp>
        <p:nvSpPr>
          <p:cNvPr id="12" name="Rectangle 11">
            <a:extLst>
              <a:ext uri="{FF2B5EF4-FFF2-40B4-BE49-F238E27FC236}">
                <a16:creationId xmlns:a16="http://schemas.microsoft.com/office/drawing/2014/main" id="{DE08BE3D-1E54-8661-2A5A-172C29815F67}"/>
              </a:ext>
            </a:extLst>
          </p:cNvPr>
          <p:cNvSpPr/>
          <p:nvPr/>
        </p:nvSpPr>
        <p:spPr>
          <a:xfrm>
            <a:off x="551384" y="3723994"/>
            <a:ext cx="2628000" cy="597159"/>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tx1"/>
              </a:solidFill>
              <a:latin typeface="Proximus" panose="00000500000000000000" pitchFamily="2" charset="0"/>
              <a:cs typeface="Proximus"/>
            </a:endParaRPr>
          </a:p>
        </p:txBody>
      </p:sp>
      <p:sp>
        <p:nvSpPr>
          <p:cNvPr id="13" name="Rectangle 12">
            <a:extLst>
              <a:ext uri="{FF2B5EF4-FFF2-40B4-BE49-F238E27FC236}">
                <a16:creationId xmlns:a16="http://schemas.microsoft.com/office/drawing/2014/main" id="{112CC160-5594-4CA9-4FED-F9D23D9353F5}"/>
              </a:ext>
            </a:extLst>
          </p:cNvPr>
          <p:cNvSpPr/>
          <p:nvPr/>
        </p:nvSpPr>
        <p:spPr>
          <a:xfrm>
            <a:off x="551384" y="4429003"/>
            <a:ext cx="2628000" cy="597159"/>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tx1"/>
              </a:solidFill>
              <a:latin typeface="Proximus" panose="00000500000000000000" pitchFamily="2" charset="0"/>
              <a:cs typeface="Proximus"/>
            </a:endParaRPr>
          </a:p>
        </p:txBody>
      </p:sp>
      <p:sp>
        <p:nvSpPr>
          <p:cNvPr id="14" name="Rectangle 13">
            <a:extLst>
              <a:ext uri="{FF2B5EF4-FFF2-40B4-BE49-F238E27FC236}">
                <a16:creationId xmlns:a16="http://schemas.microsoft.com/office/drawing/2014/main" id="{72C8D145-A54C-E454-FA57-DE0B182EAEAB}"/>
              </a:ext>
            </a:extLst>
          </p:cNvPr>
          <p:cNvSpPr/>
          <p:nvPr/>
        </p:nvSpPr>
        <p:spPr>
          <a:xfrm>
            <a:off x="551384" y="5120625"/>
            <a:ext cx="2628000" cy="597159"/>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tx1"/>
              </a:solidFill>
              <a:latin typeface="Proximus" panose="00000500000000000000" pitchFamily="2" charset="0"/>
              <a:cs typeface="Proximus"/>
            </a:endParaRPr>
          </a:p>
        </p:txBody>
      </p:sp>
      <p:sp>
        <p:nvSpPr>
          <p:cNvPr id="15" name="Rectangle 14">
            <a:extLst>
              <a:ext uri="{FF2B5EF4-FFF2-40B4-BE49-F238E27FC236}">
                <a16:creationId xmlns:a16="http://schemas.microsoft.com/office/drawing/2014/main" id="{8E479262-DC53-56CA-9A46-F8D100CC0FC0}"/>
              </a:ext>
            </a:extLst>
          </p:cNvPr>
          <p:cNvSpPr/>
          <p:nvPr/>
        </p:nvSpPr>
        <p:spPr>
          <a:xfrm>
            <a:off x="3299728" y="2305193"/>
            <a:ext cx="2628000" cy="597159"/>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tx1"/>
              </a:solidFill>
              <a:latin typeface="Proximus" panose="00000500000000000000" pitchFamily="2" charset="0"/>
              <a:cs typeface="Proximus"/>
            </a:endParaRPr>
          </a:p>
        </p:txBody>
      </p:sp>
      <p:sp>
        <p:nvSpPr>
          <p:cNvPr id="16" name="Rectangle 15">
            <a:extLst>
              <a:ext uri="{FF2B5EF4-FFF2-40B4-BE49-F238E27FC236}">
                <a16:creationId xmlns:a16="http://schemas.microsoft.com/office/drawing/2014/main" id="{A1D429BF-1F2E-3C69-F670-8043006E055D}"/>
              </a:ext>
            </a:extLst>
          </p:cNvPr>
          <p:cNvSpPr/>
          <p:nvPr/>
        </p:nvSpPr>
        <p:spPr>
          <a:xfrm>
            <a:off x="3299728" y="3010202"/>
            <a:ext cx="2628000" cy="597159"/>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tx1"/>
              </a:solidFill>
              <a:latin typeface="Proximus" panose="00000500000000000000" pitchFamily="2" charset="0"/>
              <a:cs typeface="Proximus"/>
            </a:endParaRPr>
          </a:p>
        </p:txBody>
      </p:sp>
      <p:sp>
        <p:nvSpPr>
          <p:cNvPr id="17" name="Rectangle 16">
            <a:extLst>
              <a:ext uri="{FF2B5EF4-FFF2-40B4-BE49-F238E27FC236}">
                <a16:creationId xmlns:a16="http://schemas.microsoft.com/office/drawing/2014/main" id="{5191E352-6144-1074-A448-E2F885A22C04}"/>
              </a:ext>
            </a:extLst>
          </p:cNvPr>
          <p:cNvSpPr/>
          <p:nvPr/>
        </p:nvSpPr>
        <p:spPr>
          <a:xfrm>
            <a:off x="3299728" y="3715211"/>
            <a:ext cx="2628000" cy="597159"/>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tx1"/>
              </a:solidFill>
              <a:latin typeface="Proximus" panose="00000500000000000000" pitchFamily="2" charset="0"/>
              <a:cs typeface="Proximus"/>
            </a:endParaRPr>
          </a:p>
        </p:txBody>
      </p:sp>
      <p:sp>
        <p:nvSpPr>
          <p:cNvPr id="18" name="Rectangle 17">
            <a:extLst>
              <a:ext uri="{FF2B5EF4-FFF2-40B4-BE49-F238E27FC236}">
                <a16:creationId xmlns:a16="http://schemas.microsoft.com/office/drawing/2014/main" id="{AFE4BFEA-CA0C-61CB-FB5A-E7D188434EA5}"/>
              </a:ext>
            </a:extLst>
          </p:cNvPr>
          <p:cNvSpPr/>
          <p:nvPr/>
        </p:nvSpPr>
        <p:spPr>
          <a:xfrm>
            <a:off x="3299728" y="4420220"/>
            <a:ext cx="2628000" cy="597159"/>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tx1"/>
              </a:solidFill>
              <a:latin typeface="Proximus" panose="00000500000000000000" pitchFamily="2" charset="0"/>
              <a:cs typeface="Proximus"/>
            </a:endParaRPr>
          </a:p>
        </p:txBody>
      </p:sp>
      <p:sp>
        <p:nvSpPr>
          <p:cNvPr id="19" name="Rectangle 18">
            <a:extLst>
              <a:ext uri="{FF2B5EF4-FFF2-40B4-BE49-F238E27FC236}">
                <a16:creationId xmlns:a16="http://schemas.microsoft.com/office/drawing/2014/main" id="{EDEF837D-1192-A0C8-318A-3F79B9599F0D}"/>
              </a:ext>
            </a:extLst>
          </p:cNvPr>
          <p:cNvSpPr/>
          <p:nvPr/>
        </p:nvSpPr>
        <p:spPr>
          <a:xfrm>
            <a:off x="3299728" y="5111842"/>
            <a:ext cx="2628000" cy="597159"/>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tx1"/>
              </a:solidFill>
              <a:latin typeface="Proximus" panose="00000500000000000000" pitchFamily="2" charset="0"/>
              <a:cs typeface="Proximus"/>
            </a:endParaRPr>
          </a:p>
        </p:txBody>
      </p:sp>
      <p:sp>
        <p:nvSpPr>
          <p:cNvPr id="20" name="Rectangle 19">
            <a:extLst>
              <a:ext uri="{FF2B5EF4-FFF2-40B4-BE49-F238E27FC236}">
                <a16:creationId xmlns:a16="http://schemas.microsoft.com/office/drawing/2014/main" id="{2F99BDFA-0943-EDBF-3C15-6B4BE9B50580}"/>
              </a:ext>
            </a:extLst>
          </p:cNvPr>
          <p:cNvSpPr/>
          <p:nvPr/>
        </p:nvSpPr>
        <p:spPr>
          <a:xfrm>
            <a:off x="6048071" y="2294766"/>
            <a:ext cx="2628000" cy="597159"/>
          </a:xfrm>
          <a:prstGeom prst="rect">
            <a:avLst/>
          </a:prstGeom>
          <a:solidFill>
            <a:srgbClr val="DDF0C8"/>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tx1"/>
              </a:solidFill>
              <a:latin typeface="Proximus" panose="00000500000000000000" pitchFamily="2" charset="0"/>
              <a:cs typeface="Proximus"/>
            </a:endParaRPr>
          </a:p>
        </p:txBody>
      </p:sp>
      <p:sp>
        <p:nvSpPr>
          <p:cNvPr id="21" name="Rectangle 20">
            <a:extLst>
              <a:ext uri="{FF2B5EF4-FFF2-40B4-BE49-F238E27FC236}">
                <a16:creationId xmlns:a16="http://schemas.microsoft.com/office/drawing/2014/main" id="{4AC1487E-9FD5-1FAD-CFB4-A61735AE2776}"/>
              </a:ext>
            </a:extLst>
          </p:cNvPr>
          <p:cNvSpPr/>
          <p:nvPr/>
        </p:nvSpPr>
        <p:spPr>
          <a:xfrm>
            <a:off x="6048071" y="2999775"/>
            <a:ext cx="2628000" cy="597159"/>
          </a:xfrm>
          <a:prstGeom prst="rect">
            <a:avLst/>
          </a:prstGeom>
          <a:solidFill>
            <a:srgbClr val="DDF0C8"/>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tx1"/>
              </a:solidFill>
              <a:latin typeface="Proximus" panose="00000500000000000000" pitchFamily="2" charset="0"/>
              <a:cs typeface="Proximus"/>
            </a:endParaRPr>
          </a:p>
        </p:txBody>
      </p:sp>
      <p:sp>
        <p:nvSpPr>
          <p:cNvPr id="22" name="Rectangle 21">
            <a:extLst>
              <a:ext uri="{FF2B5EF4-FFF2-40B4-BE49-F238E27FC236}">
                <a16:creationId xmlns:a16="http://schemas.microsoft.com/office/drawing/2014/main" id="{3C10A986-2E12-4A8C-3B63-98B12AB9FF0F}"/>
              </a:ext>
            </a:extLst>
          </p:cNvPr>
          <p:cNvSpPr/>
          <p:nvPr/>
        </p:nvSpPr>
        <p:spPr>
          <a:xfrm>
            <a:off x="6048071" y="3704784"/>
            <a:ext cx="2628000" cy="597159"/>
          </a:xfrm>
          <a:prstGeom prst="rect">
            <a:avLst/>
          </a:prstGeom>
          <a:solidFill>
            <a:srgbClr val="DDF0C8"/>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tx1"/>
              </a:solidFill>
              <a:latin typeface="Proximus" panose="00000500000000000000" pitchFamily="2" charset="0"/>
              <a:cs typeface="Proximus"/>
            </a:endParaRPr>
          </a:p>
        </p:txBody>
      </p:sp>
      <p:sp>
        <p:nvSpPr>
          <p:cNvPr id="25" name="Rectangle 24">
            <a:extLst>
              <a:ext uri="{FF2B5EF4-FFF2-40B4-BE49-F238E27FC236}">
                <a16:creationId xmlns:a16="http://schemas.microsoft.com/office/drawing/2014/main" id="{7D666642-0126-E853-8A67-7B041D82F4E7}"/>
              </a:ext>
            </a:extLst>
          </p:cNvPr>
          <p:cNvSpPr/>
          <p:nvPr/>
        </p:nvSpPr>
        <p:spPr>
          <a:xfrm>
            <a:off x="8796415" y="2305193"/>
            <a:ext cx="2628000" cy="597159"/>
          </a:xfrm>
          <a:prstGeom prst="rect">
            <a:avLst/>
          </a:prstGeom>
          <a:solidFill>
            <a:schemeClr val="bg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tx1"/>
              </a:solidFill>
              <a:latin typeface="Proximus" panose="00000500000000000000" pitchFamily="2" charset="0"/>
              <a:cs typeface="Proximus"/>
            </a:endParaRPr>
          </a:p>
        </p:txBody>
      </p:sp>
      <p:sp>
        <p:nvSpPr>
          <p:cNvPr id="26" name="Rectangle 25">
            <a:extLst>
              <a:ext uri="{FF2B5EF4-FFF2-40B4-BE49-F238E27FC236}">
                <a16:creationId xmlns:a16="http://schemas.microsoft.com/office/drawing/2014/main" id="{490E778B-9E80-3171-A18D-922CD586FDFC}"/>
              </a:ext>
            </a:extLst>
          </p:cNvPr>
          <p:cNvSpPr/>
          <p:nvPr/>
        </p:nvSpPr>
        <p:spPr>
          <a:xfrm>
            <a:off x="8796415" y="3010202"/>
            <a:ext cx="2628000" cy="597159"/>
          </a:xfrm>
          <a:prstGeom prst="rect">
            <a:avLst/>
          </a:prstGeom>
          <a:solidFill>
            <a:schemeClr val="bg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tx1"/>
              </a:solidFill>
              <a:latin typeface="Proximus" panose="00000500000000000000" pitchFamily="2" charset="0"/>
              <a:cs typeface="Proximus"/>
            </a:endParaRPr>
          </a:p>
        </p:txBody>
      </p:sp>
      <p:sp>
        <p:nvSpPr>
          <p:cNvPr id="27" name="Rectangle 26">
            <a:extLst>
              <a:ext uri="{FF2B5EF4-FFF2-40B4-BE49-F238E27FC236}">
                <a16:creationId xmlns:a16="http://schemas.microsoft.com/office/drawing/2014/main" id="{381B55C8-823E-6BAF-60C2-4B168505B467}"/>
              </a:ext>
            </a:extLst>
          </p:cNvPr>
          <p:cNvSpPr/>
          <p:nvPr/>
        </p:nvSpPr>
        <p:spPr>
          <a:xfrm>
            <a:off x="8796415" y="3715211"/>
            <a:ext cx="2628000" cy="597159"/>
          </a:xfrm>
          <a:prstGeom prst="rect">
            <a:avLst/>
          </a:prstGeom>
          <a:solidFill>
            <a:schemeClr val="bg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tx1"/>
              </a:solidFill>
              <a:latin typeface="Proximus" panose="00000500000000000000" pitchFamily="2" charset="0"/>
              <a:cs typeface="Proximus"/>
            </a:endParaRPr>
          </a:p>
        </p:txBody>
      </p:sp>
      <p:sp>
        <p:nvSpPr>
          <p:cNvPr id="30" name="TextBox 29">
            <a:extLst>
              <a:ext uri="{FF2B5EF4-FFF2-40B4-BE49-F238E27FC236}">
                <a16:creationId xmlns:a16="http://schemas.microsoft.com/office/drawing/2014/main" id="{210680C1-809D-08E0-8EBF-4E4B24AA4397}"/>
              </a:ext>
            </a:extLst>
          </p:cNvPr>
          <p:cNvSpPr txBox="1"/>
          <p:nvPr/>
        </p:nvSpPr>
        <p:spPr>
          <a:xfrm>
            <a:off x="642082" y="1789781"/>
            <a:ext cx="2446604" cy="360932"/>
          </a:xfrm>
          <a:prstGeom prst="rect">
            <a:avLst/>
          </a:prstGeom>
        </p:spPr>
        <p:txBody>
          <a:bodyPr vert="horz" wrap="square" lIns="0" tIns="0" rIns="0" bIns="0" numCol="1" spcCol="0" rtlCol="0" anchor="t" anchorCtr="0">
            <a:noAutofit/>
          </a:bodyPr>
          <a:lstStyle/>
          <a:p>
            <a:pPr algn="ctr"/>
            <a:r>
              <a:rPr lang="en-US" sz="1200">
                <a:latin typeface="Proximus ExtraBold" panose="00000900000000000000" pitchFamily="2" charset="0"/>
              </a:rPr>
              <a:t>P1/P2</a:t>
            </a:r>
          </a:p>
          <a:p>
            <a:pPr algn="ctr"/>
            <a:r>
              <a:rPr lang="en-US" sz="1200">
                <a:latin typeface="Proximus ExtraBold" panose="00000900000000000000" pitchFamily="2" charset="0"/>
              </a:rPr>
              <a:t>Foundation</a:t>
            </a:r>
            <a:endParaRPr lang="en-BE" sz="1200" err="1">
              <a:latin typeface="Proximus ExtraBold" panose="00000900000000000000" pitchFamily="2" charset="0"/>
            </a:endParaRPr>
          </a:p>
        </p:txBody>
      </p:sp>
      <p:sp>
        <p:nvSpPr>
          <p:cNvPr id="31" name="TextBox 30">
            <a:extLst>
              <a:ext uri="{FF2B5EF4-FFF2-40B4-BE49-F238E27FC236}">
                <a16:creationId xmlns:a16="http://schemas.microsoft.com/office/drawing/2014/main" id="{CCBB4E1F-3DA4-8193-81CA-EE386FE95266}"/>
              </a:ext>
            </a:extLst>
          </p:cNvPr>
          <p:cNvSpPr txBox="1"/>
          <p:nvPr/>
        </p:nvSpPr>
        <p:spPr>
          <a:xfrm>
            <a:off x="3390426" y="1798835"/>
            <a:ext cx="2446604" cy="360932"/>
          </a:xfrm>
          <a:prstGeom prst="rect">
            <a:avLst/>
          </a:prstGeom>
        </p:spPr>
        <p:txBody>
          <a:bodyPr vert="horz" wrap="square" lIns="0" tIns="0" rIns="0" bIns="0" numCol="1" spcCol="0" rtlCol="0" anchor="t" anchorCtr="0">
            <a:noAutofit/>
          </a:bodyPr>
          <a:lstStyle/>
          <a:p>
            <a:pPr algn="ctr"/>
            <a:r>
              <a:rPr lang="en-US" sz="1200">
                <a:latin typeface="Proximus ExtraBold" panose="00000900000000000000" pitchFamily="2" charset="0"/>
              </a:rPr>
              <a:t>P3</a:t>
            </a:r>
          </a:p>
          <a:p>
            <a:pPr algn="ctr"/>
            <a:r>
              <a:rPr lang="en-US" sz="1200">
                <a:latin typeface="Proximus ExtraBold" panose="00000900000000000000" pitchFamily="2" charset="0"/>
              </a:rPr>
              <a:t>Minimum Standard</a:t>
            </a:r>
            <a:endParaRPr lang="en-BE" sz="1200" err="1">
              <a:latin typeface="Proximus ExtraBold" panose="00000900000000000000" pitchFamily="2" charset="0"/>
            </a:endParaRPr>
          </a:p>
        </p:txBody>
      </p:sp>
      <p:sp>
        <p:nvSpPr>
          <p:cNvPr id="32" name="TextBox 31">
            <a:extLst>
              <a:ext uri="{FF2B5EF4-FFF2-40B4-BE49-F238E27FC236}">
                <a16:creationId xmlns:a16="http://schemas.microsoft.com/office/drawing/2014/main" id="{77A87D85-E401-0FFF-A7EB-2AD9A2D253A0}"/>
              </a:ext>
            </a:extLst>
          </p:cNvPr>
          <p:cNvSpPr txBox="1"/>
          <p:nvPr/>
        </p:nvSpPr>
        <p:spPr>
          <a:xfrm>
            <a:off x="6138769" y="1798835"/>
            <a:ext cx="2446604" cy="360932"/>
          </a:xfrm>
          <a:prstGeom prst="rect">
            <a:avLst/>
          </a:prstGeom>
        </p:spPr>
        <p:txBody>
          <a:bodyPr vert="horz" wrap="square" lIns="0" tIns="0" rIns="0" bIns="0" numCol="1" spcCol="0" rtlCol="0" anchor="t" anchorCtr="0">
            <a:noAutofit/>
          </a:bodyPr>
          <a:lstStyle/>
          <a:p>
            <a:pPr algn="ctr"/>
            <a:r>
              <a:rPr lang="en-US" sz="1200">
                <a:latin typeface="Proximus ExtraBold" panose="00000900000000000000" pitchFamily="2" charset="0"/>
              </a:rPr>
              <a:t>P4</a:t>
            </a:r>
          </a:p>
          <a:p>
            <a:pPr algn="ctr"/>
            <a:r>
              <a:rPr lang="en-US" sz="1200">
                <a:latin typeface="Proximus ExtraBold" panose="00000900000000000000" pitchFamily="2" charset="0"/>
              </a:rPr>
              <a:t>Ambassador</a:t>
            </a:r>
            <a:endParaRPr lang="en-BE" sz="1200" err="1">
              <a:latin typeface="Proximus ExtraBold" panose="00000900000000000000" pitchFamily="2" charset="0"/>
            </a:endParaRPr>
          </a:p>
        </p:txBody>
      </p:sp>
      <p:sp>
        <p:nvSpPr>
          <p:cNvPr id="33" name="TextBox 32">
            <a:extLst>
              <a:ext uri="{FF2B5EF4-FFF2-40B4-BE49-F238E27FC236}">
                <a16:creationId xmlns:a16="http://schemas.microsoft.com/office/drawing/2014/main" id="{722C5E94-3A2A-F2B4-D64A-EA4896F2A07D}"/>
              </a:ext>
            </a:extLst>
          </p:cNvPr>
          <p:cNvSpPr txBox="1"/>
          <p:nvPr/>
        </p:nvSpPr>
        <p:spPr>
          <a:xfrm>
            <a:off x="8887113" y="1783440"/>
            <a:ext cx="2446604" cy="360932"/>
          </a:xfrm>
          <a:prstGeom prst="rect">
            <a:avLst/>
          </a:prstGeom>
        </p:spPr>
        <p:txBody>
          <a:bodyPr vert="horz" wrap="square" lIns="0" tIns="0" rIns="0" bIns="0" numCol="1" spcCol="0" rtlCol="0" anchor="t" anchorCtr="0">
            <a:noAutofit/>
          </a:bodyPr>
          <a:lstStyle/>
          <a:p>
            <a:pPr algn="ctr"/>
            <a:r>
              <a:rPr lang="en-US" sz="1200">
                <a:latin typeface="Proximus ExtraBold" panose="00000900000000000000" pitchFamily="2" charset="0"/>
              </a:rPr>
              <a:t>P5</a:t>
            </a:r>
          </a:p>
          <a:p>
            <a:pPr algn="ctr"/>
            <a:r>
              <a:rPr lang="en-US" sz="1200">
                <a:latin typeface="Proximus ExtraBold" panose="00000900000000000000" pitchFamily="2" charset="0"/>
              </a:rPr>
              <a:t>Ninja</a:t>
            </a:r>
            <a:endParaRPr lang="en-BE" sz="1200" err="1">
              <a:latin typeface="Proximus ExtraBold" panose="00000900000000000000" pitchFamily="2" charset="0"/>
            </a:endParaRPr>
          </a:p>
        </p:txBody>
      </p:sp>
      <p:sp>
        <p:nvSpPr>
          <p:cNvPr id="35" name="TextBox 34">
            <a:extLst>
              <a:ext uri="{FF2B5EF4-FFF2-40B4-BE49-F238E27FC236}">
                <a16:creationId xmlns:a16="http://schemas.microsoft.com/office/drawing/2014/main" id="{6C0A4BA8-623A-4200-A738-A7681A93BBB9}"/>
              </a:ext>
            </a:extLst>
          </p:cNvPr>
          <p:cNvSpPr txBox="1"/>
          <p:nvPr/>
        </p:nvSpPr>
        <p:spPr>
          <a:xfrm>
            <a:off x="642082" y="3137098"/>
            <a:ext cx="2446604" cy="360932"/>
          </a:xfrm>
          <a:prstGeom prst="rect">
            <a:avLst/>
          </a:prstGeom>
        </p:spPr>
        <p:txBody>
          <a:bodyPr vert="horz" wrap="square" lIns="0" tIns="0" rIns="0" bIns="0" numCol="1" spcCol="0" rtlCol="0" anchor="t" anchorCtr="0">
            <a:noAutofit/>
          </a:bodyPr>
          <a:lstStyle/>
          <a:p>
            <a:r>
              <a:rPr lang="en-US" sz="1200">
                <a:solidFill>
                  <a:schemeClr val="accent6"/>
                </a:solidFill>
              </a:rPr>
              <a:t>Getting started with Copilot(2h)</a:t>
            </a:r>
            <a:endParaRPr lang="en-BE" sz="1200" err="1">
              <a:solidFill>
                <a:schemeClr val="accent6"/>
              </a:solidFill>
            </a:endParaRPr>
          </a:p>
        </p:txBody>
      </p:sp>
      <p:sp>
        <p:nvSpPr>
          <p:cNvPr id="34" name="TextBox 33">
            <a:extLst>
              <a:ext uri="{FF2B5EF4-FFF2-40B4-BE49-F238E27FC236}">
                <a16:creationId xmlns:a16="http://schemas.microsoft.com/office/drawing/2014/main" id="{528BF2BE-8E64-AA9D-3D83-C6BD6746076D}"/>
              </a:ext>
            </a:extLst>
          </p:cNvPr>
          <p:cNvSpPr txBox="1"/>
          <p:nvPr/>
        </p:nvSpPr>
        <p:spPr>
          <a:xfrm>
            <a:off x="642082" y="2432089"/>
            <a:ext cx="2446604" cy="360932"/>
          </a:xfrm>
          <a:prstGeom prst="rect">
            <a:avLst/>
          </a:prstGeom>
        </p:spPr>
        <p:txBody>
          <a:bodyPr vert="horz" wrap="square" lIns="0" tIns="0" rIns="0" bIns="0" numCol="1" spcCol="0" rtlCol="0" anchor="t" anchorCtr="0">
            <a:noAutofit/>
          </a:bodyPr>
          <a:lstStyle/>
          <a:p>
            <a:r>
              <a:rPr lang="en-US" sz="1200">
                <a:solidFill>
                  <a:schemeClr val="accent6"/>
                </a:solidFill>
              </a:rPr>
              <a:t>Training 1</a:t>
            </a:r>
            <a:endParaRPr lang="en-BE" sz="1200" err="1">
              <a:solidFill>
                <a:schemeClr val="accent6"/>
              </a:solidFill>
            </a:endParaRPr>
          </a:p>
        </p:txBody>
      </p:sp>
      <p:sp>
        <p:nvSpPr>
          <p:cNvPr id="36" name="TextBox 35">
            <a:extLst>
              <a:ext uri="{FF2B5EF4-FFF2-40B4-BE49-F238E27FC236}">
                <a16:creationId xmlns:a16="http://schemas.microsoft.com/office/drawing/2014/main" id="{F9CA1377-6DBD-9E25-7533-81533888F4D7}"/>
              </a:ext>
            </a:extLst>
          </p:cNvPr>
          <p:cNvSpPr txBox="1"/>
          <p:nvPr/>
        </p:nvSpPr>
        <p:spPr>
          <a:xfrm>
            <a:off x="642082" y="3842107"/>
            <a:ext cx="2446604" cy="360932"/>
          </a:xfrm>
          <a:prstGeom prst="rect">
            <a:avLst/>
          </a:prstGeom>
        </p:spPr>
        <p:txBody>
          <a:bodyPr vert="horz" wrap="square" lIns="0" tIns="0" rIns="0" bIns="0" numCol="1" spcCol="0" rtlCol="0" anchor="t" anchorCtr="0">
            <a:noAutofit/>
          </a:bodyPr>
          <a:lstStyle/>
          <a:p>
            <a:r>
              <a:rPr lang="en-US" sz="1200">
                <a:solidFill>
                  <a:schemeClr val="accent6"/>
                </a:solidFill>
              </a:rPr>
              <a:t>Training 2</a:t>
            </a:r>
            <a:endParaRPr lang="en-BE" sz="1200" err="1">
              <a:solidFill>
                <a:schemeClr val="accent6"/>
              </a:solidFill>
            </a:endParaRPr>
          </a:p>
        </p:txBody>
      </p:sp>
      <p:sp>
        <p:nvSpPr>
          <p:cNvPr id="37" name="TextBox 36">
            <a:extLst>
              <a:ext uri="{FF2B5EF4-FFF2-40B4-BE49-F238E27FC236}">
                <a16:creationId xmlns:a16="http://schemas.microsoft.com/office/drawing/2014/main" id="{3E86461F-C29D-1609-466E-F94D8985D2B9}"/>
              </a:ext>
            </a:extLst>
          </p:cNvPr>
          <p:cNvSpPr txBox="1"/>
          <p:nvPr/>
        </p:nvSpPr>
        <p:spPr>
          <a:xfrm>
            <a:off x="642082" y="4547116"/>
            <a:ext cx="2446604" cy="360932"/>
          </a:xfrm>
          <a:prstGeom prst="rect">
            <a:avLst/>
          </a:prstGeom>
        </p:spPr>
        <p:txBody>
          <a:bodyPr vert="horz" wrap="square" lIns="0" tIns="0" rIns="0" bIns="0" numCol="1" spcCol="0" rtlCol="0" anchor="t" anchorCtr="0">
            <a:noAutofit/>
          </a:bodyPr>
          <a:lstStyle/>
          <a:p>
            <a:r>
              <a:rPr lang="en-US" sz="1200">
                <a:solidFill>
                  <a:schemeClr val="accent6"/>
                </a:solidFill>
              </a:rPr>
              <a:t>Prompt &amp; context engineering(2h)</a:t>
            </a:r>
            <a:endParaRPr lang="en-BE" sz="1200" err="1">
              <a:solidFill>
                <a:schemeClr val="accent6"/>
              </a:solidFill>
            </a:endParaRPr>
          </a:p>
        </p:txBody>
      </p:sp>
      <p:sp>
        <p:nvSpPr>
          <p:cNvPr id="38" name="TextBox 37">
            <a:extLst>
              <a:ext uri="{FF2B5EF4-FFF2-40B4-BE49-F238E27FC236}">
                <a16:creationId xmlns:a16="http://schemas.microsoft.com/office/drawing/2014/main" id="{3F01B1D1-06BC-05C8-F497-3450773FD26C}"/>
              </a:ext>
            </a:extLst>
          </p:cNvPr>
          <p:cNvSpPr txBox="1"/>
          <p:nvPr/>
        </p:nvSpPr>
        <p:spPr>
          <a:xfrm>
            <a:off x="642082" y="5238738"/>
            <a:ext cx="2446604" cy="360932"/>
          </a:xfrm>
          <a:prstGeom prst="rect">
            <a:avLst/>
          </a:prstGeom>
        </p:spPr>
        <p:txBody>
          <a:bodyPr vert="horz" wrap="square" lIns="0" tIns="0" rIns="0" bIns="0" numCol="1" spcCol="0" rtlCol="0" anchor="t" anchorCtr="0">
            <a:noAutofit/>
          </a:bodyPr>
          <a:lstStyle/>
          <a:p>
            <a:r>
              <a:rPr lang="en-US" sz="1200">
                <a:solidFill>
                  <a:schemeClr val="accent6"/>
                </a:solidFill>
              </a:rPr>
              <a:t>Hackathon 1</a:t>
            </a:r>
            <a:endParaRPr lang="en-BE" sz="1200" err="1">
              <a:solidFill>
                <a:schemeClr val="accent6"/>
              </a:solidFill>
            </a:endParaRPr>
          </a:p>
        </p:txBody>
      </p:sp>
      <p:sp>
        <p:nvSpPr>
          <p:cNvPr id="43" name="TextBox 42">
            <a:extLst>
              <a:ext uri="{FF2B5EF4-FFF2-40B4-BE49-F238E27FC236}">
                <a16:creationId xmlns:a16="http://schemas.microsoft.com/office/drawing/2014/main" id="{4E412031-C186-9C8A-9553-4FDA9E553084}"/>
              </a:ext>
            </a:extLst>
          </p:cNvPr>
          <p:cNvSpPr txBox="1"/>
          <p:nvPr/>
        </p:nvSpPr>
        <p:spPr>
          <a:xfrm>
            <a:off x="3390426" y="2423306"/>
            <a:ext cx="2446604" cy="360932"/>
          </a:xfrm>
          <a:prstGeom prst="rect">
            <a:avLst/>
          </a:prstGeom>
        </p:spPr>
        <p:txBody>
          <a:bodyPr vert="horz" wrap="square" lIns="0" tIns="0" rIns="0" bIns="0" numCol="1" spcCol="0" rtlCol="0" anchor="t" anchorCtr="0">
            <a:noAutofit/>
          </a:bodyPr>
          <a:lstStyle/>
          <a:p>
            <a:r>
              <a:rPr lang="en-US" sz="1200">
                <a:solidFill>
                  <a:schemeClr val="accent6"/>
                </a:solidFill>
              </a:rPr>
              <a:t>Training 3</a:t>
            </a:r>
            <a:endParaRPr lang="en-BE" sz="1200" err="1">
              <a:solidFill>
                <a:schemeClr val="accent6"/>
              </a:solidFill>
            </a:endParaRPr>
          </a:p>
        </p:txBody>
      </p:sp>
      <p:sp>
        <p:nvSpPr>
          <p:cNvPr id="44" name="TextBox 43">
            <a:extLst>
              <a:ext uri="{FF2B5EF4-FFF2-40B4-BE49-F238E27FC236}">
                <a16:creationId xmlns:a16="http://schemas.microsoft.com/office/drawing/2014/main" id="{95D3BFA5-2964-A455-2C1C-6ED8FDAC1736}"/>
              </a:ext>
            </a:extLst>
          </p:cNvPr>
          <p:cNvSpPr txBox="1"/>
          <p:nvPr/>
        </p:nvSpPr>
        <p:spPr>
          <a:xfrm>
            <a:off x="3390426" y="3128315"/>
            <a:ext cx="2446604" cy="360932"/>
          </a:xfrm>
          <a:prstGeom prst="rect">
            <a:avLst/>
          </a:prstGeom>
        </p:spPr>
        <p:txBody>
          <a:bodyPr vert="horz" wrap="square" lIns="0" tIns="0" rIns="0" bIns="0" numCol="1" spcCol="0" rtlCol="0" anchor="t" anchorCtr="0">
            <a:noAutofit/>
          </a:bodyPr>
          <a:lstStyle/>
          <a:p>
            <a:r>
              <a:rPr lang="en-US" sz="1200">
                <a:solidFill>
                  <a:schemeClr val="accent6"/>
                </a:solidFill>
              </a:rPr>
              <a:t>Agentic use of Copilot(2h)</a:t>
            </a:r>
            <a:endParaRPr lang="en-BE" sz="1200" err="1">
              <a:solidFill>
                <a:schemeClr val="accent6"/>
              </a:solidFill>
            </a:endParaRPr>
          </a:p>
        </p:txBody>
      </p:sp>
      <p:sp>
        <p:nvSpPr>
          <p:cNvPr id="45" name="TextBox 44">
            <a:extLst>
              <a:ext uri="{FF2B5EF4-FFF2-40B4-BE49-F238E27FC236}">
                <a16:creationId xmlns:a16="http://schemas.microsoft.com/office/drawing/2014/main" id="{CBE35C31-F971-3AD2-0F3F-1E01DD826471}"/>
              </a:ext>
            </a:extLst>
          </p:cNvPr>
          <p:cNvSpPr txBox="1"/>
          <p:nvPr/>
        </p:nvSpPr>
        <p:spPr>
          <a:xfrm>
            <a:off x="3390426" y="3833324"/>
            <a:ext cx="2446604" cy="360932"/>
          </a:xfrm>
          <a:prstGeom prst="rect">
            <a:avLst/>
          </a:prstGeom>
        </p:spPr>
        <p:txBody>
          <a:bodyPr vert="horz" wrap="square" lIns="0" tIns="0" rIns="0" bIns="0" numCol="1" spcCol="0" rtlCol="0" anchor="t" anchorCtr="0">
            <a:noAutofit/>
          </a:bodyPr>
          <a:lstStyle/>
          <a:p>
            <a:r>
              <a:rPr lang="en-US" sz="1200">
                <a:solidFill>
                  <a:schemeClr val="accent6"/>
                </a:solidFill>
              </a:rPr>
              <a:t>Training 4</a:t>
            </a:r>
            <a:endParaRPr lang="en-BE" sz="1200" err="1">
              <a:solidFill>
                <a:schemeClr val="accent6"/>
              </a:solidFill>
            </a:endParaRPr>
          </a:p>
        </p:txBody>
      </p:sp>
      <p:sp>
        <p:nvSpPr>
          <p:cNvPr id="46" name="TextBox 45">
            <a:extLst>
              <a:ext uri="{FF2B5EF4-FFF2-40B4-BE49-F238E27FC236}">
                <a16:creationId xmlns:a16="http://schemas.microsoft.com/office/drawing/2014/main" id="{BDC4F006-790F-B7F5-D3C0-79BE0E23DEE8}"/>
              </a:ext>
            </a:extLst>
          </p:cNvPr>
          <p:cNvSpPr txBox="1"/>
          <p:nvPr/>
        </p:nvSpPr>
        <p:spPr>
          <a:xfrm>
            <a:off x="3390426" y="4538333"/>
            <a:ext cx="2446604" cy="360932"/>
          </a:xfrm>
          <a:prstGeom prst="rect">
            <a:avLst/>
          </a:prstGeom>
        </p:spPr>
        <p:txBody>
          <a:bodyPr vert="horz" wrap="square" lIns="0" tIns="0" rIns="0" bIns="0" numCol="1" spcCol="0" rtlCol="0" anchor="t" anchorCtr="0">
            <a:noAutofit/>
          </a:bodyPr>
          <a:lstStyle/>
          <a:p>
            <a:r>
              <a:rPr lang="en-US" sz="1200">
                <a:solidFill>
                  <a:schemeClr val="accent6"/>
                </a:solidFill>
              </a:rPr>
              <a:t>Copilot features on github.com(2h)</a:t>
            </a:r>
            <a:endParaRPr lang="en-BE" sz="1200" err="1">
              <a:solidFill>
                <a:schemeClr val="accent6"/>
              </a:solidFill>
            </a:endParaRPr>
          </a:p>
        </p:txBody>
      </p:sp>
      <p:sp>
        <p:nvSpPr>
          <p:cNvPr id="47" name="TextBox 46">
            <a:extLst>
              <a:ext uri="{FF2B5EF4-FFF2-40B4-BE49-F238E27FC236}">
                <a16:creationId xmlns:a16="http://schemas.microsoft.com/office/drawing/2014/main" id="{F6F4A751-71F1-A0EE-EE00-185E8DFD8324}"/>
              </a:ext>
            </a:extLst>
          </p:cNvPr>
          <p:cNvSpPr txBox="1"/>
          <p:nvPr/>
        </p:nvSpPr>
        <p:spPr>
          <a:xfrm>
            <a:off x="3390426" y="5229955"/>
            <a:ext cx="2446604" cy="360932"/>
          </a:xfrm>
          <a:prstGeom prst="rect">
            <a:avLst/>
          </a:prstGeom>
        </p:spPr>
        <p:txBody>
          <a:bodyPr vert="horz" wrap="square" lIns="0" tIns="0" rIns="0" bIns="0" numCol="1" spcCol="0" rtlCol="0" anchor="t" anchorCtr="0">
            <a:noAutofit/>
          </a:bodyPr>
          <a:lstStyle/>
          <a:p>
            <a:r>
              <a:rPr lang="en-US" sz="1200">
                <a:solidFill>
                  <a:schemeClr val="accent6"/>
                </a:solidFill>
              </a:rPr>
              <a:t>Hackathon 2</a:t>
            </a:r>
            <a:endParaRPr lang="en-BE" sz="1200" err="1">
              <a:solidFill>
                <a:schemeClr val="accent6"/>
              </a:solidFill>
            </a:endParaRPr>
          </a:p>
        </p:txBody>
      </p:sp>
      <p:sp>
        <p:nvSpPr>
          <p:cNvPr id="48" name="Rectangle 47">
            <a:extLst>
              <a:ext uri="{FF2B5EF4-FFF2-40B4-BE49-F238E27FC236}">
                <a16:creationId xmlns:a16="http://schemas.microsoft.com/office/drawing/2014/main" id="{1F5052ED-6377-17F2-6112-3E412AFA52FC}"/>
              </a:ext>
            </a:extLst>
          </p:cNvPr>
          <p:cNvSpPr/>
          <p:nvPr/>
        </p:nvSpPr>
        <p:spPr>
          <a:xfrm>
            <a:off x="3299728" y="5803464"/>
            <a:ext cx="2628000" cy="597159"/>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400" err="1">
              <a:solidFill>
                <a:schemeClr val="tx1"/>
              </a:solidFill>
              <a:latin typeface="Proximus" panose="00000500000000000000" pitchFamily="2" charset="0"/>
              <a:cs typeface="Proximus"/>
            </a:endParaRPr>
          </a:p>
        </p:txBody>
      </p:sp>
      <p:sp>
        <p:nvSpPr>
          <p:cNvPr id="49" name="TextBox 48">
            <a:extLst>
              <a:ext uri="{FF2B5EF4-FFF2-40B4-BE49-F238E27FC236}">
                <a16:creationId xmlns:a16="http://schemas.microsoft.com/office/drawing/2014/main" id="{6458E29E-F64F-FB04-1EC3-A33FB19AD6F0}"/>
              </a:ext>
            </a:extLst>
          </p:cNvPr>
          <p:cNvSpPr txBox="1"/>
          <p:nvPr/>
        </p:nvSpPr>
        <p:spPr>
          <a:xfrm>
            <a:off x="3390426" y="5921577"/>
            <a:ext cx="2446604" cy="360932"/>
          </a:xfrm>
          <a:prstGeom prst="rect">
            <a:avLst/>
          </a:prstGeom>
        </p:spPr>
        <p:txBody>
          <a:bodyPr vert="horz" wrap="square" lIns="0" tIns="0" rIns="0" bIns="0" numCol="1" spcCol="0" rtlCol="0" anchor="t" anchorCtr="0">
            <a:noAutofit/>
          </a:bodyPr>
          <a:lstStyle/>
          <a:p>
            <a:r>
              <a:rPr lang="en-US" sz="1200">
                <a:solidFill>
                  <a:schemeClr val="accent6"/>
                </a:solidFill>
              </a:rPr>
              <a:t>GH certification</a:t>
            </a:r>
            <a:endParaRPr lang="en-BE" sz="1200" err="1">
              <a:solidFill>
                <a:schemeClr val="accent6"/>
              </a:solidFill>
            </a:endParaRPr>
          </a:p>
        </p:txBody>
      </p:sp>
      <p:sp>
        <p:nvSpPr>
          <p:cNvPr id="56" name="TextBox 55">
            <a:extLst>
              <a:ext uri="{FF2B5EF4-FFF2-40B4-BE49-F238E27FC236}">
                <a16:creationId xmlns:a16="http://schemas.microsoft.com/office/drawing/2014/main" id="{A040DA48-6E43-02CC-C7AC-1EE5E1858911}"/>
              </a:ext>
            </a:extLst>
          </p:cNvPr>
          <p:cNvSpPr txBox="1"/>
          <p:nvPr/>
        </p:nvSpPr>
        <p:spPr>
          <a:xfrm>
            <a:off x="6138768" y="2439999"/>
            <a:ext cx="2446604" cy="360932"/>
          </a:xfrm>
          <a:prstGeom prst="rect">
            <a:avLst/>
          </a:prstGeom>
        </p:spPr>
        <p:txBody>
          <a:bodyPr vert="horz" wrap="square" lIns="0" tIns="0" rIns="0" bIns="0" numCol="1" spcCol="0" rtlCol="0" anchor="t" anchorCtr="0">
            <a:noAutofit/>
          </a:bodyPr>
          <a:lstStyle/>
          <a:p>
            <a:r>
              <a:rPr lang="en-US" sz="1200">
                <a:solidFill>
                  <a:schemeClr val="accent6"/>
                </a:solidFill>
              </a:rPr>
              <a:t>CoP Ambassador</a:t>
            </a:r>
            <a:endParaRPr lang="en-BE" sz="1200" err="1">
              <a:solidFill>
                <a:schemeClr val="accent6"/>
              </a:solidFill>
            </a:endParaRPr>
          </a:p>
        </p:txBody>
      </p:sp>
      <p:sp>
        <p:nvSpPr>
          <p:cNvPr id="57" name="TextBox 56">
            <a:extLst>
              <a:ext uri="{FF2B5EF4-FFF2-40B4-BE49-F238E27FC236}">
                <a16:creationId xmlns:a16="http://schemas.microsoft.com/office/drawing/2014/main" id="{33FBC6AF-65BB-376B-7810-FBCCEF2CAB9F}"/>
              </a:ext>
            </a:extLst>
          </p:cNvPr>
          <p:cNvSpPr txBox="1"/>
          <p:nvPr/>
        </p:nvSpPr>
        <p:spPr>
          <a:xfrm>
            <a:off x="6138768" y="3137098"/>
            <a:ext cx="2446604" cy="360932"/>
          </a:xfrm>
          <a:prstGeom prst="rect">
            <a:avLst/>
          </a:prstGeom>
        </p:spPr>
        <p:txBody>
          <a:bodyPr vert="horz" wrap="square" lIns="0" tIns="0" rIns="0" bIns="0" numCol="1" spcCol="0" rtlCol="0" anchor="t" anchorCtr="0">
            <a:noAutofit/>
          </a:bodyPr>
          <a:lstStyle/>
          <a:p>
            <a:r>
              <a:rPr lang="en-US" sz="1200">
                <a:solidFill>
                  <a:schemeClr val="accent6"/>
                </a:solidFill>
              </a:rPr>
              <a:t>Monthly SIM sessions</a:t>
            </a:r>
            <a:endParaRPr lang="en-BE" sz="1200" err="1">
              <a:solidFill>
                <a:schemeClr val="accent6"/>
              </a:solidFill>
            </a:endParaRPr>
          </a:p>
        </p:txBody>
      </p:sp>
      <p:sp>
        <p:nvSpPr>
          <p:cNvPr id="58" name="TextBox 57">
            <a:extLst>
              <a:ext uri="{FF2B5EF4-FFF2-40B4-BE49-F238E27FC236}">
                <a16:creationId xmlns:a16="http://schemas.microsoft.com/office/drawing/2014/main" id="{10D67F46-8F7E-60F6-35BC-606B5557F281}"/>
              </a:ext>
            </a:extLst>
          </p:cNvPr>
          <p:cNvSpPr txBox="1"/>
          <p:nvPr/>
        </p:nvSpPr>
        <p:spPr>
          <a:xfrm>
            <a:off x="6138768" y="3833324"/>
            <a:ext cx="2446604" cy="360932"/>
          </a:xfrm>
          <a:prstGeom prst="rect">
            <a:avLst/>
          </a:prstGeom>
        </p:spPr>
        <p:txBody>
          <a:bodyPr vert="horz" wrap="square" lIns="0" tIns="0" rIns="0" bIns="0" numCol="1" spcCol="0" rtlCol="0" anchor="t" anchorCtr="0">
            <a:noAutofit/>
          </a:bodyPr>
          <a:lstStyle/>
          <a:p>
            <a:r>
              <a:rPr lang="en-US" sz="1200">
                <a:solidFill>
                  <a:schemeClr val="accent6"/>
                </a:solidFill>
              </a:rPr>
              <a:t>Office hours &amp; Internal demos</a:t>
            </a:r>
            <a:endParaRPr lang="en-BE" sz="1200" err="1">
              <a:solidFill>
                <a:schemeClr val="accent6"/>
              </a:solidFill>
            </a:endParaRPr>
          </a:p>
        </p:txBody>
      </p:sp>
      <p:sp>
        <p:nvSpPr>
          <p:cNvPr id="66" name="TextBox 65">
            <a:extLst>
              <a:ext uri="{FF2B5EF4-FFF2-40B4-BE49-F238E27FC236}">
                <a16:creationId xmlns:a16="http://schemas.microsoft.com/office/drawing/2014/main" id="{6DD45D2E-DB91-1409-951F-B423A0BAC816}"/>
              </a:ext>
            </a:extLst>
          </p:cNvPr>
          <p:cNvSpPr txBox="1"/>
          <p:nvPr/>
        </p:nvSpPr>
        <p:spPr>
          <a:xfrm>
            <a:off x="8887113" y="2439999"/>
            <a:ext cx="2446604" cy="360932"/>
          </a:xfrm>
          <a:prstGeom prst="rect">
            <a:avLst/>
          </a:prstGeom>
        </p:spPr>
        <p:txBody>
          <a:bodyPr vert="horz" wrap="square" lIns="0" tIns="0" rIns="0" bIns="0" numCol="1" spcCol="0" rtlCol="0" anchor="t" anchorCtr="0">
            <a:noAutofit/>
          </a:bodyPr>
          <a:lstStyle/>
          <a:p>
            <a:r>
              <a:rPr lang="en-US" sz="1200">
                <a:solidFill>
                  <a:schemeClr val="accent6"/>
                </a:solidFill>
              </a:rPr>
              <a:t>Mgmt agreement 20% time</a:t>
            </a:r>
            <a:endParaRPr lang="en-BE" sz="1200" err="1">
              <a:solidFill>
                <a:schemeClr val="accent6"/>
              </a:solidFill>
            </a:endParaRPr>
          </a:p>
        </p:txBody>
      </p:sp>
      <p:sp>
        <p:nvSpPr>
          <p:cNvPr id="67" name="TextBox 66">
            <a:extLst>
              <a:ext uri="{FF2B5EF4-FFF2-40B4-BE49-F238E27FC236}">
                <a16:creationId xmlns:a16="http://schemas.microsoft.com/office/drawing/2014/main" id="{D38B085B-0543-A535-11B3-B34E8A730CF6}"/>
              </a:ext>
            </a:extLst>
          </p:cNvPr>
          <p:cNvSpPr txBox="1"/>
          <p:nvPr/>
        </p:nvSpPr>
        <p:spPr>
          <a:xfrm>
            <a:off x="8887110" y="3128315"/>
            <a:ext cx="2446604" cy="360932"/>
          </a:xfrm>
          <a:prstGeom prst="rect">
            <a:avLst/>
          </a:prstGeom>
        </p:spPr>
        <p:txBody>
          <a:bodyPr vert="horz" wrap="square" lIns="0" tIns="0" rIns="0" bIns="0" numCol="1" spcCol="0" rtlCol="0" anchor="t" anchorCtr="0">
            <a:noAutofit/>
          </a:bodyPr>
          <a:lstStyle/>
          <a:p>
            <a:r>
              <a:rPr lang="en-US" sz="1200">
                <a:solidFill>
                  <a:schemeClr val="accent6"/>
                </a:solidFill>
              </a:rPr>
              <a:t>Enterprise agents &amp; prompts</a:t>
            </a:r>
            <a:endParaRPr lang="en-BE" sz="1200" err="1">
              <a:solidFill>
                <a:schemeClr val="accent6"/>
              </a:solidFill>
            </a:endParaRPr>
          </a:p>
        </p:txBody>
      </p:sp>
      <p:sp>
        <p:nvSpPr>
          <p:cNvPr id="68" name="TextBox 67">
            <a:extLst>
              <a:ext uri="{FF2B5EF4-FFF2-40B4-BE49-F238E27FC236}">
                <a16:creationId xmlns:a16="http://schemas.microsoft.com/office/drawing/2014/main" id="{7F2CF938-BBA0-5D30-429C-1D6F0932540B}"/>
              </a:ext>
            </a:extLst>
          </p:cNvPr>
          <p:cNvSpPr txBox="1"/>
          <p:nvPr/>
        </p:nvSpPr>
        <p:spPr>
          <a:xfrm>
            <a:off x="8913609" y="3825271"/>
            <a:ext cx="2446604" cy="360932"/>
          </a:xfrm>
          <a:prstGeom prst="rect">
            <a:avLst/>
          </a:prstGeom>
        </p:spPr>
        <p:txBody>
          <a:bodyPr vert="horz" wrap="square" lIns="0" tIns="0" rIns="0" bIns="0" numCol="1" spcCol="0" rtlCol="0" anchor="t" anchorCtr="0">
            <a:noAutofit/>
          </a:bodyPr>
          <a:lstStyle/>
          <a:p>
            <a:r>
              <a:rPr lang="en-US" sz="1200">
                <a:solidFill>
                  <a:schemeClr val="accent6"/>
                </a:solidFill>
              </a:rPr>
              <a:t>Cross CoP outreach</a:t>
            </a:r>
            <a:endParaRPr lang="en-BE" sz="1200" err="1">
              <a:solidFill>
                <a:schemeClr val="accent6"/>
              </a:solidFill>
            </a:endParaRPr>
          </a:p>
        </p:txBody>
      </p:sp>
    </p:spTree>
    <p:extLst>
      <p:ext uri="{BB962C8B-B14F-4D97-AF65-F5344CB8AC3E}">
        <p14:creationId xmlns:p14="http://schemas.microsoft.com/office/powerpoint/2010/main" val="14029441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32687&quot;&gt;&lt;version val=&quot;38588&quot;/&gt;&lt;CPresentation id=&quot;1&quot;&gt;&lt;m_precDefaultOrdinal&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Ordinal&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2.xml><?xml version="1.0" encoding="utf-8"?>
<p:tagLst xmlns:a="http://schemas.openxmlformats.org/drawingml/2006/main" xmlns:r="http://schemas.openxmlformats.org/officeDocument/2006/relationships" xmlns:p="http://schemas.openxmlformats.org/presentationml/2006/main">
  <p:tag name="SHAPENAME" val="Subtitle"/>
</p:tagLst>
</file>

<file path=ppt/tags/tag23.xml><?xml version="1.0" encoding="utf-8"?>
<p:tagLst xmlns:a="http://schemas.openxmlformats.org/drawingml/2006/main" xmlns:r="http://schemas.openxmlformats.org/officeDocument/2006/relationships" xmlns:p="http://schemas.openxmlformats.org/presentationml/2006/main">
  <p:tag name="SHAPENAME" val="Titl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PXS ADA">
  <a:themeElements>
    <a:clrScheme name="Custom 10">
      <a:dk1>
        <a:srgbClr val="5C2D91"/>
      </a:dk1>
      <a:lt1>
        <a:srgbClr val="FFFFFF"/>
      </a:lt1>
      <a:dk2>
        <a:srgbClr val="00BCEE"/>
      </a:dk2>
      <a:lt2>
        <a:srgbClr val="EE2E5D"/>
      </a:lt2>
      <a:accent1>
        <a:srgbClr val="FF418C"/>
      </a:accent1>
      <a:accent2>
        <a:srgbClr val="F39200"/>
      </a:accent2>
      <a:accent3>
        <a:srgbClr val="FFCA00"/>
      </a:accent3>
      <a:accent4>
        <a:srgbClr val="FF73AA"/>
      </a:accent4>
      <a:accent5>
        <a:srgbClr val="0F0A23"/>
      </a:accent5>
      <a:accent6>
        <a:srgbClr val="000000"/>
      </a:accent6>
      <a:hlink>
        <a:srgbClr val="0073CF"/>
      </a:hlink>
      <a:folHlink>
        <a:srgbClr val="C1C1C3"/>
      </a:folHlink>
    </a:clrScheme>
    <a:fontScheme name="PXS ADA">
      <a:majorFont>
        <a:latin typeface="Proximus Light"/>
        <a:ea typeface=""/>
        <a:cs typeface=""/>
      </a:majorFont>
      <a:minorFont>
        <a:latin typeface="Proximu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vert="horz" lIns="108000" tIns="108000" rIns="108000" bIns="108000" rtlCol="0" anchor="t" anchorCtr="0"/>
      <a:lstStyle>
        <a:defPPr algn="ctr" defTabSz="1218418">
          <a:defRPr sz="1400" dirty="0" err="1" smtClean="0">
            <a:solidFill>
              <a:schemeClr val="tx1"/>
            </a:solidFill>
            <a:latin typeface="Proximus" panose="00000500000000000000" pitchFamily="2" charset="0"/>
            <a:cs typeface="Proximus"/>
          </a:defRPr>
        </a:defPPr>
      </a:lstStyle>
      <a:style>
        <a:lnRef idx="1">
          <a:schemeClr val="accent1"/>
        </a:lnRef>
        <a:fillRef idx="3">
          <a:schemeClr val="accent1"/>
        </a:fillRef>
        <a:effectRef idx="2">
          <a:schemeClr val="accent1"/>
        </a:effectRef>
        <a:fontRef idx="minor">
          <a:schemeClr val="lt1"/>
        </a:fontRef>
      </a:style>
    </a:spDef>
    <a:lnDef>
      <a:spPr>
        <a:ln w="25400" cap="rnd">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numCol="1" spcCol="0" rtlCol="0" anchor="t" anchorCtr="0">
        <a:noAutofit/>
      </a:bodyPr>
      <a:lstStyle>
        <a:defPPr algn="l">
          <a:defRPr sz="1400" dirty="0" err="1" smtClean="0">
            <a:solidFill>
              <a:schemeClr val="accent6"/>
            </a:solidFill>
          </a:defRPr>
        </a:defPPr>
      </a:lstStyle>
    </a:txDef>
  </a:objectDefaults>
  <a:extraClrSchemeLst/>
  <a:extLst>
    <a:ext uri="{05A4C25C-085E-4340-85A3-A5531E510DB2}">
      <thm15:themeFamily xmlns:thm15="http://schemas.microsoft.com/office/thememl/2012/main" name="proximus_powerpoint_template_january_2020.pptx" id="{FF30E517-8685-4691-8030-E023714C19DB}" vid="{55901BB6-D697-45D5-9CA1-F9D92C306290}"/>
    </a:ext>
  </a:extLst>
</a:theme>
</file>

<file path=ppt/theme/theme2.xml><?xml version="1.0" encoding="utf-8"?>
<a:theme xmlns:a="http://schemas.openxmlformats.org/drawingml/2006/main" name="2_PROXIMUS PPT TEMPLATE 2024">
  <a:themeElements>
    <a:clrScheme name="Custom 9">
      <a:dk1>
        <a:srgbClr val="5C2D91"/>
      </a:dk1>
      <a:lt1>
        <a:srgbClr val="FFFFFF"/>
      </a:lt1>
      <a:dk2>
        <a:srgbClr val="00BCEE"/>
      </a:dk2>
      <a:lt2>
        <a:srgbClr val="EE2E5D"/>
      </a:lt2>
      <a:accent1>
        <a:srgbClr val="FF418C"/>
      </a:accent1>
      <a:accent2>
        <a:srgbClr val="F39200"/>
      </a:accent2>
      <a:accent3>
        <a:srgbClr val="FFCA00"/>
      </a:accent3>
      <a:accent4>
        <a:srgbClr val="81C747"/>
      </a:accent4>
      <a:accent5>
        <a:srgbClr val="66D2CC"/>
      </a:accent5>
      <a:accent6>
        <a:srgbClr val="000000"/>
      </a:accent6>
      <a:hlink>
        <a:srgbClr val="0073CF"/>
      </a:hlink>
      <a:folHlink>
        <a:srgbClr val="C1C1C3"/>
      </a:folHlink>
    </a:clrScheme>
    <a:fontScheme name="Custom 15">
      <a:majorFont>
        <a:latin typeface="Proximus Bold"/>
        <a:ea typeface=""/>
        <a:cs typeface=""/>
      </a:majorFont>
      <a:minorFont>
        <a:latin typeface="Proximu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vert="horz" lIns="36000" tIns="36000" rIns="36000" bIns="72000" rtlCol="0" anchor="ctr" anchorCtr="0"/>
      <a:lstStyle>
        <a:defPPr algn="ctr" defTabSz="1218418">
          <a:defRPr sz="1400" dirty="0" err="1" smtClean="0">
            <a:solidFill>
              <a:schemeClr val="tx1"/>
            </a:solidFill>
            <a:latin typeface="Proximus" panose="00000500000000000000" pitchFamily="2" charset="0"/>
            <a:cs typeface="Proximus"/>
          </a:defRPr>
        </a:defPPr>
      </a:lstStyle>
      <a:style>
        <a:lnRef idx="1">
          <a:schemeClr val="accent1"/>
        </a:lnRef>
        <a:fillRef idx="3">
          <a:schemeClr val="accent1"/>
        </a:fillRef>
        <a:effectRef idx="2">
          <a:schemeClr val="accent1"/>
        </a:effectRef>
        <a:fontRef idx="minor">
          <a:schemeClr val="lt1"/>
        </a:fontRef>
      </a:style>
    </a:spDef>
    <a:lnDef>
      <a:spPr>
        <a:ln w="25400" cap="rnd">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numCol="1" spcCol="0" rtlCol="0" anchor="t" anchorCtr="0">
        <a:noAutofit/>
      </a:bodyPr>
      <a:lstStyle>
        <a:defPPr algn="l">
          <a:defRPr sz="1400" dirty="0" err="1" smtClean="0">
            <a:solidFill>
              <a:schemeClr val="accent6"/>
            </a:solidFill>
          </a:defRPr>
        </a:defPPr>
      </a:lstStyle>
    </a:txDef>
  </a:objectDefaults>
  <a:extraClrSchemeLst/>
  <a:extLst>
    <a:ext uri="{05A4C25C-085E-4340-85A3-A5531E510DB2}">
      <thm15:themeFamily xmlns:thm15="http://schemas.microsoft.com/office/thememl/2012/main" name="proximus_powerpoint_template_july_2024_EXTENDED.potx" id="{28339276-52B6-457B-BEC6-DFC6C5390E5E}" vid="{46353CD0-7065-499B-9D18-05C44B559E46}"/>
    </a:ext>
  </a:extLst>
</a:theme>
</file>

<file path=ppt/theme/theme3.xml><?xml version="1.0" encoding="utf-8"?>
<a:theme xmlns:a="http://schemas.openxmlformats.org/drawingml/2006/main" name="Proximus general template 2025">
  <a:themeElements>
    <a:clrScheme name="Custom 9">
      <a:dk1>
        <a:srgbClr val="5C2D91"/>
      </a:dk1>
      <a:lt1>
        <a:srgbClr val="FFFFFF"/>
      </a:lt1>
      <a:dk2>
        <a:srgbClr val="00BCEE"/>
      </a:dk2>
      <a:lt2>
        <a:srgbClr val="EE2E5D"/>
      </a:lt2>
      <a:accent1>
        <a:srgbClr val="FF418C"/>
      </a:accent1>
      <a:accent2>
        <a:srgbClr val="F39200"/>
      </a:accent2>
      <a:accent3>
        <a:srgbClr val="FFCA00"/>
      </a:accent3>
      <a:accent4>
        <a:srgbClr val="81C747"/>
      </a:accent4>
      <a:accent5>
        <a:srgbClr val="66D2CC"/>
      </a:accent5>
      <a:accent6>
        <a:srgbClr val="000000"/>
      </a:accent6>
      <a:hlink>
        <a:srgbClr val="0073CF"/>
      </a:hlink>
      <a:folHlink>
        <a:srgbClr val="C1C1C3"/>
      </a:folHlink>
    </a:clrScheme>
    <a:fontScheme name="Custom 15">
      <a:majorFont>
        <a:latin typeface="Proximus Bold"/>
        <a:ea typeface=""/>
        <a:cs typeface=""/>
      </a:majorFont>
      <a:minorFont>
        <a:latin typeface="Proximu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vert="horz" lIns="108000" tIns="108000" rIns="108000" bIns="108000" rtlCol="0" anchor="ctr" anchorCtr="0"/>
      <a:lstStyle>
        <a:defPPr algn="ctr" defTabSz="1218418">
          <a:defRPr sz="1200" dirty="0" smtClean="0">
            <a:solidFill>
              <a:schemeClr val="tx1"/>
            </a:solidFill>
            <a:latin typeface="Proximus" panose="00000500000000000000" pitchFamily="2" charset="0"/>
            <a:cs typeface="Proximus"/>
          </a:defRPr>
        </a:defPPr>
      </a:lstStyle>
      <a:style>
        <a:lnRef idx="1">
          <a:schemeClr val="accent1"/>
        </a:lnRef>
        <a:fillRef idx="3">
          <a:schemeClr val="accent1"/>
        </a:fillRef>
        <a:effectRef idx="2">
          <a:schemeClr val="accent1"/>
        </a:effectRef>
        <a:fontRef idx="minor">
          <a:schemeClr val="lt1"/>
        </a:fontRef>
      </a:style>
    </a:spDef>
    <a:lnDef>
      <a:spPr>
        <a:ln w="12700" cap="rnd">
          <a:solidFill>
            <a:schemeClr val="tx1">
              <a:lumMod val="50000"/>
            </a:schemeClr>
          </a:solidFill>
          <a:prstDash val="sysDot"/>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numCol="1" spcCol="0" rtlCol="0" anchor="t" anchorCtr="0">
        <a:noAutofit/>
      </a:bodyPr>
      <a:lstStyle>
        <a:defPPr algn="l">
          <a:defRPr sz="1200" dirty="0" smtClean="0">
            <a:solidFill>
              <a:schemeClr val="accent6"/>
            </a:solidFill>
          </a:defRPr>
        </a:defPPr>
      </a:lstStyle>
    </a:txDef>
  </a:objectDefaults>
  <a:extraClrSchemeLst/>
  <a:extLst>
    <a:ext uri="{05A4C25C-085E-4340-85A3-A5531E510DB2}">
      <thm15:themeFamily xmlns:thm15="http://schemas.microsoft.com/office/thememl/2012/main" name="Presentation1" id="{68764AE5-9A96-478D-B73B-88D33264F8D8}" vid="{77F3AE4E-7BA1-4C6B-86F5-3F97C20DDBE4}"/>
    </a:ext>
  </a:extLst>
</a:theme>
</file>

<file path=ppt/theme/theme4.xml><?xml version="1.0" encoding="utf-8"?>
<a:theme xmlns:a="http://schemas.openxmlformats.org/drawingml/2006/main" name="3_Residential">
  <a:themeElements>
    <a:clrScheme name="Proximus Strategy Board">
      <a:dk1>
        <a:srgbClr val="201B27"/>
      </a:dk1>
      <a:lt1>
        <a:srgbClr val="FFFFFF"/>
      </a:lt1>
      <a:dk2>
        <a:srgbClr val="5C2D91"/>
      </a:dk2>
      <a:lt2>
        <a:srgbClr val="00BCEE"/>
      </a:lt2>
      <a:accent1>
        <a:srgbClr val="EE2E5D"/>
      </a:accent1>
      <a:accent2>
        <a:srgbClr val="FF418C"/>
      </a:accent2>
      <a:accent3>
        <a:srgbClr val="F39200"/>
      </a:accent3>
      <a:accent4>
        <a:srgbClr val="FFCA00"/>
      </a:accent4>
      <a:accent5>
        <a:srgbClr val="81C747"/>
      </a:accent5>
      <a:accent6>
        <a:srgbClr val="66D2CC"/>
      </a:accent6>
      <a:hlink>
        <a:srgbClr val="0073CF"/>
      </a:hlink>
      <a:folHlink>
        <a:srgbClr val="C1C1C3"/>
      </a:folHlink>
    </a:clrScheme>
    <a:fontScheme name="PXS Xbold">
      <a:majorFont>
        <a:latin typeface="Proximus ExtraBold"/>
        <a:ea typeface=""/>
        <a:cs typeface=""/>
      </a:majorFont>
      <a:minorFont>
        <a:latin typeface="Proximu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vert="horz" lIns="108000" tIns="108000" rIns="108000" bIns="108000" rtlCol="0" anchor="ctr" anchorCtr="0"/>
      <a:lstStyle>
        <a:defPPr algn="ctr" defTabSz="1218418">
          <a:defRPr sz="1200" b="1" dirty="0">
            <a:solidFill>
              <a:schemeClr val="tx1"/>
            </a:solidFill>
            <a:latin typeface="Proximus Bold" panose="00000500000000000000" pitchFamily="2" charset="0"/>
            <a:cs typeface="Proximus Bold"/>
          </a:defRPr>
        </a:defPPr>
      </a:lstStyle>
      <a:style>
        <a:lnRef idx="1">
          <a:schemeClr val="accent1"/>
        </a:lnRef>
        <a:fillRef idx="3">
          <a:schemeClr val="accent1"/>
        </a:fillRef>
        <a:effectRef idx="2">
          <a:schemeClr val="accent1"/>
        </a:effectRef>
        <a:fontRef idx="minor">
          <a:schemeClr val="lt1"/>
        </a:fontRef>
      </a:style>
    </a:spDef>
    <a:lnDef>
      <a:spPr>
        <a:ln w="12700">
          <a:solidFill>
            <a:schemeClr val="bg1">
              <a:lumMod val="40000"/>
              <a:lumOff val="60000"/>
            </a:schemeClr>
          </a:solidFill>
          <a:tailEnd type="none"/>
        </a:ln>
        <a:effectLst/>
      </a:spPr>
      <a:bodyPr/>
      <a:lstStyle/>
      <a:style>
        <a:lnRef idx="2">
          <a:schemeClr val="accent1"/>
        </a:lnRef>
        <a:fillRef idx="0">
          <a:schemeClr val="accent1"/>
        </a:fillRef>
        <a:effectRef idx="1">
          <a:schemeClr val="accent1"/>
        </a:effectRef>
        <a:fontRef idx="minor">
          <a:schemeClr val="tx1"/>
        </a:fontRef>
      </a:style>
    </a:lnDef>
    <a:txDef>
      <a:spPr>
        <a:solidFill>
          <a:schemeClr val="bg1"/>
        </a:solid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proximus_powerpoint_template_january_2020.pptx" id="{FF30E517-8685-4691-8030-E023714C19DB}" vid="{5C188276-EB6B-4E30-A73A-36D8C9B0A39B}"/>
    </a:ext>
  </a:extLst>
</a:theme>
</file>

<file path=ppt/theme/theme5.xml><?xml version="1.0" encoding="utf-8"?>
<a:theme xmlns:a="http://schemas.openxmlformats.org/drawingml/2006/main" name="4_Residential">
  <a:themeElements>
    <a:clrScheme name="Proximus Strategy Board">
      <a:dk1>
        <a:srgbClr val="201B27"/>
      </a:dk1>
      <a:lt1>
        <a:srgbClr val="FFFFFF"/>
      </a:lt1>
      <a:dk2>
        <a:srgbClr val="5C2D91"/>
      </a:dk2>
      <a:lt2>
        <a:srgbClr val="00BCEE"/>
      </a:lt2>
      <a:accent1>
        <a:srgbClr val="EE2E5D"/>
      </a:accent1>
      <a:accent2>
        <a:srgbClr val="FF418C"/>
      </a:accent2>
      <a:accent3>
        <a:srgbClr val="F39200"/>
      </a:accent3>
      <a:accent4>
        <a:srgbClr val="FFCA00"/>
      </a:accent4>
      <a:accent5>
        <a:srgbClr val="81C747"/>
      </a:accent5>
      <a:accent6>
        <a:srgbClr val="66D2CC"/>
      </a:accent6>
      <a:hlink>
        <a:srgbClr val="0073CF"/>
      </a:hlink>
      <a:folHlink>
        <a:srgbClr val="C1C1C3"/>
      </a:folHlink>
    </a:clrScheme>
    <a:fontScheme name="PXS Xbold">
      <a:majorFont>
        <a:latin typeface="Proximus ExtraBold"/>
        <a:ea typeface=""/>
        <a:cs typeface=""/>
      </a:majorFont>
      <a:minorFont>
        <a:latin typeface="Proximu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vert="horz" lIns="108000" tIns="108000" rIns="108000" bIns="108000" rtlCol="0" anchor="ctr" anchorCtr="0"/>
      <a:lstStyle>
        <a:defPPr algn="ctr" defTabSz="1218418">
          <a:defRPr sz="1200" b="1" dirty="0">
            <a:solidFill>
              <a:schemeClr val="tx1"/>
            </a:solidFill>
            <a:latin typeface="Proximus Bold" panose="00000500000000000000" pitchFamily="2" charset="0"/>
            <a:cs typeface="Proximus Bold"/>
          </a:defRPr>
        </a:defPPr>
      </a:lstStyle>
      <a:style>
        <a:lnRef idx="1">
          <a:schemeClr val="accent1"/>
        </a:lnRef>
        <a:fillRef idx="3">
          <a:schemeClr val="accent1"/>
        </a:fillRef>
        <a:effectRef idx="2">
          <a:schemeClr val="accent1"/>
        </a:effectRef>
        <a:fontRef idx="minor">
          <a:schemeClr val="lt1"/>
        </a:fontRef>
      </a:style>
    </a:spDef>
    <a:lnDef>
      <a:spPr>
        <a:ln w="12700">
          <a:solidFill>
            <a:schemeClr val="bg1">
              <a:lumMod val="40000"/>
              <a:lumOff val="60000"/>
            </a:schemeClr>
          </a:solidFill>
          <a:tailEnd type="none"/>
        </a:ln>
        <a:effectLst/>
      </a:spPr>
      <a:bodyPr/>
      <a:lstStyle/>
      <a:style>
        <a:lnRef idx="2">
          <a:schemeClr val="accent1"/>
        </a:lnRef>
        <a:fillRef idx="0">
          <a:schemeClr val="accent1"/>
        </a:fillRef>
        <a:effectRef idx="1">
          <a:schemeClr val="accent1"/>
        </a:effectRef>
        <a:fontRef idx="minor">
          <a:schemeClr val="tx1"/>
        </a:fontRef>
      </a:style>
    </a:lnDef>
    <a:txDef>
      <a:spPr>
        <a:solidFill>
          <a:schemeClr val="bg1"/>
        </a:solid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proximus_powerpoint_template_january_2020.pptx" id="{FF30E517-8685-4691-8030-E023714C19DB}" vid="{5C188276-EB6B-4E30-A73A-36D8C9B0A39B}"/>
    </a:ext>
  </a:extLst>
</a:theme>
</file>

<file path=ppt/theme/theme6.xml><?xml version="1.0" encoding="utf-8"?>
<a:theme xmlns:a="http://schemas.openxmlformats.org/drawingml/2006/main" name="1_PROXIMUS PPT TEMPLATE 2024">
  <a:themeElements>
    <a:clrScheme name="Custom 9">
      <a:dk1>
        <a:srgbClr val="5C2D91"/>
      </a:dk1>
      <a:lt1>
        <a:srgbClr val="FFFFFF"/>
      </a:lt1>
      <a:dk2>
        <a:srgbClr val="00BCEE"/>
      </a:dk2>
      <a:lt2>
        <a:srgbClr val="EE2E5D"/>
      </a:lt2>
      <a:accent1>
        <a:srgbClr val="FF418C"/>
      </a:accent1>
      <a:accent2>
        <a:srgbClr val="F39200"/>
      </a:accent2>
      <a:accent3>
        <a:srgbClr val="FFCA00"/>
      </a:accent3>
      <a:accent4>
        <a:srgbClr val="81C747"/>
      </a:accent4>
      <a:accent5>
        <a:srgbClr val="66D2CC"/>
      </a:accent5>
      <a:accent6>
        <a:srgbClr val="000000"/>
      </a:accent6>
      <a:hlink>
        <a:srgbClr val="0073CF"/>
      </a:hlink>
      <a:folHlink>
        <a:srgbClr val="C1C1C3"/>
      </a:folHlink>
    </a:clrScheme>
    <a:fontScheme name="Custom 15">
      <a:majorFont>
        <a:latin typeface="Proximus Bold"/>
        <a:ea typeface=""/>
        <a:cs typeface=""/>
      </a:majorFont>
      <a:minorFont>
        <a:latin typeface="Proximu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vert="horz" lIns="108000" tIns="108000" rIns="108000" bIns="108000" rtlCol="0" anchor="t" anchorCtr="0"/>
      <a:lstStyle>
        <a:defPPr algn="ctr" defTabSz="1218418">
          <a:defRPr sz="1400" dirty="0" err="1" smtClean="0">
            <a:solidFill>
              <a:schemeClr val="tx1"/>
            </a:solidFill>
            <a:latin typeface="Proximus" panose="00000500000000000000" pitchFamily="2" charset="0"/>
            <a:cs typeface="Proximus"/>
          </a:defRPr>
        </a:defPPr>
      </a:lstStyle>
      <a:style>
        <a:lnRef idx="1">
          <a:schemeClr val="accent1"/>
        </a:lnRef>
        <a:fillRef idx="3">
          <a:schemeClr val="accent1"/>
        </a:fillRef>
        <a:effectRef idx="2">
          <a:schemeClr val="accent1"/>
        </a:effectRef>
        <a:fontRef idx="minor">
          <a:schemeClr val="lt1"/>
        </a:fontRef>
      </a:style>
    </a:spDef>
    <a:lnDef>
      <a:spPr>
        <a:ln w="25400" cap="rnd">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numCol="1" spcCol="0" rtlCol="0" anchor="t" anchorCtr="0">
        <a:noAutofit/>
      </a:bodyPr>
      <a:lstStyle>
        <a:defPPr algn="l">
          <a:defRPr sz="1400" dirty="0" err="1" smtClean="0">
            <a:solidFill>
              <a:schemeClr val="accent6"/>
            </a:solidFill>
          </a:defRPr>
        </a:defPPr>
      </a:lstStyle>
    </a:txDef>
  </a:objectDefaults>
  <a:extraClrSchemeLst/>
  <a:extLst>
    <a:ext uri="{05A4C25C-085E-4340-85A3-A5531E510DB2}">
      <thm15:themeFamily xmlns:thm15="http://schemas.microsoft.com/office/thememl/2012/main" name="Proximus_Powerpoint_template_2024_V1.pptx" id="{9120C30F-833F-459A-A1E6-F44F8DF5224D}" vid="{ED9E4E8E-44CD-4298-97FC-81264ADD941D}"/>
    </a:ext>
  </a:extLst>
</a:theme>
</file>

<file path=ppt/theme/theme7.xml><?xml version="1.0" encoding="utf-8"?>
<a:theme xmlns:a="http://schemas.openxmlformats.org/drawingml/2006/main" name="1_PROXIMUS PPT TEMPLATE 2025">
  <a:themeElements>
    <a:clrScheme name="Custom 9">
      <a:dk1>
        <a:srgbClr val="5C2D91"/>
      </a:dk1>
      <a:lt1>
        <a:srgbClr val="FFFFFF"/>
      </a:lt1>
      <a:dk2>
        <a:srgbClr val="00BCEE"/>
      </a:dk2>
      <a:lt2>
        <a:srgbClr val="EE2E5D"/>
      </a:lt2>
      <a:accent1>
        <a:srgbClr val="FF418C"/>
      </a:accent1>
      <a:accent2>
        <a:srgbClr val="F39200"/>
      </a:accent2>
      <a:accent3>
        <a:srgbClr val="FFCA00"/>
      </a:accent3>
      <a:accent4>
        <a:srgbClr val="81C747"/>
      </a:accent4>
      <a:accent5>
        <a:srgbClr val="66D2CC"/>
      </a:accent5>
      <a:accent6>
        <a:srgbClr val="000000"/>
      </a:accent6>
      <a:hlink>
        <a:srgbClr val="0073CF"/>
      </a:hlink>
      <a:folHlink>
        <a:srgbClr val="C1C1C3"/>
      </a:folHlink>
    </a:clrScheme>
    <a:fontScheme name="Custom 15">
      <a:majorFont>
        <a:latin typeface="Proximus Bold"/>
        <a:ea typeface=""/>
        <a:cs typeface=""/>
      </a:majorFont>
      <a:minorFont>
        <a:latin typeface="Proximu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vert="horz" lIns="36000" tIns="36000" rIns="36000" bIns="72000" rtlCol="0" anchor="ctr" anchorCtr="0"/>
      <a:lstStyle>
        <a:defPPr algn="ctr" defTabSz="1218418">
          <a:defRPr sz="1400" dirty="0" err="1" smtClean="0">
            <a:solidFill>
              <a:schemeClr val="tx1"/>
            </a:solidFill>
            <a:latin typeface="Proximus" panose="00000500000000000000" pitchFamily="2" charset="0"/>
            <a:cs typeface="Proximus"/>
          </a:defRPr>
        </a:defPPr>
      </a:lstStyle>
      <a:style>
        <a:lnRef idx="1">
          <a:schemeClr val="accent1"/>
        </a:lnRef>
        <a:fillRef idx="3">
          <a:schemeClr val="accent1"/>
        </a:fillRef>
        <a:effectRef idx="2">
          <a:schemeClr val="accent1"/>
        </a:effectRef>
        <a:fontRef idx="minor">
          <a:schemeClr val="lt1"/>
        </a:fontRef>
      </a:style>
    </a:spDef>
    <a:lnDef>
      <a:spPr>
        <a:ln w="25400" cap="rnd">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numCol="1" spcCol="0" rtlCol="0" anchor="t" anchorCtr="0">
        <a:noAutofit/>
      </a:bodyPr>
      <a:lstStyle>
        <a:defPPr algn="l">
          <a:defRPr sz="1400" dirty="0" err="1" smtClean="0">
            <a:solidFill>
              <a:schemeClr val="accent6"/>
            </a:solidFill>
          </a:defRPr>
        </a:defPPr>
      </a:lstStyle>
    </a:txDef>
  </a:objectDefaults>
  <a:extraClrSchemeLst/>
  <a:extLst>
    <a:ext uri="{05A4C25C-085E-4340-85A3-A5531E510DB2}">
      <thm15:themeFamily xmlns:thm15="http://schemas.microsoft.com/office/thememl/2012/main" name="proximus_powerpoint_template_250714_EXTENDED.potx" id="{9DD88636-5EDE-41E5-B35A-33047C5C7145}" vid="{5D0AE415-B026-4E6C-9759-1657B207D548}"/>
    </a:ext>
  </a:extLst>
</a:theme>
</file>

<file path=ppt/theme/theme8.xml><?xml version="1.0" encoding="utf-8"?>
<a:theme xmlns:a="http://schemas.openxmlformats.org/drawingml/2006/main" name="5_Residential">
  <a:themeElements>
    <a:clrScheme name="Proximus Strategy Board">
      <a:dk1>
        <a:srgbClr val="201B27"/>
      </a:dk1>
      <a:lt1>
        <a:srgbClr val="FFFFFF"/>
      </a:lt1>
      <a:dk2>
        <a:srgbClr val="5C2D91"/>
      </a:dk2>
      <a:lt2>
        <a:srgbClr val="00BCEE"/>
      </a:lt2>
      <a:accent1>
        <a:srgbClr val="EE2E5D"/>
      </a:accent1>
      <a:accent2>
        <a:srgbClr val="FF418C"/>
      </a:accent2>
      <a:accent3>
        <a:srgbClr val="F39200"/>
      </a:accent3>
      <a:accent4>
        <a:srgbClr val="FFCA00"/>
      </a:accent4>
      <a:accent5>
        <a:srgbClr val="81C747"/>
      </a:accent5>
      <a:accent6>
        <a:srgbClr val="66D2CC"/>
      </a:accent6>
      <a:hlink>
        <a:srgbClr val="0073CF"/>
      </a:hlink>
      <a:folHlink>
        <a:srgbClr val="C1C1C3"/>
      </a:folHlink>
    </a:clrScheme>
    <a:fontScheme name="PXS Xbold">
      <a:majorFont>
        <a:latin typeface="Proximus ExtraBold"/>
        <a:ea typeface=""/>
        <a:cs typeface=""/>
      </a:majorFont>
      <a:minorFont>
        <a:latin typeface="Proximu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noFill/>
        </a:ln>
        <a:effectLst/>
      </a:spPr>
      <a:bodyPr vert="horz" lIns="72000" tIns="72000" rIns="72000" bIns="72000" rtlCol="0" anchor="t" anchorCtr="0">
        <a:noAutofit/>
      </a:bodyPr>
      <a:lstStyle>
        <a:defPPr algn="l" defTabSz="1218418">
          <a:defRPr sz="1200" b="1" dirty="0">
            <a:solidFill>
              <a:schemeClr val="bg1"/>
            </a:solidFill>
            <a:latin typeface="Proximus Bold" panose="00000500000000000000" pitchFamily="2" charset="0"/>
            <a:cs typeface="Proximus Bold"/>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lumMod val="50000"/>
            </a:schemeClr>
          </a:solidFill>
          <a:prstDash val="sysDot"/>
          <a:tailEnd type="none"/>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lgn="l">
          <a:defRPr sz="1400" dirty="0" smtClean="0">
            <a:solidFill>
              <a:schemeClr val="bg1"/>
            </a:solidFill>
          </a:defRPr>
        </a:defPPr>
      </a:lstStyle>
    </a:txDef>
  </a:objectDefaults>
  <a:extraClrSchemeLst/>
  <a:extLst>
    <a:ext uri="{05A4C25C-085E-4340-85A3-A5531E510DB2}">
      <thm15:themeFamily xmlns:thm15="http://schemas.microsoft.com/office/thememl/2012/main" name="proximus_powerpoint_template_january_2020.pptx" id="{FF30E517-8685-4691-8030-E023714C19DB}" vid="{5C188276-EB6B-4E30-A73A-36D8C9B0A39B}"/>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d5f69bac-297e-43e5-a603-2faf182aa439" xsi:nil="true"/>
    <Meetingdate xmlns="e483add3-ffbd-45c1-9af7-a2afa6ae1982" xsi:nil="true"/>
    <Presenter_x0028_s_x0029_ xmlns="e483add3-ffbd-45c1-9af7-a2afa6ae1982" xsi:nil="true"/>
    <lcf76f155ced4ddcb4097134ff3c332f xmlns="e483add3-ffbd-45c1-9af7-a2afa6ae1982">
      <Terms xmlns="http://schemas.microsoft.com/office/infopath/2007/PartnerControls"/>
    </lcf76f155ced4ddcb4097134ff3c332f>
    <Event xmlns="e483add3-ffbd-45c1-9af7-a2afa6ae1982"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B418C1F76CF6247A33298EE4D88A1F4" ma:contentTypeVersion="20" ma:contentTypeDescription="Create a new document." ma:contentTypeScope="" ma:versionID="55be26a132f8ad566eb418981916bd06">
  <xsd:schema xmlns:xsd="http://www.w3.org/2001/XMLSchema" xmlns:xs="http://www.w3.org/2001/XMLSchema" xmlns:p="http://schemas.microsoft.com/office/2006/metadata/properties" xmlns:ns2="e483add3-ffbd-45c1-9af7-a2afa6ae1982" xmlns:ns3="50e791e7-9453-4f34-a311-4904e97540a7" xmlns:ns4="d5f69bac-297e-43e5-a603-2faf182aa439" targetNamespace="http://schemas.microsoft.com/office/2006/metadata/properties" ma:root="true" ma:fieldsID="54f6685c812c80ef41dc69af52e54879" ns2:_="" ns3:_="" ns4:_="">
    <xsd:import namespace="e483add3-ffbd-45c1-9af7-a2afa6ae1982"/>
    <xsd:import namespace="50e791e7-9453-4f34-a311-4904e97540a7"/>
    <xsd:import namespace="d5f69bac-297e-43e5-a603-2faf182aa43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etingdate" minOccurs="0"/>
                <xsd:element ref="ns3:SharedWithUsers" minOccurs="0"/>
                <xsd:element ref="ns3:SharedWithDetails" minOccurs="0"/>
                <xsd:element ref="ns2:Presenter_x0028_s_x0029_" minOccurs="0"/>
                <xsd:element ref="ns2:Event" minOccurs="0"/>
                <xsd:element ref="ns2:lcf76f155ced4ddcb4097134ff3c332f" minOccurs="0"/>
                <xsd:element ref="ns4:TaxCatchAll" minOccurs="0"/>
                <xsd:element ref="ns2:MediaServiceDateTaken" minOccurs="0"/>
                <xsd:element ref="ns2:MediaServiceGenerationTime" minOccurs="0"/>
                <xsd:element ref="ns2:MediaServiceEventHashCode" minOccurs="0"/>
                <xsd:element ref="ns2:MediaServiceOCR" minOccurs="0"/>
                <xsd:element ref="ns2:MediaLengthInSeconds"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483add3-ffbd-45c1-9af7-a2afa6ae198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etingdate" ma:index="12" nillable="true" ma:displayName="Meeting date" ma:format="DateOnly" ma:internalName="Meetingdate">
      <xsd:simpleType>
        <xsd:restriction base="dms:DateTime"/>
      </xsd:simpleType>
    </xsd:element>
    <xsd:element name="Presenter_x0028_s_x0029_" ma:index="15" nillable="true" ma:displayName="Presenter(s)" ma:internalName="Presenter_x0028_s_x0029_">
      <xsd:simpleType>
        <xsd:restriction base="dms:Text">
          <xsd:maxLength value="255"/>
        </xsd:restriction>
      </xsd:simpleType>
    </xsd:element>
    <xsd:element name="Event" ma:index="16" nillable="true" ma:displayName="Event" ma:format="Dropdown" ma:internalName="Event">
      <xsd:simpleType>
        <xsd:restriction base="dms:Note">
          <xsd:maxLength value="255"/>
        </xsd:restrictio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526315c6-4af6-4016-ad89-1e6911cb929f" ma:termSetId="09814cd3-568e-fe90-9814-8d621ff8fb84" ma:anchorId="fba54fb3-c3e1-fe81-a776-ca4b69148c4d" ma:open="true" ma:isKeyword="false">
      <xsd:complexType>
        <xsd:sequence>
          <xsd:element ref="pc:Terms" minOccurs="0" maxOccurs="1"/>
        </xsd:sequence>
      </xsd:complexType>
    </xsd:element>
    <xsd:element name="MediaServiceDateTaken" ma:index="20" nillable="true" ma:displayName="MediaServiceDateTaken" ma:hidden="true" ma:internalName="MediaServiceDateTaken" ma:readOnly="true">
      <xsd:simpleType>
        <xsd:restriction base="dms:Text"/>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element name="MediaServiceOCR" ma:index="23" nillable="true" ma:displayName="Extracted Text" ma:internalName="MediaServiceOCR" ma:readOnly="true">
      <xsd:simpleType>
        <xsd:restriction base="dms:Note">
          <xsd:maxLength value="255"/>
        </xsd:restriction>
      </xsd:simpleType>
    </xsd:element>
    <xsd:element name="MediaLengthInSeconds" ma:index="24" nillable="true" ma:displayName="MediaLengthInSeconds" ma:hidden="true" ma:internalName="MediaLengthInSeconds" ma:readOnly="true">
      <xsd:simpleType>
        <xsd:restriction base="dms:Unknown"/>
      </xsd:simpleType>
    </xsd:element>
    <xsd:element name="MediaServiceObjectDetectorVersions" ma:index="25" nillable="true" ma:displayName="MediaServiceObjectDetectorVersions"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element name="MediaServiceBillingMetadata" ma:index="27"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0e791e7-9453-4f34-a311-4904e97540a7"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5f69bac-297e-43e5-a603-2faf182aa439"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62f079b6-36c1-460a-ad67-c34d1ff8fcb6}" ma:internalName="TaxCatchAll" ma:showField="CatchAllData" ma:web="50e791e7-9453-4f34-a311-4904e97540a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AA9956D-1223-483A-8687-2E4AD44716CB}">
  <ds:schemaRefs>
    <ds:schemaRef ds:uri="d5f69bac-297e-43e5-a603-2faf182aa439"/>
    <ds:schemaRef ds:uri="http://purl.org/dc/terms/"/>
    <ds:schemaRef ds:uri="http://schemas.microsoft.com/office/2006/metadata/properties"/>
    <ds:schemaRef ds:uri="http://www.w3.org/XML/1998/namespace"/>
    <ds:schemaRef ds:uri="http://purl.org/dc/dcmitype/"/>
    <ds:schemaRef ds:uri="http://schemas.microsoft.com/office/infopath/2007/PartnerControls"/>
    <ds:schemaRef ds:uri="http://schemas.microsoft.com/office/2006/documentManagement/types"/>
    <ds:schemaRef ds:uri="http://purl.org/dc/elements/1.1/"/>
    <ds:schemaRef ds:uri="http://schemas.openxmlformats.org/package/2006/metadata/core-properties"/>
    <ds:schemaRef ds:uri="50e791e7-9453-4f34-a311-4904e97540a7"/>
    <ds:schemaRef ds:uri="e483add3-ffbd-45c1-9af7-a2afa6ae1982"/>
  </ds:schemaRefs>
</ds:datastoreItem>
</file>

<file path=customXml/itemProps2.xml><?xml version="1.0" encoding="utf-8"?>
<ds:datastoreItem xmlns:ds="http://schemas.openxmlformats.org/officeDocument/2006/customXml" ds:itemID="{EF7FB0C2-BAA7-48E3-B5C0-A4A3F5DDE797}">
  <ds:schemaRefs>
    <ds:schemaRef ds:uri="http://schemas.microsoft.com/sharepoint/v3/contenttype/forms"/>
  </ds:schemaRefs>
</ds:datastoreItem>
</file>

<file path=customXml/itemProps3.xml><?xml version="1.0" encoding="utf-8"?>
<ds:datastoreItem xmlns:ds="http://schemas.openxmlformats.org/officeDocument/2006/customXml" ds:itemID="{7E258565-512B-43C5-B03F-ED2EAA5842B8}">
  <ds:schemaRefs>
    <ds:schemaRef ds:uri="50e791e7-9453-4f34-a311-4904e97540a7"/>
    <ds:schemaRef ds:uri="d5f69bac-297e-43e5-a603-2faf182aa439"/>
    <ds:schemaRef ds:uri="e483add3-ffbd-45c1-9af7-a2afa6ae198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49c568a3-8637-42ee-a65c-3dcd5fe35721}" enabled="1" method="Standard" siteId="{e7ab81b2-1e84-4bf7-9dcb-b6fec01ed138}" removed="0"/>
</clbl:labelList>
</file>

<file path=docProps/app.xml><?xml version="1.0" encoding="utf-8"?>
<Properties xmlns="http://schemas.openxmlformats.org/officeDocument/2006/extended-properties" xmlns:vt="http://schemas.openxmlformats.org/officeDocument/2006/docPropsVTypes">
  <Template>office theme</Template>
  <TotalTime>14</TotalTime>
  <Words>3304</Words>
  <Application>Microsoft Office PowerPoint</Application>
  <PresentationFormat>Widescreen</PresentationFormat>
  <Paragraphs>334</Paragraphs>
  <Slides>22</Slides>
  <Notes>14</Notes>
  <HiddenSlides>0</HiddenSlides>
  <MMClips>0</MMClips>
  <ScaleCrop>false</ScaleCrop>
  <HeadingPairs>
    <vt:vector size="8" baseType="variant">
      <vt:variant>
        <vt:lpstr>Fonts Used</vt:lpstr>
      </vt:variant>
      <vt:variant>
        <vt:i4>11</vt:i4>
      </vt:variant>
      <vt:variant>
        <vt:lpstr>Theme</vt:lpstr>
      </vt:variant>
      <vt:variant>
        <vt:i4>8</vt:i4>
      </vt:variant>
      <vt:variant>
        <vt:lpstr>Embedded OLE Servers</vt:lpstr>
      </vt:variant>
      <vt:variant>
        <vt:i4>1</vt:i4>
      </vt:variant>
      <vt:variant>
        <vt:lpstr>Slide Titles</vt:lpstr>
      </vt:variant>
      <vt:variant>
        <vt:i4>22</vt:i4>
      </vt:variant>
    </vt:vector>
  </HeadingPairs>
  <TitlesOfParts>
    <vt:vector size="42" baseType="lpstr">
      <vt:lpstr>MS Mincho</vt:lpstr>
      <vt:lpstr>Aptos</vt:lpstr>
      <vt:lpstr>Arial</vt:lpstr>
      <vt:lpstr>Calibri</vt:lpstr>
      <vt:lpstr>Codit Radikal</vt:lpstr>
      <vt:lpstr>Codit Radikal Medium</vt:lpstr>
      <vt:lpstr>Proximus</vt:lpstr>
      <vt:lpstr>Proximus Bold</vt:lpstr>
      <vt:lpstr>Proximus ExtraBold</vt:lpstr>
      <vt:lpstr>Proximus Light</vt:lpstr>
      <vt:lpstr>Wingdings</vt:lpstr>
      <vt:lpstr>2_PXS ADA</vt:lpstr>
      <vt:lpstr>2_PROXIMUS PPT TEMPLATE 2024</vt:lpstr>
      <vt:lpstr>Proximus general template 2025</vt:lpstr>
      <vt:lpstr>3_Residential</vt:lpstr>
      <vt:lpstr>4_Residential</vt:lpstr>
      <vt:lpstr>1_PROXIMUS PPT TEMPLATE 2024</vt:lpstr>
      <vt:lpstr>1_PROXIMUS PPT TEMPLATE 2025</vt:lpstr>
      <vt:lpstr>5_Residential</vt:lpstr>
      <vt:lpstr>think-cell Slide</vt:lpstr>
      <vt:lpstr>The Composable enterprise: The Factory line</vt:lpstr>
      <vt:lpstr>PowerPoint Presentation</vt:lpstr>
      <vt:lpstr>PowerPoint Presentation</vt:lpstr>
      <vt:lpstr>PowerPoint Presentation</vt:lpstr>
      <vt:lpstr>Key focus areas for Agentic AI in Proximus</vt:lpstr>
      <vt:lpstr>AI is already embedded in e2e software development cycle, but also creating new “productivity paradox”</vt:lpstr>
      <vt:lpstr>PowerPoint Presentation</vt:lpstr>
      <vt:lpstr>Shift focus from ‘adoption’ of AI tools to ‘meaningful use’ – and measure it</vt:lpstr>
      <vt:lpstr>Cluster users by level of meaningful usage, can help to tailor training and identify ambassadors</vt:lpstr>
      <vt:lpstr>PowerPoint Presentation</vt:lpstr>
      <vt:lpstr>AI without context</vt:lpstr>
      <vt:lpstr>AI coding agents need context and instructions to be productive</vt:lpstr>
      <vt:lpstr>PowerPoint Presentation</vt:lpstr>
      <vt:lpstr>The bottleneck isn’t only writing code, we have to become more efficient in the e2e cycle</vt:lpstr>
      <vt:lpstr>AI could support the full development lifecycle, with the biggest productivity impact in development and testing</vt:lpstr>
      <vt:lpstr>AI could bring structured iteration and continuous improvement throughout the development lifecycle</vt:lpstr>
      <vt:lpstr>PowerPoint Presentation</vt:lpstr>
      <vt:lpstr>PowerPoint Presentation</vt:lpstr>
      <vt:lpstr>Redesign team set‑ups: from pyramidal to diamond structure</vt:lpstr>
      <vt:lpstr>PowerPoint Presentation</vt:lpstr>
      <vt:lpstr>Focus on a few high‑impact use cases where AI can amplify your team’s capacity</vt:lpstr>
      <vt:lpstr>From today’s constraints to simpler journeys and smarter opera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TONDEUR Alice (ITU/MST)</cp:lastModifiedBy>
  <cp:revision>2</cp:revision>
  <dcterms:created xsi:type="dcterms:W3CDTF">2026-02-23T19:44:39Z</dcterms:created>
  <dcterms:modified xsi:type="dcterms:W3CDTF">2026-03-10T10:59: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B418C1F76CF6247A33298EE4D88A1F4</vt:lpwstr>
  </property>
  <property fmtid="{D5CDD505-2E9C-101B-9397-08002B2CF9AE}" pid="3" name="MediaServiceImageTags">
    <vt:lpwstr/>
  </property>
</Properties>
</file>